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Ex3.xml" ContentType="application/vnd.ms-office.chartex+xml"/>
  <Override PartName="/ppt/charts/style23.xml" ContentType="application/vnd.ms-office.chartstyle+xml"/>
  <Override PartName="/ppt/charts/colors23.xml" ContentType="application/vnd.ms-office.chartcolorstyle+xml"/>
  <Override PartName="/ppt/charts/chart21.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2.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3.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4.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5.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6.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7.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Ex4.xml" ContentType="application/vnd.ms-office.chartex+xml"/>
  <Override PartName="/ppt/charts/style31.xml" ContentType="application/vnd.ms-office.chartstyle+xml"/>
  <Override PartName="/ppt/charts/colors31.xml" ContentType="application/vnd.ms-office.chartcolorstyle+xml"/>
  <Override PartName="/ppt/charts/chart28.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29.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0.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1.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2.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3.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4.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5.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6.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37.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38.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39.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0.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1.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2.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3.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4.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9.xml" ContentType="application/vnd.openxmlformats-officedocument.presentationml.notesSlide+xml"/>
  <Override PartName="/ppt/charts/chart45.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46.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47.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48.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49.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0.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10.xml" ContentType="application/vnd.openxmlformats-officedocument.presentationml.notesSlide+xml"/>
  <Override PartName="/ppt/charts/chart51.xml" ContentType="application/vnd.openxmlformats-officedocument.drawingml.chart+xml"/>
  <Override PartName="/ppt/theme/themeOverride2.xml" ContentType="application/vnd.openxmlformats-officedocument.themeOverride+xml"/>
  <Override PartName="/ppt/charts/chart52.xml" ContentType="application/vnd.openxmlformats-officedocument.drawingml.chart+xml"/>
  <Override PartName="/ppt/theme/themeOverride3.xml" ContentType="application/vnd.openxmlformats-officedocument.themeOverride+xml"/>
  <Override PartName="/ppt/charts/chart53.xml" ContentType="application/vnd.openxmlformats-officedocument.drawingml.chart+xml"/>
  <Override PartName="/ppt/theme/themeOverride4.xml" ContentType="application/vnd.openxmlformats-officedocument.themeOverride+xml"/>
  <Override PartName="/ppt/charts/chart54.xml" ContentType="application/vnd.openxmlformats-officedocument.drawingml.chart+xml"/>
  <Override PartName="/ppt/theme/themeOverride5.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105"/>
  </p:notesMasterIdLst>
  <p:sldIdLst>
    <p:sldId id="256" r:id="rId2"/>
    <p:sldId id="2147472386" r:id="rId3"/>
    <p:sldId id="2147472379" r:id="rId4"/>
    <p:sldId id="267" r:id="rId5"/>
    <p:sldId id="257" r:id="rId6"/>
    <p:sldId id="2147472385" r:id="rId7"/>
    <p:sldId id="1295" r:id="rId8"/>
    <p:sldId id="262" r:id="rId9"/>
    <p:sldId id="261" r:id="rId10"/>
    <p:sldId id="2147472372" r:id="rId11"/>
    <p:sldId id="2147472398" r:id="rId12"/>
    <p:sldId id="2147472400" r:id="rId13"/>
    <p:sldId id="2147472373" r:id="rId14"/>
    <p:sldId id="2147472399" r:id="rId15"/>
    <p:sldId id="2147472391" r:id="rId16"/>
    <p:sldId id="1292" r:id="rId17"/>
    <p:sldId id="2147472380" r:id="rId18"/>
    <p:sldId id="2147472327" r:id="rId19"/>
    <p:sldId id="2147472328" r:id="rId20"/>
    <p:sldId id="2147472374" r:id="rId21"/>
    <p:sldId id="2147472329" r:id="rId22"/>
    <p:sldId id="2147472330" r:id="rId23"/>
    <p:sldId id="2147472332" r:id="rId24"/>
    <p:sldId id="2147472387" r:id="rId25"/>
    <p:sldId id="2147472388" r:id="rId26"/>
    <p:sldId id="2147472389" r:id="rId27"/>
    <p:sldId id="2147472390" r:id="rId28"/>
    <p:sldId id="2147472333" r:id="rId29"/>
    <p:sldId id="2147472334" r:id="rId30"/>
    <p:sldId id="2147472335" r:id="rId31"/>
    <p:sldId id="2147472338" r:id="rId32"/>
    <p:sldId id="2147472336" r:id="rId33"/>
    <p:sldId id="2147472375" r:id="rId34"/>
    <p:sldId id="2147472337" r:id="rId35"/>
    <p:sldId id="2147472339" r:id="rId36"/>
    <p:sldId id="2147472340" r:id="rId37"/>
    <p:sldId id="2147472341" r:id="rId38"/>
    <p:sldId id="2147472342" r:id="rId39"/>
    <p:sldId id="2147472343" r:id="rId40"/>
    <p:sldId id="2147472376" r:id="rId41"/>
    <p:sldId id="2147472344" r:id="rId42"/>
    <p:sldId id="2147472345" r:id="rId43"/>
    <p:sldId id="2147472346" r:id="rId44"/>
    <p:sldId id="2147472347" r:id="rId45"/>
    <p:sldId id="2147472348" r:id="rId46"/>
    <p:sldId id="2147472349" r:id="rId47"/>
    <p:sldId id="2147472350" r:id="rId48"/>
    <p:sldId id="2147472377" r:id="rId49"/>
    <p:sldId id="2147472351" r:id="rId50"/>
    <p:sldId id="2147472352" r:id="rId51"/>
    <p:sldId id="2147472381" r:id="rId52"/>
    <p:sldId id="1293" r:id="rId53"/>
    <p:sldId id="2147472353" r:id="rId54"/>
    <p:sldId id="2147472354" r:id="rId55"/>
    <p:sldId id="2147472355" r:id="rId56"/>
    <p:sldId id="2147472356" r:id="rId57"/>
    <p:sldId id="2147472357" r:id="rId58"/>
    <p:sldId id="2147472378" r:id="rId59"/>
    <p:sldId id="2147472358" r:id="rId60"/>
    <p:sldId id="2147472359" r:id="rId61"/>
    <p:sldId id="2147472362" r:id="rId62"/>
    <p:sldId id="2147472363" r:id="rId63"/>
    <p:sldId id="2147472360" r:id="rId64"/>
    <p:sldId id="2147472364" r:id="rId65"/>
    <p:sldId id="2147472365" r:id="rId66"/>
    <p:sldId id="2147472366" r:id="rId67"/>
    <p:sldId id="2147472367" r:id="rId68"/>
    <p:sldId id="2147472368" r:id="rId69"/>
    <p:sldId id="2147472369" r:id="rId70"/>
    <p:sldId id="2147472382" r:id="rId71"/>
    <p:sldId id="2147472383" r:id="rId72"/>
    <p:sldId id="2147472384" r:id="rId73"/>
    <p:sldId id="2147472324" r:id="rId74"/>
    <p:sldId id="2147472370" r:id="rId75"/>
    <p:sldId id="264" r:id="rId76"/>
    <p:sldId id="1296" r:id="rId77"/>
    <p:sldId id="293" r:id="rId78"/>
    <p:sldId id="2147472326" r:id="rId79"/>
    <p:sldId id="2147472325" r:id="rId80"/>
    <p:sldId id="357" r:id="rId81"/>
    <p:sldId id="754" r:id="rId82"/>
    <p:sldId id="2147472371" r:id="rId83"/>
    <p:sldId id="416" r:id="rId84"/>
    <p:sldId id="1290" r:id="rId85"/>
    <p:sldId id="1291" r:id="rId86"/>
    <p:sldId id="1294" r:id="rId87"/>
    <p:sldId id="1320" r:id="rId88"/>
    <p:sldId id="296" r:id="rId89"/>
    <p:sldId id="290" r:id="rId90"/>
    <p:sldId id="294" r:id="rId91"/>
    <p:sldId id="963" r:id="rId92"/>
    <p:sldId id="283" r:id="rId93"/>
    <p:sldId id="1289" r:id="rId94"/>
    <p:sldId id="1297" r:id="rId95"/>
    <p:sldId id="1288" r:id="rId96"/>
    <p:sldId id="284" r:id="rId97"/>
    <p:sldId id="285" r:id="rId98"/>
    <p:sldId id="300" r:id="rId99"/>
    <p:sldId id="287" r:id="rId100"/>
    <p:sldId id="289" r:id="rId101"/>
    <p:sldId id="2147472392" r:id="rId102"/>
    <p:sldId id="2147472393" r:id="rId103"/>
    <p:sldId id="2147472394" r:id="rId104"/>
  </p:sldIdLst>
  <p:sldSz cx="18288000" cy="10287000"/>
  <p:notesSz cx="6858000" cy="9144000"/>
  <p:embeddedFontLst>
    <p:embeddedFont>
      <p:font typeface="Lato" panose="020F0502020204030203" pitchFamily="34" charset="0"/>
      <p:regular r:id="rId106"/>
      <p:bold r:id="rId107"/>
      <p:italic r:id="rId108"/>
      <p:boldItalic r:id="rId109"/>
    </p:embeddedFont>
    <p:embeddedFont>
      <p:font typeface="Open Sans" panose="020B0606030504020204" pitchFamily="34" charset="0"/>
      <p:regular r:id="rId110"/>
      <p:bold r:id="rId111"/>
    </p:embeddedFont>
    <p:embeddedFont>
      <p:font typeface="Trebuchet MS" panose="020B0603020202020204" pitchFamily="34" charset="0"/>
      <p:regular r:id="rId112"/>
      <p:bold r:id="rId113"/>
      <p:italic r:id="rId114"/>
      <p:boldItalic r:id="rId1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8D9D5"/>
    <a:srgbClr val="E67E22"/>
    <a:srgbClr val="28B1A7"/>
    <a:srgbClr val="19447A"/>
    <a:srgbClr val="409FA6"/>
    <a:srgbClr val="FFFFFF"/>
    <a:srgbClr val="176B86"/>
    <a:srgbClr val="195480"/>
    <a:srgbClr val="24AF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EF79CA-16D9-4015-B34F-52F6FDB6031F}" v="120" dt="2025-06-01T15:00:30.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94744" autoAdjust="0"/>
  </p:normalViewPr>
  <p:slideViewPr>
    <p:cSldViewPr>
      <p:cViewPr>
        <p:scale>
          <a:sx n="66" d="100"/>
          <a:sy n="66" d="100"/>
        </p:scale>
        <p:origin x="936" y="23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387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font" Target="fonts/font7.fntdata"/><Relationship Id="rId16" Type="http://schemas.openxmlformats.org/officeDocument/2006/relationships/slide" Target="slides/slide15.xml"/><Relationship Id="rId107" Type="http://schemas.openxmlformats.org/officeDocument/2006/relationships/font" Target="fonts/font2.fntdata"/><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font" Target="fonts/font8.fntdata"/><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font" Target="fonts/font3.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font" Target="fonts/font9.fntdata"/><Relationship Id="rId119" Type="http://schemas.openxmlformats.org/officeDocument/2006/relationships/tableStyles" Target="tableStyle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font" Target="fonts/font4.fntdata"/><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microsoft.com/office/2016/11/relationships/changesInfo" Target="changesInfos/changesInfo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font" Target="fonts/font5.fntdata"/><Relationship Id="rId115" Type="http://schemas.openxmlformats.org/officeDocument/2006/relationships/font" Target="fonts/font10.fntdata"/><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microsoft.com/office/2015/10/relationships/revisionInfo" Target="revisionInfo.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font" Target="fonts/font6.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font" Target="fonts/font1.fntdata"/><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njini Aravind" userId="726d5c6377dea8df" providerId="LiveId" clId="{C528F0B3-31AF-4638-BD7D-4886042C0E28}"/>
    <pc:docChg chg="undo custSel addSld delSld modSld sldOrd">
      <pc:chgData name="Ranjini Aravind" userId="726d5c6377dea8df" providerId="LiveId" clId="{C528F0B3-31AF-4638-BD7D-4886042C0E28}" dt="2025-05-30T13:38:05.109" v="884" actId="692"/>
      <pc:docMkLst>
        <pc:docMk/>
      </pc:docMkLst>
      <pc:sldChg chg="addSp delSp modSp mod modClrScheme chgLayout">
        <pc:chgData name="Ranjini Aravind" userId="726d5c6377dea8df" providerId="LiveId" clId="{C528F0B3-31AF-4638-BD7D-4886042C0E28}" dt="2025-05-30T13:22:43.665" v="664" actId="18131"/>
        <pc:sldMkLst>
          <pc:docMk/>
          <pc:sldMk cId="2599630202" sldId="261"/>
        </pc:sldMkLst>
        <pc:spChg chg="mod ord">
          <ac:chgData name="Ranjini Aravind" userId="726d5c6377dea8df" providerId="LiveId" clId="{C528F0B3-31AF-4638-BD7D-4886042C0E28}" dt="2025-05-30T13:22:09.755" v="658" actId="6264"/>
          <ac:spMkLst>
            <pc:docMk/>
            <pc:sldMk cId="2599630202" sldId="261"/>
            <ac:spMk id="3" creationId="{5AFEC093-7B01-8607-0474-F4FC3EBED7E0}"/>
          </ac:spMkLst>
        </pc:spChg>
        <pc:spChg chg="mod ord">
          <ac:chgData name="Ranjini Aravind" userId="726d5c6377dea8df" providerId="LiveId" clId="{C528F0B3-31AF-4638-BD7D-4886042C0E28}" dt="2025-05-30T08:15:07.608" v="13" actId="26606"/>
          <ac:spMkLst>
            <pc:docMk/>
            <pc:sldMk cId="2599630202" sldId="261"/>
            <ac:spMk id="5" creationId="{9212EC5B-3C2E-93D2-2B79-430FF8769B96}"/>
          </ac:spMkLst>
        </pc:spChg>
        <pc:spChg chg="add mod ord">
          <ac:chgData name="Ranjini Aravind" userId="726d5c6377dea8df" providerId="LiveId" clId="{C528F0B3-31AF-4638-BD7D-4886042C0E28}" dt="2025-05-30T13:22:09.755" v="658" actId="6264"/>
          <ac:spMkLst>
            <pc:docMk/>
            <pc:sldMk cId="2599630202" sldId="261"/>
            <ac:spMk id="8" creationId="{3301F794-770F-A047-A982-3D773A62714B}"/>
          </ac:spMkLst>
        </pc:spChg>
        <pc:picChg chg="add mod modCrop">
          <ac:chgData name="Ranjini Aravind" userId="726d5c6377dea8df" providerId="LiveId" clId="{C528F0B3-31AF-4638-BD7D-4886042C0E28}" dt="2025-05-30T13:22:43.665" v="664" actId="18131"/>
          <ac:picMkLst>
            <pc:docMk/>
            <pc:sldMk cId="2599630202" sldId="261"/>
            <ac:picMk id="12" creationId="{2738E51F-9203-8914-3C6F-CFCF47F96742}"/>
          </ac:picMkLst>
        </pc:picChg>
      </pc:sldChg>
      <pc:sldChg chg="addSp delSp modSp mod">
        <pc:chgData name="Ranjini Aravind" userId="726d5c6377dea8df" providerId="LiveId" clId="{C528F0B3-31AF-4638-BD7D-4886042C0E28}" dt="2025-05-30T08:14:40.378" v="11" actId="18131"/>
        <pc:sldMkLst>
          <pc:docMk/>
          <pc:sldMk cId="996731688" sldId="262"/>
        </pc:sldMkLst>
        <pc:picChg chg="add mod modCrop">
          <ac:chgData name="Ranjini Aravind" userId="726d5c6377dea8df" providerId="LiveId" clId="{C528F0B3-31AF-4638-BD7D-4886042C0E28}" dt="2025-05-30T08:14:40.378" v="11" actId="18131"/>
          <ac:picMkLst>
            <pc:docMk/>
            <pc:sldMk cId="996731688" sldId="262"/>
            <ac:picMk id="3" creationId="{0020A8C9-8B65-A0D2-9E12-0C70B79AE5E7}"/>
          </ac:picMkLst>
        </pc:picChg>
      </pc:sldChg>
      <pc:sldChg chg="addSp delSp modSp mod">
        <pc:chgData name="Ranjini Aravind" userId="726d5c6377dea8df" providerId="LiveId" clId="{C528F0B3-31AF-4638-BD7D-4886042C0E28}" dt="2025-05-30T08:14:09.059" v="6" actId="552"/>
        <pc:sldMkLst>
          <pc:docMk/>
          <pc:sldMk cId="12455333" sldId="267"/>
        </pc:sldMkLst>
        <pc:spChg chg="mod">
          <ac:chgData name="Ranjini Aravind" userId="726d5c6377dea8df" providerId="LiveId" clId="{C528F0B3-31AF-4638-BD7D-4886042C0E28}" dt="2025-05-30T08:14:09.059" v="6" actId="552"/>
          <ac:spMkLst>
            <pc:docMk/>
            <pc:sldMk cId="12455333" sldId="267"/>
            <ac:spMk id="3" creationId="{A5A1813C-A3E7-54E1-313B-3D3A7355662A}"/>
          </ac:spMkLst>
        </pc:spChg>
        <pc:grpChg chg="mod">
          <ac:chgData name="Ranjini Aravind" userId="726d5c6377dea8df" providerId="LiveId" clId="{C528F0B3-31AF-4638-BD7D-4886042C0E28}" dt="2025-05-30T08:14:09.059" v="6" actId="552"/>
          <ac:grpSpMkLst>
            <pc:docMk/>
            <pc:sldMk cId="12455333" sldId="267"/>
            <ac:grpSpMk id="19" creationId="{2AC74457-ADCA-1EE5-E651-B514660503E2}"/>
          </ac:grpSpMkLst>
        </pc:grpChg>
        <pc:picChg chg="add mod modCrop">
          <ac:chgData name="Ranjini Aravind" userId="726d5c6377dea8df" providerId="LiveId" clId="{C528F0B3-31AF-4638-BD7D-4886042C0E28}" dt="2025-05-30T08:14:04.957" v="5" actId="18131"/>
          <ac:picMkLst>
            <pc:docMk/>
            <pc:sldMk cId="12455333" sldId="267"/>
            <ac:picMk id="6" creationId="{43737E47-F54C-E144-C7ED-636699D434C2}"/>
          </ac:picMkLst>
        </pc:picChg>
      </pc:sldChg>
      <pc:sldChg chg="modSp mod">
        <pc:chgData name="Ranjini Aravind" userId="726d5c6377dea8df" providerId="LiveId" clId="{C528F0B3-31AF-4638-BD7D-4886042C0E28}" dt="2025-05-30T13:21:05.896" v="641" actId="20577"/>
        <pc:sldMkLst>
          <pc:docMk/>
          <pc:sldMk cId="156146656" sldId="282"/>
        </pc:sldMkLst>
      </pc:sldChg>
      <pc:sldChg chg="addSp delSp modSp mod">
        <pc:chgData name="Ranjini Aravind" userId="726d5c6377dea8df" providerId="LiveId" clId="{C528F0B3-31AF-4638-BD7D-4886042C0E28}" dt="2025-05-30T13:11:09.554" v="525" actId="1076"/>
        <pc:sldMkLst>
          <pc:docMk/>
          <pc:sldMk cId="2152122342" sldId="283"/>
        </pc:sldMkLst>
        <pc:spChg chg="add mod">
          <ac:chgData name="Ranjini Aravind" userId="726d5c6377dea8df" providerId="LiveId" clId="{C528F0B3-31AF-4638-BD7D-4886042C0E28}" dt="2025-05-30T13:10:53.046" v="520"/>
          <ac:spMkLst>
            <pc:docMk/>
            <pc:sldMk cId="2152122342" sldId="283"/>
            <ac:spMk id="3" creationId="{C6E5887D-6DCC-3715-AB35-E56C14E77933}"/>
          </ac:spMkLst>
        </pc:spChg>
        <pc:spChg chg="mod">
          <ac:chgData name="Ranjini Aravind" userId="726d5c6377dea8df" providerId="LiveId" clId="{C528F0B3-31AF-4638-BD7D-4886042C0E28}" dt="2025-05-30T13:11:06.070" v="524" actId="1076"/>
          <ac:spMkLst>
            <pc:docMk/>
            <pc:sldMk cId="2152122342" sldId="283"/>
            <ac:spMk id="36" creationId="{4C43C744-E90C-7D86-1E34-63A0CB72F7DF}"/>
          </ac:spMkLst>
        </pc:spChg>
        <pc:graphicFrameChg chg="mod">
          <ac:chgData name="Ranjini Aravind" userId="726d5c6377dea8df" providerId="LiveId" clId="{C528F0B3-31AF-4638-BD7D-4886042C0E28}" dt="2025-05-30T13:11:09.554" v="525" actId="1076"/>
          <ac:graphicFrameMkLst>
            <pc:docMk/>
            <pc:sldMk cId="2152122342" sldId="283"/>
            <ac:graphicFrameMk id="7" creationId="{F58CCD9C-BE95-FDF2-D429-2EC0669F454D}"/>
          </ac:graphicFrameMkLst>
        </pc:graphicFrameChg>
      </pc:sldChg>
      <pc:sldChg chg="addSp modSp mod">
        <pc:chgData name="Ranjini Aravind" userId="726d5c6377dea8df" providerId="LiveId" clId="{C528F0B3-31AF-4638-BD7D-4886042C0E28}" dt="2025-05-30T13:13:46.626" v="570" actId="1076"/>
        <pc:sldMkLst>
          <pc:docMk/>
          <pc:sldMk cId="3620360636" sldId="284"/>
        </pc:sldMkLst>
        <pc:spChg chg="add mod">
          <ac:chgData name="Ranjini Aravind" userId="726d5c6377dea8df" providerId="LiveId" clId="{C528F0B3-31AF-4638-BD7D-4886042C0E28}" dt="2025-05-30T13:13:38.355" v="568" actId="554"/>
          <ac:spMkLst>
            <pc:docMk/>
            <pc:sldMk cId="3620360636" sldId="284"/>
            <ac:spMk id="2" creationId="{43873B9F-416C-3333-FFC2-DA2A147C1979}"/>
          </ac:spMkLst>
        </pc:spChg>
        <pc:spChg chg="mod">
          <ac:chgData name="Ranjini Aravind" userId="726d5c6377dea8df" providerId="LiveId" clId="{C528F0B3-31AF-4638-BD7D-4886042C0E28}" dt="2025-05-30T13:13:38.355" v="568" actId="554"/>
          <ac:spMkLst>
            <pc:docMk/>
            <pc:sldMk cId="3620360636" sldId="284"/>
            <ac:spMk id="14" creationId="{5035C3C8-5B5C-4F78-A5C3-8CDB0F3B7369}"/>
          </ac:spMkLst>
        </pc:spChg>
        <pc:spChg chg="mod">
          <ac:chgData name="Ranjini Aravind" userId="726d5c6377dea8df" providerId="LiveId" clId="{C528F0B3-31AF-4638-BD7D-4886042C0E28}" dt="2025-05-30T13:13:20.279" v="563" actId="207"/>
          <ac:spMkLst>
            <pc:docMk/>
            <pc:sldMk cId="3620360636" sldId="284"/>
            <ac:spMk id="17" creationId="{C7A12E3A-AD08-DB11-2BA1-2A5239B31F8E}"/>
          </ac:spMkLst>
        </pc:spChg>
        <pc:graphicFrameChg chg="mod">
          <ac:chgData name="Ranjini Aravind" userId="726d5c6377dea8df" providerId="LiveId" clId="{C528F0B3-31AF-4638-BD7D-4886042C0E28}" dt="2025-05-30T13:13:46.626" v="570" actId="1076"/>
          <ac:graphicFrameMkLst>
            <pc:docMk/>
            <pc:sldMk cId="3620360636" sldId="284"/>
            <ac:graphicFrameMk id="33" creationId="{ACC8377B-A613-DF35-9F09-9F2B478EF637}"/>
          </ac:graphicFrameMkLst>
        </pc:graphicFrameChg>
      </pc:sldChg>
      <pc:sldChg chg="addSp modSp mod">
        <pc:chgData name="Ranjini Aravind" userId="726d5c6377dea8df" providerId="LiveId" clId="{C528F0B3-31AF-4638-BD7D-4886042C0E28}" dt="2025-05-30T13:14:16.736" v="575" actId="1076"/>
        <pc:sldMkLst>
          <pc:docMk/>
          <pc:sldMk cId="2583134817" sldId="285"/>
        </pc:sldMkLst>
        <pc:spChg chg="add mod">
          <ac:chgData name="Ranjini Aravind" userId="726d5c6377dea8df" providerId="LiveId" clId="{C528F0B3-31AF-4638-BD7D-4886042C0E28}" dt="2025-05-30T13:14:16.736" v="575" actId="1076"/>
          <ac:spMkLst>
            <pc:docMk/>
            <pc:sldMk cId="2583134817" sldId="285"/>
            <ac:spMk id="2" creationId="{6C25F6A0-841F-EA21-8843-3381297BDD9B}"/>
          </ac:spMkLst>
        </pc:spChg>
        <pc:spChg chg="add mod">
          <ac:chgData name="Ranjini Aravind" userId="726d5c6377dea8df" providerId="LiveId" clId="{C528F0B3-31AF-4638-BD7D-4886042C0E28}" dt="2025-05-30T13:14:16.736" v="575" actId="1076"/>
          <ac:spMkLst>
            <pc:docMk/>
            <pc:sldMk cId="2583134817" sldId="285"/>
            <ac:spMk id="3" creationId="{70C9C5DA-245F-3708-C37C-9181FFA73514}"/>
          </ac:spMkLst>
        </pc:spChg>
        <pc:spChg chg="mod">
          <ac:chgData name="Ranjini Aravind" userId="726d5c6377dea8df" providerId="LiveId" clId="{C528F0B3-31AF-4638-BD7D-4886042C0E28}" dt="2025-05-30T13:14:06.929" v="573" actId="1076"/>
          <ac:spMkLst>
            <pc:docMk/>
            <pc:sldMk cId="2583134817" sldId="285"/>
            <ac:spMk id="32" creationId="{CD5FFBE7-2A8F-3D90-0A35-B107999B667D}"/>
          </ac:spMkLst>
        </pc:spChg>
        <pc:spChg chg="mod">
          <ac:chgData name="Ranjini Aravind" userId="726d5c6377dea8df" providerId="LiveId" clId="{C528F0B3-31AF-4638-BD7D-4886042C0E28}" dt="2025-05-30T13:14:06.929" v="573" actId="1076"/>
          <ac:spMkLst>
            <pc:docMk/>
            <pc:sldMk cId="2583134817" sldId="285"/>
            <ac:spMk id="50" creationId="{8D60C605-593D-EDCF-5E23-77497CE3D627}"/>
          </ac:spMkLst>
        </pc:spChg>
        <pc:graphicFrameChg chg="mod">
          <ac:chgData name="Ranjini Aravind" userId="726d5c6377dea8df" providerId="LiveId" clId="{C528F0B3-31AF-4638-BD7D-4886042C0E28}" dt="2025-05-30T13:14:06.929" v="573" actId="1076"/>
          <ac:graphicFrameMkLst>
            <pc:docMk/>
            <pc:sldMk cId="2583134817" sldId="285"/>
            <ac:graphicFrameMk id="6" creationId="{FABDD7E9-C3AF-40A8-7E90-CF9020B280E1}"/>
          </ac:graphicFrameMkLst>
        </pc:graphicFrameChg>
        <pc:graphicFrameChg chg="mod">
          <ac:chgData name="Ranjini Aravind" userId="726d5c6377dea8df" providerId="LiveId" clId="{C528F0B3-31AF-4638-BD7D-4886042C0E28}" dt="2025-05-30T13:14:06.929" v="573" actId="1076"/>
          <ac:graphicFrameMkLst>
            <pc:docMk/>
            <pc:sldMk cId="2583134817" sldId="285"/>
            <ac:graphicFrameMk id="10" creationId="{63AD1048-9381-FFD0-133C-0FDAE8EF9FD9}"/>
          </ac:graphicFrameMkLst>
        </pc:graphicFrameChg>
      </pc:sldChg>
      <pc:sldChg chg="addSp modSp mod">
        <pc:chgData name="Ranjini Aravind" userId="726d5c6377dea8df" providerId="LiveId" clId="{C528F0B3-31AF-4638-BD7D-4886042C0E28}" dt="2025-05-30T13:15:28.472" v="597" actId="14100"/>
        <pc:sldMkLst>
          <pc:docMk/>
          <pc:sldMk cId="2792113932" sldId="287"/>
        </pc:sldMkLst>
        <pc:spChg chg="add mod">
          <ac:chgData name="Ranjini Aravind" userId="726d5c6377dea8df" providerId="LiveId" clId="{C528F0B3-31AF-4638-BD7D-4886042C0E28}" dt="2025-05-30T13:15:06.438" v="589" actId="14100"/>
          <ac:spMkLst>
            <pc:docMk/>
            <pc:sldMk cId="2792113932" sldId="287"/>
            <ac:spMk id="2" creationId="{E8026D10-BDEB-05C2-7C00-802F937A78BC}"/>
          </ac:spMkLst>
        </pc:spChg>
        <pc:spChg chg="add mod">
          <ac:chgData name="Ranjini Aravind" userId="726d5c6377dea8df" providerId="LiveId" clId="{C528F0B3-31AF-4638-BD7D-4886042C0E28}" dt="2025-05-30T13:15:19.225" v="592" actId="552"/>
          <ac:spMkLst>
            <pc:docMk/>
            <pc:sldMk cId="2792113932" sldId="287"/>
            <ac:spMk id="3" creationId="{A8CE9AAA-481B-673F-A7D0-CA8098A55E86}"/>
          </ac:spMkLst>
        </pc:spChg>
        <pc:spChg chg="add mod">
          <ac:chgData name="Ranjini Aravind" userId="726d5c6377dea8df" providerId="LiveId" clId="{C528F0B3-31AF-4638-BD7D-4886042C0E28}" dt="2025-05-30T13:15:21.414" v="594" actId="552"/>
          <ac:spMkLst>
            <pc:docMk/>
            <pc:sldMk cId="2792113932" sldId="287"/>
            <ac:spMk id="5" creationId="{11171505-0907-49FE-1D08-C0699E05C9A4}"/>
          </ac:spMkLst>
        </pc:spChg>
        <pc:spChg chg="add mod">
          <ac:chgData name="Ranjini Aravind" userId="726d5c6377dea8df" providerId="LiveId" clId="{C528F0B3-31AF-4638-BD7D-4886042C0E28}" dt="2025-05-30T13:15:23.888" v="596" actId="552"/>
          <ac:spMkLst>
            <pc:docMk/>
            <pc:sldMk cId="2792113932" sldId="287"/>
            <ac:spMk id="6" creationId="{E978F2FB-88FF-492D-251C-2337066AB539}"/>
          </ac:spMkLst>
        </pc:spChg>
        <pc:grpChg chg="mod">
          <ac:chgData name="Ranjini Aravind" userId="726d5c6377dea8df" providerId="LiveId" clId="{C528F0B3-31AF-4638-BD7D-4886042C0E28}" dt="2025-05-30T13:15:23.888" v="596" actId="552"/>
          <ac:grpSpMkLst>
            <pc:docMk/>
            <pc:sldMk cId="2792113932" sldId="287"/>
            <ac:grpSpMk id="17" creationId="{364A1598-6201-D79A-C8F0-E01AB9912757}"/>
          </ac:grpSpMkLst>
        </pc:grpChg>
        <pc:grpChg chg="mod">
          <ac:chgData name="Ranjini Aravind" userId="726d5c6377dea8df" providerId="LiveId" clId="{C528F0B3-31AF-4638-BD7D-4886042C0E28}" dt="2025-05-30T13:14:58.839" v="588" actId="552"/>
          <ac:grpSpMkLst>
            <pc:docMk/>
            <pc:sldMk cId="2792113932" sldId="287"/>
            <ac:grpSpMk id="23" creationId="{513AF790-F164-08C1-B4C5-FB407AAE580E}"/>
          </ac:grpSpMkLst>
        </pc:grpChg>
        <pc:grpChg chg="mod">
          <ac:chgData name="Ranjini Aravind" userId="726d5c6377dea8df" providerId="LiveId" clId="{C528F0B3-31AF-4638-BD7D-4886042C0E28}" dt="2025-05-30T13:15:19.225" v="592" actId="552"/>
          <ac:grpSpMkLst>
            <pc:docMk/>
            <pc:sldMk cId="2792113932" sldId="287"/>
            <ac:grpSpMk id="25" creationId="{E3E708B8-7198-2EB2-3B58-90531766FA7F}"/>
          </ac:grpSpMkLst>
        </pc:grpChg>
        <pc:grpChg chg="mod">
          <ac:chgData name="Ranjini Aravind" userId="726d5c6377dea8df" providerId="LiveId" clId="{C528F0B3-31AF-4638-BD7D-4886042C0E28}" dt="2025-05-30T13:15:21.414" v="594" actId="552"/>
          <ac:grpSpMkLst>
            <pc:docMk/>
            <pc:sldMk cId="2792113932" sldId="287"/>
            <ac:grpSpMk id="29" creationId="{1A898BFD-3049-9696-0538-7E48655CA09E}"/>
          </ac:grpSpMkLst>
        </pc:grpChg>
        <pc:graphicFrameChg chg="mod">
          <ac:chgData name="Ranjini Aravind" userId="726d5c6377dea8df" providerId="LiveId" clId="{C528F0B3-31AF-4638-BD7D-4886042C0E28}" dt="2025-05-30T13:15:28.472" v="597" actId="14100"/>
          <ac:graphicFrameMkLst>
            <pc:docMk/>
            <pc:sldMk cId="2792113932" sldId="287"/>
            <ac:graphicFrameMk id="19" creationId="{FDD8F26B-EB3B-357B-DBF8-0C692BC11611}"/>
          </ac:graphicFrameMkLst>
        </pc:graphicFrameChg>
        <pc:graphicFrameChg chg="mod">
          <ac:chgData name="Ranjini Aravind" userId="726d5c6377dea8df" providerId="LiveId" clId="{C528F0B3-31AF-4638-BD7D-4886042C0E28}" dt="2025-05-30T13:15:28.472" v="597" actId="14100"/>
          <ac:graphicFrameMkLst>
            <pc:docMk/>
            <pc:sldMk cId="2792113932" sldId="287"/>
            <ac:graphicFrameMk id="20" creationId="{D061D769-6951-02F6-A3C5-875490B3D5DB}"/>
          </ac:graphicFrameMkLst>
        </pc:graphicFrameChg>
        <pc:graphicFrameChg chg="mod">
          <ac:chgData name="Ranjini Aravind" userId="726d5c6377dea8df" providerId="LiveId" clId="{C528F0B3-31AF-4638-BD7D-4886042C0E28}" dt="2025-05-30T13:15:28.472" v="597" actId="14100"/>
          <ac:graphicFrameMkLst>
            <pc:docMk/>
            <pc:sldMk cId="2792113932" sldId="287"/>
            <ac:graphicFrameMk id="21" creationId="{742E607B-9329-B0E1-8D8D-147530C47F9B}"/>
          </ac:graphicFrameMkLst>
        </pc:graphicFrameChg>
        <pc:graphicFrameChg chg="mod">
          <ac:chgData name="Ranjini Aravind" userId="726d5c6377dea8df" providerId="LiveId" clId="{C528F0B3-31AF-4638-BD7D-4886042C0E28}" dt="2025-05-30T13:15:28.472" v="597" actId="14100"/>
          <ac:graphicFrameMkLst>
            <pc:docMk/>
            <pc:sldMk cId="2792113932" sldId="287"/>
            <ac:graphicFrameMk id="24" creationId="{C9634FD6-1A0C-F0DD-5671-5F9072A3CB0F}"/>
          </ac:graphicFrameMkLst>
        </pc:graphicFrameChg>
      </pc:sldChg>
      <pc:sldChg chg="addSp modSp mod">
        <pc:chgData name="Ranjini Aravind" userId="726d5c6377dea8df" providerId="LiveId" clId="{C528F0B3-31AF-4638-BD7D-4886042C0E28}" dt="2025-05-30T13:14:45.701" v="583" actId="14100"/>
        <pc:sldMkLst>
          <pc:docMk/>
          <pc:sldMk cId="3856292426" sldId="300"/>
        </pc:sldMkLst>
        <pc:spChg chg="add mod">
          <ac:chgData name="Ranjini Aravind" userId="726d5c6377dea8df" providerId="LiveId" clId="{C528F0B3-31AF-4638-BD7D-4886042C0E28}" dt="2025-05-30T13:14:37.678" v="580" actId="554"/>
          <ac:spMkLst>
            <pc:docMk/>
            <pc:sldMk cId="3856292426" sldId="300"/>
            <ac:spMk id="3" creationId="{FC390A5D-AB4C-2C12-161B-05EC4BCCBE9C}"/>
          </ac:spMkLst>
        </pc:spChg>
        <pc:spChg chg="add mod">
          <ac:chgData name="Ranjini Aravind" userId="726d5c6377dea8df" providerId="LiveId" clId="{C528F0B3-31AF-4638-BD7D-4886042C0E28}" dt="2025-05-30T13:14:41.374" v="582" actId="554"/>
          <ac:spMkLst>
            <pc:docMk/>
            <pc:sldMk cId="3856292426" sldId="300"/>
            <ac:spMk id="4" creationId="{955035C9-C394-0FF1-004B-92AA8E003BB1}"/>
          </ac:spMkLst>
        </pc:spChg>
        <pc:spChg chg="mod">
          <ac:chgData name="Ranjini Aravind" userId="726d5c6377dea8df" providerId="LiveId" clId="{C528F0B3-31AF-4638-BD7D-4886042C0E28}" dt="2025-05-30T13:14:45.701" v="583" actId="14100"/>
          <ac:spMkLst>
            <pc:docMk/>
            <pc:sldMk cId="3856292426" sldId="300"/>
            <ac:spMk id="21" creationId="{954ABCAD-D3C1-2510-80D2-0161AD507AAF}"/>
          </ac:spMkLst>
        </pc:spChg>
        <pc:spChg chg="mod">
          <ac:chgData name="Ranjini Aravind" userId="726d5c6377dea8df" providerId="LiveId" clId="{C528F0B3-31AF-4638-BD7D-4886042C0E28}" dt="2025-05-30T13:14:45.701" v="583" actId="14100"/>
          <ac:spMkLst>
            <pc:docMk/>
            <pc:sldMk cId="3856292426" sldId="300"/>
            <ac:spMk id="22" creationId="{F482EDE4-1F78-FCA3-5A22-2C43F66C9478}"/>
          </ac:spMkLst>
        </pc:spChg>
      </pc:sldChg>
      <pc:sldChg chg="addSp delSp modSp mod">
        <pc:chgData name="Ranjini Aravind" userId="726d5c6377dea8df" providerId="LiveId" clId="{C528F0B3-31AF-4638-BD7D-4886042C0E28}" dt="2025-05-30T13:13:16.170" v="562" actId="14100"/>
        <pc:sldMkLst>
          <pc:docMk/>
          <pc:sldMk cId="496664818" sldId="1288"/>
        </pc:sldMkLst>
        <pc:spChg chg="add mod">
          <ac:chgData name="Ranjini Aravind" userId="726d5c6377dea8df" providerId="LiveId" clId="{C528F0B3-31AF-4638-BD7D-4886042C0E28}" dt="2025-05-30T13:13:04.073" v="558"/>
          <ac:spMkLst>
            <pc:docMk/>
            <pc:sldMk cId="496664818" sldId="1288"/>
            <ac:spMk id="7" creationId="{80A3EAFD-2147-69AD-7011-316DE56677BB}"/>
          </ac:spMkLst>
        </pc:spChg>
        <pc:spChg chg="add mod">
          <ac:chgData name="Ranjini Aravind" userId="726d5c6377dea8df" providerId="LiveId" clId="{C528F0B3-31AF-4638-BD7D-4886042C0E28}" dt="2025-05-30T13:13:04.073" v="558"/>
          <ac:spMkLst>
            <pc:docMk/>
            <pc:sldMk cId="496664818" sldId="1288"/>
            <ac:spMk id="9" creationId="{2ED00704-89B4-773F-428A-87CD34BFE601}"/>
          </ac:spMkLst>
        </pc:spChg>
        <pc:spChg chg="add mod">
          <ac:chgData name="Ranjini Aravind" userId="726d5c6377dea8df" providerId="LiveId" clId="{C528F0B3-31AF-4638-BD7D-4886042C0E28}" dt="2025-05-30T13:13:07.479" v="559" actId="571"/>
          <ac:spMkLst>
            <pc:docMk/>
            <pc:sldMk cId="496664818" sldId="1288"/>
            <ac:spMk id="11" creationId="{541C8AE0-2293-C5F3-6671-04B27B07A037}"/>
          </ac:spMkLst>
        </pc:spChg>
        <pc:spChg chg="add mod">
          <ac:chgData name="Ranjini Aravind" userId="726d5c6377dea8df" providerId="LiveId" clId="{C528F0B3-31AF-4638-BD7D-4886042C0E28}" dt="2025-05-30T13:13:07.479" v="559" actId="571"/>
          <ac:spMkLst>
            <pc:docMk/>
            <pc:sldMk cId="496664818" sldId="1288"/>
            <ac:spMk id="12" creationId="{55DDE706-139B-7319-5802-1F86B994C6B9}"/>
          </ac:spMkLst>
        </pc:spChg>
        <pc:graphicFrameChg chg="mod">
          <ac:chgData name="Ranjini Aravind" userId="726d5c6377dea8df" providerId="LiveId" clId="{C528F0B3-31AF-4638-BD7D-4886042C0E28}" dt="2025-05-30T13:13:16.170" v="562" actId="14100"/>
          <ac:graphicFrameMkLst>
            <pc:docMk/>
            <pc:sldMk cId="496664818" sldId="1288"/>
            <ac:graphicFrameMk id="6" creationId="{4C7E44B4-C59A-7403-3683-9C1483421C48}"/>
          </ac:graphicFrameMkLst>
        </pc:graphicFrameChg>
        <pc:graphicFrameChg chg="mod">
          <ac:chgData name="Ranjini Aravind" userId="726d5c6377dea8df" providerId="LiveId" clId="{C528F0B3-31AF-4638-BD7D-4886042C0E28}" dt="2025-05-30T13:13:16.170" v="562" actId="14100"/>
          <ac:graphicFrameMkLst>
            <pc:docMk/>
            <pc:sldMk cId="496664818" sldId="1288"/>
            <ac:graphicFrameMk id="10" creationId="{7387F23C-3D08-C785-8E82-422978FB9427}"/>
          </ac:graphicFrameMkLst>
        </pc:graphicFrameChg>
        <pc:graphicFrameChg chg="mod">
          <ac:chgData name="Ranjini Aravind" userId="726d5c6377dea8df" providerId="LiveId" clId="{C528F0B3-31AF-4638-BD7D-4886042C0E28}" dt="2025-05-30T13:13:09.947" v="560" actId="14100"/>
          <ac:graphicFrameMkLst>
            <pc:docMk/>
            <pc:sldMk cId="496664818" sldId="1288"/>
            <ac:graphicFrameMk id="25" creationId="{7F123DF9-273F-F2A2-07E0-04BBD47BFDC9}"/>
          </ac:graphicFrameMkLst>
        </pc:graphicFrameChg>
        <pc:graphicFrameChg chg="mod">
          <ac:chgData name="Ranjini Aravind" userId="726d5c6377dea8df" providerId="LiveId" clId="{C528F0B3-31AF-4638-BD7D-4886042C0E28}" dt="2025-05-30T13:13:09.947" v="560" actId="14100"/>
          <ac:graphicFrameMkLst>
            <pc:docMk/>
            <pc:sldMk cId="496664818" sldId="1288"/>
            <ac:graphicFrameMk id="36" creationId="{A040B5CB-E2CA-D923-7D17-9E7B4C63C309}"/>
          </ac:graphicFrameMkLst>
        </pc:graphicFrameChg>
      </pc:sldChg>
      <pc:sldChg chg="addSp modSp mod">
        <pc:chgData name="Ranjini Aravind" userId="726d5c6377dea8df" providerId="LiveId" clId="{C528F0B3-31AF-4638-BD7D-4886042C0E28}" dt="2025-05-30T13:11:44.883" v="536" actId="3064"/>
        <pc:sldMkLst>
          <pc:docMk/>
          <pc:sldMk cId="1662896151" sldId="1289"/>
        </pc:sldMkLst>
        <pc:spChg chg="add mod">
          <ac:chgData name="Ranjini Aravind" userId="726d5c6377dea8df" providerId="LiveId" clId="{C528F0B3-31AF-4638-BD7D-4886042C0E28}" dt="2025-05-30T13:11:44.883" v="536" actId="3064"/>
          <ac:spMkLst>
            <pc:docMk/>
            <pc:sldMk cId="1662896151" sldId="1289"/>
            <ac:spMk id="2" creationId="{C4782E4D-4DD9-C752-309E-2D9591CC8E66}"/>
          </ac:spMkLst>
        </pc:spChg>
        <pc:spChg chg="mod">
          <ac:chgData name="Ranjini Aravind" userId="726d5c6377dea8df" providerId="LiveId" clId="{C528F0B3-31AF-4638-BD7D-4886042C0E28}" dt="2025-05-30T13:11:36.531" v="533" actId="1076"/>
          <ac:spMkLst>
            <pc:docMk/>
            <pc:sldMk cId="1662896151" sldId="1289"/>
            <ac:spMk id="3" creationId="{84B04A34-9AC7-0936-E42F-CE9972E0FC5F}"/>
          </ac:spMkLst>
        </pc:spChg>
        <pc:spChg chg="add mod">
          <ac:chgData name="Ranjini Aravind" userId="726d5c6377dea8df" providerId="LiveId" clId="{C528F0B3-31AF-4638-BD7D-4886042C0E28}" dt="2025-05-30T13:11:44.883" v="536" actId="3064"/>
          <ac:spMkLst>
            <pc:docMk/>
            <pc:sldMk cId="1662896151" sldId="1289"/>
            <ac:spMk id="5" creationId="{960F907A-94BF-4CDB-4870-2F0B6AE55254}"/>
          </ac:spMkLst>
        </pc:spChg>
        <pc:spChg chg="mod">
          <ac:chgData name="Ranjini Aravind" userId="726d5c6377dea8df" providerId="LiveId" clId="{C528F0B3-31AF-4638-BD7D-4886042C0E28}" dt="2025-05-30T13:11:36.531" v="533" actId="1076"/>
          <ac:spMkLst>
            <pc:docMk/>
            <pc:sldMk cId="1662896151" sldId="1289"/>
            <ac:spMk id="36" creationId="{DA001319-2C58-6BF4-5624-42CCF5031FB4}"/>
          </ac:spMkLst>
        </pc:spChg>
        <pc:graphicFrameChg chg="mod">
          <ac:chgData name="Ranjini Aravind" userId="726d5c6377dea8df" providerId="LiveId" clId="{C528F0B3-31AF-4638-BD7D-4886042C0E28}" dt="2025-05-30T13:11:36.531" v="533" actId="1076"/>
          <ac:graphicFrameMkLst>
            <pc:docMk/>
            <pc:sldMk cId="1662896151" sldId="1289"/>
            <ac:graphicFrameMk id="7" creationId="{B06DBC49-34BE-8CF4-FBF1-3ED41A578915}"/>
          </ac:graphicFrameMkLst>
        </pc:graphicFrameChg>
        <pc:graphicFrameChg chg="mod">
          <ac:chgData name="Ranjini Aravind" userId="726d5c6377dea8df" providerId="LiveId" clId="{C528F0B3-31AF-4638-BD7D-4886042C0E28}" dt="2025-05-30T13:11:36.531" v="533" actId="1076"/>
          <ac:graphicFrameMkLst>
            <pc:docMk/>
            <pc:sldMk cId="1662896151" sldId="1289"/>
            <ac:graphicFrameMk id="9" creationId="{4BC805E0-F74D-F895-8A6A-3B8A7BD6C5DB}"/>
          </ac:graphicFrameMkLst>
        </pc:graphicFrameChg>
      </pc:sldChg>
      <pc:sldChg chg="modSp mod">
        <pc:chgData name="Ranjini Aravind" userId="726d5c6377dea8df" providerId="LiveId" clId="{C528F0B3-31AF-4638-BD7D-4886042C0E28}" dt="2025-05-30T13:10:32.964" v="519" actId="207"/>
        <pc:sldMkLst>
          <pc:docMk/>
          <pc:sldMk cId="3227901289" sldId="1296"/>
        </pc:sldMkLst>
        <pc:spChg chg="mod">
          <ac:chgData name="Ranjini Aravind" userId="726d5c6377dea8df" providerId="LiveId" clId="{C528F0B3-31AF-4638-BD7D-4886042C0E28}" dt="2025-05-30T13:10:29.386" v="518" actId="207"/>
          <ac:spMkLst>
            <pc:docMk/>
            <pc:sldMk cId="3227901289" sldId="1296"/>
            <ac:spMk id="76" creationId="{96A3F920-B3A8-B2CA-FDFE-FF057129B4FC}"/>
          </ac:spMkLst>
        </pc:spChg>
        <pc:spChg chg="mod">
          <ac:chgData name="Ranjini Aravind" userId="726d5c6377dea8df" providerId="LiveId" clId="{C528F0B3-31AF-4638-BD7D-4886042C0E28}" dt="2025-05-30T13:10:32.964" v="519" actId="207"/>
          <ac:spMkLst>
            <pc:docMk/>
            <pc:sldMk cId="3227901289" sldId="1296"/>
            <ac:spMk id="85" creationId="{A53816F9-D74D-00F6-C058-0EC678BE1B02}"/>
          </ac:spMkLst>
        </pc:spChg>
      </pc:sldChg>
      <pc:sldChg chg="addSp modSp mod">
        <pc:chgData name="Ranjini Aravind" userId="726d5c6377dea8df" providerId="LiveId" clId="{C528F0B3-31AF-4638-BD7D-4886042C0E28}" dt="2025-05-30T13:12:28.905" v="552" actId="1035"/>
        <pc:sldMkLst>
          <pc:docMk/>
          <pc:sldMk cId="556544851" sldId="1297"/>
        </pc:sldMkLst>
        <pc:spChg chg="add mod">
          <ac:chgData name="Ranjini Aravind" userId="726d5c6377dea8df" providerId="LiveId" clId="{C528F0B3-31AF-4638-BD7D-4886042C0E28}" dt="2025-05-30T13:12:19.180" v="544" actId="14100"/>
          <ac:spMkLst>
            <pc:docMk/>
            <pc:sldMk cId="556544851" sldId="1297"/>
            <ac:spMk id="2" creationId="{08DA3401-DC69-1FE0-FA6D-5D27A5FA545F}"/>
          </ac:spMkLst>
        </pc:spChg>
        <pc:spChg chg="add mod">
          <ac:chgData name="Ranjini Aravind" userId="726d5c6377dea8df" providerId="LiveId" clId="{C528F0B3-31AF-4638-BD7D-4886042C0E28}" dt="2025-05-30T13:12:22.023" v="546" actId="552"/>
          <ac:spMkLst>
            <pc:docMk/>
            <pc:sldMk cId="556544851" sldId="1297"/>
            <ac:spMk id="4" creationId="{841263E1-3390-BFF5-636F-12BE78094AA9}"/>
          </ac:spMkLst>
        </pc:spChg>
        <pc:spChg chg="add mod">
          <ac:chgData name="Ranjini Aravind" userId="726d5c6377dea8df" providerId="LiveId" clId="{C528F0B3-31AF-4638-BD7D-4886042C0E28}" dt="2025-05-30T13:12:24.225" v="548" actId="552"/>
          <ac:spMkLst>
            <pc:docMk/>
            <pc:sldMk cId="556544851" sldId="1297"/>
            <ac:spMk id="5" creationId="{DEAE79F2-ABC3-6837-AEBD-79D213225684}"/>
          </ac:spMkLst>
        </pc:spChg>
        <pc:spChg chg="mod">
          <ac:chgData name="Ranjini Aravind" userId="726d5c6377dea8df" providerId="LiveId" clId="{C528F0B3-31AF-4638-BD7D-4886042C0E28}" dt="2025-05-30T13:12:24.225" v="548" actId="552"/>
          <ac:spMkLst>
            <pc:docMk/>
            <pc:sldMk cId="556544851" sldId="1297"/>
            <ac:spMk id="13" creationId="{95AB97F3-8978-D5BD-30C4-E3F71534ABD2}"/>
          </ac:spMkLst>
        </pc:spChg>
        <pc:spChg chg="mod">
          <ac:chgData name="Ranjini Aravind" userId="726d5c6377dea8df" providerId="LiveId" clId="{C528F0B3-31AF-4638-BD7D-4886042C0E28}" dt="2025-05-30T13:12:13.149" v="543" actId="552"/>
          <ac:spMkLst>
            <pc:docMk/>
            <pc:sldMk cId="556544851" sldId="1297"/>
            <ac:spMk id="32" creationId="{E351439F-5E11-9C28-CFE5-01CBE80E599B}"/>
          </ac:spMkLst>
        </pc:spChg>
        <pc:spChg chg="mod">
          <ac:chgData name="Ranjini Aravind" userId="726d5c6377dea8df" providerId="LiveId" clId="{C528F0B3-31AF-4638-BD7D-4886042C0E28}" dt="2025-05-30T13:12:22.023" v="546" actId="552"/>
          <ac:spMkLst>
            <pc:docMk/>
            <pc:sldMk cId="556544851" sldId="1297"/>
            <ac:spMk id="50" creationId="{9E024974-9748-CD21-4730-ABEEB982A16C}"/>
          </ac:spMkLst>
        </pc:spChg>
        <pc:graphicFrameChg chg="mod">
          <ac:chgData name="Ranjini Aravind" userId="726d5c6377dea8df" providerId="LiveId" clId="{C528F0B3-31AF-4638-BD7D-4886042C0E28}" dt="2025-05-30T13:12:28.905" v="552" actId="1035"/>
          <ac:graphicFrameMkLst>
            <pc:docMk/>
            <pc:sldMk cId="556544851" sldId="1297"/>
            <ac:graphicFrameMk id="9" creationId="{2DAE474B-860B-D823-87E8-F8458336331F}"/>
          </ac:graphicFrameMkLst>
        </pc:graphicFrameChg>
        <pc:graphicFrameChg chg="mod">
          <ac:chgData name="Ranjini Aravind" userId="726d5c6377dea8df" providerId="LiveId" clId="{C528F0B3-31AF-4638-BD7D-4886042C0E28}" dt="2025-05-30T13:12:28.905" v="552" actId="1035"/>
          <ac:graphicFrameMkLst>
            <pc:docMk/>
            <pc:sldMk cId="556544851" sldId="1297"/>
            <ac:graphicFrameMk id="12" creationId="{DD682C09-7F9B-8348-C678-033198242B57}"/>
          </ac:graphicFrameMkLst>
        </pc:graphicFrameChg>
        <pc:graphicFrameChg chg="mod">
          <ac:chgData name="Ranjini Aravind" userId="726d5c6377dea8df" providerId="LiveId" clId="{C528F0B3-31AF-4638-BD7D-4886042C0E28}" dt="2025-05-30T13:12:28.905" v="552" actId="1035"/>
          <ac:graphicFrameMkLst>
            <pc:docMk/>
            <pc:sldMk cId="556544851" sldId="1297"/>
            <ac:graphicFrameMk id="35" creationId="{57F76CBC-2254-12C7-F490-D98296DEB0D8}"/>
          </ac:graphicFrameMkLst>
        </pc:graphicFrameChg>
      </pc:sldChg>
      <pc:sldChg chg="modSp mod">
        <pc:chgData name="Ranjini Aravind" userId="726d5c6377dea8df" providerId="LiveId" clId="{C528F0B3-31AF-4638-BD7D-4886042C0E28}" dt="2025-05-30T13:10:17.129" v="515" actId="207"/>
        <pc:sldMkLst>
          <pc:docMk/>
          <pc:sldMk cId="638052541" sldId="2147472324"/>
        </pc:sldMkLst>
        <pc:spChg chg="mod">
          <ac:chgData name="Ranjini Aravind" userId="726d5c6377dea8df" providerId="LiveId" clId="{C528F0B3-31AF-4638-BD7D-4886042C0E28}" dt="2025-05-30T13:10:17.129" v="515" actId="207"/>
          <ac:spMkLst>
            <pc:docMk/>
            <pc:sldMk cId="638052541" sldId="2147472324"/>
            <ac:spMk id="20" creationId="{0980BA99-FD1E-F94C-FF00-13F965CF7275}"/>
          </ac:spMkLst>
        </pc:spChg>
        <pc:spChg chg="mod">
          <ac:chgData name="Ranjini Aravind" userId="726d5c6377dea8df" providerId="LiveId" clId="{C528F0B3-31AF-4638-BD7D-4886042C0E28}" dt="2025-05-30T13:09:58.212" v="510" actId="207"/>
          <ac:spMkLst>
            <pc:docMk/>
            <pc:sldMk cId="638052541" sldId="2147472324"/>
            <ac:spMk id="24" creationId="{F259EF2B-E1F1-7005-24FE-77535601BA82}"/>
          </ac:spMkLst>
        </pc:spChg>
        <pc:spChg chg="mod">
          <ac:chgData name="Ranjini Aravind" userId="726d5c6377dea8df" providerId="LiveId" clId="{C528F0B3-31AF-4638-BD7D-4886042C0E28}" dt="2025-05-30T13:10:13.662" v="514" actId="207"/>
          <ac:spMkLst>
            <pc:docMk/>
            <pc:sldMk cId="638052541" sldId="2147472324"/>
            <ac:spMk id="30" creationId="{2BCA2022-67E4-FFF4-632D-C67515F955F8}"/>
          </ac:spMkLst>
        </pc:spChg>
        <pc:spChg chg="mod">
          <ac:chgData name="Ranjini Aravind" userId="726d5c6377dea8df" providerId="LiveId" clId="{C528F0B3-31AF-4638-BD7D-4886042C0E28}" dt="2025-05-30T13:10:06.757" v="512" actId="207"/>
          <ac:spMkLst>
            <pc:docMk/>
            <pc:sldMk cId="638052541" sldId="2147472324"/>
            <ac:spMk id="31" creationId="{6EDF7A10-600C-3B31-C672-8B853E72D7FA}"/>
          </ac:spMkLst>
        </pc:spChg>
      </pc:sldChg>
      <pc:sldChg chg="addSp delSp modSp mod">
        <pc:chgData name="Ranjini Aravind" userId="726d5c6377dea8df" providerId="LiveId" clId="{C528F0B3-31AF-4638-BD7D-4886042C0E28}" dt="2025-05-30T08:21:42.362" v="275"/>
        <pc:sldMkLst>
          <pc:docMk/>
          <pc:sldMk cId="4235339545" sldId="2147472327"/>
        </pc:sldMkLst>
        <pc:spChg chg="add mod">
          <ac:chgData name="Ranjini Aravind" userId="726d5c6377dea8df" providerId="LiveId" clId="{C528F0B3-31AF-4638-BD7D-4886042C0E28}" dt="2025-05-30T08:21:42.362" v="275"/>
          <ac:spMkLst>
            <pc:docMk/>
            <pc:sldMk cId="4235339545" sldId="2147472327"/>
            <ac:spMk id="6" creationId="{E44575A9-3264-752D-EBD4-36C650B1A88D}"/>
          </ac:spMkLst>
        </pc:spChg>
        <pc:spChg chg="mod">
          <ac:chgData name="Ranjini Aravind" userId="726d5c6377dea8df" providerId="LiveId" clId="{C528F0B3-31AF-4638-BD7D-4886042C0E28}" dt="2025-05-30T08:17:17.465" v="97" actId="552"/>
          <ac:spMkLst>
            <pc:docMk/>
            <pc:sldMk cId="4235339545" sldId="2147472327"/>
            <ac:spMk id="14" creationId="{75CB0F99-A526-3960-6AE9-8846E972ECCC}"/>
          </ac:spMkLst>
        </pc:spChg>
        <pc:graphicFrameChg chg="mod">
          <ac:chgData name="Ranjini Aravind" userId="726d5c6377dea8df" providerId="LiveId" clId="{C528F0B3-31AF-4638-BD7D-4886042C0E28}" dt="2025-05-30T08:18:11.357" v="128" actId="14100"/>
          <ac:graphicFrameMkLst>
            <pc:docMk/>
            <pc:sldMk cId="4235339545" sldId="2147472327"/>
            <ac:graphicFrameMk id="9" creationId="{61F3AB51-E43F-A4CA-19C0-8E0C31DD48AB}"/>
          </ac:graphicFrameMkLst>
        </pc:graphicFrameChg>
      </pc:sldChg>
      <pc:sldChg chg="addSp delSp modSp mod">
        <pc:chgData name="Ranjini Aravind" userId="726d5c6377dea8df" providerId="LiveId" clId="{C528F0B3-31AF-4638-BD7D-4886042C0E28}" dt="2025-05-30T08:21:39.957" v="273"/>
        <pc:sldMkLst>
          <pc:docMk/>
          <pc:sldMk cId="946008222" sldId="2147472328"/>
        </pc:sldMkLst>
        <pc:spChg chg="add mod">
          <ac:chgData name="Ranjini Aravind" userId="726d5c6377dea8df" providerId="LiveId" clId="{C528F0B3-31AF-4638-BD7D-4886042C0E28}" dt="2025-05-30T08:21:39.957" v="273"/>
          <ac:spMkLst>
            <pc:docMk/>
            <pc:sldMk cId="946008222" sldId="2147472328"/>
            <ac:spMk id="4" creationId="{16FCD568-FFA9-BB1C-E913-D925941259B8}"/>
          </ac:spMkLst>
        </pc:spChg>
        <pc:graphicFrameChg chg="mod">
          <ac:chgData name="Ranjini Aravind" userId="726d5c6377dea8df" providerId="LiveId" clId="{C528F0B3-31AF-4638-BD7D-4886042C0E28}" dt="2025-05-30T08:19:51.967" v="250" actId="208"/>
          <ac:graphicFrameMkLst>
            <pc:docMk/>
            <pc:sldMk cId="946008222" sldId="2147472328"/>
            <ac:graphicFrameMk id="8" creationId="{056519EE-F02D-65D5-B610-68EF64CE71CA}"/>
          </ac:graphicFrameMkLst>
        </pc:graphicFrameChg>
      </pc:sldChg>
      <pc:sldChg chg="addSp delSp modSp mod">
        <pc:chgData name="Ranjini Aravind" userId="726d5c6377dea8df" providerId="LiveId" clId="{C528F0B3-31AF-4638-BD7D-4886042C0E28}" dt="2025-05-30T08:21:35.759" v="269"/>
        <pc:sldMkLst>
          <pc:docMk/>
          <pc:sldMk cId="1106277367" sldId="2147472329"/>
        </pc:sldMkLst>
        <pc:spChg chg="add mod">
          <ac:chgData name="Ranjini Aravind" userId="726d5c6377dea8df" providerId="LiveId" clId="{C528F0B3-31AF-4638-BD7D-4886042C0E28}" dt="2025-05-30T08:21:35.759" v="269"/>
          <ac:spMkLst>
            <pc:docMk/>
            <pc:sldMk cId="1106277367" sldId="2147472329"/>
            <ac:spMk id="4" creationId="{6D220788-493A-9494-D61E-F3676D98FE6E}"/>
          </ac:spMkLst>
        </pc:spChg>
        <pc:graphicFrameChg chg="mod">
          <ac:chgData name="Ranjini Aravind" userId="726d5c6377dea8df" providerId="LiveId" clId="{C528F0B3-31AF-4638-BD7D-4886042C0E28}" dt="2025-05-30T08:19:38.689" v="247" actId="692"/>
          <ac:graphicFrameMkLst>
            <pc:docMk/>
            <pc:sldMk cId="1106277367" sldId="2147472329"/>
            <ac:graphicFrameMk id="11" creationId="{DC18731A-3533-EEC0-BF60-462327F96908}"/>
          </ac:graphicFrameMkLst>
        </pc:graphicFrameChg>
      </pc:sldChg>
      <pc:sldChg chg="addSp delSp modSp mod">
        <pc:chgData name="Ranjini Aravind" userId="726d5c6377dea8df" providerId="LiveId" clId="{C528F0B3-31AF-4638-BD7D-4886042C0E28}" dt="2025-05-30T13:26:54.714" v="721" actId="692"/>
        <pc:sldMkLst>
          <pc:docMk/>
          <pc:sldMk cId="4179155389" sldId="2147472330"/>
        </pc:sldMkLst>
        <pc:spChg chg="add mod">
          <ac:chgData name="Ranjini Aravind" userId="726d5c6377dea8df" providerId="LiveId" clId="{C528F0B3-31AF-4638-BD7D-4886042C0E28}" dt="2025-05-30T08:21:33.826" v="267"/>
          <ac:spMkLst>
            <pc:docMk/>
            <pc:sldMk cId="4179155389" sldId="2147472330"/>
            <ac:spMk id="4" creationId="{9674927D-B756-E1FF-45D8-F758B08316D7}"/>
          </ac:spMkLst>
        </pc:spChg>
        <pc:graphicFrameChg chg="mod">
          <ac:chgData name="Ranjini Aravind" userId="726d5c6377dea8df" providerId="LiveId" clId="{C528F0B3-31AF-4638-BD7D-4886042C0E28}" dt="2025-05-30T13:26:54.714" v="721" actId="692"/>
          <ac:graphicFrameMkLst>
            <pc:docMk/>
            <pc:sldMk cId="4179155389" sldId="2147472330"/>
            <ac:graphicFrameMk id="8" creationId="{C7D1C5E0-B38C-AB9D-2A5E-24AFA204D1EC}"/>
          </ac:graphicFrameMkLst>
        </pc:graphicFrameChg>
      </pc:sldChg>
      <pc:sldChg chg="addSp modSp mod">
        <pc:chgData name="Ranjini Aravind" userId="726d5c6377dea8df" providerId="LiveId" clId="{C528F0B3-31AF-4638-BD7D-4886042C0E28}" dt="2025-05-30T13:27:54.595" v="726"/>
        <pc:sldMkLst>
          <pc:docMk/>
          <pc:sldMk cId="4012618859" sldId="2147472332"/>
        </pc:sldMkLst>
        <pc:spChg chg="add mod">
          <ac:chgData name="Ranjini Aravind" userId="726d5c6377dea8df" providerId="LiveId" clId="{C528F0B3-31AF-4638-BD7D-4886042C0E28}" dt="2025-05-30T08:21:29.921" v="265" actId="14100"/>
          <ac:spMkLst>
            <pc:docMk/>
            <pc:sldMk cId="4012618859" sldId="2147472332"/>
            <ac:spMk id="3" creationId="{3460F722-C281-4BC8-B1DC-4F7A6B2AD428}"/>
          </ac:spMkLst>
        </pc:spChg>
        <pc:graphicFrameChg chg="mod modGraphic">
          <ac:chgData name="Ranjini Aravind" userId="726d5c6377dea8df" providerId="LiveId" clId="{C528F0B3-31AF-4638-BD7D-4886042C0E28}" dt="2025-05-30T13:27:54.595" v="726"/>
          <ac:graphicFrameMkLst>
            <pc:docMk/>
            <pc:sldMk cId="4012618859" sldId="2147472332"/>
            <ac:graphicFrameMk id="11" creationId="{ED9BB783-EF98-6493-C90C-88FA3B064E9B}"/>
          </ac:graphicFrameMkLst>
        </pc:graphicFrameChg>
      </pc:sldChg>
      <pc:sldChg chg="addSp modSp mod">
        <pc:chgData name="Ranjini Aravind" userId="726d5c6377dea8df" providerId="LiveId" clId="{C528F0B3-31AF-4638-BD7D-4886042C0E28}" dt="2025-05-30T08:23:48.740" v="303" actId="207"/>
        <pc:sldMkLst>
          <pc:docMk/>
          <pc:sldMk cId="978674286" sldId="2147472334"/>
        </pc:sldMkLst>
        <pc:spChg chg="add mod">
          <ac:chgData name="Ranjini Aravind" userId="726d5c6377dea8df" providerId="LiveId" clId="{C528F0B3-31AF-4638-BD7D-4886042C0E28}" dt="2025-05-30T08:23:37.889" v="297"/>
          <ac:spMkLst>
            <pc:docMk/>
            <pc:sldMk cId="978674286" sldId="2147472334"/>
            <ac:spMk id="3" creationId="{F7A6A57D-8F08-F09B-48C3-4F5EA03671FF}"/>
          </ac:spMkLst>
        </pc:spChg>
        <pc:graphicFrameChg chg="mod">
          <ac:chgData name="Ranjini Aravind" userId="726d5c6377dea8df" providerId="LiveId" clId="{C528F0B3-31AF-4638-BD7D-4886042C0E28}" dt="2025-05-30T08:23:48.740" v="303" actId="207"/>
          <ac:graphicFrameMkLst>
            <pc:docMk/>
            <pc:sldMk cId="978674286" sldId="2147472334"/>
            <ac:graphicFrameMk id="8" creationId="{4BB6B214-DEAF-2A2B-AA1E-A27EDF171468}"/>
          </ac:graphicFrameMkLst>
        </pc:graphicFrameChg>
      </pc:sldChg>
      <pc:sldChg chg="addSp delSp modSp mod">
        <pc:chgData name="Ranjini Aravind" userId="726d5c6377dea8df" providerId="LiveId" clId="{C528F0B3-31AF-4638-BD7D-4886042C0E28}" dt="2025-05-30T08:25:56.208" v="351" actId="20577"/>
        <pc:sldMkLst>
          <pc:docMk/>
          <pc:sldMk cId="800340456" sldId="2147472335"/>
        </pc:sldMkLst>
        <pc:spChg chg="add mod topLvl">
          <ac:chgData name="Ranjini Aravind" userId="726d5c6377dea8df" providerId="LiveId" clId="{C528F0B3-31AF-4638-BD7D-4886042C0E28}" dt="2025-05-30T08:24:38.786" v="319" actId="165"/>
          <ac:spMkLst>
            <pc:docMk/>
            <pc:sldMk cId="800340456" sldId="2147472335"/>
            <ac:spMk id="3" creationId="{3335D377-3712-00D3-45F0-AB7EAFE82592}"/>
          </ac:spMkLst>
        </pc:spChg>
        <pc:spChg chg="add mod">
          <ac:chgData name="Ranjini Aravind" userId="726d5c6377dea8df" providerId="LiveId" clId="{C528F0B3-31AF-4638-BD7D-4886042C0E28}" dt="2025-05-30T08:25:56.208" v="351" actId="20577"/>
          <ac:spMkLst>
            <pc:docMk/>
            <pc:sldMk cId="800340456" sldId="2147472335"/>
            <ac:spMk id="6" creationId="{BF60B9F3-AA6C-E9A3-5B59-44A1BA4D7392}"/>
          </ac:spMkLst>
        </pc:spChg>
        <pc:spChg chg="mod">
          <ac:chgData name="Ranjini Aravind" userId="726d5c6377dea8df" providerId="LiveId" clId="{C528F0B3-31AF-4638-BD7D-4886042C0E28}" dt="2025-05-30T08:24:49.586" v="324" actId="3064"/>
          <ac:spMkLst>
            <pc:docMk/>
            <pc:sldMk cId="800340456" sldId="2147472335"/>
            <ac:spMk id="7" creationId="{88AA3B80-D8F3-6842-CEDD-A06DAA5351BF}"/>
          </ac:spMkLst>
        </pc:spChg>
        <pc:spChg chg="mod">
          <ac:chgData name="Ranjini Aravind" userId="726d5c6377dea8df" providerId="LiveId" clId="{C528F0B3-31AF-4638-BD7D-4886042C0E28}" dt="2025-05-30T08:24:07.604" v="308" actId="552"/>
          <ac:spMkLst>
            <pc:docMk/>
            <pc:sldMk cId="800340456" sldId="2147472335"/>
            <ac:spMk id="27" creationId="{72021D6B-C800-AB93-D2E4-D8ABAB8C10BE}"/>
          </ac:spMkLst>
        </pc:spChg>
        <pc:graphicFrameChg chg="mod">
          <ac:chgData name="Ranjini Aravind" userId="726d5c6377dea8df" providerId="LiveId" clId="{C528F0B3-31AF-4638-BD7D-4886042C0E28}" dt="2025-05-30T08:24:35.209" v="317" actId="14100"/>
          <ac:graphicFrameMkLst>
            <pc:docMk/>
            <pc:sldMk cId="800340456" sldId="2147472335"/>
            <ac:graphicFrameMk id="17" creationId="{C32BFE6C-9BE9-B95A-AE1A-3897F3FFFFC2}"/>
          </ac:graphicFrameMkLst>
        </pc:graphicFrameChg>
      </pc:sldChg>
      <pc:sldChg chg="addSp delSp modSp mod">
        <pc:chgData name="Ranjini Aravind" userId="726d5c6377dea8df" providerId="LiveId" clId="{C528F0B3-31AF-4638-BD7D-4886042C0E28}" dt="2025-05-30T13:28:59.664" v="737" actId="692"/>
        <pc:sldMkLst>
          <pc:docMk/>
          <pc:sldMk cId="1246325643" sldId="2147472336"/>
        </pc:sldMkLst>
        <pc:spChg chg="add mod">
          <ac:chgData name="Ranjini Aravind" userId="726d5c6377dea8df" providerId="LiveId" clId="{C528F0B3-31AF-4638-BD7D-4886042C0E28}" dt="2025-05-30T08:26:19.170" v="355"/>
          <ac:spMkLst>
            <pc:docMk/>
            <pc:sldMk cId="1246325643" sldId="2147472336"/>
            <ac:spMk id="3" creationId="{4C826DF3-44F5-7D33-D2D4-D7936E603A0C}"/>
          </ac:spMkLst>
        </pc:spChg>
        <pc:spChg chg="add mod">
          <ac:chgData name="Ranjini Aravind" userId="726d5c6377dea8df" providerId="LiveId" clId="{C528F0B3-31AF-4638-BD7D-4886042C0E28}" dt="2025-05-30T13:28:44.987" v="732" actId="1076"/>
          <ac:spMkLst>
            <pc:docMk/>
            <pc:sldMk cId="1246325643" sldId="2147472336"/>
            <ac:spMk id="4" creationId="{9C9D9DB1-C096-6932-180A-80E323D6AF03}"/>
          </ac:spMkLst>
        </pc:spChg>
        <pc:spChg chg="mod">
          <ac:chgData name="Ranjini Aravind" userId="726d5c6377dea8df" providerId="LiveId" clId="{C528F0B3-31AF-4638-BD7D-4886042C0E28}" dt="2025-05-30T08:28:10.057" v="403" actId="6549"/>
          <ac:spMkLst>
            <pc:docMk/>
            <pc:sldMk cId="1246325643" sldId="2147472336"/>
            <ac:spMk id="7" creationId="{1B0A58C7-8DE1-1E4D-25AB-AA03FDA2056D}"/>
          </ac:spMkLst>
        </pc:spChg>
        <pc:graphicFrameChg chg="mod">
          <ac:chgData name="Ranjini Aravind" userId="726d5c6377dea8df" providerId="LiveId" clId="{C528F0B3-31AF-4638-BD7D-4886042C0E28}" dt="2025-05-30T13:28:59.664" v="737" actId="692"/>
          <ac:graphicFrameMkLst>
            <pc:docMk/>
            <pc:sldMk cId="1246325643" sldId="2147472336"/>
            <ac:graphicFrameMk id="6" creationId="{66B56894-EB62-1B03-BCD6-CBB5425548D8}"/>
          </ac:graphicFrameMkLst>
        </pc:graphicFrameChg>
      </pc:sldChg>
      <pc:sldChg chg="addSp delSp modSp mod">
        <pc:chgData name="Ranjini Aravind" userId="726d5c6377dea8df" providerId="LiveId" clId="{C528F0B3-31AF-4638-BD7D-4886042C0E28}" dt="2025-05-30T13:29:25.242" v="743" actId="14100"/>
        <pc:sldMkLst>
          <pc:docMk/>
          <pc:sldMk cId="1168206863" sldId="2147472337"/>
        </pc:sldMkLst>
        <pc:spChg chg="add mod">
          <ac:chgData name="Ranjini Aravind" userId="726d5c6377dea8df" providerId="LiveId" clId="{C528F0B3-31AF-4638-BD7D-4886042C0E28}" dt="2025-05-30T08:26:35.735" v="361"/>
          <ac:spMkLst>
            <pc:docMk/>
            <pc:sldMk cId="1168206863" sldId="2147472337"/>
            <ac:spMk id="3" creationId="{913D83B0-0ED8-22A1-D844-4AB945ADE13F}"/>
          </ac:spMkLst>
        </pc:spChg>
        <pc:spChg chg="add mod">
          <ac:chgData name="Ranjini Aravind" userId="726d5c6377dea8df" providerId="LiveId" clId="{C528F0B3-31AF-4638-BD7D-4886042C0E28}" dt="2025-05-30T08:26:35.735" v="361"/>
          <ac:spMkLst>
            <pc:docMk/>
            <pc:sldMk cId="1168206863" sldId="2147472337"/>
            <ac:spMk id="4" creationId="{BCF0FB01-BA1E-0C88-5720-F3DE568A4510}"/>
          </ac:spMkLst>
        </pc:spChg>
        <pc:spChg chg="mod">
          <ac:chgData name="Ranjini Aravind" userId="726d5c6377dea8df" providerId="LiveId" clId="{C528F0B3-31AF-4638-BD7D-4886042C0E28}" dt="2025-05-30T08:28:22.606" v="411" actId="554"/>
          <ac:spMkLst>
            <pc:docMk/>
            <pc:sldMk cId="1168206863" sldId="2147472337"/>
            <ac:spMk id="7" creationId="{398F5D3C-68F1-6867-44BA-D4EAD29B7B99}"/>
          </ac:spMkLst>
        </pc:spChg>
        <pc:graphicFrameChg chg="mod">
          <ac:chgData name="Ranjini Aravind" userId="726d5c6377dea8df" providerId="LiveId" clId="{C528F0B3-31AF-4638-BD7D-4886042C0E28}" dt="2025-05-30T13:29:25.242" v="743" actId="14100"/>
          <ac:graphicFrameMkLst>
            <pc:docMk/>
            <pc:sldMk cId="1168206863" sldId="2147472337"/>
            <ac:graphicFrameMk id="9" creationId="{6A4F34C3-917D-8E91-0B27-46896E7B294F}"/>
          </ac:graphicFrameMkLst>
        </pc:graphicFrameChg>
      </pc:sldChg>
      <pc:sldChg chg="addSp delSp modSp mod">
        <pc:chgData name="Ranjini Aravind" userId="726d5c6377dea8df" providerId="LiveId" clId="{C528F0B3-31AF-4638-BD7D-4886042C0E28}" dt="2025-05-30T13:28:40.356" v="730" actId="14100"/>
        <pc:sldMkLst>
          <pc:docMk/>
          <pc:sldMk cId="3432924097" sldId="2147472338"/>
        </pc:sldMkLst>
        <pc:spChg chg="add del mod">
          <ac:chgData name="Ranjini Aravind" userId="726d5c6377dea8df" providerId="LiveId" clId="{C528F0B3-31AF-4638-BD7D-4886042C0E28}" dt="2025-05-30T08:28:15.560" v="406" actId="6549"/>
          <ac:spMkLst>
            <pc:docMk/>
            <pc:sldMk cId="3432924097" sldId="2147472338"/>
            <ac:spMk id="7" creationId="{6E3595C4-389C-647B-A4F3-F62FFC3227CE}"/>
          </ac:spMkLst>
        </pc:spChg>
        <pc:spChg chg="add mod">
          <ac:chgData name="Ranjini Aravind" userId="726d5c6377dea8df" providerId="LiveId" clId="{C528F0B3-31AF-4638-BD7D-4886042C0E28}" dt="2025-05-30T08:26:02.734" v="353"/>
          <ac:spMkLst>
            <pc:docMk/>
            <pc:sldMk cId="3432924097" sldId="2147472338"/>
            <ac:spMk id="11" creationId="{6D6145D4-8B2F-2279-C02C-8B84722230BE}"/>
          </ac:spMkLst>
        </pc:spChg>
        <pc:spChg chg="add mod">
          <ac:chgData name="Ranjini Aravind" userId="726d5c6377dea8df" providerId="LiveId" clId="{C528F0B3-31AF-4638-BD7D-4886042C0E28}" dt="2025-05-30T08:26:02.734" v="353"/>
          <ac:spMkLst>
            <pc:docMk/>
            <pc:sldMk cId="3432924097" sldId="2147472338"/>
            <ac:spMk id="12" creationId="{D4C2F03C-01DF-0635-8A93-691D27F2F21B}"/>
          </ac:spMkLst>
        </pc:spChg>
        <pc:graphicFrameChg chg="mod">
          <ac:chgData name="Ranjini Aravind" userId="726d5c6377dea8df" providerId="LiveId" clId="{C528F0B3-31AF-4638-BD7D-4886042C0E28}" dt="2025-05-30T13:28:40.356" v="730" actId="14100"/>
          <ac:graphicFrameMkLst>
            <pc:docMk/>
            <pc:sldMk cId="3432924097" sldId="2147472338"/>
            <ac:graphicFrameMk id="13" creationId="{7C0BF7A6-9468-974C-EFEF-A08FDF8FA969}"/>
          </ac:graphicFrameMkLst>
        </pc:graphicFrameChg>
      </pc:sldChg>
      <pc:sldChg chg="addSp delSp modSp mod">
        <pc:chgData name="Ranjini Aravind" userId="726d5c6377dea8df" providerId="LiveId" clId="{C528F0B3-31AF-4638-BD7D-4886042C0E28}" dt="2025-05-30T13:29:44.822" v="748" actId="14100"/>
        <pc:sldMkLst>
          <pc:docMk/>
          <pc:sldMk cId="1660967463" sldId="2147472339"/>
        </pc:sldMkLst>
        <pc:spChg chg="add mod">
          <ac:chgData name="Ranjini Aravind" userId="726d5c6377dea8df" providerId="LiveId" clId="{C528F0B3-31AF-4638-BD7D-4886042C0E28}" dt="2025-05-30T08:26:41.484" v="364"/>
          <ac:spMkLst>
            <pc:docMk/>
            <pc:sldMk cId="1660967463" sldId="2147472339"/>
            <ac:spMk id="3" creationId="{773406EB-6A14-6F5B-0043-09E4CF54C868}"/>
          </ac:spMkLst>
        </pc:spChg>
        <pc:spChg chg="add mod">
          <ac:chgData name="Ranjini Aravind" userId="726d5c6377dea8df" providerId="LiveId" clId="{C528F0B3-31AF-4638-BD7D-4886042C0E28}" dt="2025-05-30T08:26:41.484" v="364"/>
          <ac:spMkLst>
            <pc:docMk/>
            <pc:sldMk cId="1660967463" sldId="2147472339"/>
            <ac:spMk id="4" creationId="{811751D8-1634-D415-2693-6E4EC0D4ED90}"/>
          </ac:spMkLst>
        </pc:spChg>
        <pc:spChg chg="mod">
          <ac:chgData name="Ranjini Aravind" userId="726d5c6377dea8df" providerId="LiveId" clId="{C528F0B3-31AF-4638-BD7D-4886042C0E28}" dt="2025-05-30T08:28:25.870" v="414" actId="554"/>
          <ac:spMkLst>
            <pc:docMk/>
            <pc:sldMk cId="1660967463" sldId="2147472339"/>
            <ac:spMk id="7" creationId="{E23E1B1B-F714-8970-7A1C-5A55A013C4B5}"/>
          </ac:spMkLst>
        </pc:spChg>
        <pc:graphicFrameChg chg="mod modGraphic">
          <ac:chgData name="Ranjini Aravind" userId="726d5c6377dea8df" providerId="LiveId" clId="{C528F0B3-31AF-4638-BD7D-4886042C0E28}" dt="2025-05-30T13:29:44.822" v="748" actId="14100"/>
          <ac:graphicFrameMkLst>
            <pc:docMk/>
            <pc:sldMk cId="1660967463" sldId="2147472339"/>
            <ac:graphicFrameMk id="34" creationId="{DF51FC69-C68B-CE75-9BD6-FA8AEFA0E292}"/>
          </ac:graphicFrameMkLst>
        </pc:graphicFrameChg>
      </pc:sldChg>
      <pc:sldChg chg="addSp delSp modSp mod">
        <pc:chgData name="Ranjini Aravind" userId="726d5c6377dea8df" providerId="LiveId" clId="{C528F0B3-31AF-4638-BD7D-4886042C0E28}" dt="2025-05-30T08:28:30.472" v="418" actId="21"/>
        <pc:sldMkLst>
          <pc:docMk/>
          <pc:sldMk cId="1979723275" sldId="2147472340"/>
        </pc:sldMkLst>
        <pc:spChg chg="add mod">
          <ac:chgData name="Ranjini Aravind" userId="726d5c6377dea8df" providerId="LiveId" clId="{C528F0B3-31AF-4638-BD7D-4886042C0E28}" dt="2025-05-30T08:26:49.440" v="365"/>
          <ac:spMkLst>
            <pc:docMk/>
            <pc:sldMk cId="1979723275" sldId="2147472340"/>
            <ac:spMk id="3" creationId="{7068B29D-8549-81E4-F686-E2450148F70A}"/>
          </ac:spMkLst>
        </pc:spChg>
        <pc:spChg chg="mod">
          <ac:chgData name="Ranjini Aravind" userId="726d5c6377dea8df" providerId="LiveId" clId="{C528F0B3-31AF-4638-BD7D-4886042C0E28}" dt="2025-05-30T08:28:29.120" v="417" actId="554"/>
          <ac:spMkLst>
            <pc:docMk/>
            <pc:sldMk cId="1979723275" sldId="2147472340"/>
            <ac:spMk id="7" creationId="{11B097E4-921A-CB06-6697-52A8F0CFB046}"/>
          </ac:spMkLst>
        </pc:spChg>
      </pc:sldChg>
      <pc:sldChg chg="addSp delSp modSp mod">
        <pc:chgData name="Ranjini Aravind" userId="726d5c6377dea8df" providerId="LiveId" clId="{C528F0B3-31AF-4638-BD7D-4886042C0E28}" dt="2025-05-30T08:28:56.081" v="430" actId="21"/>
        <pc:sldMkLst>
          <pc:docMk/>
          <pc:sldMk cId="3865234094" sldId="2147472341"/>
        </pc:sldMkLst>
        <pc:spChg chg="add mod">
          <ac:chgData name="Ranjini Aravind" userId="726d5c6377dea8df" providerId="LiveId" clId="{C528F0B3-31AF-4638-BD7D-4886042C0E28}" dt="2025-05-30T08:28:38.851" v="422" actId="552"/>
          <ac:spMkLst>
            <pc:docMk/>
            <pc:sldMk cId="3865234094" sldId="2147472341"/>
            <ac:spMk id="3" creationId="{E534431D-CAB9-8108-9ECE-7EDB2BEA095E}"/>
          </ac:spMkLst>
        </pc:spChg>
        <pc:spChg chg="add mod">
          <ac:chgData name="Ranjini Aravind" userId="726d5c6377dea8df" providerId="LiveId" clId="{C528F0B3-31AF-4638-BD7D-4886042C0E28}" dt="2025-05-30T08:28:37.241" v="421"/>
          <ac:spMkLst>
            <pc:docMk/>
            <pc:sldMk cId="3865234094" sldId="2147472341"/>
            <ac:spMk id="4" creationId="{AE59AEE4-4B63-10A0-3F58-452E97B3167C}"/>
          </ac:spMkLst>
        </pc:spChg>
        <pc:spChg chg="mod">
          <ac:chgData name="Ranjini Aravind" userId="726d5c6377dea8df" providerId="LiveId" clId="{C528F0B3-31AF-4638-BD7D-4886042C0E28}" dt="2025-05-30T08:28:38.851" v="422" actId="552"/>
          <ac:spMkLst>
            <pc:docMk/>
            <pc:sldMk cId="3865234094" sldId="2147472341"/>
            <ac:spMk id="7" creationId="{9B6FE2F8-2120-AA85-964F-30F7F84F1A42}"/>
          </ac:spMkLst>
        </pc:spChg>
        <pc:graphicFrameChg chg="mod">
          <ac:chgData name="Ranjini Aravind" userId="726d5c6377dea8df" providerId="LiveId" clId="{C528F0B3-31AF-4638-BD7D-4886042C0E28}" dt="2025-05-30T08:28:53.269" v="429" actId="113"/>
          <ac:graphicFrameMkLst>
            <pc:docMk/>
            <pc:sldMk cId="3865234094" sldId="2147472341"/>
            <ac:graphicFrameMk id="6" creationId="{F524C020-125F-29E8-63B8-3D15A1A33782}"/>
          </ac:graphicFrameMkLst>
        </pc:graphicFrameChg>
      </pc:sldChg>
      <pc:sldChg chg="addSp delSp modSp mod">
        <pc:chgData name="Ranjini Aravind" userId="726d5c6377dea8df" providerId="LiveId" clId="{C528F0B3-31AF-4638-BD7D-4886042C0E28}" dt="2025-05-30T13:30:18.549" v="753" actId="692"/>
        <pc:sldMkLst>
          <pc:docMk/>
          <pc:sldMk cId="3185812003" sldId="2147472342"/>
        </pc:sldMkLst>
        <pc:spChg chg="add mod">
          <ac:chgData name="Ranjini Aravind" userId="726d5c6377dea8df" providerId="LiveId" clId="{C528F0B3-31AF-4638-BD7D-4886042C0E28}" dt="2025-05-30T13:07:03.158" v="469" actId="554"/>
          <ac:spMkLst>
            <pc:docMk/>
            <pc:sldMk cId="3185812003" sldId="2147472342"/>
            <ac:spMk id="4" creationId="{0B1F59E6-4A1E-8E4A-8DDC-931CDC6A8B24}"/>
          </ac:spMkLst>
        </pc:spChg>
        <pc:spChg chg="add mod">
          <ac:chgData name="Ranjini Aravind" userId="726d5c6377dea8df" providerId="LiveId" clId="{C528F0B3-31AF-4638-BD7D-4886042C0E28}" dt="2025-05-30T13:07:03.158" v="469" actId="554"/>
          <ac:spMkLst>
            <pc:docMk/>
            <pc:sldMk cId="3185812003" sldId="2147472342"/>
            <ac:spMk id="6" creationId="{C9FD1D55-568B-4D76-9F5E-976218F197FB}"/>
          </ac:spMkLst>
        </pc:spChg>
        <pc:spChg chg="mod">
          <ac:chgData name="Ranjini Aravind" userId="726d5c6377dea8df" providerId="LiveId" clId="{C528F0B3-31AF-4638-BD7D-4886042C0E28}" dt="2025-05-30T08:30:31.325" v="467" actId="552"/>
          <ac:spMkLst>
            <pc:docMk/>
            <pc:sldMk cId="3185812003" sldId="2147472342"/>
            <ac:spMk id="7" creationId="{369B76F4-7141-2230-FAD8-92FEEEA5B059}"/>
          </ac:spMkLst>
        </pc:spChg>
        <pc:graphicFrameChg chg="mod">
          <ac:chgData name="Ranjini Aravind" userId="726d5c6377dea8df" providerId="LiveId" clId="{C528F0B3-31AF-4638-BD7D-4886042C0E28}" dt="2025-05-30T13:30:18.549" v="753" actId="692"/>
          <ac:graphicFrameMkLst>
            <pc:docMk/>
            <pc:sldMk cId="3185812003" sldId="2147472342"/>
            <ac:graphicFrameMk id="9" creationId="{52502761-5C46-6C3E-A405-78C937E50312}"/>
          </ac:graphicFrameMkLst>
        </pc:graphicFrameChg>
      </pc:sldChg>
      <pc:sldChg chg="addSp delSp modSp mod">
        <pc:chgData name="Ranjini Aravind" userId="726d5c6377dea8df" providerId="LiveId" clId="{C528F0B3-31AF-4638-BD7D-4886042C0E28}" dt="2025-05-30T13:31:23.902" v="781" actId="208"/>
        <pc:sldMkLst>
          <pc:docMk/>
          <pc:sldMk cId="3216511381" sldId="2147472343"/>
        </pc:sldMkLst>
        <pc:spChg chg="add mod">
          <ac:chgData name="Ranjini Aravind" userId="726d5c6377dea8df" providerId="LiveId" clId="{C528F0B3-31AF-4638-BD7D-4886042C0E28}" dt="2025-05-30T13:07:04.558" v="470"/>
          <ac:spMkLst>
            <pc:docMk/>
            <pc:sldMk cId="3216511381" sldId="2147472343"/>
            <ac:spMk id="4" creationId="{B78D1F7E-3BAD-60FF-498A-A87F7CDE4198}"/>
          </ac:spMkLst>
        </pc:spChg>
        <pc:spChg chg="mod">
          <ac:chgData name="Ranjini Aravind" userId="726d5c6377dea8df" providerId="LiveId" clId="{C528F0B3-31AF-4638-BD7D-4886042C0E28}" dt="2025-05-30T13:30:33.109" v="757" actId="3064"/>
          <ac:spMkLst>
            <pc:docMk/>
            <pc:sldMk cId="3216511381" sldId="2147472343"/>
            <ac:spMk id="7" creationId="{FBA2A4CC-43A7-5ED8-D3DF-5F1CC832CB04}"/>
          </ac:spMkLst>
        </pc:spChg>
        <pc:spChg chg="add mod">
          <ac:chgData name="Ranjini Aravind" userId="726d5c6377dea8df" providerId="LiveId" clId="{C528F0B3-31AF-4638-BD7D-4886042C0E28}" dt="2025-05-30T13:07:04.558" v="470"/>
          <ac:spMkLst>
            <pc:docMk/>
            <pc:sldMk cId="3216511381" sldId="2147472343"/>
            <ac:spMk id="8" creationId="{EE267F2D-72C6-FDA1-B065-0DFBEF61EAD5}"/>
          </ac:spMkLst>
        </pc:spChg>
        <pc:graphicFrameChg chg="mod">
          <ac:chgData name="Ranjini Aravind" userId="726d5c6377dea8df" providerId="LiveId" clId="{C528F0B3-31AF-4638-BD7D-4886042C0E28}" dt="2025-05-30T13:31:23.902" v="781" actId="208"/>
          <ac:graphicFrameMkLst>
            <pc:docMk/>
            <pc:sldMk cId="3216511381" sldId="2147472343"/>
            <ac:graphicFrameMk id="5" creationId="{B0DB63A2-2E90-3F05-54B2-3E97483AC7E1}"/>
          </ac:graphicFrameMkLst>
        </pc:graphicFrameChg>
      </pc:sldChg>
      <pc:sldChg chg="addSp delSp modSp mod">
        <pc:chgData name="Ranjini Aravind" userId="726d5c6377dea8df" providerId="LiveId" clId="{C528F0B3-31AF-4638-BD7D-4886042C0E28}" dt="2025-05-30T13:32:13.610" v="791" actId="692"/>
        <pc:sldMkLst>
          <pc:docMk/>
          <pc:sldMk cId="1650057838" sldId="2147472344"/>
        </pc:sldMkLst>
        <pc:spChg chg="add mod">
          <ac:chgData name="Ranjini Aravind" userId="726d5c6377dea8df" providerId="LiveId" clId="{C528F0B3-31AF-4638-BD7D-4886042C0E28}" dt="2025-05-30T13:07:23.563" v="476"/>
          <ac:spMkLst>
            <pc:docMk/>
            <pc:sldMk cId="1650057838" sldId="2147472344"/>
            <ac:spMk id="3" creationId="{E138C1FE-BFA7-D861-EE56-439EDFF38757}"/>
          </ac:spMkLst>
        </pc:spChg>
        <pc:spChg chg="add mod">
          <ac:chgData name="Ranjini Aravind" userId="726d5c6377dea8df" providerId="LiveId" clId="{C528F0B3-31AF-4638-BD7D-4886042C0E28}" dt="2025-05-30T13:07:23.563" v="476"/>
          <ac:spMkLst>
            <pc:docMk/>
            <pc:sldMk cId="1650057838" sldId="2147472344"/>
            <ac:spMk id="4" creationId="{C720C216-3C18-21B5-4F2D-6A81C5D0A207}"/>
          </ac:spMkLst>
        </pc:spChg>
        <pc:spChg chg="mod">
          <ac:chgData name="Ranjini Aravind" userId="726d5c6377dea8df" providerId="LiveId" clId="{C528F0B3-31AF-4638-BD7D-4886042C0E28}" dt="2025-05-30T13:30:47.215" v="765" actId="554"/>
          <ac:spMkLst>
            <pc:docMk/>
            <pc:sldMk cId="1650057838" sldId="2147472344"/>
            <ac:spMk id="7" creationId="{E29895A0-99ED-C02D-8A22-DFA14FB8605D}"/>
          </ac:spMkLst>
        </pc:spChg>
        <pc:graphicFrameChg chg="mod">
          <ac:chgData name="Ranjini Aravind" userId="726d5c6377dea8df" providerId="LiveId" clId="{C528F0B3-31AF-4638-BD7D-4886042C0E28}" dt="2025-05-30T13:32:13.610" v="791" actId="692"/>
          <ac:graphicFrameMkLst>
            <pc:docMk/>
            <pc:sldMk cId="1650057838" sldId="2147472344"/>
            <ac:graphicFrameMk id="5" creationId="{FA383ED7-B77F-3C32-58A4-7FAAFEAD867B}"/>
          </ac:graphicFrameMkLst>
        </pc:graphicFrameChg>
      </pc:sldChg>
      <pc:sldChg chg="addSp delSp modSp mod">
        <pc:chgData name="Ranjini Aravind" userId="726d5c6377dea8df" providerId="LiveId" clId="{C528F0B3-31AF-4638-BD7D-4886042C0E28}" dt="2025-05-30T13:32:19.912" v="793" actId="208"/>
        <pc:sldMkLst>
          <pc:docMk/>
          <pc:sldMk cId="3552103958" sldId="2147472345"/>
        </pc:sldMkLst>
        <pc:spChg chg="add mod">
          <ac:chgData name="Ranjini Aravind" userId="726d5c6377dea8df" providerId="LiveId" clId="{C528F0B3-31AF-4638-BD7D-4886042C0E28}" dt="2025-05-30T13:07:31.914" v="479"/>
          <ac:spMkLst>
            <pc:docMk/>
            <pc:sldMk cId="3552103958" sldId="2147472345"/>
            <ac:spMk id="3" creationId="{7FDBEE72-8B32-C343-A906-AE89FCE73DEA}"/>
          </ac:spMkLst>
        </pc:spChg>
        <pc:spChg chg="add mod">
          <ac:chgData name="Ranjini Aravind" userId="726d5c6377dea8df" providerId="LiveId" clId="{C528F0B3-31AF-4638-BD7D-4886042C0E28}" dt="2025-05-30T13:07:31.914" v="479"/>
          <ac:spMkLst>
            <pc:docMk/>
            <pc:sldMk cId="3552103958" sldId="2147472345"/>
            <ac:spMk id="4" creationId="{D4397139-782C-DF3B-6FA8-1957C1629C26}"/>
          </ac:spMkLst>
        </pc:spChg>
        <pc:spChg chg="mod">
          <ac:chgData name="Ranjini Aravind" userId="726d5c6377dea8df" providerId="LiveId" clId="{C528F0B3-31AF-4638-BD7D-4886042C0E28}" dt="2025-05-30T13:30:50.948" v="768" actId="554"/>
          <ac:spMkLst>
            <pc:docMk/>
            <pc:sldMk cId="3552103958" sldId="2147472345"/>
            <ac:spMk id="7" creationId="{C7D30495-EA5A-3ACA-5E45-7B6FBB386C69}"/>
          </ac:spMkLst>
        </pc:spChg>
        <pc:graphicFrameChg chg="mod">
          <ac:chgData name="Ranjini Aravind" userId="726d5c6377dea8df" providerId="LiveId" clId="{C528F0B3-31AF-4638-BD7D-4886042C0E28}" dt="2025-05-30T13:32:19.912" v="793" actId="208"/>
          <ac:graphicFrameMkLst>
            <pc:docMk/>
            <pc:sldMk cId="3552103958" sldId="2147472345"/>
            <ac:graphicFrameMk id="5" creationId="{ACB54679-5AFB-68D4-CACC-B16B36A01914}"/>
          </ac:graphicFrameMkLst>
        </pc:graphicFrameChg>
      </pc:sldChg>
      <pc:sldChg chg="addSp delSp modSp mod">
        <pc:chgData name="Ranjini Aravind" userId="726d5c6377dea8df" providerId="LiveId" clId="{C528F0B3-31AF-4638-BD7D-4886042C0E28}" dt="2025-05-30T13:32:39.124" v="800" actId="404"/>
        <pc:sldMkLst>
          <pc:docMk/>
          <pc:sldMk cId="45337604" sldId="2147472346"/>
        </pc:sldMkLst>
        <pc:spChg chg="add mod">
          <ac:chgData name="Ranjini Aravind" userId="726d5c6377dea8df" providerId="LiveId" clId="{C528F0B3-31AF-4638-BD7D-4886042C0E28}" dt="2025-05-30T13:07:42.530" v="484"/>
          <ac:spMkLst>
            <pc:docMk/>
            <pc:sldMk cId="45337604" sldId="2147472346"/>
            <ac:spMk id="3" creationId="{FE6A2BC7-1D0F-E4C7-5ADF-6C8BBD3BBD11}"/>
          </ac:spMkLst>
        </pc:spChg>
        <pc:spChg chg="add mod">
          <ac:chgData name="Ranjini Aravind" userId="726d5c6377dea8df" providerId="LiveId" clId="{C528F0B3-31AF-4638-BD7D-4886042C0E28}" dt="2025-05-30T13:07:42.530" v="484"/>
          <ac:spMkLst>
            <pc:docMk/>
            <pc:sldMk cId="45337604" sldId="2147472346"/>
            <ac:spMk id="4" creationId="{98EE254A-E6DB-36DE-70CB-09B738BD9A39}"/>
          </ac:spMkLst>
        </pc:spChg>
        <pc:spChg chg="mod">
          <ac:chgData name="Ranjini Aravind" userId="726d5c6377dea8df" providerId="LiveId" clId="{C528F0B3-31AF-4638-BD7D-4886042C0E28}" dt="2025-05-30T13:30:54.369" v="771" actId="554"/>
          <ac:spMkLst>
            <pc:docMk/>
            <pc:sldMk cId="45337604" sldId="2147472346"/>
            <ac:spMk id="7" creationId="{6E34496C-F0B9-9CD0-4274-93266E660FCA}"/>
          </ac:spMkLst>
        </pc:spChg>
        <pc:graphicFrameChg chg="mod modGraphic">
          <ac:chgData name="Ranjini Aravind" userId="726d5c6377dea8df" providerId="LiveId" clId="{C528F0B3-31AF-4638-BD7D-4886042C0E28}" dt="2025-05-30T13:32:39.124" v="800" actId="404"/>
          <ac:graphicFrameMkLst>
            <pc:docMk/>
            <pc:sldMk cId="45337604" sldId="2147472346"/>
            <ac:graphicFrameMk id="5" creationId="{B00C5B69-3E50-A4E3-61DA-3D0BB0392091}"/>
          </ac:graphicFrameMkLst>
        </pc:graphicFrameChg>
      </pc:sldChg>
      <pc:sldChg chg="addSp delSp modSp mod">
        <pc:chgData name="Ranjini Aravind" userId="726d5c6377dea8df" providerId="LiveId" clId="{C528F0B3-31AF-4638-BD7D-4886042C0E28}" dt="2025-05-30T13:30:59.478" v="775" actId="21"/>
        <pc:sldMkLst>
          <pc:docMk/>
          <pc:sldMk cId="66985803" sldId="2147472347"/>
        </pc:sldMkLst>
        <pc:spChg chg="add mod">
          <ac:chgData name="Ranjini Aravind" userId="726d5c6377dea8df" providerId="LiveId" clId="{C528F0B3-31AF-4638-BD7D-4886042C0E28}" dt="2025-05-30T13:07:46.936" v="486"/>
          <ac:spMkLst>
            <pc:docMk/>
            <pc:sldMk cId="66985803" sldId="2147472347"/>
            <ac:spMk id="3" creationId="{39455841-575F-88F0-AD6F-71F1707097CA}"/>
          </ac:spMkLst>
        </pc:spChg>
        <pc:spChg chg="add mod">
          <ac:chgData name="Ranjini Aravind" userId="726d5c6377dea8df" providerId="LiveId" clId="{C528F0B3-31AF-4638-BD7D-4886042C0E28}" dt="2025-05-30T13:07:46.936" v="486"/>
          <ac:spMkLst>
            <pc:docMk/>
            <pc:sldMk cId="66985803" sldId="2147472347"/>
            <ac:spMk id="4" creationId="{1FBBA6A6-6CB5-8E4F-2A7E-F93DC2635408}"/>
          </ac:spMkLst>
        </pc:spChg>
        <pc:spChg chg="mod">
          <ac:chgData name="Ranjini Aravind" userId="726d5c6377dea8df" providerId="LiveId" clId="{C528F0B3-31AF-4638-BD7D-4886042C0E28}" dt="2025-05-30T13:30:57.900" v="774" actId="554"/>
          <ac:spMkLst>
            <pc:docMk/>
            <pc:sldMk cId="66985803" sldId="2147472347"/>
            <ac:spMk id="7" creationId="{97033B04-3462-DE45-AFFA-2B6897D62979}"/>
          </ac:spMkLst>
        </pc:spChg>
        <pc:graphicFrameChg chg="mod">
          <ac:chgData name="Ranjini Aravind" userId="726d5c6377dea8df" providerId="LiveId" clId="{C528F0B3-31AF-4638-BD7D-4886042C0E28}" dt="2025-05-30T13:07:49.980" v="487" actId="14100"/>
          <ac:graphicFrameMkLst>
            <pc:docMk/>
            <pc:sldMk cId="66985803" sldId="2147472347"/>
            <ac:graphicFrameMk id="5" creationId="{C8A6B65B-CDC6-5F7F-5B6B-1C1A5D0F9642}"/>
          </ac:graphicFrameMkLst>
        </pc:graphicFrameChg>
      </pc:sldChg>
      <pc:sldChg chg="addSp delSp modSp mod">
        <pc:chgData name="Ranjini Aravind" userId="726d5c6377dea8df" providerId="LiveId" clId="{C528F0B3-31AF-4638-BD7D-4886042C0E28}" dt="2025-05-30T13:32:54.530" v="805" actId="207"/>
        <pc:sldMkLst>
          <pc:docMk/>
          <pc:sldMk cId="3884727777" sldId="2147472348"/>
        </pc:sldMkLst>
        <pc:spChg chg="add mod">
          <ac:chgData name="Ranjini Aravind" userId="726d5c6377dea8df" providerId="LiveId" clId="{C528F0B3-31AF-4638-BD7D-4886042C0E28}" dt="2025-05-30T13:08:00.993" v="489"/>
          <ac:spMkLst>
            <pc:docMk/>
            <pc:sldMk cId="3884727777" sldId="2147472348"/>
            <ac:spMk id="3" creationId="{CADDB112-1D13-27C0-CB13-A8C4ED6AD184}"/>
          </ac:spMkLst>
        </pc:spChg>
        <pc:spChg chg="add mod">
          <ac:chgData name="Ranjini Aravind" userId="726d5c6377dea8df" providerId="LiveId" clId="{C528F0B3-31AF-4638-BD7D-4886042C0E28}" dt="2025-05-30T13:08:00.993" v="489"/>
          <ac:spMkLst>
            <pc:docMk/>
            <pc:sldMk cId="3884727777" sldId="2147472348"/>
            <ac:spMk id="4" creationId="{C2746A64-C30A-C38D-09F3-D866FE4A5C91}"/>
          </ac:spMkLst>
        </pc:spChg>
        <pc:spChg chg="mod">
          <ac:chgData name="Ranjini Aravind" userId="726d5c6377dea8df" providerId="LiveId" clId="{C528F0B3-31AF-4638-BD7D-4886042C0E28}" dt="2025-05-30T13:31:01.633" v="777" actId="554"/>
          <ac:spMkLst>
            <pc:docMk/>
            <pc:sldMk cId="3884727777" sldId="2147472348"/>
            <ac:spMk id="7" creationId="{29C82589-4904-5FC6-7A3A-5FA8B7441FCB}"/>
          </ac:spMkLst>
        </pc:spChg>
        <pc:graphicFrameChg chg="mod">
          <ac:chgData name="Ranjini Aravind" userId="726d5c6377dea8df" providerId="LiveId" clId="{C528F0B3-31AF-4638-BD7D-4886042C0E28}" dt="2025-05-30T13:32:54.530" v="805" actId="207"/>
          <ac:graphicFrameMkLst>
            <pc:docMk/>
            <pc:sldMk cId="3884727777" sldId="2147472348"/>
            <ac:graphicFrameMk id="5" creationId="{82F2F517-1D0B-3917-5B25-1F35551C59F3}"/>
          </ac:graphicFrameMkLst>
        </pc:graphicFrameChg>
      </pc:sldChg>
      <pc:sldChg chg="addSp modSp mod">
        <pc:chgData name="Ranjini Aravind" userId="726d5c6377dea8df" providerId="LiveId" clId="{C528F0B3-31AF-4638-BD7D-4886042C0E28}" dt="2025-05-30T13:33:27.288" v="815" actId="14100"/>
        <pc:sldMkLst>
          <pc:docMk/>
          <pc:sldMk cId="817978504" sldId="2147472349"/>
        </pc:sldMkLst>
        <pc:spChg chg="add mod">
          <ac:chgData name="Ranjini Aravind" userId="726d5c6377dea8df" providerId="LiveId" clId="{C528F0B3-31AF-4638-BD7D-4886042C0E28}" dt="2025-05-30T13:08:18.172" v="493"/>
          <ac:spMkLst>
            <pc:docMk/>
            <pc:sldMk cId="817978504" sldId="2147472349"/>
            <ac:spMk id="3" creationId="{3BE43DF2-6C85-CC0C-D53A-D321508EDE7C}"/>
          </ac:spMkLst>
        </pc:spChg>
        <pc:spChg chg="add mod">
          <ac:chgData name="Ranjini Aravind" userId="726d5c6377dea8df" providerId="LiveId" clId="{C528F0B3-31AF-4638-BD7D-4886042C0E28}" dt="2025-05-30T13:08:14.188" v="492"/>
          <ac:spMkLst>
            <pc:docMk/>
            <pc:sldMk cId="817978504" sldId="2147472349"/>
            <ac:spMk id="4" creationId="{D8E6421C-8CC9-DED5-592A-B66880EA39DF}"/>
          </ac:spMkLst>
        </pc:spChg>
        <pc:graphicFrameChg chg="mod">
          <ac:chgData name="Ranjini Aravind" userId="726d5c6377dea8df" providerId="LiveId" clId="{C528F0B3-31AF-4638-BD7D-4886042C0E28}" dt="2025-05-30T13:33:27.288" v="815" actId="14100"/>
          <ac:graphicFrameMkLst>
            <pc:docMk/>
            <pc:sldMk cId="817978504" sldId="2147472349"/>
            <ac:graphicFrameMk id="11" creationId="{43F6B781-6B77-EFFC-B704-D81187AE47FB}"/>
          </ac:graphicFrameMkLst>
        </pc:graphicFrameChg>
        <pc:graphicFrameChg chg="mod">
          <ac:chgData name="Ranjini Aravind" userId="726d5c6377dea8df" providerId="LiveId" clId="{C528F0B3-31AF-4638-BD7D-4886042C0E28}" dt="2025-05-30T13:33:21.586" v="814" actId="14100"/>
          <ac:graphicFrameMkLst>
            <pc:docMk/>
            <pc:sldMk cId="817978504" sldId="2147472349"/>
            <ac:graphicFrameMk id="12" creationId="{699CC488-9014-EA4C-85BF-A555A69E8957}"/>
          </ac:graphicFrameMkLst>
        </pc:graphicFrameChg>
      </pc:sldChg>
      <pc:sldChg chg="addSp delSp modSp mod">
        <pc:chgData name="Ranjini Aravind" userId="726d5c6377dea8df" providerId="LiveId" clId="{C528F0B3-31AF-4638-BD7D-4886042C0E28}" dt="2025-05-30T13:33:45.668" v="823" actId="692"/>
        <pc:sldMkLst>
          <pc:docMk/>
          <pc:sldMk cId="761340464" sldId="2147472350"/>
        </pc:sldMkLst>
        <pc:spChg chg="add mod">
          <ac:chgData name="Ranjini Aravind" userId="726d5c6377dea8df" providerId="LiveId" clId="{C528F0B3-31AF-4638-BD7D-4886042C0E28}" dt="2025-05-30T13:08:34.561" v="497"/>
          <ac:spMkLst>
            <pc:docMk/>
            <pc:sldMk cId="761340464" sldId="2147472350"/>
            <ac:spMk id="6" creationId="{D86852BC-34E2-8D22-12FA-4438CC89A6F2}"/>
          </ac:spMkLst>
        </pc:spChg>
        <pc:spChg chg="add mod">
          <ac:chgData name="Ranjini Aravind" userId="726d5c6377dea8df" providerId="LiveId" clId="{C528F0B3-31AF-4638-BD7D-4886042C0E28}" dt="2025-05-30T13:08:34.561" v="497"/>
          <ac:spMkLst>
            <pc:docMk/>
            <pc:sldMk cId="761340464" sldId="2147472350"/>
            <ac:spMk id="7" creationId="{1917590B-4295-5237-464D-932DC4276709}"/>
          </ac:spMkLst>
        </pc:spChg>
        <pc:graphicFrameChg chg="mod">
          <ac:chgData name="Ranjini Aravind" userId="726d5c6377dea8df" providerId="LiveId" clId="{C528F0B3-31AF-4638-BD7D-4886042C0E28}" dt="2025-05-30T13:33:45.668" v="823" actId="692"/>
          <ac:graphicFrameMkLst>
            <pc:docMk/>
            <pc:sldMk cId="761340464" sldId="2147472350"/>
            <ac:graphicFrameMk id="11" creationId="{17F3C2A5-39A7-A28E-8936-BE9D076AC40B}"/>
          </ac:graphicFrameMkLst>
        </pc:graphicFrameChg>
        <pc:graphicFrameChg chg="mod">
          <ac:chgData name="Ranjini Aravind" userId="726d5c6377dea8df" providerId="LiveId" clId="{C528F0B3-31AF-4638-BD7D-4886042C0E28}" dt="2025-05-30T13:33:37.689" v="819" actId="692"/>
          <ac:graphicFrameMkLst>
            <pc:docMk/>
            <pc:sldMk cId="761340464" sldId="2147472350"/>
            <ac:graphicFrameMk id="12" creationId="{89A8A04E-65C9-CA78-95C1-FCE1CDB0666B}"/>
          </ac:graphicFrameMkLst>
        </pc:graphicFrameChg>
      </pc:sldChg>
      <pc:sldChg chg="addSp modSp mod">
        <pc:chgData name="Ranjini Aravind" userId="726d5c6377dea8df" providerId="LiveId" clId="{C528F0B3-31AF-4638-BD7D-4886042C0E28}" dt="2025-05-30T13:34:29.965" v="836" actId="208"/>
        <pc:sldMkLst>
          <pc:docMk/>
          <pc:sldMk cId="1396381595" sldId="2147472351"/>
        </pc:sldMkLst>
        <pc:spChg chg="add mod">
          <ac:chgData name="Ranjini Aravind" userId="726d5c6377dea8df" providerId="LiveId" clId="{C528F0B3-31AF-4638-BD7D-4886042C0E28}" dt="2025-05-30T13:09:05.631" v="503"/>
          <ac:spMkLst>
            <pc:docMk/>
            <pc:sldMk cId="1396381595" sldId="2147472351"/>
            <ac:spMk id="3" creationId="{ECB512CC-B6E7-CBC9-DDB1-404907BF98D4}"/>
          </ac:spMkLst>
        </pc:spChg>
        <pc:spChg chg="add mod">
          <ac:chgData name="Ranjini Aravind" userId="726d5c6377dea8df" providerId="LiveId" clId="{C528F0B3-31AF-4638-BD7D-4886042C0E28}" dt="2025-05-30T13:09:05.631" v="503"/>
          <ac:spMkLst>
            <pc:docMk/>
            <pc:sldMk cId="1396381595" sldId="2147472351"/>
            <ac:spMk id="4" creationId="{48778AE8-0A57-212F-718A-E1DC813381E0}"/>
          </ac:spMkLst>
        </pc:spChg>
        <pc:graphicFrameChg chg="mod">
          <ac:chgData name="Ranjini Aravind" userId="726d5c6377dea8df" providerId="LiveId" clId="{C528F0B3-31AF-4638-BD7D-4886042C0E28}" dt="2025-05-30T13:34:29.965" v="836" actId="208"/>
          <ac:graphicFrameMkLst>
            <pc:docMk/>
            <pc:sldMk cId="1396381595" sldId="2147472351"/>
            <ac:graphicFrameMk id="10" creationId="{9AE537D4-F6F4-0B60-863D-678DF81BA49D}"/>
          </ac:graphicFrameMkLst>
        </pc:graphicFrameChg>
        <pc:graphicFrameChg chg="mod">
          <ac:chgData name="Ranjini Aravind" userId="726d5c6377dea8df" providerId="LiveId" clId="{C528F0B3-31AF-4638-BD7D-4886042C0E28}" dt="2025-05-30T13:09:04.226" v="502" actId="14100"/>
          <ac:graphicFrameMkLst>
            <pc:docMk/>
            <pc:sldMk cId="1396381595" sldId="2147472351"/>
            <ac:graphicFrameMk id="12" creationId="{66FB1C6F-6E68-EF09-0965-68CD513790E2}"/>
          </ac:graphicFrameMkLst>
        </pc:graphicFrameChg>
      </pc:sldChg>
      <pc:sldChg chg="addSp modSp mod">
        <pc:chgData name="Ranjini Aravind" userId="726d5c6377dea8df" providerId="LiveId" clId="{C528F0B3-31AF-4638-BD7D-4886042C0E28}" dt="2025-05-30T13:35:13.653" v="848" actId="14100"/>
        <pc:sldMkLst>
          <pc:docMk/>
          <pc:sldMk cId="1849486659" sldId="2147472352"/>
        </pc:sldMkLst>
        <pc:spChg chg="add mod">
          <ac:chgData name="Ranjini Aravind" userId="726d5c6377dea8df" providerId="LiveId" clId="{C528F0B3-31AF-4638-BD7D-4886042C0E28}" dt="2025-05-30T13:35:07.215" v="847" actId="12788"/>
          <ac:spMkLst>
            <pc:docMk/>
            <pc:sldMk cId="1849486659" sldId="2147472352"/>
            <ac:spMk id="3" creationId="{88CA319C-D05A-F6B7-BD25-61A2F9CFE757}"/>
          </ac:spMkLst>
        </pc:spChg>
        <pc:spChg chg="add mod">
          <ac:chgData name="Ranjini Aravind" userId="726d5c6377dea8df" providerId="LiveId" clId="{C528F0B3-31AF-4638-BD7D-4886042C0E28}" dt="2025-05-30T13:09:16.283" v="506"/>
          <ac:spMkLst>
            <pc:docMk/>
            <pc:sldMk cId="1849486659" sldId="2147472352"/>
            <ac:spMk id="4" creationId="{F0C1EC23-1B90-D1AC-C365-0F4BB7C5A5C1}"/>
          </ac:spMkLst>
        </pc:spChg>
        <pc:graphicFrameChg chg="mod">
          <ac:chgData name="Ranjini Aravind" userId="726d5c6377dea8df" providerId="LiveId" clId="{C528F0B3-31AF-4638-BD7D-4886042C0E28}" dt="2025-05-30T13:35:07.215" v="847" actId="12788"/>
          <ac:graphicFrameMkLst>
            <pc:docMk/>
            <pc:sldMk cId="1849486659" sldId="2147472352"/>
            <ac:graphicFrameMk id="7" creationId="{BAFE14C1-5C7B-011C-5010-9197B076C319}"/>
          </ac:graphicFrameMkLst>
        </pc:graphicFrameChg>
        <pc:graphicFrameChg chg="mod">
          <ac:chgData name="Ranjini Aravind" userId="726d5c6377dea8df" providerId="LiveId" clId="{C528F0B3-31AF-4638-BD7D-4886042C0E28}" dt="2025-05-30T13:35:13.653" v="848" actId="14100"/>
          <ac:graphicFrameMkLst>
            <pc:docMk/>
            <pc:sldMk cId="1849486659" sldId="2147472352"/>
            <ac:graphicFrameMk id="10" creationId="{718A3FC9-3049-DB9A-643B-0B4BB1BFAAFF}"/>
          </ac:graphicFrameMkLst>
        </pc:graphicFrameChg>
      </pc:sldChg>
      <pc:sldChg chg="addSp delSp modSp mod">
        <pc:chgData name="Ranjini Aravind" userId="726d5c6377dea8df" providerId="LiveId" clId="{C528F0B3-31AF-4638-BD7D-4886042C0E28}" dt="2025-05-30T13:37:34.771" v="880" actId="478"/>
        <pc:sldMkLst>
          <pc:docMk/>
          <pc:sldMk cId="882259694" sldId="2147472372"/>
        </pc:sldMkLst>
        <pc:spChg chg="mod">
          <ac:chgData name="Ranjini Aravind" userId="726d5c6377dea8df" providerId="LiveId" clId="{C528F0B3-31AF-4638-BD7D-4886042C0E28}" dt="2025-05-30T13:36:11.123" v="855" actId="552"/>
          <ac:spMkLst>
            <pc:docMk/>
            <pc:sldMk cId="882259694" sldId="2147472372"/>
            <ac:spMk id="4" creationId="{2B6272BE-113F-4A6D-6DC0-86FDD4DCA138}"/>
          </ac:spMkLst>
        </pc:spChg>
        <pc:spChg chg="mod">
          <ac:chgData name="Ranjini Aravind" userId="726d5c6377dea8df" providerId="LiveId" clId="{C528F0B3-31AF-4638-BD7D-4886042C0E28}" dt="2025-05-30T13:36:15.838" v="857" actId="552"/>
          <ac:spMkLst>
            <pc:docMk/>
            <pc:sldMk cId="882259694" sldId="2147472372"/>
            <ac:spMk id="6" creationId="{2AF4483A-8F49-1AE6-6930-D7DF8572244E}"/>
          </ac:spMkLst>
        </pc:spChg>
        <pc:spChg chg="mod">
          <ac:chgData name="Ranjini Aravind" userId="726d5c6377dea8df" providerId="LiveId" clId="{C528F0B3-31AF-4638-BD7D-4886042C0E28}" dt="2025-05-30T13:36:20.852" v="859" actId="552"/>
          <ac:spMkLst>
            <pc:docMk/>
            <pc:sldMk cId="882259694" sldId="2147472372"/>
            <ac:spMk id="9" creationId="{44535B16-CF9E-D61F-3235-C28041323FCB}"/>
          </ac:spMkLst>
        </pc:spChg>
        <pc:spChg chg="mod">
          <ac:chgData name="Ranjini Aravind" userId="726d5c6377dea8df" providerId="LiveId" clId="{C528F0B3-31AF-4638-BD7D-4886042C0E28}" dt="2025-05-30T13:36:24.383" v="861" actId="552"/>
          <ac:spMkLst>
            <pc:docMk/>
            <pc:sldMk cId="882259694" sldId="2147472372"/>
            <ac:spMk id="10" creationId="{50DC45B5-962A-4662-EE4E-60A710824986}"/>
          </ac:spMkLst>
        </pc:spChg>
        <pc:spChg chg="mod">
          <ac:chgData name="Ranjini Aravind" userId="726d5c6377dea8df" providerId="LiveId" clId="{C528F0B3-31AF-4638-BD7D-4886042C0E28}" dt="2025-05-30T13:23:03.707" v="666" actId="2085"/>
          <ac:spMkLst>
            <pc:docMk/>
            <pc:sldMk cId="882259694" sldId="2147472372"/>
            <ac:spMk id="11" creationId="{97154D39-6AFA-4E2F-1B0C-431AE0739F8D}"/>
          </ac:spMkLst>
        </pc:spChg>
        <pc:spChg chg="mod">
          <ac:chgData name="Ranjini Aravind" userId="726d5c6377dea8df" providerId="LiveId" clId="{C528F0B3-31AF-4638-BD7D-4886042C0E28}" dt="2025-05-30T13:23:03.707" v="666" actId="2085"/>
          <ac:spMkLst>
            <pc:docMk/>
            <pc:sldMk cId="882259694" sldId="2147472372"/>
            <ac:spMk id="12" creationId="{F4E7CAA9-29C7-0A36-10A2-97BB64F88067}"/>
          </ac:spMkLst>
        </pc:spChg>
        <pc:spChg chg="mod">
          <ac:chgData name="Ranjini Aravind" userId="726d5c6377dea8df" providerId="LiveId" clId="{C528F0B3-31AF-4638-BD7D-4886042C0E28}" dt="2025-05-30T13:23:03.707" v="666" actId="2085"/>
          <ac:spMkLst>
            <pc:docMk/>
            <pc:sldMk cId="882259694" sldId="2147472372"/>
            <ac:spMk id="13" creationId="{18388723-958A-9697-9B0C-11A1CE715180}"/>
          </ac:spMkLst>
        </pc:spChg>
        <pc:spChg chg="mod">
          <ac:chgData name="Ranjini Aravind" userId="726d5c6377dea8df" providerId="LiveId" clId="{C528F0B3-31AF-4638-BD7D-4886042C0E28}" dt="2025-05-30T13:23:03.707" v="666" actId="2085"/>
          <ac:spMkLst>
            <pc:docMk/>
            <pc:sldMk cId="882259694" sldId="2147472372"/>
            <ac:spMk id="14" creationId="{FAD4905C-407F-1341-2CAC-77F4A89FE332}"/>
          </ac:spMkLst>
        </pc:spChg>
      </pc:sldChg>
      <pc:sldChg chg="modSp mod">
        <pc:chgData name="Ranjini Aravind" userId="726d5c6377dea8df" providerId="LiveId" clId="{C528F0B3-31AF-4638-BD7D-4886042C0E28}" dt="2025-05-30T08:21:54.696" v="276" actId="2085"/>
        <pc:sldMkLst>
          <pc:docMk/>
          <pc:sldMk cId="2032261266" sldId="2147472373"/>
        </pc:sldMkLst>
        <pc:spChg chg="mod">
          <ac:chgData name="Ranjini Aravind" userId="726d5c6377dea8df" providerId="LiveId" clId="{C528F0B3-31AF-4638-BD7D-4886042C0E28}" dt="2025-05-30T08:21:54.696" v="276" actId="2085"/>
          <ac:spMkLst>
            <pc:docMk/>
            <pc:sldMk cId="2032261266" sldId="2147472373"/>
            <ac:spMk id="2" creationId="{42EB53CB-D5B1-1A80-EBE8-342E67670C90}"/>
          </ac:spMkLst>
        </pc:spChg>
        <pc:spChg chg="mod">
          <ac:chgData name="Ranjini Aravind" userId="726d5c6377dea8df" providerId="LiveId" clId="{C528F0B3-31AF-4638-BD7D-4886042C0E28}" dt="2025-05-30T08:21:54.696" v="276" actId="2085"/>
          <ac:spMkLst>
            <pc:docMk/>
            <pc:sldMk cId="2032261266" sldId="2147472373"/>
            <ac:spMk id="3" creationId="{33922FC7-A480-B54E-E65E-F0C2660BD13D}"/>
          </ac:spMkLst>
        </pc:spChg>
        <pc:spChg chg="mod">
          <ac:chgData name="Ranjini Aravind" userId="726d5c6377dea8df" providerId="LiveId" clId="{C528F0B3-31AF-4638-BD7D-4886042C0E28}" dt="2025-05-30T08:21:54.696" v="276" actId="2085"/>
          <ac:spMkLst>
            <pc:docMk/>
            <pc:sldMk cId="2032261266" sldId="2147472373"/>
            <ac:spMk id="5" creationId="{097D68E3-440F-4028-BDB4-CB206E7318BC}"/>
          </ac:spMkLst>
        </pc:spChg>
        <pc:spChg chg="mod">
          <ac:chgData name="Ranjini Aravind" userId="726d5c6377dea8df" providerId="LiveId" clId="{C528F0B3-31AF-4638-BD7D-4886042C0E28}" dt="2025-05-30T08:21:54.696" v="276" actId="2085"/>
          <ac:spMkLst>
            <pc:docMk/>
            <pc:sldMk cId="2032261266" sldId="2147472373"/>
            <ac:spMk id="22" creationId="{8C0CBE59-E610-9F9A-1D40-D7887EDD4C19}"/>
          </ac:spMkLst>
        </pc:spChg>
      </pc:sldChg>
      <pc:sldChg chg="addSp delSp modSp mod">
        <pc:chgData name="Ranjini Aravind" userId="726d5c6377dea8df" providerId="LiveId" clId="{C528F0B3-31AF-4638-BD7D-4886042C0E28}" dt="2025-05-30T13:38:05.109" v="884" actId="692"/>
        <pc:sldMkLst>
          <pc:docMk/>
          <pc:sldMk cId="1286454531" sldId="2147472374"/>
        </pc:sldMkLst>
        <pc:spChg chg="add mod">
          <ac:chgData name="Ranjini Aravind" userId="726d5c6377dea8df" providerId="LiveId" clId="{C528F0B3-31AF-4638-BD7D-4886042C0E28}" dt="2025-05-30T08:21:37.707" v="271"/>
          <ac:spMkLst>
            <pc:docMk/>
            <pc:sldMk cId="1286454531" sldId="2147472374"/>
            <ac:spMk id="4" creationId="{EFF7B3BF-9F9A-4981-AD9E-56A7FC194FF4}"/>
          </ac:spMkLst>
        </pc:spChg>
        <pc:graphicFrameChg chg="mod">
          <ac:chgData name="Ranjini Aravind" userId="726d5c6377dea8df" providerId="LiveId" clId="{C528F0B3-31AF-4638-BD7D-4886042C0E28}" dt="2025-05-30T13:38:05.109" v="884" actId="692"/>
          <ac:graphicFrameMkLst>
            <pc:docMk/>
            <pc:sldMk cId="1286454531" sldId="2147472374"/>
            <ac:graphicFrameMk id="9" creationId="{1CB884A0-E7DD-BEE7-D0FC-C78CC861C40B}"/>
          </ac:graphicFrameMkLst>
        </pc:graphicFrameChg>
      </pc:sldChg>
      <pc:sldChg chg="addSp delSp modSp mod">
        <pc:chgData name="Ranjini Aravind" userId="726d5c6377dea8df" providerId="LiveId" clId="{C528F0B3-31AF-4638-BD7D-4886042C0E28}" dt="2025-05-30T13:29:19.739" v="742" actId="14100"/>
        <pc:sldMkLst>
          <pc:docMk/>
          <pc:sldMk cId="3016847825" sldId="2147472375"/>
        </pc:sldMkLst>
        <pc:spChg chg="add mod">
          <ac:chgData name="Ranjini Aravind" userId="726d5c6377dea8df" providerId="LiveId" clId="{C528F0B3-31AF-4638-BD7D-4886042C0E28}" dt="2025-05-30T08:26:28.455" v="359"/>
          <ac:spMkLst>
            <pc:docMk/>
            <pc:sldMk cId="3016847825" sldId="2147472375"/>
            <ac:spMk id="5" creationId="{9DDB998B-1154-B9E5-2B91-BF15877E17F5}"/>
          </ac:spMkLst>
        </pc:spChg>
        <pc:spChg chg="add mod">
          <ac:chgData name="Ranjini Aravind" userId="726d5c6377dea8df" providerId="LiveId" clId="{C528F0B3-31AF-4638-BD7D-4886042C0E28}" dt="2025-05-30T08:26:28.455" v="359"/>
          <ac:spMkLst>
            <pc:docMk/>
            <pc:sldMk cId="3016847825" sldId="2147472375"/>
            <ac:spMk id="6" creationId="{95D19C49-FD28-32AA-C659-A7E60522820E}"/>
          </ac:spMkLst>
        </pc:spChg>
        <pc:spChg chg="mod">
          <ac:chgData name="Ranjini Aravind" userId="726d5c6377dea8df" providerId="LiveId" clId="{C528F0B3-31AF-4638-BD7D-4886042C0E28}" dt="2025-05-30T08:28:19.372" v="408" actId="554"/>
          <ac:spMkLst>
            <pc:docMk/>
            <pc:sldMk cId="3016847825" sldId="2147472375"/>
            <ac:spMk id="7" creationId="{13A50CDD-ADAD-7781-0A3A-7CD7E407C8C3}"/>
          </ac:spMkLst>
        </pc:spChg>
        <pc:graphicFrameChg chg="add del mod">
          <ac:chgData name="Ranjini Aravind" userId="726d5c6377dea8df" providerId="LiveId" clId="{C528F0B3-31AF-4638-BD7D-4886042C0E28}" dt="2025-05-30T13:29:19.739" v="742" actId="14100"/>
          <ac:graphicFrameMkLst>
            <pc:docMk/>
            <pc:sldMk cId="3016847825" sldId="2147472375"/>
            <ac:graphicFrameMk id="8" creationId="{B0EA6611-9948-CB3D-162A-96A7A9323D84}"/>
          </ac:graphicFrameMkLst>
        </pc:graphicFrameChg>
      </pc:sldChg>
      <pc:sldChg chg="addSp delSp modSp mod">
        <pc:chgData name="Ranjini Aravind" userId="726d5c6377dea8df" providerId="LiveId" clId="{C528F0B3-31AF-4638-BD7D-4886042C0E28}" dt="2025-05-30T13:32:00.615" v="787" actId="14100"/>
        <pc:sldMkLst>
          <pc:docMk/>
          <pc:sldMk cId="1653973384" sldId="2147472376"/>
        </pc:sldMkLst>
        <pc:spChg chg="add mod">
          <ac:chgData name="Ranjini Aravind" userId="726d5c6377dea8df" providerId="LiveId" clId="{C528F0B3-31AF-4638-BD7D-4886042C0E28}" dt="2025-05-30T13:07:15.375" v="473"/>
          <ac:spMkLst>
            <pc:docMk/>
            <pc:sldMk cId="1653973384" sldId="2147472376"/>
            <ac:spMk id="3" creationId="{497E4034-8E5A-6318-8C86-166ABE3E5E75}"/>
          </ac:spMkLst>
        </pc:spChg>
        <pc:spChg chg="add mod">
          <ac:chgData name="Ranjini Aravind" userId="726d5c6377dea8df" providerId="LiveId" clId="{C528F0B3-31AF-4638-BD7D-4886042C0E28}" dt="2025-05-30T13:07:15.375" v="473"/>
          <ac:spMkLst>
            <pc:docMk/>
            <pc:sldMk cId="1653973384" sldId="2147472376"/>
            <ac:spMk id="4" creationId="{260C69F2-7B53-62EC-46A2-6FAECAF14637}"/>
          </ac:spMkLst>
        </pc:spChg>
        <pc:spChg chg="mod">
          <ac:chgData name="Ranjini Aravind" userId="726d5c6377dea8df" providerId="LiveId" clId="{C528F0B3-31AF-4638-BD7D-4886042C0E28}" dt="2025-05-30T13:30:43.419" v="762" actId="554"/>
          <ac:spMkLst>
            <pc:docMk/>
            <pc:sldMk cId="1653973384" sldId="2147472376"/>
            <ac:spMk id="7" creationId="{4E489CA2-FB12-7B1D-7651-169606C7DB36}"/>
          </ac:spMkLst>
        </pc:spChg>
        <pc:graphicFrameChg chg="mod">
          <ac:chgData name="Ranjini Aravind" userId="726d5c6377dea8df" providerId="LiveId" clId="{C528F0B3-31AF-4638-BD7D-4886042C0E28}" dt="2025-05-30T13:32:00.615" v="787" actId="14100"/>
          <ac:graphicFrameMkLst>
            <pc:docMk/>
            <pc:sldMk cId="1653973384" sldId="2147472376"/>
            <ac:graphicFrameMk id="9" creationId="{EA8F6562-1468-4820-818A-506F8299E82B}"/>
          </ac:graphicFrameMkLst>
        </pc:graphicFrameChg>
      </pc:sldChg>
      <pc:sldChg chg="addSp modSp mod">
        <pc:chgData name="Ranjini Aravind" userId="726d5c6377dea8df" providerId="LiveId" clId="{C528F0B3-31AF-4638-BD7D-4886042C0E28}" dt="2025-05-30T13:34:23.181" v="835"/>
        <pc:sldMkLst>
          <pc:docMk/>
          <pc:sldMk cId="3664843752" sldId="2147472377"/>
        </pc:sldMkLst>
        <pc:spChg chg="add mod">
          <ac:chgData name="Ranjini Aravind" userId="726d5c6377dea8df" providerId="LiveId" clId="{C528F0B3-31AF-4638-BD7D-4886042C0E28}" dt="2025-05-30T13:08:54.615" v="501"/>
          <ac:spMkLst>
            <pc:docMk/>
            <pc:sldMk cId="3664843752" sldId="2147472377"/>
            <ac:spMk id="3" creationId="{F86B8EB0-F987-6DE9-E12B-F3970721FAEC}"/>
          </ac:spMkLst>
        </pc:spChg>
        <pc:spChg chg="add mod">
          <ac:chgData name="Ranjini Aravind" userId="726d5c6377dea8df" providerId="LiveId" clId="{C528F0B3-31AF-4638-BD7D-4886042C0E28}" dt="2025-05-30T13:08:54.615" v="501"/>
          <ac:spMkLst>
            <pc:docMk/>
            <pc:sldMk cId="3664843752" sldId="2147472377"/>
            <ac:spMk id="4" creationId="{68C7F000-41AE-3958-08C1-7AD24EAB3EEC}"/>
          </ac:spMkLst>
        </pc:spChg>
        <pc:graphicFrameChg chg="mod">
          <ac:chgData name="Ranjini Aravind" userId="726d5c6377dea8df" providerId="LiveId" clId="{C528F0B3-31AF-4638-BD7D-4886042C0E28}" dt="2025-05-30T13:34:11.450" v="833" actId="692"/>
          <ac:graphicFrameMkLst>
            <pc:docMk/>
            <pc:sldMk cId="3664843752" sldId="2147472377"/>
            <ac:graphicFrameMk id="9" creationId="{47A9DC31-9654-5725-8763-F5B0F78CDF01}"/>
          </ac:graphicFrameMkLst>
        </pc:graphicFrameChg>
        <pc:graphicFrameChg chg="mod modGraphic">
          <ac:chgData name="Ranjini Aravind" userId="726d5c6377dea8df" providerId="LiveId" clId="{C528F0B3-31AF-4638-BD7D-4886042C0E28}" dt="2025-05-30T13:34:23.181" v="835"/>
          <ac:graphicFrameMkLst>
            <pc:docMk/>
            <pc:sldMk cId="3664843752" sldId="2147472377"/>
            <ac:graphicFrameMk id="11" creationId="{1B175457-D2A8-F19F-DBC8-582396EFE928}"/>
          </ac:graphicFrameMkLst>
        </pc:graphicFrameChg>
      </pc:sldChg>
      <pc:sldChg chg="addSp delSp modSp mod">
        <pc:chgData name="Ranjini Aravind" userId="726d5c6377dea8df" providerId="LiveId" clId="{C528F0B3-31AF-4638-BD7D-4886042C0E28}" dt="2025-05-30T08:22:42.307" v="287" actId="1035"/>
        <pc:sldMkLst>
          <pc:docMk/>
          <pc:sldMk cId="2894533322" sldId="2147472388"/>
        </pc:sldMkLst>
        <pc:spChg chg="add mod">
          <ac:chgData name="Ranjini Aravind" userId="726d5c6377dea8df" providerId="LiveId" clId="{C528F0B3-31AF-4638-BD7D-4886042C0E28}" dt="2025-05-30T08:22:38.696" v="285" actId="1076"/>
          <ac:spMkLst>
            <pc:docMk/>
            <pc:sldMk cId="2894533322" sldId="2147472388"/>
            <ac:spMk id="3" creationId="{D99A79D3-3CE0-38E4-84A9-EB81E1F15D1E}"/>
          </ac:spMkLst>
        </pc:spChg>
        <pc:spChg chg="mod">
          <ac:chgData name="Ranjini Aravind" userId="726d5c6377dea8df" providerId="LiveId" clId="{C528F0B3-31AF-4638-BD7D-4886042C0E28}" dt="2025-05-30T08:22:42.307" v="287" actId="1035"/>
          <ac:spMkLst>
            <pc:docMk/>
            <pc:sldMk cId="2894533322" sldId="2147472388"/>
            <ac:spMk id="8" creationId="{DEE3231A-4218-A594-B12E-897C44AC86E7}"/>
          </ac:spMkLst>
        </pc:spChg>
        <pc:spChg chg="mod">
          <ac:chgData name="Ranjini Aravind" userId="726d5c6377dea8df" providerId="LiveId" clId="{C528F0B3-31AF-4638-BD7D-4886042C0E28}" dt="2025-05-30T08:22:42.307" v="287" actId="1035"/>
          <ac:spMkLst>
            <pc:docMk/>
            <pc:sldMk cId="2894533322" sldId="2147472388"/>
            <ac:spMk id="11" creationId="{FD9A07CF-F2F5-2A4A-BA42-8AAC41A7F3A1}"/>
          </ac:spMkLst>
        </pc:spChg>
        <pc:spChg chg="mod">
          <ac:chgData name="Ranjini Aravind" userId="726d5c6377dea8df" providerId="LiveId" clId="{C528F0B3-31AF-4638-BD7D-4886042C0E28}" dt="2025-05-30T08:22:42.307" v="287" actId="1035"/>
          <ac:spMkLst>
            <pc:docMk/>
            <pc:sldMk cId="2894533322" sldId="2147472388"/>
            <ac:spMk id="13" creationId="{C1308FF0-72A8-D2E2-34B1-7A2E5DA0466B}"/>
          </ac:spMkLst>
        </pc:spChg>
        <pc:spChg chg="mod">
          <ac:chgData name="Ranjini Aravind" userId="726d5c6377dea8df" providerId="LiveId" clId="{C528F0B3-31AF-4638-BD7D-4886042C0E28}" dt="2025-05-30T08:22:42.307" v="287" actId="1035"/>
          <ac:spMkLst>
            <pc:docMk/>
            <pc:sldMk cId="2894533322" sldId="2147472388"/>
            <ac:spMk id="14" creationId="{9B22AA68-8CB5-E34A-3FC0-CE00EF22AD78}"/>
          </ac:spMkLst>
        </pc:spChg>
        <pc:spChg chg="mod">
          <ac:chgData name="Ranjini Aravind" userId="726d5c6377dea8df" providerId="LiveId" clId="{C528F0B3-31AF-4638-BD7D-4886042C0E28}" dt="2025-05-30T08:22:42.307" v="287" actId="1035"/>
          <ac:spMkLst>
            <pc:docMk/>
            <pc:sldMk cId="2894533322" sldId="2147472388"/>
            <ac:spMk id="15" creationId="{1FE4C73E-1BB0-D42D-50BB-80131B0DA5FF}"/>
          </ac:spMkLst>
        </pc:spChg>
        <pc:spChg chg="mod">
          <ac:chgData name="Ranjini Aravind" userId="726d5c6377dea8df" providerId="LiveId" clId="{C528F0B3-31AF-4638-BD7D-4886042C0E28}" dt="2025-05-30T08:22:42.307" v="287" actId="1035"/>
          <ac:spMkLst>
            <pc:docMk/>
            <pc:sldMk cId="2894533322" sldId="2147472388"/>
            <ac:spMk id="17" creationId="{306CE822-203C-D283-0CD7-F6CAF3144BB8}"/>
          </ac:spMkLst>
        </pc:spChg>
        <pc:spChg chg="mod">
          <ac:chgData name="Ranjini Aravind" userId="726d5c6377dea8df" providerId="LiveId" clId="{C528F0B3-31AF-4638-BD7D-4886042C0E28}" dt="2025-05-30T08:22:42.307" v="287" actId="1035"/>
          <ac:spMkLst>
            <pc:docMk/>
            <pc:sldMk cId="2894533322" sldId="2147472388"/>
            <ac:spMk id="18" creationId="{028E0ACE-1329-0B2F-3E84-DB588232EA9D}"/>
          </ac:spMkLst>
        </pc:spChg>
        <pc:spChg chg="mod">
          <ac:chgData name="Ranjini Aravind" userId="726d5c6377dea8df" providerId="LiveId" clId="{C528F0B3-31AF-4638-BD7D-4886042C0E28}" dt="2025-05-30T08:22:42.307" v="287" actId="1035"/>
          <ac:spMkLst>
            <pc:docMk/>
            <pc:sldMk cId="2894533322" sldId="2147472388"/>
            <ac:spMk id="21" creationId="{DF6B21A4-655F-3DA1-47FA-05036C90DCB4}"/>
          </ac:spMkLst>
        </pc:spChg>
        <pc:spChg chg="mod">
          <ac:chgData name="Ranjini Aravind" userId="726d5c6377dea8df" providerId="LiveId" clId="{C528F0B3-31AF-4638-BD7D-4886042C0E28}" dt="2025-05-30T08:22:42.307" v="287" actId="1035"/>
          <ac:spMkLst>
            <pc:docMk/>
            <pc:sldMk cId="2894533322" sldId="2147472388"/>
            <ac:spMk id="22" creationId="{D70B37A6-B769-2A4E-85ED-8F0EA6D5EDD9}"/>
          </ac:spMkLst>
        </pc:spChg>
        <pc:spChg chg="mod">
          <ac:chgData name="Ranjini Aravind" userId="726d5c6377dea8df" providerId="LiveId" clId="{C528F0B3-31AF-4638-BD7D-4886042C0E28}" dt="2025-05-30T08:22:42.307" v="287" actId="1035"/>
          <ac:spMkLst>
            <pc:docMk/>
            <pc:sldMk cId="2894533322" sldId="2147472388"/>
            <ac:spMk id="24" creationId="{4B36C63F-A924-2B74-AEA7-D2064C95C717}"/>
          </ac:spMkLst>
        </pc:spChg>
        <pc:graphicFrameChg chg="mod">
          <ac:chgData name="Ranjini Aravind" userId="726d5c6377dea8df" providerId="LiveId" clId="{C528F0B3-31AF-4638-BD7D-4886042C0E28}" dt="2025-05-30T08:22:26.641" v="280" actId="14100"/>
          <ac:graphicFrameMkLst>
            <pc:docMk/>
            <pc:sldMk cId="2894533322" sldId="2147472388"/>
            <ac:graphicFrameMk id="6" creationId="{CEDFB611-C54F-08C1-A348-61782C7A3EBD}"/>
          </ac:graphicFrameMkLst>
        </pc:graphicFrameChg>
      </pc:sldChg>
      <pc:sldChg chg="modSp mod">
        <pc:chgData name="Ranjini Aravind" userId="726d5c6377dea8df" providerId="LiveId" clId="{C528F0B3-31AF-4638-BD7D-4886042C0E28}" dt="2025-05-30T08:22:56.381" v="288" actId="207"/>
        <pc:sldMkLst>
          <pc:docMk/>
          <pc:sldMk cId="3801809409" sldId="2147472389"/>
        </pc:sldMkLst>
        <pc:spChg chg="mod">
          <ac:chgData name="Ranjini Aravind" userId="726d5c6377dea8df" providerId="LiveId" clId="{C528F0B3-31AF-4638-BD7D-4886042C0E28}" dt="2025-05-30T08:22:56.381" v="288" actId="207"/>
          <ac:spMkLst>
            <pc:docMk/>
            <pc:sldMk cId="3801809409" sldId="2147472389"/>
            <ac:spMk id="30" creationId="{DFA64BB1-FCDF-10A3-132E-48C6C4200FFF}"/>
          </ac:spMkLst>
        </pc:spChg>
      </pc:sldChg>
      <pc:sldChg chg="modSp mod">
        <pc:chgData name="Ranjini Aravind" userId="726d5c6377dea8df" providerId="LiveId" clId="{C528F0B3-31AF-4638-BD7D-4886042C0E28}" dt="2025-05-30T08:23:16.217" v="293" actId="207"/>
        <pc:sldMkLst>
          <pc:docMk/>
          <pc:sldMk cId="1924882199" sldId="2147472390"/>
        </pc:sldMkLst>
        <pc:spChg chg="mod">
          <ac:chgData name="Ranjini Aravind" userId="726d5c6377dea8df" providerId="LiveId" clId="{C528F0B3-31AF-4638-BD7D-4886042C0E28}" dt="2025-05-30T08:23:00.329" v="289" actId="207"/>
          <ac:spMkLst>
            <pc:docMk/>
            <pc:sldMk cId="1924882199" sldId="2147472390"/>
            <ac:spMk id="14" creationId="{E9F024CA-CCDC-5EFD-399E-56A7D9297440}"/>
          </ac:spMkLst>
        </pc:spChg>
        <pc:spChg chg="mod">
          <ac:chgData name="Ranjini Aravind" userId="726d5c6377dea8df" providerId="LiveId" clId="{C528F0B3-31AF-4638-BD7D-4886042C0E28}" dt="2025-05-30T08:23:12.952" v="292" actId="207"/>
          <ac:spMkLst>
            <pc:docMk/>
            <pc:sldMk cId="1924882199" sldId="2147472390"/>
            <ac:spMk id="49" creationId="{79830813-6663-0285-B68F-D2793D98F940}"/>
          </ac:spMkLst>
        </pc:spChg>
        <pc:spChg chg="mod">
          <ac:chgData name="Ranjini Aravind" userId="726d5c6377dea8df" providerId="LiveId" clId="{C528F0B3-31AF-4638-BD7D-4886042C0E28}" dt="2025-05-30T08:23:16.217" v="293" actId="207"/>
          <ac:spMkLst>
            <pc:docMk/>
            <pc:sldMk cId="1924882199" sldId="2147472390"/>
            <ac:spMk id="53" creationId="{667A308B-309F-4A87-EEAD-1BD77D975377}"/>
          </ac:spMkLst>
        </pc:spChg>
      </pc:sldChg>
      <pc:sldChg chg="addSp delSp modSp add mod">
        <pc:chgData name="Ranjini Aravind" userId="726d5c6377dea8df" providerId="LiveId" clId="{C528F0B3-31AF-4638-BD7D-4886042C0E28}" dt="2025-05-30T08:16:59.152" v="93" actId="20577"/>
        <pc:sldMkLst>
          <pc:docMk/>
          <pc:sldMk cId="1380153295" sldId="2147472391"/>
        </pc:sldMkLst>
        <pc:spChg chg="mod">
          <ac:chgData name="Ranjini Aravind" userId="726d5c6377dea8df" providerId="LiveId" clId="{C528F0B3-31AF-4638-BD7D-4886042C0E28}" dt="2025-05-30T08:16:12.836" v="33" actId="14100"/>
          <ac:spMkLst>
            <pc:docMk/>
            <pc:sldMk cId="1380153295" sldId="2147472391"/>
            <ac:spMk id="8" creationId="{E298038B-CA77-D8D8-4F90-7259A317ADC3}"/>
          </ac:spMkLst>
        </pc:spChg>
        <pc:spChg chg="mod">
          <ac:chgData name="Ranjini Aravind" userId="726d5c6377dea8df" providerId="LiveId" clId="{C528F0B3-31AF-4638-BD7D-4886042C0E28}" dt="2025-05-30T08:16:59.152" v="93" actId="20577"/>
          <ac:spMkLst>
            <pc:docMk/>
            <pc:sldMk cId="1380153295" sldId="2147472391"/>
            <ac:spMk id="10" creationId="{91CDE588-9268-7CF8-0E5B-0C72C1275DCB}"/>
          </ac:spMkLst>
        </pc:spChg>
        <pc:spChg chg="mod topLvl">
          <ac:chgData name="Ranjini Aravind" userId="726d5c6377dea8df" providerId="LiveId" clId="{C528F0B3-31AF-4638-BD7D-4886042C0E28}" dt="2025-05-30T08:16:51.181" v="76" actId="20577"/>
          <ac:spMkLst>
            <pc:docMk/>
            <pc:sldMk cId="1380153295" sldId="2147472391"/>
            <ac:spMk id="11" creationId="{8E0B9ECA-A5AF-3EDE-5ADA-DCCDCDD3D78E}"/>
          </ac:spMkLst>
        </pc:spChg>
        <pc:spChg chg="mod topLvl">
          <ac:chgData name="Ranjini Aravind" userId="726d5c6377dea8df" providerId="LiveId" clId="{C528F0B3-31AF-4638-BD7D-4886042C0E28}" dt="2025-05-30T08:16:12.836" v="33" actId="14100"/>
          <ac:spMkLst>
            <pc:docMk/>
            <pc:sldMk cId="1380153295" sldId="2147472391"/>
            <ac:spMk id="12" creationId="{B7FF3064-8946-34BB-D8BB-8E87F12C0FF4}"/>
          </ac:spMkLst>
        </pc:spChg>
        <pc:spChg chg="mod">
          <ac:chgData name="Ranjini Aravind" userId="726d5c6377dea8df" providerId="LiveId" clId="{C528F0B3-31AF-4638-BD7D-4886042C0E28}" dt="2025-05-30T08:16:12.836" v="33" actId="14100"/>
          <ac:spMkLst>
            <pc:docMk/>
            <pc:sldMk cId="1380153295" sldId="2147472391"/>
            <ac:spMk id="13" creationId="{9677FD0C-CFAC-5CC4-6254-7D9FD29F71F2}"/>
          </ac:spMkLst>
        </pc:spChg>
        <pc:spChg chg="mod topLvl">
          <ac:chgData name="Ranjini Aravind" userId="726d5c6377dea8df" providerId="LiveId" clId="{C528F0B3-31AF-4638-BD7D-4886042C0E28}" dt="2025-05-30T08:16:12.836" v="33" actId="14100"/>
          <ac:spMkLst>
            <pc:docMk/>
            <pc:sldMk cId="1380153295" sldId="2147472391"/>
            <ac:spMk id="14" creationId="{8630DEE7-0F05-8FA6-669D-903538FD4039}"/>
          </ac:spMkLst>
        </pc:spChg>
        <pc:spChg chg="mod topLvl">
          <ac:chgData name="Ranjini Aravind" userId="726d5c6377dea8df" providerId="LiveId" clId="{C528F0B3-31AF-4638-BD7D-4886042C0E28}" dt="2025-05-30T08:16:28.722" v="40" actId="20577"/>
          <ac:spMkLst>
            <pc:docMk/>
            <pc:sldMk cId="1380153295" sldId="2147472391"/>
            <ac:spMk id="15" creationId="{C6579E36-A2CC-76B4-61B3-A74C63FEB2D4}"/>
          </ac:spMkLst>
        </pc:spChg>
        <pc:spChg chg="mod topLvl">
          <ac:chgData name="Ranjini Aravind" userId="726d5c6377dea8df" providerId="LiveId" clId="{C528F0B3-31AF-4638-BD7D-4886042C0E28}" dt="2025-05-30T08:16:55.417" v="79"/>
          <ac:spMkLst>
            <pc:docMk/>
            <pc:sldMk cId="1380153295" sldId="2147472391"/>
            <ac:spMk id="16" creationId="{8DF80774-24C4-1C7B-EDC2-C2AFBE365631}"/>
          </ac:spMkLst>
        </pc:spChg>
        <pc:spChg chg="mod topLvl">
          <ac:chgData name="Ranjini Aravind" userId="726d5c6377dea8df" providerId="LiveId" clId="{C528F0B3-31AF-4638-BD7D-4886042C0E28}" dt="2025-05-30T08:16:40.699" v="43"/>
          <ac:spMkLst>
            <pc:docMk/>
            <pc:sldMk cId="1380153295" sldId="2147472391"/>
            <ac:spMk id="17" creationId="{F3F72394-1E81-903E-D3C2-2A00A1477F64}"/>
          </ac:spMkLst>
        </pc:spChg>
        <pc:spChg chg="mod topLvl">
          <ac:chgData name="Ranjini Aravind" userId="726d5c6377dea8df" providerId="LiveId" clId="{C528F0B3-31AF-4638-BD7D-4886042C0E28}" dt="2025-05-30T08:16:54.432" v="78"/>
          <ac:spMkLst>
            <pc:docMk/>
            <pc:sldMk cId="1380153295" sldId="2147472391"/>
            <ac:spMk id="18" creationId="{0CC93E69-4BE5-C15F-3A24-8A3A0C2CF6B5}"/>
          </ac:spMkLst>
        </pc:spChg>
        <pc:spChg chg="mod topLvl">
          <ac:chgData name="Ranjini Aravind" userId="726d5c6377dea8df" providerId="LiveId" clId="{C528F0B3-31AF-4638-BD7D-4886042C0E28}" dt="2025-05-30T08:16:39.699" v="42"/>
          <ac:spMkLst>
            <pc:docMk/>
            <pc:sldMk cId="1380153295" sldId="2147472391"/>
            <ac:spMk id="19" creationId="{933C46BD-DDBC-ADE0-336C-EFDBEA205E21}"/>
          </ac:spMkLst>
        </pc:spChg>
        <pc:spChg chg="mod topLvl">
          <ac:chgData name="Ranjini Aravind" userId="726d5c6377dea8df" providerId="LiveId" clId="{C528F0B3-31AF-4638-BD7D-4886042C0E28}" dt="2025-05-30T08:16:53.508" v="77"/>
          <ac:spMkLst>
            <pc:docMk/>
            <pc:sldMk cId="1380153295" sldId="2147472391"/>
            <ac:spMk id="20" creationId="{058AE1CF-8654-9582-5396-3F22317093CA}"/>
          </ac:spMkLst>
        </pc:spChg>
        <pc:spChg chg="mod topLvl">
          <ac:chgData name="Ranjini Aravind" userId="726d5c6377dea8df" providerId="LiveId" clId="{C528F0B3-31AF-4638-BD7D-4886042C0E28}" dt="2025-05-30T08:16:38.683" v="41"/>
          <ac:spMkLst>
            <pc:docMk/>
            <pc:sldMk cId="1380153295" sldId="2147472391"/>
            <ac:spMk id="21" creationId="{29CF1C7C-303A-DE5E-ADA1-FCD11727AC86}"/>
          </ac:spMkLst>
        </pc:spChg>
      </pc:sldChg>
      <pc:sldChg chg="add del">
        <pc:chgData name="Ranjini Aravind" userId="726d5c6377dea8df" providerId="LiveId" clId="{C528F0B3-31AF-4638-BD7D-4886042C0E28}" dt="2025-05-30T08:15:20.545" v="17" actId="2890"/>
        <pc:sldMkLst>
          <pc:docMk/>
          <pc:sldMk cId="3223430823" sldId="2147472391"/>
        </pc:sldMkLst>
      </pc:sldChg>
      <pc:sldChg chg="addSp delSp modSp add mod">
        <pc:chgData name="Ranjini Aravind" userId="726d5c6377dea8df" providerId="LiveId" clId="{C528F0B3-31AF-4638-BD7D-4886042C0E28}" dt="2025-05-30T13:21:11.103" v="643" actId="20577"/>
        <pc:sldMkLst>
          <pc:docMk/>
          <pc:sldMk cId="1843176890" sldId="2147472392"/>
        </pc:sldMkLst>
        <pc:spChg chg="mod">
          <ac:chgData name="Ranjini Aravind" userId="726d5c6377dea8df" providerId="LiveId" clId="{C528F0B3-31AF-4638-BD7D-4886042C0E28}" dt="2025-05-30T13:21:11.103" v="643" actId="20577"/>
          <ac:spMkLst>
            <pc:docMk/>
            <pc:sldMk cId="1843176890" sldId="2147472392"/>
            <ac:spMk id="2" creationId="{A3B2949D-1DA5-7875-38CE-910918D0975F}"/>
          </ac:spMkLst>
        </pc:spChg>
        <pc:spChg chg="add mod">
          <ac:chgData name="Ranjini Aravind" userId="726d5c6377dea8df" providerId="LiveId" clId="{C528F0B3-31AF-4638-BD7D-4886042C0E28}" dt="2025-05-30T13:20:21.910" v="627" actId="164"/>
          <ac:spMkLst>
            <pc:docMk/>
            <pc:sldMk cId="1843176890" sldId="2147472392"/>
            <ac:spMk id="44" creationId="{3C4CDE98-6425-9F47-2B19-F8D9C043376C}"/>
          </ac:spMkLst>
        </pc:spChg>
        <pc:spChg chg="mod">
          <ac:chgData name="Ranjini Aravind" userId="726d5c6377dea8df" providerId="LiveId" clId="{C528F0B3-31AF-4638-BD7D-4886042C0E28}" dt="2025-05-30T13:20:21.910" v="627" actId="164"/>
          <ac:spMkLst>
            <pc:docMk/>
            <pc:sldMk cId="1843176890" sldId="2147472392"/>
            <ac:spMk id="59" creationId="{EE5197CD-A659-BE08-76FD-36C09F597C7C}"/>
          </ac:spMkLst>
        </pc:spChg>
        <pc:spChg chg="mod">
          <ac:chgData name="Ranjini Aravind" userId="726d5c6377dea8df" providerId="LiveId" clId="{C528F0B3-31AF-4638-BD7D-4886042C0E28}" dt="2025-05-30T13:20:21.910" v="627" actId="164"/>
          <ac:spMkLst>
            <pc:docMk/>
            <pc:sldMk cId="1843176890" sldId="2147472392"/>
            <ac:spMk id="138" creationId="{7CDC43D2-1539-A7FE-7903-80B1F0471374}"/>
          </ac:spMkLst>
        </pc:spChg>
        <pc:spChg chg="add mod">
          <ac:chgData name="Ranjini Aravind" userId="726d5c6377dea8df" providerId="LiveId" clId="{C528F0B3-31AF-4638-BD7D-4886042C0E28}" dt="2025-05-30T13:20:21.910" v="627" actId="164"/>
          <ac:spMkLst>
            <pc:docMk/>
            <pc:sldMk cId="1843176890" sldId="2147472392"/>
            <ac:spMk id="144" creationId="{AC1A94D3-9784-6C75-EC7B-5BC9390B3B9E}"/>
          </ac:spMkLst>
        </pc:spChg>
        <pc:spChg chg="add mod">
          <ac:chgData name="Ranjini Aravind" userId="726d5c6377dea8df" providerId="LiveId" clId="{C528F0B3-31AF-4638-BD7D-4886042C0E28}" dt="2025-05-30T13:20:21.910" v="627" actId="164"/>
          <ac:spMkLst>
            <pc:docMk/>
            <pc:sldMk cId="1843176890" sldId="2147472392"/>
            <ac:spMk id="147" creationId="{A714D50D-05C7-DADA-E884-53B5B4EE96A3}"/>
          </ac:spMkLst>
        </pc:spChg>
        <pc:spChg chg="add mod">
          <ac:chgData name="Ranjini Aravind" userId="726d5c6377dea8df" providerId="LiveId" clId="{C528F0B3-31AF-4638-BD7D-4886042C0E28}" dt="2025-05-30T13:20:21.910" v="627" actId="164"/>
          <ac:spMkLst>
            <pc:docMk/>
            <pc:sldMk cId="1843176890" sldId="2147472392"/>
            <ac:spMk id="163" creationId="{0A185251-8264-CE98-D4FB-0878C26B1DA7}"/>
          </ac:spMkLst>
        </pc:spChg>
        <pc:spChg chg="mod">
          <ac:chgData name="Ranjini Aravind" userId="726d5c6377dea8df" providerId="LiveId" clId="{C528F0B3-31AF-4638-BD7D-4886042C0E28}" dt="2025-05-30T13:20:21.910" v="627" actId="164"/>
          <ac:spMkLst>
            <pc:docMk/>
            <pc:sldMk cId="1843176890" sldId="2147472392"/>
            <ac:spMk id="177" creationId="{E5F445F5-4E3F-05B2-3431-A31039388B8A}"/>
          </ac:spMkLst>
        </pc:spChg>
        <pc:spChg chg="add mod">
          <ac:chgData name="Ranjini Aravind" userId="726d5c6377dea8df" providerId="LiveId" clId="{C528F0B3-31AF-4638-BD7D-4886042C0E28}" dt="2025-05-30T13:20:21.910" v="627" actId="164"/>
          <ac:spMkLst>
            <pc:docMk/>
            <pc:sldMk cId="1843176890" sldId="2147472392"/>
            <ac:spMk id="186" creationId="{A2931F88-D736-1035-7B52-1945FAB1A728}"/>
          </ac:spMkLst>
        </pc:spChg>
        <pc:spChg chg="add mod">
          <ac:chgData name="Ranjini Aravind" userId="726d5c6377dea8df" providerId="LiveId" clId="{C528F0B3-31AF-4638-BD7D-4886042C0E28}" dt="2025-05-30T13:20:21.910" v="627" actId="164"/>
          <ac:spMkLst>
            <pc:docMk/>
            <pc:sldMk cId="1843176890" sldId="2147472392"/>
            <ac:spMk id="328" creationId="{323F1CBC-A386-5EC3-5E48-1BD81907AA2F}"/>
          </ac:spMkLst>
        </pc:spChg>
        <pc:spChg chg="mod">
          <ac:chgData name="Ranjini Aravind" userId="726d5c6377dea8df" providerId="LiveId" clId="{C528F0B3-31AF-4638-BD7D-4886042C0E28}" dt="2025-05-30T13:20:21.910" v="627" actId="164"/>
          <ac:spMkLst>
            <pc:docMk/>
            <pc:sldMk cId="1843176890" sldId="2147472392"/>
            <ac:spMk id="340" creationId="{9FD6493B-B3FC-9AC6-A714-2AB3AECC974E}"/>
          </ac:spMkLst>
        </pc:spChg>
        <pc:spChg chg="add mod">
          <ac:chgData name="Ranjini Aravind" userId="726d5c6377dea8df" providerId="LiveId" clId="{C528F0B3-31AF-4638-BD7D-4886042C0E28}" dt="2025-05-30T13:19:06.762" v="602" actId="207"/>
          <ac:spMkLst>
            <pc:docMk/>
            <pc:sldMk cId="1843176890" sldId="2147472392"/>
            <ac:spMk id="345" creationId="{3BDC83D9-4305-F440-631A-72C5215BE989}"/>
          </ac:spMkLst>
        </pc:spChg>
        <pc:spChg chg="add mod">
          <ac:chgData name="Ranjini Aravind" userId="726d5c6377dea8df" providerId="LiveId" clId="{C528F0B3-31AF-4638-BD7D-4886042C0E28}" dt="2025-05-30T13:19:06.762" v="602" actId="207"/>
          <ac:spMkLst>
            <pc:docMk/>
            <pc:sldMk cId="1843176890" sldId="2147472392"/>
            <ac:spMk id="363" creationId="{190D163F-F875-A788-06C9-9E8593752678}"/>
          </ac:spMkLst>
        </pc:spChg>
        <pc:spChg chg="add mod">
          <ac:chgData name="Ranjini Aravind" userId="726d5c6377dea8df" providerId="LiveId" clId="{C528F0B3-31AF-4638-BD7D-4886042C0E28}" dt="2025-05-30T13:19:06.762" v="602" actId="207"/>
          <ac:spMkLst>
            <pc:docMk/>
            <pc:sldMk cId="1843176890" sldId="2147472392"/>
            <ac:spMk id="385" creationId="{28C4D53E-7BD4-4AD4-73C4-3BE704B6C07E}"/>
          </ac:spMkLst>
        </pc:spChg>
        <pc:spChg chg="add mod">
          <ac:chgData name="Ranjini Aravind" userId="726d5c6377dea8df" providerId="LiveId" clId="{C528F0B3-31AF-4638-BD7D-4886042C0E28}" dt="2025-05-30T13:19:06.762" v="602" actId="207"/>
          <ac:spMkLst>
            <pc:docMk/>
            <pc:sldMk cId="1843176890" sldId="2147472392"/>
            <ac:spMk id="402" creationId="{C623388F-26F8-FBE1-3272-EB16147B47C5}"/>
          </ac:spMkLst>
        </pc:spChg>
        <pc:grpChg chg="mod">
          <ac:chgData name="Ranjini Aravind" userId="726d5c6377dea8df" providerId="LiveId" clId="{C528F0B3-31AF-4638-BD7D-4886042C0E28}" dt="2025-05-30T13:20:23.613" v="628" actId="1076"/>
          <ac:grpSpMkLst>
            <pc:docMk/>
            <pc:sldMk cId="1843176890" sldId="2147472392"/>
            <ac:grpSpMk id="411" creationId="{4050098B-E347-059C-D122-410D39B7C477}"/>
          </ac:grpSpMkLst>
        </pc:grpChg>
      </pc:sldChg>
      <pc:sldChg chg="addSp delSp modSp add mod">
        <pc:chgData name="Ranjini Aravind" userId="726d5c6377dea8df" providerId="LiveId" clId="{C528F0B3-31AF-4638-BD7D-4886042C0E28}" dt="2025-05-30T13:21:14.774" v="645" actId="20577"/>
        <pc:sldMkLst>
          <pc:docMk/>
          <pc:sldMk cId="761153223" sldId="2147472393"/>
        </pc:sldMkLst>
        <pc:spChg chg="mod">
          <ac:chgData name="Ranjini Aravind" userId="726d5c6377dea8df" providerId="LiveId" clId="{C528F0B3-31AF-4638-BD7D-4886042C0E28}" dt="2025-05-30T13:21:14.774" v="645" actId="20577"/>
          <ac:spMkLst>
            <pc:docMk/>
            <pc:sldMk cId="761153223" sldId="2147472393"/>
            <ac:spMk id="2" creationId="{30FCA861-A9A5-FCB3-7C3C-307E2FCD3E66}"/>
          </ac:spMkLst>
        </pc:spChg>
        <pc:spChg chg="mod">
          <ac:chgData name="Ranjini Aravind" userId="726d5c6377dea8df" providerId="LiveId" clId="{C528F0B3-31AF-4638-BD7D-4886042C0E28}" dt="2025-05-30T13:20:18.036" v="625" actId="164"/>
          <ac:spMkLst>
            <pc:docMk/>
            <pc:sldMk cId="761153223" sldId="2147472393"/>
            <ac:spMk id="9" creationId="{609CB534-576E-A0A1-D85F-5F8BB9B73E25}"/>
          </ac:spMkLst>
        </pc:spChg>
        <pc:spChg chg="mod">
          <ac:chgData name="Ranjini Aravind" userId="726d5c6377dea8df" providerId="LiveId" clId="{C528F0B3-31AF-4638-BD7D-4886042C0E28}" dt="2025-05-30T13:20:18.036" v="625" actId="164"/>
          <ac:spMkLst>
            <pc:docMk/>
            <pc:sldMk cId="761153223" sldId="2147472393"/>
            <ac:spMk id="11" creationId="{CBE9191C-537B-6028-2AAD-B1EFB11289D7}"/>
          </ac:spMkLst>
        </pc:spChg>
        <pc:spChg chg="add mod">
          <ac:chgData name="Ranjini Aravind" userId="726d5c6377dea8df" providerId="LiveId" clId="{C528F0B3-31AF-4638-BD7D-4886042C0E28}" dt="2025-05-30T13:19:23.296" v="606" actId="207"/>
          <ac:spMkLst>
            <pc:docMk/>
            <pc:sldMk cId="761153223" sldId="2147472393"/>
            <ac:spMk id="21" creationId="{67BB7D9C-992C-38A8-0C2E-108DA3972F2B}"/>
          </ac:spMkLst>
        </pc:spChg>
        <pc:spChg chg="mod">
          <ac:chgData name="Ranjini Aravind" userId="726d5c6377dea8df" providerId="LiveId" clId="{C528F0B3-31AF-4638-BD7D-4886042C0E28}" dt="2025-05-30T13:20:18.036" v="625" actId="164"/>
          <ac:spMkLst>
            <pc:docMk/>
            <pc:sldMk cId="761153223" sldId="2147472393"/>
            <ac:spMk id="22" creationId="{849369C4-ECCF-3E03-771A-19FD115BEEF2}"/>
          </ac:spMkLst>
        </pc:spChg>
        <pc:spChg chg="mod">
          <ac:chgData name="Ranjini Aravind" userId="726d5c6377dea8df" providerId="LiveId" clId="{C528F0B3-31AF-4638-BD7D-4886042C0E28}" dt="2025-05-30T13:20:18.036" v="625" actId="164"/>
          <ac:spMkLst>
            <pc:docMk/>
            <pc:sldMk cId="761153223" sldId="2147472393"/>
            <ac:spMk id="27" creationId="{07D79553-A419-5512-1878-9FFEB86027ED}"/>
          </ac:spMkLst>
        </pc:spChg>
        <pc:spChg chg="mod">
          <ac:chgData name="Ranjini Aravind" userId="726d5c6377dea8df" providerId="LiveId" clId="{C528F0B3-31AF-4638-BD7D-4886042C0E28}" dt="2025-05-30T13:20:18.036" v="625" actId="164"/>
          <ac:spMkLst>
            <pc:docMk/>
            <pc:sldMk cId="761153223" sldId="2147472393"/>
            <ac:spMk id="134" creationId="{FEA5FB7E-A77A-527D-B8BA-2E5EFCFECFE6}"/>
          </ac:spMkLst>
        </pc:spChg>
        <pc:spChg chg="mod">
          <ac:chgData name="Ranjini Aravind" userId="726d5c6377dea8df" providerId="LiveId" clId="{C528F0B3-31AF-4638-BD7D-4886042C0E28}" dt="2025-05-30T13:20:18.036" v="625" actId="164"/>
          <ac:spMkLst>
            <pc:docMk/>
            <pc:sldMk cId="761153223" sldId="2147472393"/>
            <ac:spMk id="135" creationId="{BF8C41D8-0966-E344-0FDC-681BD64B71DC}"/>
          </ac:spMkLst>
        </pc:spChg>
        <pc:spChg chg="add mod">
          <ac:chgData name="Ranjini Aravind" userId="726d5c6377dea8df" providerId="LiveId" clId="{C528F0B3-31AF-4638-BD7D-4886042C0E28}" dt="2025-05-30T13:19:23.296" v="606" actId="207"/>
          <ac:spMkLst>
            <pc:docMk/>
            <pc:sldMk cId="761153223" sldId="2147472393"/>
            <ac:spMk id="413" creationId="{0D7FB9DF-6BEA-E8DA-D0A0-487D54F7FE16}"/>
          </ac:spMkLst>
        </pc:spChg>
        <pc:spChg chg="mod">
          <ac:chgData name="Ranjini Aravind" userId="726d5c6377dea8df" providerId="LiveId" clId="{C528F0B3-31AF-4638-BD7D-4886042C0E28}" dt="2025-05-30T13:20:18.036" v="625" actId="164"/>
          <ac:spMkLst>
            <pc:docMk/>
            <pc:sldMk cId="761153223" sldId="2147472393"/>
            <ac:spMk id="415" creationId="{26ADF7AA-827A-3644-8799-ACB498304F04}"/>
          </ac:spMkLst>
        </pc:spChg>
        <pc:spChg chg="mod">
          <ac:chgData name="Ranjini Aravind" userId="726d5c6377dea8df" providerId="LiveId" clId="{C528F0B3-31AF-4638-BD7D-4886042C0E28}" dt="2025-05-30T13:20:18.036" v="625" actId="164"/>
          <ac:spMkLst>
            <pc:docMk/>
            <pc:sldMk cId="761153223" sldId="2147472393"/>
            <ac:spMk id="416" creationId="{631716D2-78B0-3407-02F9-8BCAF484F88C}"/>
          </ac:spMkLst>
        </pc:spChg>
        <pc:spChg chg="add mod">
          <ac:chgData name="Ranjini Aravind" userId="726d5c6377dea8df" providerId="LiveId" clId="{C528F0B3-31AF-4638-BD7D-4886042C0E28}" dt="2025-05-30T13:19:23.296" v="606" actId="207"/>
          <ac:spMkLst>
            <pc:docMk/>
            <pc:sldMk cId="761153223" sldId="2147472393"/>
            <ac:spMk id="430" creationId="{C490EFC7-6EDA-F64B-1DAD-A3B0EC070C10}"/>
          </ac:spMkLst>
        </pc:spChg>
        <pc:spChg chg="mod">
          <ac:chgData name="Ranjini Aravind" userId="726d5c6377dea8df" providerId="LiveId" clId="{C528F0B3-31AF-4638-BD7D-4886042C0E28}" dt="2025-05-30T13:20:18.036" v="625" actId="164"/>
          <ac:spMkLst>
            <pc:docMk/>
            <pc:sldMk cId="761153223" sldId="2147472393"/>
            <ac:spMk id="431" creationId="{67D60A02-0EE1-2B9C-DC88-B020F3D05BD2}"/>
          </ac:spMkLst>
        </pc:spChg>
        <pc:spChg chg="add mod">
          <ac:chgData name="Ranjini Aravind" userId="726d5c6377dea8df" providerId="LiveId" clId="{C528F0B3-31AF-4638-BD7D-4886042C0E28}" dt="2025-05-30T13:19:23.296" v="606" actId="207"/>
          <ac:spMkLst>
            <pc:docMk/>
            <pc:sldMk cId="761153223" sldId="2147472393"/>
            <ac:spMk id="448" creationId="{D63C22B4-4934-2211-1C5A-02CA4EA0ABE6}"/>
          </ac:spMkLst>
        </pc:spChg>
        <pc:spChg chg="add mod">
          <ac:chgData name="Ranjini Aravind" userId="726d5c6377dea8df" providerId="LiveId" clId="{C528F0B3-31AF-4638-BD7D-4886042C0E28}" dt="2025-05-30T13:19:23.296" v="606" actId="207"/>
          <ac:spMkLst>
            <pc:docMk/>
            <pc:sldMk cId="761153223" sldId="2147472393"/>
            <ac:spMk id="454" creationId="{967C668B-ABB4-B3A9-B3F4-373EDF3B3D29}"/>
          </ac:spMkLst>
        </pc:spChg>
        <pc:spChg chg="add mod">
          <ac:chgData name="Ranjini Aravind" userId="726d5c6377dea8df" providerId="LiveId" clId="{C528F0B3-31AF-4638-BD7D-4886042C0E28}" dt="2025-05-30T13:19:23.296" v="606" actId="207"/>
          <ac:spMkLst>
            <pc:docMk/>
            <pc:sldMk cId="761153223" sldId="2147472393"/>
            <ac:spMk id="470" creationId="{FCC7BD4C-3F0E-70EB-3F85-72B1CE6FB7BA}"/>
          </ac:spMkLst>
        </pc:spChg>
        <pc:spChg chg="add mod">
          <ac:chgData name="Ranjini Aravind" userId="726d5c6377dea8df" providerId="LiveId" clId="{C528F0B3-31AF-4638-BD7D-4886042C0E28}" dt="2025-05-30T13:19:23.296" v="606" actId="207"/>
          <ac:spMkLst>
            <pc:docMk/>
            <pc:sldMk cId="761153223" sldId="2147472393"/>
            <ac:spMk id="491" creationId="{6C22C27D-7F8F-5220-9360-3BA7E70ACAF2}"/>
          </ac:spMkLst>
        </pc:spChg>
        <pc:spChg chg="add mod">
          <ac:chgData name="Ranjini Aravind" userId="726d5c6377dea8df" providerId="LiveId" clId="{C528F0B3-31AF-4638-BD7D-4886042C0E28}" dt="2025-05-30T13:19:23.296" v="606" actId="207"/>
          <ac:spMkLst>
            <pc:docMk/>
            <pc:sldMk cId="761153223" sldId="2147472393"/>
            <ac:spMk id="494" creationId="{8DCA8EE3-EA47-59C1-8922-F9F7BD39D476}"/>
          </ac:spMkLst>
        </pc:spChg>
        <pc:spChg chg="add mod">
          <ac:chgData name="Ranjini Aravind" userId="726d5c6377dea8df" providerId="LiveId" clId="{C528F0B3-31AF-4638-BD7D-4886042C0E28}" dt="2025-05-30T13:19:23.296" v="606" actId="207"/>
          <ac:spMkLst>
            <pc:docMk/>
            <pc:sldMk cId="761153223" sldId="2147472393"/>
            <ac:spMk id="501" creationId="{719773EB-B540-B9D1-3142-3843E6C88C84}"/>
          </ac:spMkLst>
        </pc:spChg>
        <pc:spChg chg="add mod">
          <ac:chgData name="Ranjini Aravind" userId="726d5c6377dea8df" providerId="LiveId" clId="{C528F0B3-31AF-4638-BD7D-4886042C0E28}" dt="2025-05-30T13:19:23.296" v="606" actId="207"/>
          <ac:spMkLst>
            <pc:docMk/>
            <pc:sldMk cId="761153223" sldId="2147472393"/>
            <ac:spMk id="524" creationId="{43A295DC-B34A-0797-6626-48804A9ADAE4}"/>
          </ac:spMkLst>
        </pc:spChg>
        <pc:spChg chg="mod">
          <ac:chgData name="Ranjini Aravind" userId="726d5c6377dea8df" providerId="LiveId" clId="{C528F0B3-31AF-4638-BD7D-4886042C0E28}" dt="2025-05-30T13:20:18.036" v="625" actId="164"/>
          <ac:spMkLst>
            <pc:docMk/>
            <pc:sldMk cId="761153223" sldId="2147472393"/>
            <ac:spMk id="534" creationId="{7A6BC2A2-8183-E016-C404-3D6426EF34B1}"/>
          </ac:spMkLst>
        </pc:spChg>
      </pc:sldChg>
      <pc:sldChg chg="addSp delSp modSp add mod">
        <pc:chgData name="Ranjini Aravind" userId="726d5c6377dea8df" providerId="LiveId" clId="{C528F0B3-31AF-4638-BD7D-4886042C0E28}" dt="2025-05-30T13:21:17.961" v="647" actId="20577"/>
        <pc:sldMkLst>
          <pc:docMk/>
          <pc:sldMk cId="846696483" sldId="2147472394"/>
        </pc:sldMkLst>
        <pc:spChg chg="mod">
          <ac:chgData name="Ranjini Aravind" userId="726d5c6377dea8df" providerId="LiveId" clId="{C528F0B3-31AF-4638-BD7D-4886042C0E28}" dt="2025-05-30T13:21:17.961" v="647" actId="20577"/>
          <ac:spMkLst>
            <pc:docMk/>
            <pc:sldMk cId="846696483" sldId="2147472394"/>
            <ac:spMk id="2" creationId="{6F67A445-0F41-E102-9819-2C654BEB9B4E}"/>
          </ac:spMkLst>
        </pc:spChg>
        <pc:spChg chg="mod topLvl">
          <ac:chgData name="Ranjini Aravind" userId="726d5c6377dea8df" providerId="LiveId" clId="{C528F0B3-31AF-4638-BD7D-4886042C0E28}" dt="2025-05-30T13:19:44.948" v="616" actId="165"/>
          <ac:spMkLst>
            <pc:docMk/>
            <pc:sldMk cId="846696483" sldId="2147472394"/>
            <ac:spMk id="36" creationId="{527CDE74-8F97-0FBD-5C69-C2C06BB62FB0}"/>
          </ac:spMkLst>
        </pc:spChg>
        <pc:spChg chg="mod topLvl">
          <ac:chgData name="Ranjini Aravind" userId="726d5c6377dea8df" providerId="LiveId" clId="{C528F0B3-31AF-4638-BD7D-4886042C0E28}" dt="2025-05-30T13:19:44.948" v="616" actId="165"/>
          <ac:spMkLst>
            <pc:docMk/>
            <pc:sldMk cId="846696483" sldId="2147472394"/>
            <ac:spMk id="40" creationId="{F1C3092E-81A0-2EE3-1244-79D41E00EF01}"/>
          </ac:spMkLst>
        </pc:spChg>
        <pc:spChg chg="mod topLvl">
          <ac:chgData name="Ranjini Aravind" userId="726d5c6377dea8df" providerId="LiveId" clId="{C528F0B3-31AF-4638-BD7D-4886042C0E28}" dt="2025-05-30T13:19:44.948" v="616" actId="165"/>
          <ac:spMkLst>
            <pc:docMk/>
            <pc:sldMk cId="846696483" sldId="2147472394"/>
            <ac:spMk id="41" creationId="{594D60DD-94F8-9EF8-82DF-EDCF01B7E3F5}"/>
          </ac:spMkLst>
        </pc:spChg>
        <pc:spChg chg="mod topLvl">
          <ac:chgData name="Ranjini Aravind" userId="726d5c6377dea8df" providerId="LiveId" clId="{C528F0B3-31AF-4638-BD7D-4886042C0E28}" dt="2025-05-30T13:19:44.948" v="616" actId="165"/>
          <ac:spMkLst>
            <pc:docMk/>
            <pc:sldMk cId="846696483" sldId="2147472394"/>
            <ac:spMk id="42" creationId="{5599018D-1DAE-1C8B-395F-3DBC6EDF57E8}"/>
          </ac:spMkLst>
        </pc:spChg>
        <pc:spChg chg="mod topLvl">
          <ac:chgData name="Ranjini Aravind" userId="726d5c6377dea8df" providerId="LiveId" clId="{C528F0B3-31AF-4638-BD7D-4886042C0E28}" dt="2025-05-30T13:19:44.948" v="616" actId="165"/>
          <ac:spMkLst>
            <pc:docMk/>
            <pc:sldMk cId="846696483" sldId="2147472394"/>
            <ac:spMk id="45" creationId="{F26881E1-9B5B-DFF4-1CA5-901438420C17}"/>
          </ac:spMkLst>
        </pc:spChg>
        <pc:spChg chg="mod">
          <ac:chgData name="Ranjini Aravind" userId="726d5c6377dea8df" providerId="LiveId" clId="{C528F0B3-31AF-4638-BD7D-4886042C0E28}" dt="2025-05-30T13:19:43.027" v="615" actId="207"/>
          <ac:spMkLst>
            <pc:docMk/>
            <pc:sldMk cId="846696483" sldId="2147472394"/>
            <ac:spMk id="47" creationId="{099483A1-FB4F-18ED-6A22-19083E1D7457}"/>
          </ac:spMkLst>
        </pc:spChg>
        <pc:spChg chg="mod topLvl">
          <ac:chgData name="Ranjini Aravind" userId="726d5c6377dea8df" providerId="LiveId" clId="{C528F0B3-31AF-4638-BD7D-4886042C0E28}" dt="2025-05-30T13:19:44.948" v="616" actId="165"/>
          <ac:spMkLst>
            <pc:docMk/>
            <pc:sldMk cId="846696483" sldId="2147472394"/>
            <ac:spMk id="54" creationId="{CCCCC3E1-6A53-FE3E-06D5-E9229761E864}"/>
          </ac:spMkLst>
        </pc:spChg>
        <pc:spChg chg="mod topLvl">
          <ac:chgData name="Ranjini Aravind" userId="726d5c6377dea8df" providerId="LiveId" clId="{C528F0B3-31AF-4638-BD7D-4886042C0E28}" dt="2025-05-30T13:19:44.948" v="616" actId="165"/>
          <ac:spMkLst>
            <pc:docMk/>
            <pc:sldMk cId="846696483" sldId="2147472394"/>
            <ac:spMk id="56" creationId="{DAB7273E-86A4-80E5-C23A-F3A6782DB46E}"/>
          </ac:spMkLst>
        </pc:spChg>
        <pc:spChg chg="add mod">
          <ac:chgData name="Ranjini Aravind" userId="726d5c6377dea8df" providerId="LiveId" clId="{C528F0B3-31AF-4638-BD7D-4886042C0E28}" dt="2025-05-30T13:19:43.027" v="615" actId="207"/>
          <ac:spMkLst>
            <pc:docMk/>
            <pc:sldMk cId="846696483" sldId="2147472394"/>
            <ac:spMk id="129" creationId="{D1DABEEC-E1F8-9373-7B8E-553D9120EE38}"/>
          </ac:spMkLst>
        </pc:spChg>
        <pc:spChg chg="mod">
          <ac:chgData name="Ranjini Aravind" userId="726d5c6377dea8df" providerId="LiveId" clId="{C528F0B3-31AF-4638-BD7D-4886042C0E28}" dt="2025-05-30T13:20:12.266" v="623" actId="164"/>
          <ac:spMkLst>
            <pc:docMk/>
            <pc:sldMk cId="846696483" sldId="2147472394"/>
            <ac:spMk id="130" creationId="{584E88F5-FCDA-1EC8-54E6-E44905E0FBA8}"/>
          </ac:spMkLst>
        </pc:spChg>
        <pc:spChg chg="mod">
          <ac:chgData name="Ranjini Aravind" userId="726d5c6377dea8df" providerId="LiveId" clId="{C528F0B3-31AF-4638-BD7D-4886042C0E28}" dt="2025-05-30T13:20:12.266" v="623" actId="164"/>
          <ac:spMkLst>
            <pc:docMk/>
            <pc:sldMk cId="846696483" sldId="2147472394"/>
            <ac:spMk id="141" creationId="{969F5DAE-1991-DA3E-2327-D28E7C5AF7EC}"/>
          </ac:spMkLst>
        </pc:spChg>
        <pc:spChg chg="mod">
          <ac:chgData name="Ranjini Aravind" userId="726d5c6377dea8df" providerId="LiveId" clId="{C528F0B3-31AF-4638-BD7D-4886042C0E28}" dt="2025-05-30T13:20:12.266" v="623" actId="164"/>
          <ac:spMkLst>
            <pc:docMk/>
            <pc:sldMk cId="846696483" sldId="2147472394"/>
            <ac:spMk id="148" creationId="{DCF249B6-0047-445C-CD06-F7FB147D19BF}"/>
          </ac:spMkLst>
        </pc:spChg>
        <pc:spChg chg="add mod">
          <ac:chgData name="Ranjini Aravind" userId="726d5c6377dea8df" providerId="LiveId" clId="{C528F0B3-31AF-4638-BD7D-4886042C0E28}" dt="2025-05-30T13:20:12.266" v="623" actId="164"/>
          <ac:spMkLst>
            <pc:docMk/>
            <pc:sldMk cId="846696483" sldId="2147472394"/>
            <ac:spMk id="160" creationId="{977F46C1-340E-5418-24A2-33084F25628A}"/>
          </ac:spMkLst>
        </pc:spChg>
        <pc:spChg chg="add mod">
          <ac:chgData name="Ranjini Aravind" userId="726d5c6377dea8df" providerId="LiveId" clId="{C528F0B3-31AF-4638-BD7D-4886042C0E28}" dt="2025-05-30T13:19:43.027" v="615" actId="207"/>
          <ac:spMkLst>
            <pc:docMk/>
            <pc:sldMk cId="846696483" sldId="2147472394"/>
            <ac:spMk id="166" creationId="{0D9F956E-383E-0DB9-FF9A-E4ED5A618F92}"/>
          </ac:spMkLst>
        </pc:spChg>
        <pc:spChg chg="mod">
          <ac:chgData name="Ranjini Aravind" userId="726d5c6377dea8df" providerId="LiveId" clId="{C528F0B3-31AF-4638-BD7D-4886042C0E28}" dt="2025-05-30T13:20:12.266" v="623" actId="164"/>
          <ac:spMkLst>
            <pc:docMk/>
            <pc:sldMk cId="846696483" sldId="2147472394"/>
            <ac:spMk id="167" creationId="{17A4A2E7-6A37-6B40-53BA-FAF9B3852151}"/>
          </ac:spMkLst>
        </pc:spChg>
        <pc:spChg chg="mod">
          <ac:chgData name="Ranjini Aravind" userId="726d5c6377dea8df" providerId="LiveId" clId="{C528F0B3-31AF-4638-BD7D-4886042C0E28}" dt="2025-05-30T13:20:12.266" v="623" actId="164"/>
          <ac:spMkLst>
            <pc:docMk/>
            <pc:sldMk cId="846696483" sldId="2147472394"/>
            <ac:spMk id="168" creationId="{539DBAE6-6537-0474-7928-70DC074A1B10}"/>
          </ac:spMkLst>
        </pc:spChg>
        <pc:spChg chg="mod">
          <ac:chgData name="Ranjini Aravind" userId="726d5c6377dea8df" providerId="LiveId" clId="{C528F0B3-31AF-4638-BD7D-4886042C0E28}" dt="2025-05-30T13:20:12.266" v="623" actId="164"/>
          <ac:spMkLst>
            <pc:docMk/>
            <pc:sldMk cId="846696483" sldId="2147472394"/>
            <ac:spMk id="172" creationId="{65DD2FA8-A0FA-9AC8-B2E2-899FC1BDB799}"/>
          </ac:spMkLst>
        </pc:spChg>
        <pc:spChg chg="add mod">
          <ac:chgData name="Ranjini Aravind" userId="726d5c6377dea8df" providerId="LiveId" clId="{C528F0B3-31AF-4638-BD7D-4886042C0E28}" dt="2025-05-30T13:19:43.027" v="615" actId="207"/>
          <ac:spMkLst>
            <pc:docMk/>
            <pc:sldMk cId="846696483" sldId="2147472394"/>
            <ac:spMk id="325" creationId="{88F8479F-4779-9166-D307-AD53189FE68E}"/>
          </ac:spMkLst>
        </pc:spChg>
        <pc:spChg chg="add mod">
          <ac:chgData name="Ranjini Aravind" userId="726d5c6377dea8df" providerId="LiveId" clId="{C528F0B3-31AF-4638-BD7D-4886042C0E28}" dt="2025-05-30T13:19:43.027" v="615" actId="207"/>
          <ac:spMkLst>
            <pc:docMk/>
            <pc:sldMk cId="846696483" sldId="2147472394"/>
            <ac:spMk id="336" creationId="{D1636FBF-672A-BED3-BA93-F4C0DCDD565C}"/>
          </ac:spMkLst>
        </pc:spChg>
        <pc:spChg chg="mod topLvl">
          <ac:chgData name="Ranjini Aravind" userId="726d5c6377dea8df" providerId="LiveId" clId="{C528F0B3-31AF-4638-BD7D-4886042C0E28}" dt="2025-05-30T13:19:44.948" v="616" actId="165"/>
          <ac:spMkLst>
            <pc:docMk/>
            <pc:sldMk cId="846696483" sldId="2147472394"/>
            <ac:spMk id="538" creationId="{33DA16EC-AC39-03B6-989E-6C6B4767B27C}"/>
          </ac:spMkLst>
        </pc:spChg>
        <pc:spChg chg="mod topLvl">
          <ac:chgData name="Ranjini Aravind" userId="726d5c6377dea8df" providerId="LiveId" clId="{C528F0B3-31AF-4638-BD7D-4886042C0E28}" dt="2025-05-30T13:19:44.948" v="616" actId="165"/>
          <ac:spMkLst>
            <pc:docMk/>
            <pc:sldMk cId="846696483" sldId="2147472394"/>
            <ac:spMk id="541" creationId="{D06A5530-78FE-EB60-F2BB-26B7B41A4BBA}"/>
          </ac:spMkLst>
        </pc:spChg>
        <pc:spChg chg="mod topLvl">
          <ac:chgData name="Ranjini Aravind" userId="726d5c6377dea8df" providerId="LiveId" clId="{C528F0B3-31AF-4638-BD7D-4886042C0E28}" dt="2025-05-30T13:19:44.948" v="616" actId="165"/>
          <ac:spMkLst>
            <pc:docMk/>
            <pc:sldMk cId="846696483" sldId="2147472394"/>
            <ac:spMk id="542" creationId="{89BF2F52-723E-EC9E-AF53-1A87E5F1D0B4}"/>
          </ac:spMkLst>
        </pc:spChg>
        <pc:spChg chg="mod">
          <ac:chgData name="Ranjini Aravind" userId="726d5c6377dea8df" providerId="LiveId" clId="{C528F0B3-31AF-4638-BD7D-4886042C0E28}" dt="2025-05-30T13:20:12.266" v="623" actId="164"/>
          <ac:spMkLst>
            <pc:docMk/>
            <pc:sldMk cId="846696483" sldId="2147472394"/>
            <ac:spMk id="548" creationId="{2BD05F3B-E9FC-6744-FC67-03C1F25F60E6}"/>
          </ac:spMkLst>
        </pc:spChg>
        <pc:spChg chg="mod">
          <ac:chgData name="Ranjini Aravind" userId="726d5c6377dea8df" providerId="LiveId" clId="{C528F0B3-31AF-4638-BD7D-4886042C0E28}" dt="2025-05-30T13:20:12.266" v="623" actId="164"/>
          <ac:spMkLst>
            <pc:docMk/>
            <pc:sldMk cId="846696483" sldId="2147472394"/>
            <ac:spMk id="551" creationId="{44DA0FE9-3780-7F1D-029A-2BCEC66C8A37}"/>
          </ac:spMkLst>
        </pc:spChg>
        <pc:spChg chg="add mod">
          <ac:chgData name="Ranjini Aravind" userId="726d5c6377dea8df" providerId="LiveId" clId="{C528F0B3-31AF-4638-BD7D-4886042C0E28}" dt="2025-05-30T13:19:43.027" v="615" actId="207"/>
          <ac:spMkLst>
            <pc:docMk/>
            <pc:sldMk cId="846696483" sldId="2147472394"/>
            <ac:spMk id="560" creationId="{2A4FE673-50E3-BB0F-F1BA-336AD0F87FCA}"/>
          </ac:spMkLst>
        </pc:spChg>
        <pc:spChg chg="add mod">
          <ac:chgData name="Ranjini Aravind" userId="726d5c6377dea8df" providerId="LiveId" clId="{C528F0B3-31AF-4638-BD7D-4886042C0E28}" dt="2025-05-30T13:19:43.027" v="615" actId="207"/>
          <ac:spMkLst>
            <pc:docMk/>
            <pc:sldMk cId="846696483" sldId="2147472394"/>
            <ac:spMk id="564" creationId="{43BD1DA8-4D12-848A-C629-C4A468F592BA}"/>
          </ac:spMkLst>
        </pc:spChg>
        <pc:spChg chg="mod">
          <ac:chgData name="Ranjini Aravind" userId="726d5c6377dea8df" providerId="LiveId" clId="{C528F0B3-31AF-4638-BD7D-4886042C0E28}" dt="2025-05-30T13:20:12.266" v="623" actId="164"/>
          <ac:spMkLst>
            <pc:docMk/>
            <pc:sldMk cId="846696483" sldId="2147472394"/>
            <ac:spMk id="569" creationId="{1720EF3B-8FA4-18F5-247A-CD87B156A5DB}"/>
          </ac:spMkLst>
        </pc:spChg>
        <pc:spChg chg="add mod">
          <ac:chgData name="Ranjini Aravind" userId="726d5c6377dea8df" providerId="LiveId" clId="{C528F0B3-31AF-4638-BD7D-4886042C0E28}" dt="2025-05-30T13:19:43.027" v="615" actId="207"/>
          <ac:spMkLst>
            <pc:docMk/>
            <pc:sldMk cId="846696483" sldId="2147472394"/>
            <ac:spMk id="574" creationId="{074D1E85-031D-D68A-6948-81AAE9F0606B}"/>
          </ac:spMkLst>
        </pc:spChg>
      </pc:sldChg>
      <pc:sldChg chg="addSp modSp add mod">
        <pc:chgData name="Ranjini Aravind" userId="726d5c6377dea8df" providerId="LiveId" clId="{C528F0B3-31AF-4638-BD7D-4886042C0E28}" dt="2025-05-30T13:21:21.851" v="649" actId="20577"/>
        <pc:sldMkLst>
          <pc:docMk/>
          <pc:sldMk cId="2638667682" sldId="2147472395"/>
        </pc:sldMkLst>
        <pc:spChg chg="mod">
          <ac:chgData name="Ranjini Aravind" userId="726d5c6377dea8df" providerId="LiveId" clId="{C528F0B3-31AF-4638-BD7D-4886042C0E28}" dt="2025-05-30T13:21:21.851" v="649" actId="20577"/>
          <ac:spMkLst>
            <pc:docMk/>
            <pc:sldMk cId="2638667682" sldId="2147472395"/>
            <ac:spMk id="2" creationId="{BBB6DB11-D139-8F44-504E-6ABE66785C91}"/>
          </ac:spMkLst>
        </pc:spChg>
        <pc:spChg chg="add mod">
          <ac:chgData name="Ranjini Aravind" userId="726d5c6377dea8df" providerId="LiveId" clId="{C528F0B3-31AF-4638-BD7D-4886042C0E28}" dt="2025-05-30T13:20:30.299" v="629" actId="164"/>
          <ac:spMkLst>
            <pc:docMk/>
            <pc:sldMk cId="2638667682" sldId="2147472395"/>
            <ac:spMk id="19" creationId="{E76D5E2E-B71C-2BBD-3272-241340E40311}"/>
          </ac:spMkLst>
        </pc:spChg>
        <pc:spChg chg="add mod">
          <ac:chgData name="Ranjini Aravind" userId="726d5c6377dea8df" providerId="LiveId" clId="{C528F0B3-31AF-4638-BD7D-4886042C0E28}" dt="2025-05-30T13:20:30.299" v="629" actId="164"/>
          <ac:spMkLst>
            <pc:docMk/>
            <pc:sldMk cId="2638667682" sldId="2147472395"/>
            <ac:spMk id="22" creationId="{252B016E-36ED-E35D-2567-904F14A5DCE9}"/>
          </ac:spMkLst>
        </pc:spChg>
        <pc:spChg chg="add mod">
          <ac:chgData name="Ranjini Aravind" userId="726d5c6377dea8df" providerId="LiveId" clId="{C528F0B3-31AF-4638-BD7D-4886042C0E28}" dt="2025-05-30T13:20:30.299" v="629" actId="164"/>
          <ac:spMkLst>
            <pc:docMk/>
            <pc:sldMk cId="2638667682" sldId="2147472395"/>
            <ac:spMk id="70" creationId="{E948E6DE-7DE3-66AC-A197-E78EF26D8B9D}"/>
          </ac:spMkLst>
        </pc:spChg>
        <pc:spChg chg="add mod">
          <ac:chgData name="Ranjini Aravind" userId="726d5c6377dea8df" providerId="LiveId" clId="{C528F0B3-31AF-4638-BD7D-4886042C0E28}" dt="2025-05-30T13:20:30.299" v="629" actId="164"/>
          <ac:spMkLst>
            <pc:docMk/>
            <pc:sldMk cId="2638667682" sldId="2147472395"/>
            <ac:spMk id="87" creationId="{1762C4AC-6027-BC83-F493-A98D0B0984C0}"/>
          </ac:spMkLst>
        </pc:spChg>
        <pc:spChg chg="add mod">
          <ac:chgData name="Ranjini Aravind" userId="726d5c6377dea8df" providerId="LiveId" clId="{C528F0B3-31AF-4638-BD7D-4886042C0E28}" dt="2025-05-30T13:20:30.299" v="629" actId="164"/>
          <ac:spMkLst>
            <pc:docMk/>
            <pc:sldMk cId="2638667682" sldId="2147472395"/>
            <ac:spMk id="100" creationId="{2FFBCDBB-FE6B-427C-FB85-A7E35440061E}"/>
          </ac:spMkLst>
        </pc:spChg>
        <pc:spChg chg="add mod">
          <ac:chgData name="Ranjini Aravind" userId="726d5c6377dea8df" providerId="LiveId" clId="{C528F0B3-31AF-4638-BD7D-4886042C0E28}" dt="2025-05-30T13:20:30.299" v="629" actId="164"/>
          <ac:spMkLst>
            <pc:docMk/>
            <pc:sldMk cId="2638667682" sldId="2147472395"/>
            <ac:spMk id="104" creationId="{3CC1EA82-EE4D-0185-8D76-F27C87C5BE8A}"/>
          </ac:spMkLst>
        </pc:spChg>
        <pc:spChg chg="add mod">
          <ac:chgData name="Ranjini Aravind" userId="726d5c6377dea8df" providerId="LiveId" clId="{C528F0B3-31AF-4638-BD7D-4886042C0E28}" dt="2025-05-30T13:20:30.299" v="629" actId="164"/>
          <ac:spMkLst>
            <pc:docMk/>
            <pc:sldMk cId="2638667682" sldId="2147472395"/>
            <ac:spMk id="125" creationId="{F269FC16-F890-4489-C86D-A76BC2FDFA38}"/>
          </ac:spMkLst>
        </pc:spChg>
        <pc:spChg chg="add mod">
          <ac:chgData name="Ranjini Aravind" userId="726d5c6377dea8df" providerId="LiveId" clId="{C528F0B3-31AF-4638-BD7D-4886042C0E28}" dt="2025-05-30T13:20:30.299" v="629" actId="164"/>
          <ac:spMkLst>
            <pc:docMk/>
            <pc:sldMk cId="2638667682" sldId="2147472395"/>
            <ac:spMk id="138" creationId="{3B099208-882A-B8FE-B363-D485A000E1B7}"/>
          </ac:spMkLst>
        </pc:spChg>
        <pc:spChg chg="add mod">
          <ac:chgData name="Ranjini Aravind" userId="726d5c6377dea8df" providerId="LiveId" clId="{C528F0B3-31AF-4638-BD7D-4886042C0E28}" dt="2025-05-30T13:20:30.299" v="629" actId="164"/>
          <ac:spMkLst>
            <pc:docMk/>
            <pc:sldMk cId="2638667682" sldId="2147472395"/>
            <ac:spMk id="146" creationId="{37F16B7E-8F55-7057-DBE3-1F7014156DDE}"/>
          </ac:spMkLst>
        </pc:spChg>
        <pc:spChg chg="add mod">
          <ac:chgData name="Ranjini Aravind" userId="726d5c6377dea8df" providerId="LiveId" clId="{C528F0B3-31AF-4638-BD7D-4886042C0E28}" dt="2025-05-30T13:20:30.299" v="629" actId="164"/>
          <ac:spMkLst>
            <pc:docMk/>
            <pc:sldMk cId="2638667682" sldId="2147472395"/>
            <ac:spMk id="160" creationId="{E09160B5-A68A-1735-B88F-19C09B615B5B}"/>
          </ac:spMkLst>
        </pc:spChg>
        <pc:grpChg chg="mod">
          <ac:chgData name="Ranjini Aravind" userId="726d5c6377dea8df" providerId="LiveId" clId="{C528F0B3-31AF-4638-BD7D-4886042C0E28}" dt="2025-05-30T13:20:34.220" v="630" actId="14100"/>
          <ac:grpSpMkLst>
            <pc:docMk/>
            <pc:sldMk cId="2638667682" sldId="2147472395"/>
            <ac:grpSpMk id="199" creationId="{2FDC2E3A-EFEF-47D8-D1BD-0DF29FE914EE}"/>
          </ac:grpSpMkLst>
        </pc:grpChg>
      </pc:sldChg>
      <pc:sldChg chg="addSp modSp add mod">
        <pc:chgData name="Ranjini Aravind" userId="726d5c6377dea8df" providerId="LiveId" clId="{C528F0B3-31AF-4638-BD7D-4886042C0E28}" dt="2025-05-30T13:21:25.558" v="651" actId="20577"/>
        <pc:sldMkLst>
          <pc:docMk/>
          <pc:sldMk cId="2784990046" sldId="2147472396"/>
        </pc:sldMkLst>
        <pc:spChg chg="mod">
          <ac:chgData name="Ranjini Aravind" userId="726d5c6377dea8df" providerId="LiveId" clId="{C528F0B3-31AF-4638-BD7D-4886042C0E28}" dt="2025-05-30T13:21:25.558" v="651" actId="20577"/>
          <ac:spMkLst>
            <pc:docMk/>
            <pc:sldMk cId="2784990046" sldId="2147472396"/>
            <ac:spMk id="2" creationId="{91CD4991-898B-12A6-6F71-FBBC0E852215}"/>
          </ac:spMkLst>
        </pc:spChg>
        <pc:spChg chg="add mod">
          <ac:chgData name="Ranjini Aravind" userId="726d5c6377dea8df" providerId="LiveId" clId="{C528F0B3-31AF-4638-BD7D-4886042C0E28}" dt="2025-05-30T13:20:36.641" v="631" actId="164"/>
          <ac:spMkLst>
            <pc:docMk/>
            <pc:sldMk cId="2784990046" sldId="2147472396"/>
            <ac:spMk id="16" creationId="{72A2F9CB-88E6-02E4-B3D4-81DA22C4C82B}"/>
          </ac:spMkLst>
        </pc:spChg>
        <pc:spChg chg="add mod">
          <ac:chgData name="Ranjini Aravind" userId="726d5c6377dea8df" providerId="LiveId" clId="{C528F0B3-31AF-4638-BD7D-4886042C0E28}" dt="2025-05-30T13:20:36.641" v="631" actId="164"/>
          <ac:spMkLst>
            <pc:docMk/>
            <pc:sldMk cId="2784990046" sldId="2147472396"/>
            <ac:spMk id="43" creationId="{9E8E9BF8-1F6D-3772-8D33-D0ACB07583D0}"/>
          </ac:spMkLst>
        </pc:spChg>
        <pc:spChg chg="add mod">
          <ac:chgData name="Ranjini Aravind" userId="726d5c6377dea8df" providerId="LiveId" clId="{C528F0B3-31AF-4638-BD7D-4886042C0E28}" dt="2025-05-30T13:20:36.641" v="631" actId="164"/>
          <ac:spMkLst>
            <pc:docMk/>
            <pc:sldMk cId="2784990046" sldId="2147472396"/>
            <ac:spMk id="54" creationId="{9E77CC6C-4FD5-3131-7E29-665240588D75}"/>
          </ac:spMkLst>
        </pc:spChg>
        <pc:spChg chg="add mod">
          <ac:chgData name="Ranjini Aravind" userId="726d5c6377dea8df" providerId="LiveId" clId="{C528F0B3-31AF-4638-BD7D-4886042C0E28}" dt="2025-05-30T13:20:36.641" v="631" actId="164"/>
          <ac:spMkLst>
            <pc:docMk/>
            <pc:sldMk cId="2784990046" sldId="2147472396"/>
            <ac:spMk id="63" creationId="{C0E7BA9A-FF77-FD92-9BBD-55657817E465}"/>
          </ac:spMkLst>
        </pc:spChg>
        <pc:spChg chg="add mod">
          <ac:chgData name="Ranjini Aravind" userId="726d5c6377dea8df" providerId="LiveId" clId="{C528F0B3-31AF-4638-BD7D-4886042C0E28}" dt="2025-05-30T13:20:36.641" v="631" actId="164"/>
          <ac:spMkLst>
            <pc:docMk/>
            <pc:sldMk cId="2784990046" sldId="2147472396"/>
            <ac:spMk id="65" creationId="{C4BF1A34-460E-448E-8B3D-E95EC69DC4C8}"/>
          </ac:spMkLst>
        </pc:spChg>
        <pc:spChg chg="add mod">
          <ac:chgData name="Ranjini Aravind" userId="726d5c6377dea8df" providerId="LiveId" clId="{C528F0B3-31AF-4638-BD7D-4886042C0E28}" dt="2025-05-30T13:20:36.641" v="631" actId="164"/>
          <ac:spMkLst>
            <pc:docMk/>
            <pc:sldMk cId="2784990046" sldId="2147472396"/>
            <ac:spMk id="74" creationId="{4478BCC9-1837-401E-263C-03A089A78FE1}"/>
          </ac:spMkLst>
        </pc:spChg>
        <pc:spChg chg="add mod">
          <ac:chgData name="Ranjini Aravind" userId="726d5c6377dea8df" providerId="LiveId" clId="{C528F0B3-31AF-4638-BD7D-4886042C0E28}" dt="2025-05-30T13:20:36.641" v="631" actId="164"/>
          <ac:spMkLst>
            <pc:docMk/>
            <pc:sldMk cId="2784990046" sldId="2147472396"/>
            <ac:spMk id="119" creationId="{5245FB72-A8FD-F5FD-D60A-BE41C7C92C4B}"/>
          </ac:spMkLst>
        </pc:spChg>
        <pc:spChg chg="add mod">
          <ac:chgData name="Ranjini Aravind" userId="726d5c6377dea8df" providerId="LiveId" clId="{C528F0B3-31AF-4638-BD7D-4886042C0E28}" dt="2025-05-30T13:20:36.641" v="631" actId="164"/>
          <ac:spMkLst>
            <pc:docMk/>
            <pc:sldMk cId="2784990046" sldId="2147472396"/>
            <ac:spMk id="134" creationId="{8B42ED04-5551-94C1-2532-C88166E0C319}"/>
          </ac:spMkLst>
        </pc:spChg>
        <pc:spChg chg="add mod">
          <ac:chgData name="Ranjini Aravind" userId="726d5c6377dea8df" providerId="LiveId" clId="{C528F0B3-31AF-4638-BD7D-4886042C0E28}" dt="2025-05-30T13:20:36.641" v="631" actId="164"/>
          <ac:spMkLst>
            <pc:docMk/>
            <pc:sldMk cId="2784990046" sldId="2147472396"/>
            <ac:spMk id="208" creationId="{3AC5BB55-D229-A418-66A9-17A72C672913}"/>
          </ac:spMkLst>
        </pc:spChg>
        <pc:spChg chg="add mod">
          <ac:chgData name="Ranjini Aravind" userId="726d5c6377dea8df" providerId="LiveId" clId="{C528F0B3-31AF-4638-BD7D-4886042C0E28}" dt="2025-05-30T13:20:36.641" v="631" actId="164"/>
          <ac:spMkLst>
            <pc:docMk/>
            <pc:sldMk cId="2784990046" sldId="2147472396"/>
            <ac:spMk id="209" creationId="{A60FAD74-186C-F509-66A1-33F6E1B796D0}"/>
          </ac:spMkLst>
        </pc:spChg>
        <pc:grpChg chg="mod">
          <ac:chgData name="Ranjini Aravind" userId="726d5c6377dea8df" providerId="LiveId" clId="{C528F0B3-31AF-4638-BD7D-4886042C0E28}" dt="2025-05-30T13:20:39.968" v="632" actId="14100"/>
          <ac:grpSpMkLst>
            <pc:docMk/>
            <pc:sldMk cId="2784990046" sldId="2147472396"/>
            <ac:grpSpMk id="223" creationId="{A7BA81F3-A168-A1CD-74D7-6D0D6A33E309}"/>
          </ac:grpSpMkLst>
        </pc:grpChg>
      </pc:sldChg>
      <pc:sldChg chg="addSp modSp add mod">
        <pc:chgData name="Ranjini Aravind" userId="726d5c6377dea8df" providerId="LiveId" clId="{C528F0B3-31AF-4638-BD7D-4886042C0E28}" dt="2025-05-30T13:21:30.588" v="653" actId="20577"/>
        <pc:sldMkLst>
          <pc:docMk/>
          <pc:sldMk cId="802338926" sldId="2147472397"/>
        </pc:sldMkLst>
        <pc:spChg chg="mod">
          <ac:chgData name="Ranjini Aravind" userId="726d5c6377dea8df" providerId="LiveId" clId="{C528F0B3-31AF-4638-BD7D-4886042C0E28}" dt="2025-05-30T13:21:30.588" v="653" actId="20577"/>
          <ac:spMkLst>
            <pc:docMk/>
            <pc:sldMk cId="802338926" sldId="2147472397"/>
            <ac:spMk id="2" creationId="{852B99CB-631C-EFD5-0812-8803EC160443}"/>
          </ac:spMkLst>
        </pc:spChg>
        <pc:spChg chg="add mod">
          <ac:chgData name="Ranjini Aravind" userId="726d5c6377dea8df" providerId="LiveId" clId="{C528F0B3-31AF-4638-BD7D-4886042C0E28}" dt="2025-05-30T13:20:42.733" v="633" actId="164"/>
          <ac:spMkLst>
            <pc:docMk/>
            <pc:sldMk cId="802338926" sldId="2147472397"/>
            <ac:spMk id="3" creationId="{D18E555B-91AA-9A8B-5035-9889BC07F1C7}"/>
          </ac:spMkLst>
        </pc:spChg>
        <pc:spChg chg="add mod">
          <ac:chgData name="Ranjini Aravind" userId="726d5c6377dea8df" providerId="LiveId" clId="{C528F0B3-31AF-4638-BD7D-4886042C0E28}" dt="2025-05-30T13:20:42.733" v="633" actId="164"/>
          <ac:spMkLst>
            <pc:docMk/>
            <pc:sldMk cId="802338926" sldId="2147472397"/>
            <ac:spMk id="68" creationId="{382B0CD3-180F-8205-ED54-78450DF43607}"/>
          </ac:spMkLst>
        </pc:spChg>
        <pc:spChg chg="add mod">
          <ac:chgData name="Ranjini Aravind" userId="726d5c6377dea8df" providerId="LiveId" clId="{C528F0B3-31AF-4638-BD7D-4886042C0E28}" dt="2025-05-30T13:20:42.733" v="633" actId="164"/>
          <ac:spMkLst>
            <pc:docMk/>
            <pc:sldMk cId="802338926" sldId="2147472397"/>
            <ac:spMk id="72" creationId="{6043D9C5-0240-514B-BE32-66EF0BC379F3}"/>
          </ac:spMkLst>
        </pc:spChg>
        <pc:spChg chg="add mod">
          <ac:chgData name="Ranjini Aravind" userId="726d5c6377dea8df" providerId="LiveId" clId="{C528F0B3-31AF-4638-BD7D-4886042C0E28}" dt="2025-05-30T13:20:42.733" v="633" actId="164"/>
          <ac:spMkLst>
            <pc:docMk/>
            <pc:sldMk cId="802338926" sldId="2147472397"/>
            <ac:spMk id="83" creationId="{36BF2984-56FD-9369-F730-32D1844EB75A}"/>
          </ac:spMkLst>
        </pc:spChg>
        <pc:spChg chg="add mod">
          <ac:chgData name="Ranjini Aravind" userId="726d5c6377dea8df" providerId="LiveId" clId="{C528F0B3-31AF-4638-BD7D-4886042C0E28}" dt="2025-05-30T13:20:42.733" v="633" actId="164"/>
          <ac:spMkLst>
            <pc:docMk/>
            <pc:sldMk cId="802338926" sldId="2147472397"/>
            <ac:spMk id="103" creationId="{795E8394-92A3-80C1-4967-FAEA015FBB9D}"/>
          </ac:spMkLst>
        </pc:spChg>
        <pc:spChg chg="add mod">
          <ac:chgData name="Ranjini Aravind" userId="726d5c6377dea8df" providerId="LiveId" clId="{C528F0B3-31AF-4638-BD7D-4886042C0E28}" dt="2025-05-30T13:20:42.733" v="633" actId="164"/>
          <ac:spMkLst>
            <pc:docMk/>
            <pc:sldMk cId="802338926" sldId="2147472397"/>
            <ac:spMk id="118" creationId="{40CE5DC6-B15C-DC84-38A3-9DEC1EA4B8E3}"/>
          </ac:spMkLst>
        </pc:spChg>
        <pc:spChg chg="add mod">
          <ac:chgData name="Ranjini Aravind" userId="726d5c6377dea8df" providerId="LiveId" clId="{C528F0B3-31AF-4638-BD7D-4886042C0E28}" dt="2025-05-30T13:20:42.733" v="633" actId="164"/>
          <ac:spMkLst>
            <pc:docMk/>
            <pc:sldMk cId="802338926" sldId="2147472397"/>
            <ac:spMk id="127" creationId="{580F753B-FC0D-243A-C7ED-114F3C2A7363}"/>
          </ac:spMkLst>
        </pc:spChg>
        <pc:spChg chg="add mod">
          <ac:chgData name="Ranjini Aravind" userId="726d5c6377dea8df" providerId="LiveId" clId="{C528F0B3-31AF-4638-BD7D-4886042C0E28}" dt="2025-05-30T13:20:42.733" v="633" actId="164"/>
          <ac:spMkLst>
            <pc:docMk/>
            <pc:sldMk cId="802338926" sldId="2147472397"/>
            <ac:spMk id="143" creationId="{F7171B09-3DFC-85A2-7D9F-D8F03C11465D}"/>
          </ac:spMkLst>
        </pc:spChg>
        <pc:spChg chg="add mod">
          <ac:chgData name="Ranjini Aravind" userId="726d5c6377dea8df" providerId="LiveId" clId="{C528F0B3-31AF-4638-BD7D-4886042C0E28}" dt="2025-05-30T13:20:42.733" v="633" actId="164"/>
          <ac:spMkLst>
            <pc:docMk/>
            <pc:sldMk cId="802338926" sldId="2147472397"/>
            <ac:spMk id="147" creationId="{192D8898-8AB3-EA87-3C81-85EBC422C2A3}"/>
          </ac:spMkLst>
        </pc:spChg>
        <pc:spChg chg="add mod">
          <ac:chgData name="Ranjini Aravind" userId="726d5c6377dea8df" providerId="LiveId" clId="{C528F0B3-31AF-4638-BD7D-4886042C0E28}" dt="2025-05-30T13:20:42.733" v="633" actId="164"/>
          <ac:spMkLst>
            <pc:docMk/>
            <pc:sldMk cId="802338926" sldId="2147472397"/>
            <ac:spMk id="187" creationId="{E68BA826-3373-0814-9DB4-EBD582E62E57}"/>
          </ac:spMkLst>
        </pc:spChg>
      </pc:sldChg>
      <pc:sldChg chg="add del">
        <pc:chgData name="Ranjini Aravind" userId="726d5c6377dea8df" providerId="LiveId" clId="{C528F0B3-31AF-4638-BD7D-4886042C0E28}" dt="2025-05-30T13:20:57.897" v="635" actId="47"/>
        <pc:sldMkLst>
          <pc:docMk/>
          <pc:sldMk cId="1630695353" sldId="2147472398"/>
        </pc:sldMkLst>
      </pc:sldChg>
      <pc:sldChg chg="addSp delSp modSp add mod ord">
        <pc:chgData name="Ranjini Aravind" userId="726d5c6377dea8df" providerId="LiveId" clId="{C528F0B3-31AF-4638-BD7D-4886042C0E28}" dt="2025-05-30T13:37:47.095" v="882"/>
        <pc:sldMkLst>
          <pc:docMk/>
          <pc:sldMk cId="3530345195" sldId="2147472398"/>
        </pc:sldMkLst>
        <pc:spChg chg="add mod">
          <ac:chgData name="Ranjini Aravind" userId="726d5c6377dea8df" providerId="LiveId" clId="{C528F0B3-31AF-4638-BD7D-4886042C0E28}" dt="2025-05-30T13:25:19.991" v="702"/>
          <ac:spMkLst>
            <pc:docMk/>
            <pc:sldMk cId="3530345195" sldId="2147472398"/>
            <ac:spMk id="20" creationId="{402BD391-59F6-C305-41EF-C5069D4F74BF}"/>
          </ac:spMkLst>
        </pc:spChg>
      </pc:sldChg>
      <pc:sldChg chg="addSp delSp modSp new del mod">
        <pc:chgData name="Ranjini Aravind" userId="726d5c6377dea8df" providerId="LiveId" clId="{C528F0B3-31AF-4638-BD7D-4886042C0E28}" dt="2025-05-30T13:25:27.290" v="703" actId="2696"/>
        <pc:sldMkLst>
          <pc:docMk/>
          <pc:sldMk cId="2550220727" sldId="2147472399"/>
        </pc:sldMkLst>
      </pc:sldChg>
      <pc:sldChg chg="add del">
        <pc:chgData name="Ranjini Aravind" userId="726d5c6377dea8df" providerId="LiveId" clId="{C528F0B3-31AF-4638-BD7D-4886042C0E28}" dt="2025-05-30T13:21:32.384" v="654" actId="2696"/>
        <pc:sldMkLst>
          <pc:docMk/>
          <pc:sldMk cId="2753853554" sldId="2147472399"/>
        </pc:sldMkLst>
      </pc:sldChg>
      <pc:sldChg chg="addSp delSp modSp add mod">
        <pc:chgData name="Ranjini Aravind" userId="726d5c6377dea8df" providerId="LiveId" clId="{C528F0B3-31AF-4638-BD7D-4886042C0E28}" dt="2025-05-30T13:26:26.788" v="718" actId="18131"/>
        <pc:sldMkLst>
          <pc:docMk/>
          <pc:sldMk cId="2866928295" sldId="2147472399"/>
        </pc:sldMkLst>
        <pc:picChg chg="add mod">
          <ac:chgData name="Ranjini Aravind" userId="726d5c6377dea8df" providerId="LiveId" clId="{C528F0B3-31AF-4638-BD7D-4886042C0E28}" dt="2025-05-30T13:25:54.593" v="706" actId="27614"/>
          <ac:picMkLst>
            <pc:docMk/>
            <pc:sldMk cId="2866928295" sldId="2147472399"/>
            <ac:picMk id="7" creationId="{20FB2E7A-0E71-3F42-0550-AF06AAAFE9DB}"/>
          </ac:picMkLst>
        </pc:picChg>
        <pc:picChg chg="add mod">
          <ac:chgData name="Ranjini Aravind" userId="726d5c6377dea8df" providerId="LiveId" clId="{C528F0B3-31AF-4638-BD7D-4886042C0E28}" dt="2025-05-30T13:26:05.746" v="709" actId="27614"/>
          <ac:picMkLst>
            <pc:docMk/>
            <pc:sldMk cId="2866928295" sldId="2147472399"/>
            <ac:picMk id="23" creationId="{725F55F7-E132-DE6A-3D15-955F49935B25}"/>
          </ac:picMkLst>
        </pc:picChg>
        <pc:picChg chg="add mod">
          <ac:chgData name="Ranjini Aravind" userId="726d5c6377dea8df" providerId="LiveId" clId="{C528F0B3-31AF-4638-BD7D-4886042C0E28}" dt="2025-05-30T13:26:16.159" v="712" actId="27614"/>
          <ac:picMkLst>
            <pc:docMk/>
            <pc:sldMk cId="2866928295" sldId="2147472399"/>
            <ac:picMk id="25" creationId="{EE99BE31-32CA-0653-9DF4-257F51A6C664}"/>
          </ac:picMkLst>
        </pc:picChg>
        <pc:picChg chg="add mod modCrop">
          <ac:chgData name="Ranjini Aravind" userId="726d5c6377dea8df" providerId="LiveId" clId="{C528F0B3-31AF-4638-BD7D-4886042C0E28}" dt="2025-05-30T13:26:26.788" v="718" actId="18131"/>
          <ac:picMkLst>
            <pc:docMk/>
            <pc:sldMk cId="2866928295" sldId="2147472399"/>
            <ac:picMk id="27" creationId="{31176F0E-258D-3865-DE91-F1AF25E79E97}"/>
          </ac:picMkLst>
        </pc:picChg>
      </pc:sldChg>
      <pc:sldChg chg="addSp delSp modSp add mod">
        <pc:chgData name="Ranjini Aravind" userId="726d5c6377dea8df" providerId="LiveId" clId="{C528F0B3-31AF-4638-BD7D-4886042C0E28}" dt="2025-05-30T13:37:28.055" v="879" actId="208"/>
        <pc:sldMkLst>
          <pc:docMk/>
          <pc:sldMk cId="1931516565" sldId="2147472400"/>
        </pc:sldMkLst>
        <pc:spChg chg="mod">
          <ac:chgData name="Ranjini Aravind" userId="726d5c6377dea8df" providerId="LiveId" clId="{C528F0B3-31AF-4638-BD7D-4886042C0E28}" dt="2025-05-30T13:37:05.874" v="872" actId="1076"/>
          <ac:spMkLst>
            <pc:docMk/>
            <pc:sldMk cId="1931516565" sldId="2147472400"/>
            <ac:spMk id="5" creationId="{9DE91D59-CCF7-091E-92C9-E71DDDF6C213}"/>
          </ac:spMkLst>
        </pc:spChg>
        <pc:spChg chg="add mod">
          <ac:chgData name="Ranjini Aravind" userId="726d5c6377dea8df" providerId="LiveId" clId="{C528F0B3-31AF-4638-BD7D-4886042C0E28}" dt="2025-05-30T13:37:28.055" v="879" actId="208"/>
          <ac:spMkLst>
            <pc:docMk/>
            <pc:sldMk cId="1931516565" sldId="2147472400"/>
            <ac:spMk id="23" creationId="{2DA48B9F-5F76-9AEC-3978-B1D98668271D}"/>
          </ac:spMkLst>
        </pc:spChg>
        <pc:spChg chg="add mod">
          <ac:chgData name="Ranjini Aravind" userId="726d5c6377dea8df" providerId="LiveId" clId="{C528F0B3-31AF-4638-BD7D-4886042C0E28}" dt="2025-05-30T13:37:28.055" v="879" actId="208"/>
          <ac:spMkLst>
            <pc:docMk/>
            <pc:sldMk cId="1931516565" sldId="2147472400"/>
            <ac:spMk id="24" creationId="{3501CEA6-B20E-3EC3-FE7C-97640DB1E7D1}"/>
          </ac:spMkLst>
        </pc:spChg>
        <pc:spChg chg="add mod">
          <ac:chgData name="Ranjini Aravind" userId="726d5c6377dea8df" providerId="LiveId" clId="{C528F0B3-31AF-4638-BD7D-4886042C0E28}" dt="2025-05-30T13:37:28.055" v="879" actId="208"/>
          <ac:spMkLst>
            <pc:docMk/>
            <pc:sldMk cId="1931516565" sldId="2147472400"/>
            <ac:spMk id="25" creationId="{E7F5ED21-C6BF-589D-B689-8E6A776C41A5}"/>
          </ac:spMkLst>
        </pc:spChg>
        <pc:spChg chg="add mod">
          <ac:chgData name="Ranjini Aravind" userId="726d5c6377dea8df" providerId="LiveId" clId="{C528F0B3-31AF-4638-BD7D-4886042C0E28}" dt="2025-05-30T13:37:28.055" v="879" actId="208"/>
          <ac:spMkLst>
            <pc:docMk/>
            <pc:sldMk cId="1931516565" sldId="2147472400"/>
            <ac:spMk id="26" creationId="{CF437131-E151-9001-A570-EAA2B04125F9}"/>
          </ac:spMkLst>
        </pc:spChg>
        <pc:spChg chg="add mod">
          <ac:chgData name="Ranjini Aravind" userId="726d5c6377dea8df" providerId="LiveId" clId="{C528F0B3-31AF-4638-BD7D-4886042C0E28}" dt="2025-05-30T13:37:28.055" v="879" actId="208"/>
          <ac:spMkLst>
            <pc:docMk/>
            <pc:sldMk cId="1931516565" sldId="2147472400"/>
            <ac:spMk id="27" creationId="{70FD9751-0C1A-EF0C-658B-E0AB0BB8BDC0}"/>
          </ac:spMkLst>
        </pc:spChg>
        <pc:spChg chg="add mod">
          <ac:chgData name="Ranjini Aravind" userId="726d5c6377dea8df" providerId="LiveId" clId="{C528F0B3-31AF-4638-BD7D-4886042C0E28}" dt="2025-05-30T13:37:28.055" v="879" actId="208"/>
          <ac:spMkLst>
            <pc:docMk/>
            <pc:sldMk cId="1931516565" sldId="2147472400"/>
            <ac:spMk id="28" creationId="{8FA50AB6-B47B-CCB1-CB96-A28919C7A787}"/>
          </ac:spMkLst>
        </pc:spChg>
        <pc:spChg chg="add mod">
          <ac:chgData name="Ranjini Aravind" userId="726d5c6377dea8df" providerId="LiveId" clId="{C528F0B3-31AF-4638-BD7D-4886042C0E28}" dt="2025-05-30T13:37:28.055" v="879" actId="208"/>
          <ac:spMkLst>
            <pc:docMk/>
            <pc:sldMk cId="1931516565" sldId="2147472400"/>
            <ac:spMk id="29" creationId="{38469AB2-090D-5892-2D81-AAEEAB8F680C}"/>
          </ac:spMkLst>
        </pc:spChg>
        <pc:spChg chg="add mod">
          <ac:chgData name="Ranjini Aravind" userId="726d5c6377dea8df" providerId="LiveId" clId="{C528F0B3-31AF-4638-BD7D-4886042C0E28}" dt="2025-05-30T13:37:28.055" v="879" actId="208"/>
          <ac:spMkLst>
            <pc:docMk/>
            <pc:sldMk cId="1931516565" sldId="2147472400"/>
            <ac:spMk id="30" creationId="{57C1774A-59F3-3465-36E5-81BEC36F4131}"/>
          </ac:spMkLst>
        </pc:spChg>
        <pc:picChg chg="add">
          <ac:chgData name="Ranjini Aravind" userId="726d5c6377dea8df" providerId="LiveId" clId="{C528F0B3-31AF-4638-BD7D-4886042C0E28}" dt="2025-05-30T13:36:54.569" v="868" actId="478"/>
          <ac:picMkLst>
            <pc:docMk/>
            <pc:sldMk cId="1931516565" sldId="2147472400"/>
            <ac:picMk id="2" creationId="{C729A694-414B-75BB-938B-94D3F5374990}"/>
          </ac:picMkLst>
        </pc:picChg>
        <pc:picChg chg="add del">
          <ac:chgData name="Ranjini Aravind" userId="726d5c6377dea8df" providerId="LiveId" clId="{C528F0B3-31AF-4638-BD7D-4886042C0E28}" dt="2025-05-30T13:36:54.569" v="868" actId="478"/>
          <ac:picMkLst>
            <pc:docMk/>
            <pc:sldMk cId="1931516565" sldId="2147472400"/>
            <ac:picMk id="16" creationId="{B0D29678-6131-4093-2CA7-A20ADD534157}"/>
          </ac:picMkLst>
        </pc:picChg>
        <pc:picChg chg="del">
          <ac:chgData name="Ranjini Aravind" userId="726d5c6377dea8df" providerId="LiveId" clId="{C528F0B3-31AF-4638-BD7D-4886042C0E28}" dt="2025-05-30T13:36:52.319" v="867" actId="478"/>
          <ac:picMkLst>
            <pc:docMk/>
            <pc:sldMk cId="1931516565" sldId="2147472400"/>
            <ac:picMk id="18" creationId="{85113463-327B-5474-DD45-53D538B1BC41}"/>
          </ac:picMkLst>
        </pc:picChg>
      </pc:sldChg>
    </pc:docChg>
  </pc:docChgLst>
  <pc:docChgLst>
    <pc:chgData name="Daniel J" userId="3ec432d1b59bb0bb" providerId="LiveId" clId="{B1EF79CA-16D9-4015-B34F-52F6FDB6031F}"/>
    <pc:docChg chg="undo custSel addSld delSld modSld">
      <pc:chgData name="Daniel J" userId="3ec432d1b59bb0bb" providerId="LiveId" clId="{B1EF79CA-16D9-4015-B34F-52F6FDB6031F}" dt="2025-06-01T15:00:30.362" v="521" actId="164"/>
      <pc:docMkLst>
        <pc:docMk/>
      </pc:docMkLst>
      <pc:sldChg chg="delSp modSp del mod">
        <pc:chgData name="Daniel J" userId="3ec432d1b59bb0bb" providerId="LiveId" clId="{B1EF79CA-16D9-4015-B34F-52F6FDB6031F}" dt="2025-06-01T14:53:44.958" v="3" actId="47"/>
        <pc:sldMkLst>
          <pc:docMk/>
          <pc:sldMk cId="156146656" sldId="282"/>
        </pc:sldMkLst>
        <pc:spChg chg="mod">
          <ac:chgData name="Daniel J" userId="3ec432d1b59bb0bb" providerId="LiveId" clId="{B1EF79CA-16D9-4015-B34F-52F6FDB6031F}" dt="2025-06-01T14:53:19.013" v="0" actId="165"/>
          <ac:spMkLst>
            <pc:docMk/>
            <pc:sldMk cId="156146656" sldId="282"/>
            <ac:spMk id="643" creationId="{ACB1A206-FC5B-283D-7E6C-C87147583B1F}"/>
          </ac:spMkLst>
        </pc:spChg>
        <pc:spChg chg="mod">
          <ac:chgData name="Daniel J" userId="3ec432d1b59bb0bb" providerId="LiveId" clId="{B1EF79CA-16D9-4015-B34F-52F6FDB6031F}" dt="2025-06-01T14:53:19.013" v="0" actId="165"/>
          <ac:spMkLst>
            <pc:docMk/>
            <pc:sldMk cId="156146656" sldId="282"/>
            <ac:spMk id="699" creationId="{D58677A2-5ED0-CBE1-1417-6DC6BDDB424F}"/>
          </ac:spMkLst>
        </pc:spChg>
        <pc:spChg chg="mod">
          <ac:chgData name="Daniel J" userId="3ec432d1b59bb0bb" providerId="LiveId" clId="{B1EF79CA-16D9-4015-B34F-52F6FDB6031F}" dt="2025-06-01T14:53:19.013" v="0" actId="165"/>
          <ac:spMkLst>
            <pc:docMk/>
            <pc:sldMk cId="156146656" sldId="282"/>
            <ac:spMk id="714" creationId="{58333F97-5262-57C7-F7D9-BAD39A9C3709}"/>
          </ac:spMkLst>
        </pc:spChg>
        <pc:spChg chg="mod">
          <ac:chgData name="Daniel J" userId="3ec432d1b59bb0bb" providerId="LiveId" clId="{B1EF79CA-16D9-4015-B34F-52F6FDB6031F}" dt="2025-06-01T14:53:24.279" v="2" actId="207"/>
          <ac:spMkLst>
            <pc:docMk/>
            <pc:sldMk cId="156146656" sldId="282"/>
            <ac:spMk id="760" creationId="{A79723F2-8270-A618-B973-5ED2E74B0B5C}"/>
          </ac:spMkLst>
        </pc:spChg>
        <pc:spChg chg="mod">
          <ac:chgData name="Daniel J" userId="3ec432d1b59bb0bb" providerId="LiveId" clId="{B1EF79CA-16D9-4015-B34F-52F6FDB6031F}" dt="2025-06-01T14:53:24.279" v="2" actId="207"/>
          <ac:spMkLst>
            <pc:docMk/>
            <pc:sldMk cId="156146656" sldId="282"/>
            <ac:spMk id="762" creationId="{16723487-C8D9-DA01-27EC-40E20F45D05C}"/>
          </ac:spMkLst>
        </pc:spChg>
        <pc:spChg chg="mod">
          <ac:chgData name="Daniel J" userId="3ec432d1b59bb0bb" providerId="LiveId" clId="{B1EF79CA-16D9-4015-B34F-52F6FDB6031F}" dt="2025-06-01T14:53:24.279" v="2" actId="207"/>
          <ac:spMkLst>
            <pc:docMk/>
            <pc:sldMk cId="156146656" sldId="282"/>
            <ac:spMk id="763" creationId="{D5CDD040-ACEF-DCF9-477F-4C6961A5CFEA}"/>
          </ac:spMkLst>
        </pc:spChg>
        <pc:spChg chg="mod">
          <ac:chgData name="Daniel J" userId="3ec432d1b59bb0bb" providerId="LiveId" clId="{B1EF79CA-16D9-4015-B34F-52F6FDB6031F}" dt="2025-06-01T14:53:19.013" v="0" actId="165"/>
          <ac:spMkLst>
            <pc:docMk/>
            <pc:sldMk cId="156146656" sldId="282"/>
            <ac:spMk id="764" creationId="{55B26DD8-D8E2-E214-6722-C7360ECA9D88}"/>
          </ac:spMkLst>
        </pc:spChg>
        <pc:spChg chg="mod">
          <ac:chgData name="Daniel J" userId="3ec432d1b59bb0bb" providerId="LiveId" clId="{B1EF79CA-16D9-4015-B34F-52F6FDB6031F}" dt="2025-06-01T14:53:24.279" v="2" actId="207"/>
          <ac:spMkLst>
            <pc:docMk/>
            <pc:sldMk cId="156146656" sldId="282"/>
            <ac:spMk id="765" creationId="{34C1BD27-709C-3445-D1AB-EC968FC9ACCA}"/>
          </ac:spMkLst>
        </pc:spChg>
        <pc:spChg chg="mod">
          <ac:chgData name="Daniel J" userId="3ec432d1b59bb0bb" providerId="LiveId" clId="{B1EF79CA-16D9-4015-B34F-52F6FDB6031F}" dt="2025-06-01T14:53:24.279" v="2" actId="207"/>
          <ac:spMkLst>
            <pc:docMk/>
            <pc:sldMk cId="156146656" sldId="282"/>
            <ac:spMk id="766" creationId="{F68F6857-D8B2-62DF-EB1E-BA808721057F}"/>
          </ac:spMkLst>
        </pc:spChg>
        <pc:spChg chg="mod">
          <ac:chgData name="Daniel J" userId="3ec432d1b59bb0bb" providerId="LiveId" clId="{B1EF79CA-16D9-4015-B34F-52F6FDB6031F}" dt="2025-06-01T14:53:24.279" v="2" actId="207"/>
          <ac:spMkLst>
            <pc:docMk/>
            <pc:sldMk cId="156146656" sldId="282"/>
            <ac:spMk id="767" creationId="{307AC28D-39CB-1900-6086-068725E95192}"/>
          </ac:spMkLst>
        </pc:spChg>
        <pc:spChg chg="mod">
          <ac:chgData name="Daniel J" userId="3ec432d1b59bb0bb" providerId="LiveId" clId="{B1EF79CA-16D9-4015-B34F-52F6FDB6031F}" dt="2025-06-01T14:53:24.279" v="2" actId="207"/>
          <ac:spMkLst>
            <pc:docMk/>
            <pc:sldMk cId="156146656" sldId="282"/>
            <ac:spMk id="768" creationId="{2C7917AD-9E1E-BCA4-B48F-FAB320CC32F5}"/>
          </ac:spMkLst>
        </pc:spChg>
        <pc:spChg chg="mod">
          <ac:chgData name="Daniel J" userId="3ec432d1b59bb0bb" providerId="LiveId" clId="{B1EF79CA-16D9-4015-B34F-52F6FDB6031F}" dt="2025-06-01T14:53:24.279" v="2" actId="207"/>
          <ac:spMkLst>
            <pc:docMk/>
            <pc:sldMk cId="156146656" sldId="282"/>
            <ac:spMk id="770" creationId="{CADDD2DE-B9CC-16AC-4C8D-ADE4FEB6E573}"/>
          </ac:spMkLst>
        </pc:spChg>
        <pc:spChg chg="mod">
          <ac:chgData name="Daniel J" userId="3ec432d1b59bb0bb" providerId="LiveId" clId="{B1EF79CA-16D9-4015-B34F-52F6FDB6031F}" dt="2025-06-01T14:53:24.279" v="2" actId="207"/>
          <ac:spMkLst>
            <pc:docMk/>
            <pc:sldMk cId="156146656" sldId="282"/>
            <ac:spMk id="772" creationId="{F3AF9CC1-945F-C2BF-23BE-AD33B9DF179B}"/>
          </ac:spMkLst>
        </pc:spChg>
        <pc:spChg chg="mod">
          <ac:chgData name="Daniel J" userId="3ec432d1b59bb0bb" providerId="LiveId" clId="{B1EF79CA-16D9-4015-B34F-52F6FDB6031F}" dt="2025-06-01T14:53:24.279" v="2" actId="207"/>
          <ac:spMkLst>
            <pc:docMk/>
            <pc:sldMk cId="156146656" sldId="282"/>
            <ac:spMk id="773" creationId="{2EDE223C-D683-365D-D83D-B8C4EFB1C4E8}"/>
          </ac:spMkLst>
        </pc:spChg>
        <pc:spChg chg="mod">
          <ac:chgData name="Daniel J" userId="3ec432d1b59bb0bb" providerId="LiveId" clId="{B1EF79CA-16D9-4015-B34F-52F6FDB6031F}" dt="2025-06-01T14:53:19.013" v="0" actId="165"/>
          <ac:spMkLst>
            <pc:docMk/>
            <pc:sldMk cId="156146656" sldId="282"/>
            <ac:spMk id="860" creationId="{FAC4A96A-7176-7E38-A79F-A59983D775D0}"/>
          </ac:spMkLst>
        </pc:spChg>
        <pc:spChg chg="mod">
          <ac:chgData name="Daniel J" userId="3ec432d1b59bb0bb" providerId="LiveId" clId="{B1EF79CA-16D9-4015-B34F-52F6FDB6031F}" dt="2025-06-01T14:53:19.013" v="0" actId="165"/>
          <ac:spMkLst>
            <pc:docMk/>
            <pc:sldMk cId="156146656" sldId="282"/>
            <ac:spMk id="888" creationId="{A93F49E3-7B97-7301-D047-E157AE8AB149}"/>
          </ac:spMkLst>
        </pc:spChg>
        <pc:spChg chg="mod">
          <ac:chgData name="Daniel J" userId="3ec432d1b59bb0bb" providerId="LiveId" clId="{B1EF79CA-16D9-4015-B34F-52F6FDB6031F}" dt="2025-06-01T14:53:19.013" v="0" actId="165"/>
          <ac:spMkLst>
            <pc:docMk/>
            <pc:sldMk cId="156146656" sldId="282"/>
            <ac:spMk id="900" creationId="{2481F6D9-16B8-0946-DAC1-0B1F46052BC1}"/>
          </ac:spMkLst>
        </pc:spChg>
        <pc:spChg chg="mod">
          <ac:chgData name="Daniel J" userId="3ec432d1b59bb0bb" providerId="LiveId" clId="{B1EF79CA-16D9-4015-B34F-52F6FDB6031F}" dt="2025-06-01T14:53:19.013" v="0" actId="165"/>
          <ac:spMkLst>
            <pc:docMk/>
            <pc:sldMk cId="156146656" sldId="282"/>
            <ac:spMk id="904" creationId="{4C292A2F-36BA-C814-0613-E63EEACE3880}"/>
          </ac:spMkLst>
        </pc:spChg>
        <pc:spChg chg="mod">
          <ac:chgData name="Daniel J" userId="3ec432d1b59bb0bb" providerId="LiveId" clId="{B1EF79CA-16D9-4015-B34F-52F6FDB6031F}" dt="2025-06-01T14:53:19.013" v="0" actId="165"/>
          <ac:spMkLst>
            <pc:docMk/>
            <pc:sldMk cId="156146656" sldId="282"/>
            <ac:spMk id="1056" creationId="{AB878572-CEF1-2EDE-D226-98E7A16B952B}"/>
          </ac:spMkLst>
        </pc:spChg>
        <pc:spChg chg="mod">
          <ac:chgData name="Daniel J" userId="3ec432d1b59bb0bb" providerId="LiveId" clId="{B1EF79CA-16D9-4015-B34F-52F6FDB6031F}" dt="2025-06-01T14:53:19.013" v="0" actId="165"/>
          <ac:spMkLst>
            <pc:docMk/>
            <pc:sldMk cId="156146656" sldId="282"/>
            <ac:spMk id="1148" creationId="{AEDBAE09-E196-7ADB-1E9F-403B14E84F44}"/>
          </ac:spMkLst>
        </pc:spChg>
      </pc:sldChg>
      <pc:sldChg chg="addSp delSp modSp mod">
        <pc:chgData name="Daniel J" userId="3ec432d1b59bb0bb" providerId="LiveId" clId="{B1EF79CA-16D9-4015-B34F-52F6FDB6031F}" dt="2025-06-01T15:00:30.362" v="521" actId="164"/>
        <pc:sldMkLst>
          <pc:docMk/>
          <pc:sldMk cId="1843176890" sldId="2147472392"/>
        </pc:sldMkLst>
        <pc:spChg chg="mod">
          <ac:chgData name="Daniel J" userId="3ec432d1b59bb0bb" providerId="LiveId" clId="{B1EF79CA-16D9-4015-B34F-52F6FDB6031F}" dt="2025-06-01T14:58:51.918" v="403" actId="948"/>
          <ac:spMkLst>
            <pc:docMk/>
            <pc:sldMk cId="1843176890" sldId="2147472392"/>
            <ac:spMk id="2" creationId="{A3B2949D-1DA5-7875-38CE-910918D0975F}"/>
          </ac:spMkLst>
        </pc:spChg>
        <pc:spChg chg="add del mod modVis">
          <ac:chgData name="Daniel J" userId="3ec432d1b59bb0bb" providerId="LiveId" clId="{B1EF79CA-16D9-4015-B34F-52F6FDB6031F}" dt="2025-06-01T14:53:48.896" v="28"/>
          <ac:spMkLst>
            <pc:docMk/>
            <pc:sldMk cId="1843176890" sldId="2147472392"/>
            <ac:spMk id="3" creationId="{0C4467FB-D3F8-4399-D0CD-384B5BFF3C15}"/>
          </ac:spMkLst>
        </pc:spChg>
        <pc:spChg chg="add del mod modVis">
          <ac:chgData name="Daniel J" userId="3ec432d1b59bb0bb" providerId="LiveId" clId="{B1EF79CA-16D9-4015-B34F-52F6FDB6031F}" dt="2025-06-01T14:53:49.914" v="66"/>
          <ac:spMkLst>
            <pc:docMk/>
            <pc:sldMk cId="1843176890" sldId="2147472392"/>
            <ac:spMk id="5" creationId="{28BD7171-52B5-FD11-4F5A-2868C31ADB50}"/>
          </ac:spMkLst>
        </pc:spChg>
        <pc:spChg chg="add del mod modVis">
          <ac:chgData name="Daniel J" userId="3ec432d1b59bb0bb" providerId="LiveId" clId="{B1EF79CA-16D9-4015-B34F-52F6FDB6031F}" dt="2025-06-01T14:53:50.734" v="92"/>
          <ac:spMkLst>
            <pc:docMk/>
            <pc:sldMk cId="1843176890" sldId="2147472392"/>
            <ac:spMk id="6" creationId="{1CEDBB6F-8778-C463-7879-CC900F9AF9F0}"/>
          </ac:spMkLst>
        </pc:spChg>
        <pc:spChg chg="add del mod modVis">
          <ac:chgData name="Daniel J" userId="3ec432d1b59bb0bb" providerId="LiveId" clId="{B1EF79CA-16D9-4015-B34F-52F6FDB6031F}" dt="2025-06-01T14:58:51.937" v="425"/>
          <ac:spMkLst>
            <pc:docMk/>
            <pc:sldMk cId="1843176890" sldId="2147472392"/>
            <ac:spMk id="7" creationId="{73D70B8C-2B20-624D-E37B-00F44FF4F7C1}"/>
          </ac:spMkLst>
        </pc:spChg>
        <pc:spChg chg="mod">
          <ac:chgData name="Daniel J" userId="3ec432d1b59bb0bb" providerId="LiveId" clId="{B1EF79CA-16D9-4015-B34F-52F6FDB6031F}" dt="2025-06-01T15:00:03.678" v="484"/>
          <ac:spMkLst>
            <pc:docMk/>
            <pc:sldMk cId="1843176890" sldId="2147472392"/>
            <ac:spMk id="31" creationId="{BD9CC875-0CBF-F975-3F24-FFA89A6FAC90}"/>
          </ac:spMkLst>
        </pc:spChg>
        <pc:spChg chg="mod">
          <ac:chgData name="Daniel J" userId="3ec432d1b59bb0bb" providerId="LiveId" clId="{B1EF79CA-16D9-4015-B34F-52F6FDB6031F}" dt="2025-06-01T15:00:15.475" v="518" actId="1076"/>
          <ac:spMkLst>
            <pc:docMk/>
            <pc:sldMk cId="1843176890" sldId="2147472392"/>
            <ac:spMk id="33" creationId="{C2532FBB-123A-5086-135F-B9D33784767F}"/>
          </ac:spMkLst>
        </pc:spChg>
        <pc:spChg chg="mod topLvl">
          <ac:chgData name="Daniel J" userId="3ec432d1b59bb0bb" providerId="LiveId" clId="{B1EF79CA-16D9-4015-B34F-52F6FDB6031F}" dt="2025-06-01T14:59:26.287" v="482" actId="165"/>
          <ac:spMkLst>
            <pc:docMk/>
            <pc:sldMk cId="1843176890" sldId="2147472392"/>
            <ac:spMk id="38" creationId="{18631735-C735-6729-AE5B-C4C34FA7E155}"/>
          </ac:spMkLst>
        </pc:spChg>
        <pc:spChg chg="mod topLvl">
          <ac:chgData name="Daniel J" userId="3ec432d1b59bb0bb" providerId="LiveId" clId="{B1EF79CA-16D9-4015-B34F-52F6FDB6031F}" dt="2025-06-01T15:00:03.679" v="486"/>
          <ac:spMkLst>
            <pc:docMk/>
            <pc:sldMk cId="1843176890" sldId="2147472392"/>
            <ac:spMk id="43" creationId="{3ADE0B1F-F544-18ED-29CE-33CAA650AD15}"/>
          </ac:spMkLst>
        </pc:spChg>
        <pc:spChg chg="mod topLvl">
          <ac:chgData name="Daniel J" userId="3ec432d1b59bb0bb" providerId="LiveId" clId="{B1EF79CA-16D9-4015-B34F-52F6FDB6031F}" dt="2025-06-01T15:00:03.680" v="488"/>
          <ac:spMkLst>
            <pc:docMk/>
            <pc:sldMk cId="1843176890" sldId="2147472392"/>
            <ac:spMk id="53" creationId="{35DAC335-C68C-6950-B397-26390F940736}"/>
          </ac:spMkLst>
        </pc:spChg>
        <pc:spChg chg="mod topLvl">
          <ac:chgData name="Daniel J" userId="3ec432d1b59bb0bb" providerId="LiveId" clId="{B1EF79CA-16D9-4015-B34F-52F6FDB6031F}" dt="2025-06-01T14:59:26.287" v="482" actId="165"/>
          <ac:spMkLst>
            <pc:docMk/>
            <pc:sldMk cId="1843176890" sldId="2147472392"/>
            <ac:spMk id="57" creationId="{BE947862-4D5C-20F4-6B02-C64A43F1FED5}"/>
          </ac:spMkLst>
        </pc:spChg>
        <pc:spChg chg="mod">
          <ac:chgData name="Daniel J" userId="3ec432d1b59bb0bb" providerId="LiveId" clId="{B1EF79CA-16D9-4015-B34F-52F6FDB6031F}" dt="2025-06-01T15:00:03.680" v="490"/>
          <ac:spMkLst>
            <pc:docMk/>
            <pc:sldMk cId="1843176890" sldId="2147472392"/>
            <ac:spMk id="63" creationId="{A71C879E-F130-7B43-051A-2ECFE7568E5A}"/>
          </ac:spMkLst>
        </pc:spChg>
        <pc:spChg chg="mod topLvl">
          <ac:chgData name="Daniel J" userId="3ec432d1b59bb0bb" providerId="LiveId" clId="{B1EF79CA-16D9-4015-B34F-52F6FDB6031F}" dt="2025-06-01T14:59:26.287" v="482" actId="165"/>
          <ac:spMkLst>
            <pc:docMk/>
            <pc:sldMk cId="1843176890" sldId="2147472392"/>
            <ac:spMk id="128" creationId="{3C2E51E9-9A05-9CCE-1EC9-46BD35227175}"/>
          </ac:spMkLst>
        </pc:spChg>
        <pc:spChg chg="mod">
          <ac:chgData name="Daniel J" userId="3ec432d1b59bb0bb" providerId="LiveId" clId="{B1EF79CA-16D9-4015-B34F-52F6FDB6031F}" dt="2025-06-01T15:00:03.681" v="492"/>
          <ac:spMkLst>
            <pc:docMk/>
            <pc:sldMk cId="1843176890" sldId="2147472392"/>
            <ac:spMk id="142" creationId="{7B17B092-128E-C012-7A08-2891FAA5E8C3}"/>
          </ac:spMkLst>
        </pc:spChg>
        <pc:spChg chg="mod topLvl">
          <ac:chgData name="Daniel J" userId="3ec432d1b59bb0bb" providerId="LiveId" clId="{B1EF79CA-16D9-4015-B34F-52F6FDB6031F}" dt="2025-06-01T14:59:26.287" v="482" actId="165"/>
          <ac:spMkLst>
            <pc:docMk/>
            <pc:sldMk cId="1843176890" sldId="2147472392"/>
            <ac:spMk id="146" creationId="{238FCE6C-C654-EC06-1C0C-44B47694E9EA}"/>
          </ac:spMkLst>
        </pc:spChg>
        <pc:spChg chg="mod">
          <ac:chgData name="Daniel J" userId="3ec432d1b59bb0bb" providerId="LiveId" clId="{B1EF79CA-16D9-4015-B34F-52F6FDB6031F}" dt="2025-06-01T15:00:03.681" v="494"/>
          <ac:spMkLst>
            <pc:docMk/>
            <pc:sldMk cId="1843176890" sldId="2147472392"/>
            <ac:spMk id="157" creationId="{3479624B-A5F9-F813-00E1-1746C8630D41}"/>
          </ac:spMkLst>
        </pc:spChg>
        <pc:spChg chg="mod topLvl">
          <ac:chgData name="Daniel J" userId="3ec432d1b59bb0bb" providerId="LiveId" clId="{B1EF79CA-16D9-4015-B34F-52F6FDB6031F}" dt="2025-06-01T14:59:26.287" v="482" actId="165"/>
          <ac:spMkLst>
            <pc:docMk/>
            <pc:sldMk cId="1843176890" sldId="2147472392"/>
            <ac:spMk id="168" creationId="{A7381FE3-69F2-9452-10A7-BB62FD836722}"/>
          </ac:spMkLst>
        </pc:spChg>
        <pc:spChg chg="mod">
          <ac:chgData name="Daniel J" userId="3ec432d1b59bb0bb" providerId="LiveId" clId="{B1EF79CA-16D9-4015-B34F-52F6FDB6031F}" dt="2025-06-01T15:00:30.362" v="521" actId="164"/>
          <ac:spMkLst>
            <pc:docMk/>
            <pc:sldMk cId="1843176890" sldId="2147472392"/>
            <ac:spMk id="173" creationId="{CE787FA7-C0F8-7504-7A34-D23FAA531059}"/>
          </ac:spMkLst>
        </pc:spChg>
        <pc:spChg chg="mod">
          <ac:chgData name="Daniel J" userId="3ec432d1b59bb0bb" providerId="LiveId" clId="{B1EF79CA-16D9-4015-B34F-52F6FDB6031F}" dt="2025-06-01T15:00:22.209" v="520" actId="164"/>
          <ac:spMkLst>
            <pc:docMk/>
            <pc:sldMk cId="1843176890" sldId="2147472392"/>
            <ac:spMk id="174" creationId="{C309EB5E-682B-AF74-DBA3-61E6B85D9E1C}"/>
          </ac:spMkLst>
        </pc:spChg>
        <pc:spChg chg="mod">
          <ac:chgData name="Daniel J" userId="3ec432d1b59bb0bb" providerId="LiveId" clId="{B1EF79CA-16D9-4015-B34F-52F6FDB6031F}" dt="2025-06-01T15:00:18.725" v="519" actId="164"/>
          <ac:spMkLst>
            <pc:docMk/>
            <pc:sldMk cId="1843176890" sldId="2147472392"/>
            <ac:spMk id="175" creationId="{C3840BBE-9FED-6293-013B-371FFE4334E5}"/>
          </ac:spMkLst>
        </pc:spChg>
        <pc:spChg chg="mod">
          <ac:chgData name="Daniel J" userId="3ec432d1b59bb0bb" providerId="LiveId" clId="{B1EF79CA-16D9-4015-B34F-52F6FDB6031F}" dt="2025-06-01T15:00:09.610" v="502"/>
          <ac:spMkLst>
            <pc:docMk/>
            <pc:sldMk cId="1843176890" sldId="2147472392"/>
            <ac:spMk id="176" creationId="{4979A112-30A2-2B35-E2C2-2FCDA7343261}"/>
          </ac:spMkLst>
        </pc:spChg>
        <pc:spChg chg="mod">
          <ac:chgData name="Daniel J" userId="3ec432d1b59bb0bb" providerId="LiveId" clId="{B1EF79CA-16D9-4015-B34F-52F6FDB6031F}" dt="2025-06-01T15:00:30.362" v="521" actId="164"/>
          <ac:spMkLst>
            <pc:docMk/>
            <pc:sldMk cId="1843176890" sldId="2147472392"/>
            <ac:spMk id="183" creationId="{8D58890C-29D7-88CC-61A6-51509326587C}"/>
          </ac:spMkLst>
        </pc:spChg>
        <pc:spChg chg="mod">
          <ac:chgData name="Daniel J" userId="3ec432d1b59bb0bb" providerId="LiveId" clId="{B1EF79CA-16D9-4015-B34F-52F6FDB6031F}" dt="2025-06-01T15:00:22.209" v="520" actId="164"/>
          <ac:spMkLst>
            <pc:docMk/>
            <pc:sldMk cId="1843176890" sldId="2147472392"/>
            <ac:spMk id="184" creationId="{B62FAA5D-6ED6-F981-D63B-F0649667A70A}"/>
          </ac:spMkLst>
        </pc:spChg>
        <pc:spChg chg="mod">
          <ac:chgData name="Daniel J" userId="3ec432d1b59bb0bb" providerId="LiveId" clId="{B1EF79CA-16D9-4015-B34F-52F6FDB6031F}" dt="2025-06-01T15:00:18.725" v="519" actId="164"/>
          <ac:spMkLst>
            <pc:docMk/>
            <pc:sldMk cId="1843176890" sldId="2147472392"/>
            <ac:spMk id="185" creationId="{741EB046-59E0-087A-3027-2BF342A4A143}"/>
          </ac:spMkLst>
        </pc:spChg>
        <pc:spChg chg="mod">
          <ac:chgData name="Daniel J" userId="3ec432d1b59bb0bb" providerId="LiveId" clId="{B1EF79CA-16D9-4015-B34F-52F6FDB6031F}" dt="2025-06-01T15:00:09.611" v="504"/>
          <ac:spMkLst>
            <pc:docMk/>
            <pc:sldMk cId="1843176890" sldId="2147472392"/>
            <ac:spMk id="186" creationId="{A2931F88-D736-1035-7B52-1945FAB1A728}"/>
          </ac:spMkLst>
        </pc:spChg>
        <pc:spChg chg="mod">
          <ac:chgData name="Daniel J" userId="3ec432d1b59bb0bb" providerId="LiveId" clId="{B1EF79CA-16D9-4015-B34F-52F6FDB6031F}" dt="2025-06-01T15:00:30.362" v="521" actId="164"/>
          <ac:spMkLst>
            <pc:docMk/>
            <pc:sldMk cId="1843176890" sldId="2147472392"/>
            <ac:spMk id="321" creationId="{0C7E69CF-0996-0567-ECD3-10F2B6FEE6CD}"/>
          </ac:spMkLst>
        </pc:spChg>
        <pc:spChg chg="mod">
          <ac:chgData name="Daniel J" userId="3ec432d1b59bb0bb" providerId="LiveId" clId="{B1EF79CA-16D9-4015-B34F-52F6FDB6031F}" dt="2025-06-01T15:00:22.209" v="520" actId="164"/>
          <ac:spMkLst>
            <pc:docMk/>
            <pc:sldMk cId="1843176890" sldId="2147472392"/>
            <ac:spMk id="322" creationId="{26110423-DE13-B022-D2E8-91B43A2AC095}"/>
          </ac:spMkLst>
        </pc:spChg>
        <pc:spChg chg="mod">
          <ac:chgData name="Daniel J" userId="3ec432d1b59bb0bb" providerId="LiveId" clId="{B1EF79CA-16D9-4015-B34F-52F6FDB6031F}" dt="2025-06-01T15:00:18.725" v="519" actId="164"/>
          <ac:spMkLst>
            <pc:docMk/>
            <pc:sldMk cId="1843176890" sldId="2147472392"/>
            <ac:spMk id="323" creationId="{30EE55EC-E1B2-7546-63BA-529937738D41}"/>
          </ac:spMkLst>
        </pc:spChg>
        <pc:spChg chg="mod">
          <ac:chgData name="Daniel J" userId="3ec432d1b59bb0bb" providerId="LiveId" clId="{B1EF79CA-16D9-4015-B34F-52F6FDB6031F}" dt="2025-06-01T15:00:09.613" v="506"/>
          <ac:spMkLst>
            <pc:docMk/>
            <pc:sldMk cId="1843176890" sldId="2147472392"/>
            <ac:spMk id="324" creationId="{25B153EA-0D50-6DBF-9C3F-6009DB743BA5}"/>
          </ac:spMkLst>
        </pc:spChg>
        <pc:spChg chg="mod">
          <ac:chgData name="Daniel J" userId="3ec432d1b59bb0bb" providerId="LiveId" clId="{B1EF79CA-16D9-4015-B34F-52F6FDB6031F}" dt="2025-06-01T15:00:30.362" v="521" actId="164"/>
          <ac:spMkLst>
            <pc:docMk/>
            <pc:sldMk cId="1843176890" sldId="2147472392"/>
            <ac:spMk id="331" creationId="{09A68A06-1F11-E0F6-4F1B-176DCDF015DB}"/>
          </ac:spMkLst>
        </pc:spChg>
        <pc:spChg chg="mod">
          <ac:chgData name="Daniel J" userId="3ec432d1b59bb0bb" providerId="LiveId" clId="{B1EF79CA-16D9-4015-B34F-52F6FDB6031F}" dt="2025-06-01T15:00:22.209" v="520" actId="164"/>
          <ac:spMkLst>
            <pc:docMk/>
            <pc:sldMk cId="1843176890" sldId="2147472392"/>
            <ac:spMk id="332" creationId="{DE236013-05C5-EE22-4233-D1B8818D4AAF}"/>
          </ac:spMkLst>
        </pc:spChg>
        <pc:spChg chg="mod">
          <ac:chgData name="Daniel J" userId="3ec432d1b59bb0bb" providerId="LiveId" clId="{B1EF79CA-16D9-4015-B34F-52F6FDB6031F}" dt="2025-06-01T15:00:18.725" v="519" actId="164"/>
          <ac:spMkLst>
            <pc:docMk/>
            <pc:sldMk cId="1843176890" sldId="2147472392"/>
            <ac:spMk id="333" creationId="{5467AABC-7552-D548-073F-EF19C6A4783E}"/>
          </ac:spMkLst>
        </pc:spChg>
        <pc:spChg chg="mod">
          <ac:chgData name="Daniel J" userId="3ec432d1b59bb0bb" providerId="LiveId" clId="{B1EF79CA-16D9-4015-B34F-52F6FDB6031F}" dt="2025-06-01T15:00:09.614" v="508"/>
          <ac:spMkLst>
            <pc:docMk/>
            <pc:sldMk cId="1843176890" sldId="2147472392"/>
            <ac:spMk id="334" creationId="{E9C33F7D-330B-D29F-EF6A-BB3D455233C8}"/>
          </ac:spMkLst>
        </pc:spChg>
        <pc:spChg chg="mod topLvl">
          <ac:chgData name="Daniel J" userId="3ec432d1b59bb0bb" providerId="LiveId" clId="{B1EF79CA-16D9-4015-B34F-52F6FDB6031F}" dt="2025-06-01T14:59:26.287" v="482" actId="165"/>
          <ac:spMkLst>
            <pc:docMk/>
            <pc:sldMk cId="1843176890" sldId="2147472392"/>
            <ac:spMk id="337" creationId="{37E15335-AC81-B2DE-A13F-DE66365421FF}"/>
          </ac:spMkLst>
        </pc:spChg>
        <pc:spChg chg="mod topLvl">
          <ac:chgData name="Daniel J" userId="3ec432d1b59bb0bb" providerId="LiveId" clId="{B1EF79CA-16D9-4015-B34F-52F6FDB6031F}" dt="2025-06-01T14:59:26.287" v="482" actId="165"/>
          <ac:spMkLst>
            <pc:docMk/>
            <pc:sldMk cId="1843176890" sldId="2147472392"/>
            <ac:spMk id="339" creationId="{EF338814-D680-A0C3-CA97-59B237A0397A}"/>
          </ac:spMkLst>
        </pc:spChg>
        <pc:spChg chg="mod">
          <ac:chgData name="Daniel J" userId="3ec432d1b59bb0bb" providerId="LiveId" clId="{B1EF79CA-16D9-4015-B34F-52F6FDB6031F}" dt="2025-06-01T15:00:30.362" v="521" actId="164"/>
          <ac:spMkLst>
            <pc:docMk/>
            <pc:sldMk cId="1843176890" sldId="2147472392"/>
            <ac:spMk id="341" creationId="{801A14F6-ABB3-4888-65C3-BCD6D86D3949}"/>
          </ac:spMkLst>
        </pc:spChg>
        <pc:spChg chg="mod topLvl">
          <ac:chgData name="Daniel J" userId="3ec432d1b59bb0bb" providerId="LiveId" clId="{B1EF79CA-16D9-4015-B34F-52F6FDB6031F}" dt="2025-06-01T15:00:22.209" v="520" actId="164"/>
          <ac:spMkLst>
            <pc:docMk/>
            <pc:sldMk cId="1843176890" sldId="2147472392"/>
            <ac:spMk id="342" creationId="{FE7DA01A-3583-CDBB-3B55-44594A6CDDE6}"/>
          </ac:spMkLst>
        </pc:spChg>
        <pc:spChg chg="mod">
          <ac:chgData name="Daniel J" userId="3ec432d1b59bb0bb" providerId="LiveId" clId="{B1EF79CA-16D9-4015-B34F-52F6FDB6031F}" dt="2025-06-01T15:00:18.725" v="519" actId="164"/>
          <ac:spMkLst>
            <pc:docMk/>
            <pc:sldMk cId="1843176890" sldId="2147472392"/>
            <ac:spMk id="343" creationId="{2C4259C4-30B0-060A-4CE9-4A286A056B80}"/>
          </ac:spMkLst>
        </pc:spChg>
        <pc:spChg chg="mod">
          <ac:chgData name="Daniel J" userId="3ec432d1b59bb0bb" providerId="LiveId" clId="{B1EF79CA-16D9-4015-B34F-52F6FDB6031F}" dt="2025-06-01T15:00:09.615" v="510"/>
          <ac:spMkLst>
            <pc:docMk/>
            <pc:sldMk cId="1843176890" sldId="2147472392"/>
            <ac:spMk id="344" creationId="{29890FA0-83C7-24F7-75E3-670332B612F8}"/>
          </ac:spMkLst>
        </pc:spChg>
        <pc:spChg chg="mod">
          <ac:chgData name="Daniel J" userId="3ec432d1b59bb0bb" providerId="LiveId" clId="{B1EF79CA-16D9-4015-B34F-52F6FDB6031F}" dt="2025-06-01T15:00:03.682" v="496"/>
          <ac:spMkLst>
            <pc:docMk/>
            <pc:sldMk cId="1843176890" sldId="2147472392"/>
            <ac:spMk id="345" creationId="{3BDC83D9-4305-F440-631A-72C5215BE989}"/>
          </ac:spMkLst>
        </pc:spChg>
        <pc:spChg chg="mod">
          <ac:chgData name="Daniel J" userId="3ec432d1b59bb0bb" providerId="LiveId" clId="{B1EF79CA-16D9-4015-B34F-52F6FDB6031F}" dt="2025-06-01T15:00:03.683" v="498"/>
          <ac:spMkLst>
            <pc:docMk/>
            <pc:sldMk cId="1843176890" sldId="2147472392"/>
            <ac:spMk id="361" creationId="{5936B47D-F1B8-26ED-F13C-F2659909C373}"/>
          </ac:spMkLst>
        </pc:spChg>
        <pc:spChg chg="mod">
          <ac:chgData name="Daniel J" userId="3ec432d1b59bb0bb" providerId="LiveId" clId="{B1EF79CA-16D9-4015-B34F-52F6FDB6031F}" dt="2025-06-01T15:00:03.683" v="500"/>
          <ac:spMkLst>
            <pc:docMk/>
            <pc:sldMk cId="1843176890" sldId="2147472392"/>
            <ac:spMk id="371" creationId="{1A4988B6-47F3-72F6-7619-257458B36FB6}"/>
          </ac:spMkLst>
        </pc:spChg>
        <pc:spChg chg="mod">
          <ac:chgData name="Daniel J" userId="3ec432d1b59bb0bb" providerId="LiveId" clId="{B1EF79CA-16D9-4015-B34F-52F6FDB6031F}" dt="2025-06-01T15:00:30.362" v="521" actId="164"/>
          <ac:spMkLst>
            <pc:docMk/>
            <pc:sldMk cId="1843176890" sldId="2147472392"/>
            <ac:spMk id="387" creationId="{8851BF4B-C75E-CA3A-04EA-0DE25DA0029C}"/>
          </ac:spMkLst>
        </pc:spChg>
        <pc:spChg chg="mod">
          <ac:chgData name="Daniel J" userId="3ec432d1b59bb0bb" providerId="LiveId" clId="{B1EF79CA-16D9-4015-B34F-52F6FDB6031F}" dt="2025-06-01T15:00:22.209" v="520" actId="164"/>
          <ac:spMkLst>
            <pc:docMk/>
            <pc:sldMk cId="1843176890" sldId="2147472392"/>
            <ac:spMk id="388" creationId="{62B932A3-8F3A-06F1-0C07-1201FF334758}"/>
          </ac:spMkLst>
        </pc:spChg>
        <pc:spChg chg="mod">
          <ac:chgData name="Daniel J" userId="3ec432d1b59bb0bb" providerId="LiveId" clId="{B1EF79CA-16D9-4015-B34F-52F6FDB6031F}" dt="2025-06-01T15:00:18.725" v="519" actId="164"/>
          <ac:spMkLst>
            <pc:docMk/>
            <pc:sldMk cId="1843176890" sldId="2147472392"/>
            <ac:spMk id="389" creationId="{00C18A74-C666-D62E-6A25-A391E04FF1F5}"/>
          </ac:spMkLst>
        </pc:spChg>
        <pc:spChg chg="mod">
          <ac:chgData name="Daniel J" userId="3ec432d1b59bb0bb" providerId="LiveId" clId="{B1EF79CA-16D9-4015-B34F-52F6FDB6031F}" dt="2025-06-01T15:00:09.616" v="512"/>
          <ac:spMkLst>
            <pc:docMk/>
            <pc:sldMk cId="1843176890" sldId="2147472392"/>
            <ac:spMk id="390" creationId="{CD41373A-E0CB-597F-2D8B-6CCE2A0AB8CF}"/>
          </ac:spMkLst>
        </pc:spChg>
        <pc:spChg chg="mod">
          <ac:chgData name="Daniel J" userId="3ec432d1b59bb0bb" providerId="LiveId" clId="{B1EF79CA-16D9-4015-B34F-52F6FDB6031F}" dt="2025-06-01T15:00:30.362" v="521" actId="164"/>
          <ac:spMkLst>
            <pc:docMk/>
            <pc:sldMk cId="1843176890" sldId="2147472392"/>
            <ac:spMk id="397" creationId="{04907518-A9A3-BF8D-0C1B-171D29DFA8FE}"/>
          </ac:spMkLst>
        </pc:spChg>
        <pc:spChg chg="mod">
          <ac:chgData name="Daniel J" userId="3ec432d1b59bb0bb" providerId="LiveId" clId="{B1EF79CA-16D9-4015-B34F-52F6FDB6031F}" dt="2025-06-01T15:00:22.209" v="520" actId="164"/>
          <ac:spMkLst>
            <pc:docMk/>
            <pc:sldMk cId="1843176890" sldId="2147472392"/>
            <ac:spMk id="398" creationId="{FFDE935C-BA29-E9FD-270A-844827A77D66}"/>
          </ac:spMkLst>
        </pc:spChg>
        <pc:spChg chg="mod">
          <ac:chgData name="Daniel J" userId="3ec432d1b59bb0bb" providerId="LiveId" clId="{B1EF79CA-16D9-4015-B34F-52F6FDB6031F}" dt="2025-06-01T15:00:18.725" v="519" actId="164"/>
          <ac:spMkLst>
            <pc:docMk/>
            <pc:sldMk cId="1843176890" sldId="2147472392"/>
            <ac:spMk id="399" creationId="{21D24EB0-D632-43A9-4508-488EA2F805EA}"/>
          </ac:spMkLst>
        </pc:spChg>
        <pc:spChg chg="mod">
          <ac:chgData name="Daniel J" userId="3ec432d1b59bb0bb" providerId="LiveId" clId="{B1EF79CA-16D9-4015-B34F-52F6FDB6031F}" dt="2025-06-01T15:00:09.617" v="514"/>
          <ac:spMkLst>
            <pc:docMk/>
            <pc:sldMk cId="1843176890" sldId="2147472392"/>
            <ac:spMk id="400" creationId="{69F003E2-69E0-A221-F975-9751037660EC}"/>
          </ac:spMkLst>
        </pc:spChg>
        <pc:spChg chg="mod">
          <ac:chgData name="Daniel J" userId="3ec432d1b59bb0bb" providerId="LiveId" clId="{B1EF79CA-16D9-4015-B34F-52F6FDB6031F}" dt="2025-06-01T15:00:30.362" v="521" actId="164"/>
          <ac:spMkLst>
            <pc:docMk/>
            <pc:sldMk cId="1843176890" sldId="2147472392"/>
            <ac:spMk id="407" creationId="{B8510971-3B1E-6251-AF2F-DEFEC6AA8EBB}"/>
          </ac:spMkLst>
        </pc:spChg>
        <pc:spChg chg="mod">
          <ac:chgData name="Daniel J" userId="3ec432d1b59bb0bb" providerId="LiveId" clId="{B1EF79CA-16D9-4015-B34F-52F6FDB6031F}" dt="2025-06-01T15:00:22.209" v="520" actId="164"/>
          <ac:spMkLst>
            <pc:docMk/>
            <pc:sldMk cId="1843176890" sldId="2147472392"/>
            <ac:spMk id="408" creationId="{1F40A20F-B411-5598-81AE-87C4138396DF}"/>
          </ac:spMkLst>
        </pc:spChg>
        <pc:spChg chg="mod">
          <ac:chgData name="Daniel J" userId="3ec432d1b59bb0bb" providerId="LiveId" clId="{B1EF79CA-16D9-4015-B34F-52F6FDB6031F}" dt="2025-06-01T15:00:18.725" v="519" actId="164"/>
          <ac:spMkLst>
            <pc:docMk/>
            <pc:sldMk cId="1843176890" sldId="2147472392"/>
            <ac:spMk id="409" creationId="{D28CAB12-123B-E196-EB35-D5F5A21CE1D1}"/>
          </ac:spMkLst>
        </pc:spChg>
        <pc:spChg chg="mod">
          <ac:chgData name="Daniel J" userId="3ec432d1b59bb0bb" providerId="LiveId" clId="{B1EF79CA-16D9-4015-B34F-52F6FDB6031F}" dt="2025-06-01T15:00:09.618" v="516"/>
          <ac:spMkLst>
            <pc:docMk/>
            <pc:sldMk cId="1843176890" sldId="2147472392"/>
            <ac:spMk id="410" creationId="{2A37E1A4-9295-AB71-2408-5CAC2589A3B7}"/>
          </ac:spMkLst>
        </pc:spChg>
        <pc:grpChg chg="add mod">
          <ac:chgData name="Daniel J" userId="3ec432d1b59bb0bb" providerId="LiveId" clId="{B1EF79CA-16D9-4015-B34F-52F6FDB6031F}" dt="2025-06-01T15:00:18.725" v="519" actId="164"/>
          <ac:grpSpMkLst>
            <pc:docMk/>
            <pc:sldMk cId="1843176890" sldId="2147472392"/>
            <ac:grpSpMk id="8" creationId="{C0B024B4-0812-26DD-C8F6-64CFA9C58327}"/>
          </ac:grpSpMkLst>
        </pc:grpChg>
        <pc:grpChg chg="add mod">
          <ac:chgData name="Daniel J" userId="3ec432d1b59bb0bb" providerId="LiveId" clId="{B1EF79CA-16D9-4015-B34F-52F6FDB6031F}" dt="2025-06-01T15:00:22.209" v="520" actId="164"/>
          <ac:grpSpMkLst>
            <pc:docMk/>
            <pc:sldMk cId="1843176890" sldId="2147472392"/>
            <ac:grpSpMk id="9" creationId="{0667D65F-2BD9-153D-6492-9E1009764727}"/>
          </ac:grpSpMkLst>
        </pc:grpChg>
        <pc:grpChg chg="add mod">
          <ac:chgData name="Daniel J" userId="3ec432d1b59bb0bb" providerId="LiveId" clId="{B1EF79CA-16D9-4015-B34F-52F6FDB6031F}" dt="2025-06-01T15:00:30.362" v="521" actId="164"/>
          <ac:grpSpMkLst>
            <pc:docMk/>
            <pc:sldMk cId="1843176890" sldId="2147472392"/>
            <ac:grpSpMk id="10" creationId="{4248EA04-5EE2-2916-E605-8D3CFBAB3EED}"/>
          </ac:grpSpMkLst>
        </pc:grpChg>
        <pc:graphicFrameChg chg="add mod ord modVis">
          <ac:chgData name="Daniel J" userId="3ec432d1b59bb0bb" providerId="LiveId" clId="{B1EF79CA-16D9-4015-B34F-52F6FDB6031F}" dt="2025-06-01T14:58:51.938" v="427"/>
          <ac:graphicFrameMkLst>
            <pc:docMk/>
            <pc:sldMk cId="1843176890" sldId="2147472392"/>
            <ac:graphicFrameMk id="4" creationId="{D3E37221-26FB-C49F-8BBA-CECB39520DAB}"/>
          </ac:graphicFrameMkLst>
        </pc:graphicFrameChg>
      </pc:sldChg>
      <pc:sldChg chg="addSp delSp modSp mod">
        <pc:chgData name="Daniel J" userId="3ec432d1b59bb0bb" providerId="LiveId" clId="{B1EF79CA-16D9-4015-B34F-52F6FDB6031F}" dt="2025-06-01T14:58:55.530" v="454"/>
        <pc:sldMkLst>
          <pc:docMk/>
          <pc:sldMk cId="761153223" sldId="2147472393"/>
        </pc:sldMkLst>
        <pc:spChg chg="mod">
          <ac:chgData name="Daniel J" userId="3ec432d1b59bb0bb" providerId="LiveId" clId="{B1EF79CA-16D9-4015-B34F-52F6FDB6031F}" dt="2025-06-01T14:58:55.505" v="430" actId="948"/>
          <ac:spMkLst>
            <pc:docMk/>
            <pc:sldMk cId="761153223" sldId="2147472393"/>
            <ac:spMk id="2" creationId="{30FCA861-A9A5-FCB3-7C3C-307E2FCD3E66}"/>
          </ac:spMkLst>
        </pc:spChg>
        <pc:spChg chg="mod topLvl">
          <ac:chgData name="Daniel J" userId="3ec432d1b59bb0bb" providerId="LiveId" clId="{B1EF79CA-16D9-4015-B34F-52F6FDB6031F}" dt="2025-06-01T14:58:27.860" v="399" actId="165"/>
          <ac:spMkLst>
            <pc:docMk/>
            <pc:sldMk cId="761153223" sldId="2147472393"/>
            <ac:spMk id="15" creationId="{D8ADFC75-968C-0F43-68F7-DACBED06FC31}"/>
          </ac:spMkLst>
        </pc:spChg>
        <pc:spChg chg="mod topLvl">
          <ac:chgData name="Daniel J" userId="3ec432d1b59bb0bb" providerId="LiveId" clId="{B1EF79CA-16D9-4015-B34F-52F6FDB6031F}" dt="2025-06-01T14:58:27.860" v="399" actId="165"/>
          <ac:spMkLst>
            <pc:docMk/>
            <pc:sldMk cId="761153223" sldId="2147472393"/>
            <ac:spMk id="25" creationId="{A2CA5E02-57C5-E681-AFD5-EF25B8841529}"/>
          </ac:spMkLst>
        </pc:spChg>
        <pc:spChg chg="mod topLvl">
          <ac:chgData name="Daniel J" userId="3ec432d1b59bb0bb" providerId="LiveId" clId="{B1EF79CA-16D9-4015-B34F-52F6FDB6031F}" dt="2025-06-01T14:58:27.860" v="399" actId="165"/>
          <ac:spMkLst>
            <pc:docMk/>
            <pc:sldMk cId="761153223" sldId="2147472393"/>
            <ac:spMk id="29" creationId="{C987E826-32B2-A702-50F1-8F38D48227F2}"/>
          </ac:spMkLst>
        </pc:spChg>
        <pc:spChg chg="add del mod modVis">
          <ac:chgData name="Daniel J" userId="3ec432d1b59bb0bb" providerId="LiveId" clId="{B1EF79CA-16D9-4015-B34F-52F6FDB6031F}" dt="2025-06-01T14:53:56.612" v="118"/>
          <ac:spMkLst>
            <pc:docMk/>
            <pc:sldMk cId="761153223" sldId="2147472393"/>
            <ac:spMk id="31" creationId="{284E5BBD-8C35-6A12-2FDE-BA130AADD517}"/>
          </ac:spMkLst>
        </pc:spChg>
        <pc:spChg chg="add del mod modVis">
          <ac:chgData name="Daniel J" userId="3ec432d1b59bb0bb" providerId="LiveId" clId="{B1EF79CA-16D9-4015-B34F-52F6FDB6031F}" dt="2025-06-01T14:53:58.594" v="156"/>
          <ac:spMkLst>
            <pc:docMk/>
            <pc:sldMk cId="761153223" sldId="2147472393"/>
            <ac:spMk id="35" creationId="{37D4881A-E460-96FD-E851-4DDC3A44773F}"/>
          </ac:spMkLst>
        </pc:spChg>
        <pc:spChg chg="add del mod modVis">
          <ac:chgData name="Daniel J" userId="3ec432d1b59bb0bb" providerId="LiveId" clId="{B1EF79CA-16D9-4015-B34F-52F6FDB6031F}" dt="2025-06-01T14:53:59.302" v="182"/>
          <ac:spMkLst>
            <pc:docMk/>
            <pc:sldMk cId="761153223" sldId="2147472393"/>
            <ac:spMk id="36" creationId="{3C7DDA10-7F96-E9BE-EB44-5FB319E083D8}"/>
          </ac:spMkLst>
        </pc:spChg>
        <pc:spChg chg="add del mod modVis">
          <ac:chgData name="Daniel J" userId="3ec432d1b59bb0bb" providerId="LiveId" clId="{B1EF79CA-16D9-4015-B34F-52F6FDB6031F}" dt="2025-06-01T14:58:55.529" v="452"/>
          <ac:spMkLst>
            <pc:docMk/>
            <pc:sldMk cId="761153223" sldId="2147472393"/>
            <ac:spMk id="37" creationId="{6DEE7FC6-2FB0-425E-52C4-6859D0DE2109}"/>
          </ac:spMkLst>
        </pc:spChg>
        <pc:spChg chg="mod topLvl">
          <ac:chgData name="Daniel J" userId="3ec432d1b59bb0bb" providerId="LiveId" clId="{B1EF79CA-16D9-4015-B34F-52F6FDB6031F}" dt="2025-06-01T14:58:27.860" v="399" actId="165"/>
          <ac:spMkLst>
            <pc:docMk/>
            <pc:sldMk cId="761153223" sldId="2147472393"/>
            <ac:spMk id="134" creationId="{FEA5FB7E-A77A-527D-B8BA-2E5EFCFECFE6}"/>
          </ac:spMkLst>
        </pc:spChg>
        <pc:spChg chg="mod topLvl">
          <ac:chgData name="Daniel J" userId="3ec432d1b59bb0bb" providerId="LiveId" clId="{B1EF79CA-16D9-4015-B34F-52F6FDB6031F}" dt="2025-06-01T14:58:27.860" v="399" actId="165"/>
          <ac:spMkLst>
            <pc:docMk/>
            <pc:sldMk cId="761153223" sldId="2147472393"/>
            <ac:spMk id="351" creationId="{79FA66DC-8069-7695-7390-3E09C8D0364E}"/>
          </ac:spMkLst>
        </pc:spChg>
        <pc:spChg chg="mod topLvl">
          <ac:chgData name="Daniel J" userId="3ec432d1b59bb0bb" providerId="LiveId" clId="{B1EF79CA-16D9-4015-B34F-52F6FDB6031F}" dt="2025-06-01T14:58:27.860" v="399" actId="165"/>
          <ac:spMkLst>
            <pc:docMk/>
            <pc:sldMk cId="761153223" sldId="2147472393"/>
            <ac:spMk id="417" creationId="{C152F039-AFFB-9F8C-3F04-8AFA43A80A22}"/>
          </ac:spMkLst>
        </pc:spChg>
        <pc:spChg chg="mod topLvl">
          <ac:chgData name="Daniel J" userId="3ec432d1b59bb0bb" providerId="LiveId" clId="{B1EF79CA-16D9-4015-B34F-52F6FDB6031F}" dt="2025-06-01T14:58:27.860" v="399" actId="165"/>
          <ac:spMkLst>
            <pc:docMk/>
            <pc:sldMk cId="761153223" sldId="2147472393"/>
            <ac:spMk id="421" creationId="{E2669592-8AA6-5634-B3E4-8A9D40CD956F}"/>
          </ac:spMkLst>
        </pc:spChg>
        <pc:spChg chg="mod topLvl">
          <ac:chgData name="Daniel J" userId="3ec432d1b59bb0bb" providerId="LiveId" clId="{B1EF79CA-16D9-4015-B34F-52F6FDB6031F}" dt="2025-06-01T14:58:27.860" v="399" actId="165"/>
          <ac:spMkLst>
            <pc:docMk/>
            <pc:sldMk cId="761153223" sldId="2147472393"/>
            <ac:spMk id="424" creationId="{6A0913D3-6888-999A-156A-6BEFF12CB021}"/>
          </ac:spMkLst>
        </pc:spChg>
        <pc:spChg chg="mod topLvl">
          <ac:chgData name="Daniel J" userId="3ec432d1b59bb0bb" providerId="LiveId" clId="{B1EF79CA-16D9-4015-B34F-52F6FDB6031F}" dt="2025-06-01T14:58:27.860" v="399" actId="165"/>
          <ac:spMkLst>
            <pc:docMk/>
            <pc:sldMk cId="761153223" sldId="2147472393"/>
            <ac:spMk id="431" creationId="{67D60A02-0EE1-2B9C-DC88-B020F3D05BD2}"/>
          </ac:spMkLst>
        </pc:spChg>
        <pc:spChg chg="mod topLvl">
          <ac:chgData name="Daniel J" userId="3ec432d1b59bb0bb" providerId="LiveId" clId="{B1EF79CA-16D9-4015-B34F-52F6FDB6031F}" dt="2025-06-01T14:58:27.860" v="399" actId="165"/>
          <ac:spMkLst>
            <pc:docMk/>
            <pc:sldMk cId="761153223" sldId="2147472393"/>
            <ac:spMk id="535" creationId="{ABB7A835-2CC3-B310-B144-FCCD5A8CAEEB}"/>
          </ac:spMkLst>
        </pc:spChg>
        <pc:graphicFrameChg chg="add mod ord modVis">
          <ac:chgData name="Daniel J" userId="3ec432d1b59bb0bb" providerId="LiveId" clId="{B1EF79CA-16D9-4015-B34F-52F6FDB6031F}" dt="2025-06-01T14:58:55.530" v="454"/>
          <ac:graphicFrameMkLst>
            <pc:docMk/>
            <pc:sldMk cId="761153223" sldId="2147472393"/>
            <ac:graphicFrameMk id="32" creationId="{3BEE10E4-1079-5C87-4E67-AA823771DDBD}"/>
          </ac:graphicFrameMkLst>
        </pc:graphicFrameChg>
      </pc:sldChg>
      <pc:sldChg chg="addSp delSp modSp mod">
        <pc:chgData name="Daniel J" userId="3ec432d1b59bb0bb" providerId="LiveId" clId="{B1EF79CA-16D9-4015-B34F-52F6FDB6031F}" dt="2025-06-01T14:58:58.980" v="481"/>
        <pc:sldMkLst>
          <pc:docMk/>
          <pc:sldMk cId="846696483" sldId="2147472394"/>
        </pc:sldMkLst>
        <pc:spChg chg="mod">
          <ac:chgData name="Daniel J" userId="3ec432d1b59bb0bb" providerId="LiveId" clId="{B1EF79CA-16D9-4015-B34F-52F6FDB6031F}" dt="2025-06-01T14:58:58.955" v="457" actId="948"/>
          <ac:spMkLst>
            <pc:docMk/>
            <pc:sldMk cId="846696483" sldId="2147472394"/>
            <ac:spMk id="2" creationId="{6F67A445-0F41-E102-9819-2C654BEB9B4E}"/>
          </ac:spMkLst>
        </pc:spChg>
        <pc:spChg chg="add del mod modVis">
          <ac:chgData name="Daniel J" userId="3ec432d1b59bb0bb" providerId="LiveId" clId="{B1EF79CA-16D9-4015-B34F-52F6FDB6031F}" dt="2025-06-01T14:54:03.477" v="208"/>
          <ac:spMkLst>
            <pc:docMk/>
            <pc:sldMk cId="846696483" sldId="2147472394"/>
            <ac:spMk id="3" creationId="{70B92ECC-A79F-9724-EA93-2E9125F376D6}"/>
          </ac:spMkLst>
        </pc:spChg>
        <pc:spChg chg="add del mod modVis">
          <ac:chgData name="Daniel J" userId="3ec432d1b59bb0bb" providerId="LiveId" clId="{B1EF79CA-16D9-4015-B34F-52F6FDB6031F}" dt="2025-06-01T14:54:05.363" v="246"/>
          <ac:spMkLst>
            <pc:docMk/>
            <pc:sldMk cId="846696483" sldId="2147472394"/>
            <ac:spMk id="5" creationId="{F38967D2-20C3-37D3-6E1B-C0366EBE7255}"/>
          </ac:spMkLst>
        </pc:spChg>
        <pc:spChg chg="add del mod modVis">
          <ac:chgData name="Daniel J" userId="3ec432d1b59bb0bb" providerId="LiveId" clId="{B1EF79CA-16D9-4015-B34F-52F6FDB6031F}" dt="2025-06-01T14:54:06.038" v="272"/>
          <ac:spMkLst>
            <pc:docMk/>
            <pc:sldMk cId="846696483" sldId="2147472394"/>
            <ac:spMk id="6" creationId="{8C4CFDB1-44A2-4387-043B-3DF6ED9FB2A2}"/>
          </ac:spMkLst>
        </pc:spChg>
        <pc:spChg chg="add del mod topLvl">
          <ac:chgData name="Daniel J" userId="3ec432d1b59bb0bb" providerId="LiveId" clId="{B1EF79CA-16D9-4015-B34F-52F6FDB6031F}" dt="2025-06-01T14:58:06.151" v="396" actId="478"/>
          <ac:spMkLst>
            <pc:docMk/>
            <pc:sldMk cId="846696483" sldId="2147472394"/>
            <ac:spMk id="8" creationId="{C7FDAF3E-8158-409F-7B84-DE27684D263E}"/>
          </ac:spMkLst>
        </pc:spChg>
        <pc:spChg chg="add del mod modVis">
          <ac:chgData name="Daniel J" userId="3ec432d1b59bb0bb" providerId="LiveId" clId="{B1EF79CA-16D9-4015-B34F-52F6FDB6031F}" dt="2025-06-01T14:58:58.979" v="479"/>
          <ac:spMkLst>
            <pc:docMk/>
            <pc:sldMk cId="846696483" sldId="2147472394"/>
            <ac:spMk id="9" creationId="{F116D682-3102-72C9-D620-5A5E852F0B9A}"/>
          </ac:spMkLst>
        </pc:spChg>
        <pc:spChg chg="mod topLvl">
          <ac:chgData name="Daniel J" userId="3ec432d1b59bb0bb" providerId="LiveId" clId="{B1EF79CA-16D9-4015-B34F-52F6FDB6031F}" dt="2025-06-01T14:56:37.671" v="379" actId="165"/>
          <ac:spMkLst>
            <pc:docMk/>
            <pc:sldMk cId="846696483" sldId="2147472394"/>
            <ac:spMk id="131" creationId="{64E5C482-7CCB-381F-08C1-77EC98BBA6B3}"/>
          </ac:spMkLst>
        </pc:spChg>
        <pc:spChg chg="mod topLvl">
          <ac:chgData name="Daniel J" userId="3ec432d1b59bb0bb" providerId="LiveId" clId="{B1EF79CA-16D9-4015-B34F-52F6FDB6031F}" dt="2025-06-01T14:56:37.671" v="379" actId="165"/>
          <ac:spMkLst>
            <pc:docMk/>
            <pc:sldMk cId="846696483" sldId="2147472394"/>
            <ac:spMk id="144" creationId="{816CC738-72EE-8362-1F7D-02D201BDDB83}"/>
          </ac:spMkLst>
        </pc:spChg>
        <pc:spChg chg="mod topLvl">
          <ac:chgData name="Daniel J" userId="3ec432d1b59bb0bb" providerId="LiveId" clId="{B1EF79CA-16D9-4015-B34F-52F6FDB6031F}" dt="2025-06-01T14:56:37.671" v="379" actId="165"/>
          <ac:spMkLst>
            <pc:docMk/>
            <pc:sldMk cId="846696483" sldId="2147472394"/>
            <ac:spMk id="147" creationId="{58FB710D-F0C7-FFE1-B0CE-AEA51B7F2C0E}"/>
          </ac:spMkLst>
        </pc:spChg>
        <pc:spChg chg="mod topLvl">
          <ac:chgData name="Daniel J" userId="3ec432d1b59bb0bb" providerId="LiveId" clId="{B1EF79CA-16D9-4015-B34F-52F6FDB6031F}" dt="2025-06-01T14:56:37.671" v="379" actId="165"/>
          <ac:spMkLst>
            <pc:docMk/>
            <pc:sldMk cId="846696483" sldId="2147472394"/>
            <ac:spMk id="170" creationId="{9042106D-0724-56AB-E963-9559CA6CBDF0}"/>
          </ac:spMkLst>
        </pc:spChg>
        <pc:spChg chg="mod topLvl">
          <ac:chgData name="Daniel J" userId="3ec432d1b59bb0bb" providerId="LiveId" clId="{B1EF79CA-16D9-4015-B34F-52F6FDB6031F}" dt="2025-06-01T14:56:37.671" v="379" actId="165"/>
          <ac:spMkLst>
            <pc:docMk/>
            <pc:sldMk cId="846696483" sldId="2147472394"/>
            <ac:spMk id="172" creationId="{65DD2FA8-A0FA-9AC8-B2E2-899FC1BDB799}"/>
          </ac:spMkLst>
        </pc:spChg>
        <pc:spChg chg="mod topLvl">
          <ac:chgData name="Daniel J" userId="3ec432d1b59bb0bb" providerId="LiveId" clId="{B1EF79CA-16D9-4015-B34F-52F6FDB6031F}" dt="2025-06-01T14:56:37.671" v="379" actId="165"/>
          <ac:spMkLst>
            <pc:docMk/>
            <pc:sldMk cId="846696483" sldId="2147472394"/>
            <ac:spMk id="175" creationId="{15DA9F55-54C9-51AC-B158-08A2BFD9193F}"/>
          </ac:spMkLst>
        </pc:spChg>
        <pc:spChg chg="mod topLvl">
          <ac:chgData name="Daniel J" userId="3ec432d1b59bb0bb" providerId="LiveId" clId="{B1EF79CA-16D9-4015-B34F-52F6FDB6031F}" dt="2025-06-01T14:56:37.671" v="379" actId="165"/>
          <ac:spMkLst>
            <pc:docMk/>
            <pc:sldMk cId="846696483" sldId="2147472394"/>
            <ac:spMk id="177" creationId="{D7BFCD4A-DCCA-A4D1-4E8A-DF69F00F3F1E}"/>
          </ac:spMkLst>
        </pc:spChg>
        <pc:spChg chg="del mod topLvl">
          <ac:chgData name="Daniel J" userId="3ec432d1b59bb0bb" providerId="LiveId" clId="{B1EF79CA-16D9-4015-B34F-52F6FDB6031F}" dt="2025-06-01T14:58:12.187" v="398" actId="478"/>
          <ac:spMkLst>
            <pc:docMk/>
            <pc:sldMk cId="846696483" sldId="2147472394"/>
            <ac:spMk id="185" creationId="{949B0DBB-9F9A-BF6A-C81C-CDB30007426F}"/>
          </ac:spMkLst>
        </pc:spChg>
        <pc:spChg chg="add del mod topLvl">
          <ac:chgData name="Daniel J" userId="3ec432d1b59bb0bb" providerId="LiveId" clId="{B1EF79CA-16D9-4015-B34F-52F6FDB6031F}" dt="2025-06-01T14:58:09.737" v="397" actId="478"/>
          <ac:spMkLst>
            <pc:docMk/>
            <pc:sldMk cId="846696483" sldId="2147472394"/>
            <ac:spMk id="186" creationId="{D277FC9D-B09A-14CA-8822-0DEDEB91CE96}"/>
          </ac:spMkLst>
        </pc:spChg>
        <pc:spChg chg="mod topLvl">
          <ac:chgData name="Daniel J" userId="3ec432d1b59bb0bb" providerId="LiveId" clId="{B1EF79CA-16D9-4015-B34F-52F6FDB6031F}" dt="2025-06-01T14:56:37.671" v="379" actId="165"/>
          <ac:spMkLst>
            <pc:docMk/>
            <pc:sldMk cId="846696483" sldId="2147472394"/>
            <ac:spMk id="569" creationId="{1720EF3B-8FA4-18F5-247A-CD87B156A5DB}"/>
          </ac:spMkLst>
        </pc:spChg>
        <pc:spChg chg="mod topLvl">
          <ac:chgData name="Daniel J" userId="3ec432d1b59bb0bb" providerId="LiveId" clId="{B1EF79CA-16D9-4015-B34F-52F6FDB6031F}" dt="2025-06-01T14:56:37.671" v="379" actId="165"/>
          <ac:spMkLst>
            <pc:docMk/>
            <pc:sldMk cId="846696483" sldId="2147472394"/>
            <ac:spMk id="572" creationId="{2703B0BA-96C5-C958-AECC-520B58D0F52F}"/>
          </ac:spMkLst>
        </pc:spChg>
        <pc:spChg chg="mod topLvl">
          <ac:chgData name="Daniel J" userId="3ec432d1b59bb0bb" providerId="LiveId" clId="{B1EF79CA-16D9-4015-B34F-52F6FDB6031F}" dt="2025-06-01T14:56:37.671" v="379" actId="165"/>
          <ac:spMkLst>
            <pc:docMk/>
            <pc:sldMk cId="846696483" sldId="2147472394"/>
            <ac:spMk id="573" creationId="{30525E1E-033A-2CB4-1EB4-ABD407A6DD05}"/>
          </ac:spMkLst>
        </pc:spChg>
        <pc:grpChg chg="add del mod">
          <ac:chgData name="Daniel J" userId="3ec432d1b59bb0bb" providerId="LiveId" clId="{B1EF79CA-16D9-4015-B34F-52F6FDB6031F}" dt="2025-06-01T14:57:43.164" v="386" actId="165"/>
          <ac:grpSpMkLst>
            <pc:docMk/>
            <pc:sldMk cId="846696483" sldId="2147472394"/>
            <ac:grpSpMk id="7" creationId="{41003784-0803-2551-551C-962334E703DB}"/>
          </ac:grpSpMkLst>
        </pc:grpChg>
        <pc:graphicFrameChg chg="add mod ord modVis">
          <ac:chgData name="Daniel J" userId="3ec432d1b59bb0bb" providerId="LiveId" clId="{B1EF79CA-16D9-4015-B34F-52F6FDB6031F}" dt="2025-06-01T14:58:58.980" v="481"/>
          <ac:graphicFrameMkLst>
            <pc:docMk/>
            <pc:sldMk cId="846696483" sldId="2147472394"/>
            <ac:graphicFrameMk id="4" creationId="{E726245F-2DC8-ADA5-0344-BEE607B951EC}"/>
          </ac:graphicFrameMkLst>
        </pc:graphicFrameChg>
      </pc:sldChg>
      <pc:sldChg chg="addSp delSp modSp add del mod">
        <pc:chgData name="Daniel J" userId="3ec432d1b59bb0bb" providerId="LiveId" clId="{B1EF79CA-16D9-4015-B34F-52F6FDB6031F}" dt="2025-06-01T14:58:47.560" v="400" actId="47"/>
        <pc:sldMkLst>
          <pc:docMk/>
          <pc:sldMk cId="2638667682" sldId="2147472395"/>
        </pc:sldMkLst>
        <pc:spChg chg="mod">
          <ac:chgData name="Daniel J" userId="3ec432d1b59bb0bb" providerId="LiveId" clId="{B1EF79CA-16D9-4015-B34F-52F6FDB6031F}" dt="2025-06-01T14:54:13.788" v="340" actId="948"/>
          <ac:spMkLst>
            <pc:docMk/>
            <pc:sldMk cId="2638667682" sldId="2147472395"/>
            <ac:spMk id="2" creationId="{BBB6DB11-D139-8F44-504E-6ABE66785C91}"/>
          </ac:spMkLst>
        </pc:spChg>
        <pc:spChg chg="add del mod modVis">
          <ac:chgData name="Daniel J" userId="3ec432d1b59bb0bb" providerId="LiveId" clId="{B1EF79CA-16D9-4015-B34F-52F6FDB6031F}" dt="2025-06-01T14:54:10.247" v="298"/>
          <ac:spMkLst>
            <pc:docMk/>
            <pc:sldMk cId="2638667682" sldId="2147472395"/>
            <ac:spMk id="200" creationId="{CE770E32-6BAE-B255-C44B-D9599CB7A520}"/>
          </ac:spMkLst>
        </pc:spChg>
        <pc:spChg chg="add del mod modVis">
          <ac:chgData name="Daniel J" userId="3ec432d1b59bb0bb" providerId="LiveId" clId="{B1EF79CA-16D9-4015-B34F-52F6FDB6031F}" dt="2025-06-01T14:54:12.962" v="336"/>
          <ac:spMkLst>
            <pc:docMk/>
            <pc:sldMk cId="2638667682" sldId="2147472395"/>
            <ac:spMk id="202" creationId="{481C0752-517A-DAB1-7FE8-C2AA9DA4F951}"/>
          </ac:spMkLst>
        </pc:spChg>
        <pc:spChg chg="add del mod modVis">
          <ac:chgData name="Daniel J" userId="3ec432d1b59bb0bb" providerId="LiveId" clId="{B1EF79CA-16D9-4015-B34F-52F6FDB6031F}" dt="2025-06-01T14:54:13.806" v="362"/>
          <ac:spMkLst>
            <pc:docMk/>
            <pc:sldMk cId="2638667682" sldId="2147472395"/>
            <ac:spMk id="203" creationId="{4C5F0573-436D-2DDF-8BE0-E4D4D8BD9A78}"/>
          </ac:spMkLst>
        </pc:spChg>
        <pc:graphicFrameChg chg="add mod ord modVis">
          <ac:chgData name="Daniel J" userId="3ec432d1b59bb0bb" providerId="LiveId" clId="{B1EF79CA-16D9-4015-B34F-52F6FDB6031F}" dt="2025-06-01T14:55:16.425" v="368"/>
          <ac:graphicFrameMkLst>
            <pc:docMk/>
            <pc:sldMk cId="2638667682" sldId="2147472395"/>
            <ac:graphicFrameMk id="201" creationId="{40A0CDEC-3311-07AC-6A1E-C85A9561FFEA}"/>
          </ac:graphicFrameMkLst>
        </pc:graphicFrameChg>
      </pc:sldChg>
      <pc:sldChg chg="add del">
        <pc:chgData name="Daniel J" userId="3ec432d1b59bb0bb" providerId="LiveId" clId="{B1EF79CA-16D9-4015-B34F-52F6FDB6031F}" dt="2025-06-01T14:58:47.560" v="400" actId="47"/>
        <pc:sldMkLst>
          <pc:docMk/>
          <pc:sldMk cId="2784990046" sldId="2147472396"/>
        </pc:sldMkLst>
      </pc:sldChg>
      <pc:sldChg chg="delSp modSp add del mod">
        <pc:chgData name="Daniel J" userId="3ec432d1b59bb0bb" providerId="LiveId" clId="{B1EF79CA-16D9-4015-B34F-52F6FDB6031F}" dt="2025-06-01T14:58:47.560" v="400" actId="47"/>
        <pc:sldMkLst>
          <pc:docMk/>
          <pc:sldMk cId="802338926" sldId="2147472397"/>
        </pc:sldMkLst>
        <pc:spChg chg="mod topLvl">
          <ac:chgData name="Daniel J" userId="3ec432d1b59bb0bb" providerId="LiveId" clId="{B1EF79CA-16D9-4015-B34F-52F6FDB6031F}" dt="2025-06-01T14:55:59.769" v="375" actId="14100"/>
          <ac:spMkLst>
            <pc:docMk/>
            <pc:sldMk cId="802338926" sldId="2147472397"/>
            <ac:spMk id="44" creationId="{E5191D5C-5B61-F344-440D-8ACFF9AEC147}"/>
          </ac:spMkLst>
        </pc:spChg>
        <pc:spChg chg="mod">
          <ac:chgData name="Daniel J" userId="3ec432d1b59bb0bb" providerId="LiveId" clId="{B1EF79CA-16D9-4015-B34F-52F6FDB6031F}" dt="2025-06-01T14:55:29.978" v="370" actId="207"/>
          <ac:spMkLst>
            <pc:docMk/>
            <pc:sldMk cId="802338926" sldId="2147472397"/>
            <ac:spMk id="49" creationId="{D68F0B4E-5C52-301F-0858-80D91489610B}"/>
          </ac:spMkLst>
        </pc:spChg>
        <pc:spChg chg="mod topLvl">
          <ac:chgData name="Daniel J" userId="3ec432d1b59bb0bb" providerId="LiveId" clId="{B1EF79CA-16D9-4015-B34F-52F6FDB6031F}" dt="2025-06-01T14:55:59.769" v="375" actId="14100"/>
          <ac:spMkLst>
            <pc:docMk/>
            <pc:sldMk cId="802338926" sldId="2147472397"/>
            <ac:spMk id="56" creationId="{0DA7348B-5CC1-E99E-F654-35B6E7C578E2}"/>
          </ac:spMkLst>
        </pc:spChg>
        <pc:spChg chg="mod topLvl">
          <ac:chgData name="Daniel J" userId="3ec432d1b59bb0bb" providerId="LiveId" clId="{B1EF79CA-16D9-4015-B34F-52F6FDB6031F}" dt="2025-06-01T14:55:59.769" v="375" actId="14100"/>
          <ac:spMkLst>
            <pc:docMk/>
            <pc:sldMk cId="802338926" sldId="2147472397"/>
            <ac:spMk id="59" creationId="{BB06069E-35F9-21B0-B765-2755E79A22EB}"/>
          </ac:spMkLst>
        </pc:spChg>
        <pc:spChg chg="mod topLvl">
          <ac:chgData name="Daniel J" userId="3ec432d1b59bb0bb" providerId="LiveId" clId="{B1EF79CA-16D9-4015-B34F-52F6FDB6031F}" dt="2025-06-01T14:55:59.769" v="375" actId="14100"/>
          <ac:spMkLst>
            <pc:docMk/>
            <pc:sldMk cId="802338926" sldId="2147472397"/>
            <ac:spMk id="64" creationId="{9DD21A6E-72C1-A493-318E-70A179D08828}"/>
          </ac:spMkLst>
        </pc:spChg>
        <pc:spChg chg="mod topLvl">
          <ac:chgData name="Daniel J" userId="3ec432d1b59bb0bb" providerId="LiveId" clId="{B1EF79CA-16D9-4015-B34F-52F6FDB6031F}" dt="2025-06-01T14:55:59.769" v="375" actId="14100"/>
          <ac:spMkLst>
            <pc:docMk/>
            <pc:sldMk cId="802338926" sldId="2147472397"/>
            <ac:spMk id="100" creationId="{EEF8C259-2D6C-4B76-ADCE-C7BCFF96BA65}"/>
          </ac:spMkLst>
        </pc:spChg>
        <pc:spChg chg="mod topLvl">
          <ac:chgData name="Daniel J" userId="3ec432d1b59bb0bb" providerId="LiveId" clId="{B1EF79CA-16D9-4015-B34F-52F6FDB6031F}" dt="2025-06-01T14:55:59.769" v="375" actId="14100"/>
          <ac:spMkLst>
            <pc:docMk/>
            <pc:sldMk cId="802338926" sldId="2147472397"/>
            <ac:spMk id="109" creationId="{71555B6E-A6EE-2838-3651-8432056CAF19}"/>
          </ac:spMkLst>
        </pc:spChg>
        <pc:spChg chg="mod topLvl">
          <ac:chgData name="Daniel J" userId="3ec432d1b59bb0bb" providerId="LiveId" clId="{B1EF79CA-16D9-4015-B34F-52F6FDB6031F}" dt="2025-06-01T14:55:59.769" v="375" actId="14100"/>
          <ac:spMkLst>
            <pc:docMk/>
            <pc:sldMk cId="802338926" sldId="2147472397"/>
            <ac:spMk id="118" creationId="{40CE5DC6-B15C-DC84-38A3-9DEC1EA4B8E3}"/>
          </ac:spMkLst>
        </pc:spChg>
        <pc:spChg chg="mod topLvl">
          <ac:chgData name="Daniel J" userId="3ec432d1b59bb0bb" providerId="LiveId" clId="{B1EF79CA-16D9-4015-B34F-52F6FDB6031F}" dt="2025-06-01T14:55:59.769" v="375" actId="14100"/>
          <ac:spMkLst>
            <pc:docMk/>
            <pc:sldMk cId="802338926" sldId="2147472397"/>
            <ac:spMk id="168" creationId="{ACB4B560-D90D-EA16-60C3-BBB20C114B6F}"/>
          </ac:spMkLst>
        </pc:spChg>
        <pc:spChg chg="mod topLvl">
          <ac:chgData name="Daniel J" userId="3ec432d1b59bb0bb" providerId="LiveId" clId="{B1EF79CA-16D9-4015-B34F-52F6FDB6031F}" dt="2025-06-01T14:55:59.769" v="375" actId="14100"/>
          <ac:spMkLst>
            <pc:docMk/>
            <pc:sldMk cId="802338926" sldId="2147472397"/>
            <ac:spMk id="173" creationId="{80D6EA4E-405B-4B20-9D0C-0900E6B30350}"/>
          </ac:spMkLst>
        </pc:spChg>
        <pc:spChg chg="mod topLvl">
          <ac:chgData name="Daniel J" userId="3ec432d1b59bb0bb" providerId="LiveId" clId="{B1EF79CA-16D9-4015-B34F-52F6FDB6031F}" dt="2025-06-01T14:55:59.769" v="375" actId="14100"/>
          <ac:spMkLst>
            <pc:docMk/>
            <pc:sldMk cId="802338926" sldId="2147472397"/>
            <ac:spMk id="174" creationId="{E5DC10A0-A782-3516-9743-CA8FBB0B56F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2.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3.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4.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4.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102970179575012E-2"/>
          <c:y val="3.1195118656279552E-2"/>
          <c:w val="0.96761077746637603"/>
          <c:h val="0.77738218070682763"/>
        </c:manualLayout>
      </c:layout>
      <c:lineChart>
        <c:grouping val="standard"/>
        <c:varyColors val="0"/>
        <c:ser>
          <c:idx val="0"/>
          <c:order val="0"/>
          <c:tx>
            <c:strRef>
              <c:f>Sheet1!$B$1</c:f>
              <c:strCache>
                <c:ptCount val="1"/>
                <c:pt idx="0">
                  <c:v>Series 1</c:v>
                </c:pt>
              </c:strCache>
            </c:strRef>
          </c:tx>
          <c:spPr>
            <a:ln w="38100" cap="rnd">
              <a:solidFill>
                <a:schemeClr val="accent1"/>
              </a:solidFill>
              <a:round/>
            </a:ln>
            <a:effectLst/>
          </c:spPr>
          <c:marker>
            <c:symbol val="circle"/>
            <c:size val="5"/>
            <c:spPr>
              <a:solidFill>
                <a:schemeClr val="accent1"/>
              </a:solidFill>
              <a:ln w="38100">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6365-4499-928D-764F0197F1F9}"/>
            </c:ext>
          </c:extLst>
        </c:ser>
        <c:ser>
          <c:idx val="1"/>
          <c:order val="1"/>
          <c:tx>
            <c:strRef>
              <c:f>Sheet1!$C$1</c:f>
              <c:strCache>
                <c:ptCount val="1"/>
                <c:pt idx="0">
                  <c:v>Series 2</c:v>
                </c:pt>
              </c:strCache>
            </c:strRef>
          </c:tx>
          <c:spPr>
            <a:ln w="38100" cap="rnd">
              <a:solidFill>
                <a:schemeClr val="accent2"/>
              </a:solidFill>
              <a:round/>
            </a:ln>
            <a:effectLst/>
          </c:spPr>
          <c:marker>
            <c:symbol val="circle"/>
            <c:size val="5"/>
            <c:spPr>
              <a:solidFill>
                <a:schemeClr val="accent2"/>
              </a:solidFill>
              <a:ln w="38100">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6365-4499-928D-764F0197F1F9}"/>
            </c:ext>
          </c:extLst>
        </c:ser>
        <c:ser>
          <c:idx val="2"/>
          <c:order val="2"/>
          <c:tx>
            <c:strRef>
              <c:f>Sheet1!$D$1</c:f>
              <c:strCache>
                <c:ptCount val="1"/>
                <c:pt idx="0">
                  <c:v>Series 3</c:v>
                </c:pt>
              </c:strCache>
            </c:strRef>
          </c:tx>
          <c:spPr>
            <a:ln w="38100" cap="rnd">
              <a:solidFill>
                <a:schemeClr val="accent4"/>
              </a:solidFill>
              <a:round/>
            </a:ln>
            <a:effectLst/>
          </c:spPr>
          <c:marker>
            <c:symbol val="circle"/>
            <c:size val="5"/>
            <c:spPr>
              <a:solidFill>
                <a:schemeClr val="accent4"/>
              </a:solidFill>
              <a:ln w="38100">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6365-4499-928D-764F0197F1F9}"/>
            </c:ext>
          </c:extLst>
        </c:ser>
        <c:dLbls>
          <c:dLblPos val="t"/>
          <c:showLegendKey val="0"/>
          <c:showVal val="1"/>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86427332176701E-2"/>
          <c:y val="0.13256490679554642"/>
          <c:w val="0.90505710514999183"/>
          <c:h val="0.7930534772401889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80E-4588-8FC2-5318B3699B18}"/>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80E-4588-8FC2-5318B3699B18}"/>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80E-4588-8FC2-5318B3699B18}"/>
            </c:ext>
          </c:extLst>
        </c:ser>
        <c:dLbls>
          <c:dLblPos val="outEnd"/>
          <c:showLegendKey val="0"/>
          <c:showVal val="1"/>
          <c:showCatName val="0"/>
          <c:showSerName val="0"/>
          <c:showPercent val="0"/>
          <c:showBubbleSize val="0"/>
        </c:dLbls>
        <c:gapWidth val="182"/>
        <c:axId val="209265071"/>
        <c:axId val="209266991"/>
      </c:barChart>
      <c:catAx>
        <c:axId val="209265071"/>
        <c:scaling>
          <c:orientation val="maxMin"/>
        </c:scaling>
        <c:delete val="0"/>
        <c:axPos val="l"/>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6991"/>
        <c:crosses val="autoZero"/>
        <c:auto val="1"/>
        <c:lblAlgn val="ctr"/>
        <c:lblOffset val="100"/>
        <c:noMultiLvlLbl val="0"/>
      </c:catAx>
      <c:valAx>
        <c:axId val="209266991"/>
        <c:scaling>
          <c:orientation val="minMax"/>
        </c:scaling>
        <c:delete val="0"/>
        <c:axPos val="t"/>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5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23E-4967-8368-04FD9E822EFF}"/>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23E-4967-8368-04FD9E822EFF}"/>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23E-4967-8368-04FD9E822EFF}"/>
            </c:ext>
          </c:extLst>
        </c:ser>
        <c:dLbls>
          <c:dLblPos val="outEnd"/>
          <c:showLegendKey val="0"/>
          <c:showVal val="1"/>
          <c:showCatName val="0"/>
          <c:showSerName val="0"/>
          <c:showPercent val="0"/>
          <c:showBubbleSize val="0"/>
        </c:dLbls>
        <c:gapWidth val="219"/>
        <c:overlap val="-27"/>
        <c:axId val="952730256"/>
        <c:axId val="952734096"/>
      </c:barChart>
      <c:catAx>
        <c:axId val="952730256"/>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4096"/>
        <c:crosses val="autoZero"/>
        <c:auto val="1"/>
        <c:lblAlgn val="ctr"/>
        <c:lblOffset val="100"/>
        <c:noMultiLvlLbl val="0"/>
      </c:catAx>
      <c:valAx>
        <c:axId val="952734096"/>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0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BA1-40E7-AF8F-7E76FE02D879}"/>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BA1-40E7-AF8F-7E76FE02D879}"/>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BA1-40E7-AF8F-7E76FE02D879}"/>
            </c:ext>
          </c:extLst>
        </c:ser>
        <c:dLbls>
          <c:dLblPos val="ctr"/>
          <c:showLegendKey val="0"/>
          <c:showVal val="1"/>
          <c:showCatName val="0"/>
          <c:showSerName val="0"/>
          <c:showPercent val="0"/>
          <c:showBubbleSize val="0"/>
        </c:dLbls>
        <c:gapWidth val="150"/>
        <c:overlap val="100"/>
        <c:axId val="213084879"/>
        <c:axId val="213085359"/>
      </c:barChart>
      <c:catAx>
        <c:axId val="213084879"/>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5359"/>
        <c:crosses val="autoZero"/>
        <c:auto val="1"/>
        <c:lblAlgn val="ctr"/>
        <c:lblOffset val="100"/>
        <c:noMultiLvlLbl val="0"/>
      </c:catAx>
      <c:valAx>
        <c:axId val="213085359"/>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1"/>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1A40-476D-A593-8FED9DB8A9A4}"/>
            </c:ext>
          </c:extLst>
        </c:ser>
        <c:ser>
          <c:idx val="1"/>
          <c:order val="1"/>
          <c:tx>
            <c:strRef>
              <c:f>Sheet1!$C$1</c:f>
              <c:strCache>
                <c:ptCount val="1"/>
                <c:pt idx="0">
                  <c:v>Series 2</c:v>
                </c:pt>
              </c:strCache>
            </c:strRef>
          </c:tx>
          <c:spPr>
            <a:solidFill>
              <a:schemeClr val="accent2"/>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1A40-476D-A593-8FED9DB8A9A4}"/>
            </c:ext>
          </c:extLst>
        </c:ser>
        <c:dLbls>
          <c:showLegendKey val="0"/>
          <c:showVal val="0"/>
          <c:showCatName val="0"/>
          <c:showSerName val="0"/>
          <c:showPercent val="0"/>
          <c:showBubbleSize val="0"/>
        </c:dLbls>
        <c:axId val="12944559"/>
        <c:axId val="12945519"/>
      </c:areaChart>
      <c:dateAx>
        <c:axId val="12944559"/>
        <c:scaling>
          <c:orientation val="minMax"/>
        </c:scaling>
        <c:delete val="0"/>
        <c:axPos val="b"/>
        <c:numFmt formatCode="m/d/yyyy"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5519"/>
        <c:crosses val="autoZero"/>
        <c:auto val="1"/>
        <c:lblOffset val="100"/>
        <c:baseTimeUnit val="months"/>
      </c:dateAx>
      <c:valAx>
        <c:axId val="1294551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455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0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Y-Values</c:v>
                </c:pt>
              </c:strCache>
            </c:strRef>
          </c:tx>
          <c:spPr>
            <a:ln w="38100" cap="rnd">
              <a:noFill/>
              <a:round/>
            </a:ln>
            <a:effectLst/>
          </c:spPr>
          <c:marker>
            <c:symbol val="circle"/>
            <c:size val="5"/>
            <c:spPr>
              <a:solidFill>
                <a:schemeClr val="accent2"/>
              </a:solidFill>
              <a:ln w="1619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7</c:v>
                </c:pt>
                <c:pt idx="1">
                  <c:v>1.8</c:v>
                </c:pt>
                <c:pt idx="2">
                  <c:v>1.2</c:v>
                </c:pt>
                <c:pt idx="3">
                  <c:v>2.4</c:v>
                </c:pt>
                <c:pt idx="4">
                  <c:v>2.6</c:v>
                </c:pt>
              </c:numCache>
            </c:numRef>
          </c:xVal>
          <c:yVal>
            <c:numRef>
              <c:f>Sheet1!$B$2:$B$6</c:f>
              <c:numCache>
                <c:formatCode>General</c:formatCode>
                <c:ptCount val="5"/>
                <c:pt idx="0">
                  <c:v>2.7</c:v>
                </c:pt>
                <c:pt idx="1">
                  <c:v>3.2</c:v>
                </c:pt>
                <c:pt idx="2">
                  <c:v>2.2000000000000002</c:v>
                </c:pt>
                <c:pt idx="3">
                  <c:v>3</c:v>
                </c:pt>
                <c:pt idx="4">
                  <c:v>0.8</c:v>
                </c:pt>
              </c:numCache>
            </c:numRef>
          </c:yVal>
          <c:smooth val="0"/>
          <c:extLst>
            <c:ext xmlns:c16="http://schemas.microsoft.com/office/drawing/2014/chart" uri="{C3380CC4-5D6E-409C-BE32-E72D297353CC}">
              <c16:uniqueId val="{00000000-6AA9-414A-9442-4D46781E3024}"/>
            </c:ext>
          </c:extLst>
        </c:ser>
        <c:dLbls>
          <c:dLblPos val="t"/>
          <c:showLegendKey val="0"/>
          <c:showVal val="1"/>
          <c:showCatName val="0"/>
          <c:showSerName val="0"/>
          <c:showPercent val="0"/>
          <c:showBubbleSize val="0"/>
        </c:dLbls>
        <c:axId val="209958863"/>
        <c:axId val="209962703"/>
      </c:scatterChart>
      <c:valAx>
        <c:axId val="2099588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62703"/>
        <c:crosses val="autoZero"/>
        <c:crossBetween val="midCat"/>
      </c:valAx>
      <c:valAx>
        <c:axId val="2099627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588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09E-4FF0-B11E-17C5DC4CCC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09E-4FF0-B11E-17C5DC4CCC06}"/>
              </c:ext>
            </c:extLst>
          </c:dPt>
          <c:dPt>
            <c:idx val="2"/>
            <c:bubble3D val="0"/>
            <c:spPr>
              <a:solidFill>
                <a:schemeClr val="accent1">
                  <a:lumMod val="75000"/>
                  <a:lumOff val="25000"/>
                </a:schemeClr>
              </a:solidFill>
              <a:ln w="19050">
                <a:solidFill>
                  <a:schemeClr val="lt1"/>
                </a:solidFill>
              </a:ln>
              <a:effectLst/>
            </c:spPr>
            <c:extLst>
              <c:ext xmlns:c16="http://schemas.microsoft.com/office/drawing/2014/chart" uri="{C3380CC4-5D6E-409C-BE32-E72D297353CC}">
                <c16:uniqueId val="{00000005-809E-4FF0-B11E-17C5DC4CCC06}"/>
              </c:ext>
            </c:extLst>
          </c:dPt>
          <c:dPt>
            <c:idx val="3"/>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7-809E-4FF0-B11E-17C5DC4CCC06}"/>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809E-4FF0-B11E-17C5DC4CCC06}"/>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1"/>
              </a:solidFill>
              <a:round/>
            </a:ln>
            <a:effectLst/>
          </c:spPr>
          <c:marker>
            <c:symbol val="circle"/>
            <c:size val="5"/>
            <c:spPr>
              <a:solidFill>
                <a:schemeClr val="accent1"/>
              </a:solidFill>
              <a:ln w="38100">
                <a:solidFill>
                  <a:schemeClr val="accent1"/>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33A4-43C6-ADD9-AD24C323024A}"/>
            </c:ext>
          </c:extLst>
        </c:ser>
        <c:ser>
          <c:idx val="1"/>
          <c:order val="1"/>
          <c:tx>
            <c:strRef>
              <c:f>Sheet1!$C$1</c:f>
              <c:strCache>
                <c:ptCount val="1"/>
                <c:pt idx="0">
                  <c:v>Series 2</c:v>
                </c:pt>
              </c:strCache>
            </c:strRef>
          </c:tx>
          <c:spPr>
            <a:ln w="38100" cap="rnd">
              <a:solidFill>
                <a:schemeClr val="accent2"/>
              </a:solidFill>
              <a:round/>
            </a:ln>
            <a:effectLst/>
          </c:spPr>
          <c:marker>
            <c:symbol val="circle"/>
            <c:size val="5"/>
            <c:spPr>
              <a:solidFill>
                <a:schemeClr val="accent2"/>
              </a:solidFill>
              <a:ln w="38100">
                <a:solidFill>
                  <a:schemeClr val="accent2"/>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33A4-43C6-ADD9-AD24C323024A}"/>
            </c:ext>
          </c:extLst>
        </c:ser>
        <c:ser>
          <c:idx val="2"/>
          <c:order val="2"/>
          <c:tx>
            <c:strRef>
              <c:f>Sheet1!$D$1</c:f>
              <c:strCache>
                <c:ptCount val="1"/>
                <c:pt idx="0">
                  <c:v>Series 3</c:v>
                </c:pt>
              </c:strCache>
            </c:strRef>
          </c:tx>
          <c:spPr>
            <a:ln w="38100" cap="rnd">
              <a:solidFill>
                <a:schemeClr val="accent4"/>
              </a:solidFill>
              <a:round/>
            </a:ln>
            <a:effectLst/>
          </c:spPr>
          <c:marker>
            <c:symbol val="circle"/>
            <c:size val="5"/>
            <c:spPr>
              <a:solidFill>
                <a:schemeClr val="accent4"/>
              </a:solidFill>
              <a:ln w="38100">
                <a:solidFill>
                  <a:schemeClr val="accent4"/>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33A4-43C6-ADD9-AD24C323024A}"/>
            </c:ext>
          </c:extLst>
        </c:ser>
        <c:dLbls>
          <c:dLblPos val="t"/>
          <c:showLegendKey val="0"/>
          <c:showVal val="1"/>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86427332176701E-2"/>
          <c:y val="0.13256490679554642"/>
          <c:w val="0.90505710514999183"/>
          <c:h val="0.7930534772401889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D03-468F-AD8B-B6B356F8D02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D03-468F-AD8B-B6B356F8D02C}"/>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D03-468F-AD8B-B6B356F8D02C}"/>
            </c:ext>
          </c:extLst>
        </c:ser>
        <c:dLbls>
          <c:dLblPos val="outEnd"/>
          <c:showLegendKey val="0"/>
          <c:showVal val="1"/>
          <c:showCatName val="0"/>
          <c:showSerName val="0"/>
          <c:showPercent val="0"/>
          <c:showBubbleSize val="0"/>
        </c:dLbls>
        <c:gapWidth val="182"/>
        <c:axId val="209265071"/>
        <c:axId val="209266991"/>
      </c:barChart>
      <c:catAx>
        <c:axId val="209265071"/>
        <c:scaling>
          <c:orientation val="maxMin"/>
        </c:scaling>
        <c:delete val="0"/>
        <c:axPos val="l"/>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6991"/>
        <c:crosses val="autoZero"/>
        <c:auto val="1"/>
        <c:lblAlgn val="ctr"/>
        <c:lblOffset val="100"/>
        <c:noMultiLvlLbl val="0"/>
      </c:catAx>
      <c:valAx>
        <c:axId val="209266991"/>
        <c:scaling>
          <c:orientation val="minMax"/>
        </c:scaling>
        <c:delete val="0"/>
        <c:axPos val="t"/>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5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379-42D1-B78F-07E017537D7D}"/>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379-42D1-B78F-07E017537D7D}"/>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379-42D1-B78F-07E017537D7D}"/>
            </c:ext>
          </c:extLst>
        </c:ser>
        <c:dLbls>
          <c:dLblPos val="outEnd"/>
          <c:showLegendKey val="0"/>
          <c:showVal val="1"/>
          <c:showCatName val="0"/>
          <c:showSerName val="0"/>
          <c:showPercent val="0"/>
          <c:showBubbleSize val="0"/>
        </c:dLbls>
        <c:gapWidth val="219"/>
        <c:overlap val="-27"/>
        <c:axId val="952730256"/>
        <c:axId val="952734096"/>
      </c:barChart>
      <c:catAx>
        <c:axId val="952730256"/>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4096"/>
        <c:crosses val="autoZero"/>
        <c:auto val="1"/>
        <c:lblAlgn val="ctr"/>
        <c:lblOffset val="100"/>
        <c:noMultiLvlLbl val="0"/>
      </c:catAx>
      <c:valAx>
        <c:axId val="952734096"/>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0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E0A-4820-B4EC-FF047C999CCE}"/>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E0A-4820-B4EC-FF047C999CCE}"/>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E0A-4820-B4EC-FF047C999CCE}"/>
            </c:ext>
          </c:extLst>
        </c:ser>
        <c:dLbls>
          <c:dLblPos val="ctr"/>
          <c:showLegendKey val="0"/>
          <c:showVal val="1"/>
          <c:showCatName val="0"/>
          <c:showSerName val="0"/>
          <c:showPercent val="0"/>
          <c:showBubbleSize val="0"/>
        </c:dLbls>
        <c:gapWidth val="150"/>
        <c:overlap val="100"/>
        <c:axId val="213084879"/>
        <c:axId val="213085359"/>
      </c:barChart>
      <c:catAx>
        <c:axId val="213084879"/>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5359"/>
        <c:crosses val="autoZero"/>
        <c:auto val="1"/>
        <c:lblAlgn val="ctr"/>
        <c:lblOffset val="100"/>
        <c:noMultiLvlLbl val="0"/>
      </c:catAx>
      <c:valAx>
        <c:axId val="213085359"/>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86427332176701E-2"/>
          <c:y val="0.13256490679554642"/>
          <c:w val="0.90505710514999183"/>
          <c:h val="0.7930534772401889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6044-41DC-9BBC-E3FB1ABD9564}"/>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6044-41DC-9BBC-E3FB1ABD9564}"/>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6044-41DC-9BBC-E3FB1ABD9564}"/>
            </c:ext>
          </c:extLst>
        </c:ser>
        <c:dLbls>
          <c:dLblPos val="outEnd"/>
          <c:showLegendKey val="0"/>
          <c:showVal val="1"/>
          <c:showCatName val="0"/>
          <c:showSerName val="0"/>
          <c:showPercent val="0"/>
          <c:showBubbleSize val="0"/>
        </c:dLbls>
        <c:gapWidth val="182"/>
        <c:axId val="209265071"/>
        <c:axId val="209266991"/>
      </c:barChart>
      <c:catAx>
        <c:axId val="209265071"/>
        <c:scaling>
          <c:orientation val="maxMin"/>
        </c:scaling>
        <c:delete val="0"/>
        <c:axPos val="l"/>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6991"/>
        <c:crosses val="autoZero"/>
        <c:auto val="1"/>
        <c:lblAlgn val="ctr"/>
        <c:lblOffset val="100"/>
        <c:noMultiLvlLbl val="0"/>
      </c:catAx>
      <c:valAx>
        <c:axId val="209266991"/>
        <c:scaling>
          <c:orientation val="minMax"/>
        </c:scaling>
        <c:delete val="0"/>
        <c:axPos val="t"/>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5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1"/>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2F31-43F7-9497-A8057FE75BED}"/>
            </c:ext>
          </c:extLst>
        </c:ser>
        <c:ser>
          <c:idx val="1"/>
          <c:order val="1"/>
          <c:tx>
            <c:strRef>
              <c:f>Sheet1!$C$1</c:f>
              <c:strCache>
                <c:ptCount val="1"/>
                <c:pt idx="0">
                  <c:v>Series 2</c:v>
                </c:pt>
              </c:strCache>
            </c:strRef>
          </c:tx>
          <c:spPr>
            <a:solidFill>
              <a:schemeClr val="accent2"/>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2F31-43F7-9497-A8057FE75BED}"/>
            </c:ext>
          </c:extLst>
        </c:ser>
        <c:dLbls>
          <c:showLegendKey val="0"/>
          <c:showVal val="0"/>
          <c:showCatName val="0"/>
          <c:showSerName val="0"/>
          <c:showPercent val="0"/>
          <c:showBubbleSize val="0"/>
        </c:dLbls>
        <c:axId val="12944559"/>
        <c:axId val="12945519"/>
      </c:areaChart>
      <c:dateAx>
        <c:axId val="12944559"/>
        <c:scaling>
          <c:orientation val="minMax"/>
        </c:scaling>
        <c:delete val="0"/>
        <c:axPos val="b"/>
        <c:numFmt formatCode="m/d/yyyy"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5519"/>
        <c:crosses val="autoZero"/>
        <c:auto val="1"/>
        <c:lblOffset val="100"/>
        <c:baseTimeUnit val="months"/>
      </c:dateAx>
      <c:valAx>
        <c:axId val="1294551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455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0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Y-Values</c:v>
                </c:pt>
              </c:strCache>
            </c:strRef>
          </c:tx>
          <c:spPr>
            <a:ln w="38100" cap="rnd">
              <a:noFill/>
              <a:round/>
            </a:ln>
            <a:effectLst/>
          </c:spPr>
          <c:marker>
            <c:symbol val="circle"/>
            <c:size val="5"/>
            <c:spPr>
              <a:solidFill>
                <a:schemeClr val="accent2"/>
              </a:solidFill>
              <a:ln w="1619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7</c:v>
                </c:pt>
                <c:pt idx="1">
                  <c:v>1.8</c:v>
                </c:pt>
                <c:pt idx="2">
                  <c:v>1.2</c:v>
                </c:pt>
                <c:pt idx="3">
                  <c:v>2.4</c:v>
                </c:pt>
                <c:pt idx="4">
                  <c:v>2.6</c:v>
                </c:pt>
              </c:numCache>
            </c:numRef>
          </c:xVal>
          <c:yVal>
            <c:numRef>
              <c:f>Sheet1!$B$2:$B$6</c:f>
              <c:numCache>
                <c:formatCode>General</c:formatCode>
                <c:ptCount val="5"/>
                <c:pt idx="0">
                  <c:v>2.7</c:v>
                </c:pt>
                <c:pt idx="1">
                  <c:v>3.2</c:v>
                </c:pt>
                <c:pt idx="2">
                  <c:v>2.2000000000000002</c:v>
                </c:pt>
                <c:pt idx="3">
                  <c:v>3</c:v>
                </c:pt>
                <c:pt idx="4">
                  <c:v>0.8</c:v>
                </c:pt>
              </c:numCache>
            </c:numRef>
          </c:yVal>
          <c:smooth val="0"/>
          <c:extLst>
            <c:ext xmlns:c16="http://schemas.microsoft.com/office/drawing/2014/chart" uri="{C3380CC4-5D6E-409C-BE32-E72D297353CC}">
              <c16:uniqueId val="{00000000-032B-470B-80B2-A808FC5C1D2D}"/>
            </c:ext>
          </c:extLst>
        </c:ser>
        <c:dLbls>
          <c:dLblPos val="t"/>
          <c:showLegendKey val="0"/>
          <c:showVal val="1"/>
          <c:showCatName val="0"/>
          <c:showSerName val="0"/>
          <c:showPercent val="0"/>
          <c:showBubbleSize val="0"/>
        </c:dLbls>
        <c:axId val="209958863"/>
        <c:axId val="209962703"/>
      </c:scatterChart>
      <c:valAx>
        <c:axId val="2099588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62703"/>
        <c:crosses val="autoZero"/>
        <c:crossBetween val="midCat"/>
      </c:valAx>
      <c:valAx>
        <c:axId val="2099627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588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A35-45A9-B725-81F5408B171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A35-45A9-B725-81F5408B171E}"/>
              </c:ext>
            </c:extLst>
          </c:dPt>
          <c:dPt>
            <c:idx val="2"/>
            <c:bubble3D val="0"/>
            <c:spPr>
              <a:solidFill>
                <a:schemeClr val="accent1">
                  <a:lumMod val="75000"/>
                  <a:lumOff val="25000"/>
                </a:schemeClr>
              </a:solidFill>
              <a:ln w="19050">
                <a:solidFill>
                  <a:schemeClr val="lt1"/>
                </a:solidFill>
              </a:ln>
              <a:effectLst/>
            </c:spPr>
            <c:extLst>
              <c:ext xmlns:c16="http://schemas.microsoft.com/office/drawing/2014/chart" uri="{C3380CC4-5D6E-409C-BE32-E72D297353CC}">
                <c16:uniqueId val="{00000005-3A35-45A9-B725-81F5408B171E}"/>
              </c:ext>
            </c:extLst>
          </c:dPt>
          <c:dPt>
            <c:idx val="3"/>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7-3A35-45A9-B725-81F5408B171E}"/>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3A35-45A9-B725-81F5408B171E}"/>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1"/>
              </a:solidFill>
              <a:round/>
            </a:ln>
            <a:effectLst/>
          </c:spPr>
          <c:marker>
            <c:symbol val="circle"/>
            <c:size val="5"/>
            <c:spPr>
              <a:solidFill>
                <a:schemeClr val="accent1"/>
              </a:solidFill>
              <a:ln w="38100">
                <a:solidFill>
                  <a:schemeClr val="accent1"/>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3FA1-48F9-81F8-34E94F72987F}"/>
            </c:ext>
          </c:extLst>
        </c:ser>
        <c:ser>
          <c:idx val="1"/>
          <c:order val="1"/>
          <c:tx>
            <c:strRef>
              <c:f>Sheet1!$C$1</c:f>
              <c:strCache>
                <c:ptCount val="1"/>
                <c:pt idx="0">
                  <c:v>Series 2</c:v>
                </c:pt>
              </c:strCache>
            </c:strRef>
          </c:tx>
          <c:spPr>
            <a:ln w="38100" cap="rnd">
              <a:solidFill>
                <a:schemeClr val="accent2"/>
              </a:solidFill>
              <a:round/>
            </a:ln>
            <a:effectLst/>
          </c:spPr>
          <c:marker>
            <c:symbol val="circle"/>
            <c:size val="5"/>
            <c:spPr>
              <a:solidFill>
                <a:schemeClr val="accent2"/>
              </a:solidFill>
              <a:ln w="38100">
                <a:solidFill>
                  <a:schemeClr val="accent2"/>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3FA1-48F9-81F8-34E94F72987F}"/>
            </c:ext>
          </c:extLst>
        </c:ser>
        <c:ser>
          <c:idx val="2"/>
          <c:order val="2"/>
          <c:tx>
            <c:strRef>
              <c:f>Sheet1!$D$1</c:f>
              <c:strCache>
                <c:ptCount val="1"/>
                <c:pt idx="0">
                  <c:v>Series 3</c:v>
                </c:pt>
              </c:strCache>
            </c:strRef>
          </c:tx>
          <c:spPr>
            <a:ln w="38100" cap="rnd">
              <a:solidFill>
                <a:schemeClr val="accent4"/>
              </a:solidFill>
              <a:round/>
            </a:ln>
            <a:effectLst/>
          </c:spPr>
          <c:marker>
            <c:symbol val="circle"/>
            <c:size val="5"/>
            <c:spPr>
              <a:solidFill>
                <a:schemeClr val="accent4"/>
              </a:solidFill>
              <a:ln w="38100">
                <a:solidFill>
                  <a:schemeClr val="accent4"/>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3FA1-48F9-81F8-34E94F72987F}"/>
            </c:ext>
          </c:extLst>
        </c:ser>
        <c:dLbls>
          <c:dLblPos val="t"/>
          <c:showLegendKey val="0"/>
          <c:showVal val="1"/>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86427332176701E-2"/>
          <c:y val="0.13256490679554642"/>
          <c:w val="0.90505710514999183"/>
          <c:h val="0.7930534772401889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354-4088-835D-7020EA07890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354-4088-835D-7020EA07890C}"/>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9354-4088-835D-7020EA07890C}"/>
            </c:ext>
          </c:extLst>
        </c:ser>
        <c:dLbls>
          <c:dLblPos val="outEnd"/>
          <c:showLegendKey val="0"/>
          <c:showVal val="1"/>
          <c:showCatName val="0"/>
          <c:showSerName val="0"/>
          <c:showPercent val="0"/>
          <c:showBubbleSize val="0"/>
        </c:dLbls>
        <c:gapWidth val="182"/>
        <c:axId val="209265071"/>
        <c:axId val="209266991"/>
      </c:barChart>
      <c:catAx>
        <c:axId val="209265071"/>
        <c:scaling>
          <c:orientation val="maxMin"/>
        </c:scaling>
        <c:delete val="0"/>
        <c:axPos val="l"/>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6991"/>
        <c:crosses val="autoZero"/>
        <c:auto val="1"/>
        <c:lblAlgn val="ctr"/>
        <c:lblOffset val="100"/>
        <c:noMultiLvlLbl val="0"/>
      </c:catAx>
      <c:valAx>
        <c:axId val="209266991"/>
        <c:scaling>
          <c:orientation val="minMax"/>
        </c:scaling>
        <c:delete val="0"/>
        <c:axPos val="t"/>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5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BA5-4E13-93EB-27585FE19F2F}"/>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1BA5-4E13-93EB-27585FE19F2F}"/>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1BA5-4E13-93EB-27585FE19F2F}"/>
            </c:ext>
          </c:extLst>
        </c:ser>
        <c:dLbls>
          <c:dLblPos val="ctr"/>
          <c:showLegendKey val="0"/>
          <c:showVal val="1"/>
          <c:showCatName val="0"/>
          <c:showSerName val="0"/>
          <c:showPercent val="0"/>
          <c:showBubbleSize val="0"/>
        </c:dLbls>
        <c:gapWidth val="150"/>
        <c:overlap val="100"/>
        <c:axId val="213084879"/>
        <c:axId val="213085359"/>
      </c:barChart>
      <c:catAx>
        <c:axId val="213084879"/>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5359"/>
        <c:crosses val="autoZero"/>
        <c:auto val="1"/>
        <c:lblAlgn val="ctr"/>
        <c:lblOffset val="100"/>
        <c:noMultiLvlLbl val="0"/>
      </c:catAx>
      <c:valAx>
        <c:axId val="213085359"/>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7EF-4DD8-B86D-06CD95E23741}"/>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7EF-4DD8-B86D-06CD95E23741}"/>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7EF-4DD8-B86D-06CD95E23741}"/>
            </c:ext>
          </c:extLst>
        </c:ser>
        <c:dLbls>
          <c:dLblPos val="outEnd"/>
          <c:showLegendKey val="0"/>
          <c:showVal val="1"/>
          <c:showCatName val="0"/>
          <c:showSerName val="0"/>
          <c:showPercent val="0"/>
          <c:showBubbleSize val="0"/>
        </c:dLbls>
        <c:gapWidth val="219"/>
        <c:overlap val="-27"/>
        <c:axId val="952730256"/>
        <c:axId val="952734096"/>
      </c:barChart>
      <c:catAx>
        <c:axId val="952730256"/>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4096"/>
        <c:crosses val="autoZero"/>
        <c:auto val="1"/>
        <c:lblAlgn val="ctr"/>
        <c:lblOffset val="100"/>
        <c:noMultiLvlLbl val="0"/>
      </c:catAx>
      <c:valAx>
        <c:axId val="952734096"/>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0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444-42C9-AF69-5A57D28368EF}"/>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444-42C9-AF69-5A57D28368EF}"/>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444-42C9-AF69-5A57D28368EF}"/>
            </c:ext>
          </c:extLst>
        </c:ser>
        <c:dLbls>
          <c:dLblPos val="ctr"/>
          <c:showLegendKey val="0"/>
          <c:showVal val="1"/>
          <c:showCatName val="0"/>
          <c:showSerName val="0"/>
          <c:showPercent val="0"/>
          <c:showBubbleSize val="0"/>
        </c:dLbls>
        <c:gapWidth val="150"/>
        <c:overlap val="100"/>
        <c:axId val="213084879"/>
        <c:axId val="213085359"/>
      </c:barChart>
      <c:catAx>
        <c:axId val="213084879"/>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3085359"/>
        <c:crosses val="autoZero"/>
        <c:auto val="1"/>
        <c:lblAlgn val="ctr"/>
        <c:lblOffset val="100"/>
        <c:noMultiLvlLbl val="0"/>
      </c:catAx>
      <c:valAx>
        <c:axId val="213085359"/>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38100" cap="rnd">
              <a:noFill/>
              <a:round/>
            </a:ln>
            <a:effectLst/>
          </c:spPr>
          <c:marker>
            <c:symbol val="circle"/>
            <c:size val="5"/>
            <c:spPr>
              <a:solidFill>
                <a:schemeClr val="accent2"/>
              </a:solidFill>
              <a:ln w="1619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7</c:v>
                </c:pt>
                <c:pt idx="1">
                  <c:v>1.8</c:v>
                </c:pt>
                <c:pt idx="2">
                  <c:v>1.2</c:v>
                </c:pt>
                <c:pt idx="3">
                  <c:v>2.4</c:v>
                </c:pt>
                <c:pt idx="4">
                  <c:v>2.6</c:v>
                </c:pt>
              </c:numCache>
            </c:numRef>
          </c:xVal>
          <c:yVal>
            <c:numRef>
              <c:f>Sheet1!$B$2:$B$6</c:f>
              <c:numCache>
                <c:formatCode>General</c:formatCode>
                <c:ptCount val="5"/>
                <c:pt idx="0">
                  <c:v>2.7</c:v>
                </c:pt>
                <c:pt idx="1">
                  <c:v>3.2</c:v>
                </c:pt>
                <c:pt idx="2">
                  <c:v>2.2000000000000002</c:v>
                </c:pt>
                <c:pt idx="3">
                  <c:v>3</c:v>
                </c:pt>
                <c:pt idx="4">
                  <c:v>0.8</c:v>
                </c:pt>
              </c:numCache>
            </c:numRef>
          </c:yVal>
          <c:smooth val="0"/>
          <c:extLst>
            <c:ext xmlns:c16="http://schemas.microsoft.com/office/drawing/2014/chart" uri="{C3380CC4-5D6E-409C-BE32-E72D297353CC}">
              <c16:uniqueId val="{00000000-B591-45E1-A780-2BB6E7B3A0DA}"/>
            </c:ext>
          </c:extLst>
        </c:ser>
        <c:dLbls>
          <c:dLblPos val="t"/>
          <c:showLegendKey val="0"/>
          <c:showVal val="1"/>
          <c:showCatName val="0"/>
          <c:showSerName val="0"/>
          <c:showPercent val="0"/>
          <c:showBubbleSize val="0"/>
        </c:dLbls>
        <c:axId val="209958863"/>
        <c:axId val="209962703"/>
      </c:scatterChart>
      <c:valAx>
        <c:axId val="2099588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62703"/>
        <c:crosses val="autoZero"/>
        <c:crossBetween val="midCat"/>
      </c:valAx>
      <c:valAx>
        <c:axId val="2099627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588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1"/>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DEED-46D5-B67E-64E39879F9C8}"/>
            </c:ext>
          </c:extLst>
        </c:ser>
        <c:ser>
          <c:idx val="1"/>
          <c:order val="1"/>
          <c:tx>
            <c:strRef>
              <c:f>Sheet1!$C$1</c:f>
              <c:strCache>
                <c:ptCount val="1"/>
                <c:pt idx="0">
                  <c:v>Series 2</c:v>
                </c:pt>
              </c:strCache>
            </c:strRef>
          </c:tx>
          <c:spPr>
            <a:solidFill>
              <a:schemeClr val="accent2"/>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DEED-46D5-B67E-64E39879F9C8}"/>
            </c:ext>
          </c:extLst>
        </c:ser>
        <c:dLbls>
          <c:showLegendKey val="0"/>
          <c:showVal val="0"/>
          <c:showCatName val="0"/>
          <c:showSerName val="0"/>
          <c:showPercent val="0"/>
          <c:showBubbleSize val="0"/>
        </c:dLbls>
        <c:axId val="12944559"/>
        <c:axId val="12945519"/>
      </c:areaChart>
      <c:dateAx>
        <c:axId val="12944559"/>
        <c:scaling>
          <c:orientation val="minMax"/>
        </c:scaling>
        <c:delete val="0"/>
        <c:axPos val="b"/>
        <c:numFmt formatCode="m/d/yyyy"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5519"/>
        <c:crosses val="autoZero"/>
        <c:auto val="1"/>
        <c:lblOffset val="100"/>
        <c:baseTimeUnit val="months"/>
      </c:dateAx>
      <c:valAx>
        <c:axId val="1294551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455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CC3-49A1-91CC-7A6234465D14}"/>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CC3-49A1-91CC-7A6234465D14}"/>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CC3-49A1-91CC-7A6234465D14}"/>
            </c:ext>
          </c:extLst>
        </c:ser>
        <c:dLbls>
          <c:dLblPos val="outEnd"/>
          <c:showLegendKey val="0"/>
          <c:showVal val="1"/>
          <c:showCatName val="0"/>
          <c:showSerName val="0"/>
          <c:showPercent val="0"/>
          <c:showBubbleSize val="0"/>
        </c:dLbls>
        <c:gapWidth val="219"/>
        <c:overlap val="-27"/>
        <c:axId val="952730256"/>
        <c:axId val="952734096"/>
      </c:barChart>
      <c:catAx>
        <c:axId val="952730256"/>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4096"/>
        <c:crosses val="autoZero"/>
        <c:auto val="1"/>
        <c:lblAlgn val="ctr"/>
        <c:lblOffset val="100"/>
        <c:noMultiLvlLbl val="0"/>
      </c:catAx>
      <c:valAx>
        <c:axId val="952734096"/>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952730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B14-469A-9633-14BBE69B6B6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B14-469A-9633-14BBE69B6B61}"/>
              </c:ext>
            </c:extLst>
          </c:dPt>
          <c:dPt>
            <c:idx val="2"/>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5-2B14-469A-9633-14BBE69B6B61}"/>
              </c:ext>
            </c:extLst>
          </c:dPt>
          <c:dPt>
            <c:idx val="3"/>
            <c:bubble3D val="0"/>
            <c:spPr>
              <a:solidFill>
                <a:schemeClr val="accent1">
                  <a:lumMod val="75000"/>
                  <a:lumOff val="25000"/>
                </a:schemeClr>
              </a:solidFill>
              <a:ln w="19050">
                <a:solidFill>
                  <a:schemeClr val="lt1"/>
                </a:solidFill>
              </a:ln>
              <a:effectLst/>
            </c:spPr>
            <c:extLst>
              <c:ext xmlns:c16="http://schemas.microsoft.com/office/drawing/2014/chart" uri="{C3380CC4-5D6E-409C-BE32-E72D297353CC}">
                <c16:uniqueId val="{00000007-2B14-469A-9633-14BBE69B6B6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2B14-469A-9633-14BBE69B6B61}"/>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86427332176701E-2"/>
          <c:y val="0.13256490679554642"/>
          <c:w val="0.90505710514999183"/>
          <c:h val="0.7930534772401889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6DA7-4B1F-9902-D81376C42441}"/>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6DA7-4B1F-9902-D81376C42441}"/>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6DA7-4B1F-9902-D81376C42441}"/>
            </c:ext>
          </c:extLst>
        </c:ser>
        <c:dLbls>
          <c:dLblPos val="outEnd"/>
          <c:showLegendKey val="0"/>
          <c:showVal val="1"/>
          <c:showCatName val="0"/>
          <c:showSerName val="0"/>
          <c:showPercent val="0"/>
          <c:showBubbleSize val="0"/>
        </c:dLbls>
        <c:gapWidth val="182"/>
        <c:axId val="209265071"/>
        <c:axId val="209266991"/>
      </c:barChart>
      <c:catAx>
        <c:axId val="209265071"/>
        <c:scaling>
          <c:orientation val="maxMin"/>
        </c:scaling>
        <c:delete val="0"/>
        <c:axPos val="l"/>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6991"/>
        <c:crosses val="autoZero"/>
        <c:auto val="1"/>
        <c:lblAlgn val="ctr"/>
        <c:lblOffset val="100"/>
        <c:noMultiLvlLbl val="0"/>
      </c:catAx>
      <c:valAx>
        <c:axId val="209266991"/>
        <c:scaling>
          <c:orientation val="minMax"/>
        </c:scaling>
        <c:delete val="0"/>
        <c:axPos val="t"/>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265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6A8-4303-8BCF-AE241036385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6A8-4303-8BCF-AE2410363853}"/>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6A8-4303-8BCF-AE2410363853}"/>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E2D-40A5-AFF0-27C33E2ED578}"/>
            </c:ext>
          </c:extLst>
        </c:ser>
        <c:ser>
          <c:idx val="4"/>
          <c:order val="4"/>
          <c:tx>
            <c:strRef>
              <c:f>Sheet1!$F$1</c:f>
              <c:strCache>
                <c:ptCount val="1"/>
                <c:pt idx="0">
                  <c:v>Series 5</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3-EE2D-40A5-AFF0-27C33E2ED578}"/>
            </c:ext>
          </c:extLst>
        </c:ser>
        <c:dLbls>
          <c:dLblPos val="outEnd"/>
          <c:showLegendKey val="0"/>
          <c:showVal val="1"/>
          <c:showCatName val="0"/>
          <c:showSerName val="0"/>
          <c:showPercent val="0"/>
          <c:showBubbleSize val="0"/>
        </c:dLbls>
        <c:gapWidth val="168"/>
        <c:axId val="716953231"/>
        <c:axId val="716954671"/>
      </c:barChart>
      <c:catAx>
        <c:axId val="71695323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4671"/>
        <c:crosses val="autoZero"/>
        <c:auto val="1"/>
        <c:lblAlgn val="ctr"/>
        <c:lblOffset val="100"/>
        <c:noMultiLvlLbl val="0"/>
      </c:catAx>
      <c:valAx>
        <c:axId val="71695467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3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6A8-4303-8BCF-AE241036385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6A8-4303-8BCF-AE2410363853}"/>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6A8-4303-8BCF-AE2410363853}"/>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E2D-40A5-AFF0-27C33E2ED578}"/>
            </c:ext>
          </c:extLst>
        </c:ser>
        <c:dLbls>
          <c:dLblPos val="outEnd"/>
          <c:showLegendKey val="0"/>
          <c:showVal val="1"/>
          <c:showCatName val="0"/>
          <c:showSerName val="0"/>
          <c:showPercent val="0"/>
          <c:showBubbleSize val="0"/>
        </c:dLbls>
        <c:gapWidth val="168"/>
        <c:axId val="716953231"/>
        <c:axId val="716954671"/>
      </c:barChart>
      <c:catAx>
        <c:axId val="71695323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4671"/>
        <c:crosses val="autoZero"/>
        <c:auto val="1"/>
        <c:lblAlgn val="ctr"/>
        <c:lblOffset val="100"/>
        <c:noMultiLvlLbl val="0"/>
      </c:catAx>
      <c:valAx>
        <c:axId val="71695467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3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458-4B2F-AE65-316D4FC834B0}"/>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458-4B2F-AE65-316D4FC834B0}"/>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458-4B2F-AE65-316D4FC834B0}"/>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3-A458-4B2F-AE65-316D4FC834B0}"/>
            </c:ext>
          </c:extLst>
        </c:ser>
        <c:dLbls>
          <c:dLblPos val="outEnd"/>
          <c:showLegendKey val="0"/>
          <c:showVal val="1"/>
          <c:showCatName val="0"/>
          <c:showSerName val="0"/>
          <c:showPercent val="0"/>
          <c:showBubbleSize val="0"/>
        </c:dLbls>
        <c:gapWidth val="168"/>
        <c:axId val="716953231"/>
        <c:axId val="716954671"/>
      </c:barChart>
      <c:catAx>
        <c:axId val="71695323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4671"/>
        <c:crosses val="autoZero"/>
        <c:auto val="1"/>
        <c:lblAlgn val="ctr"/>
        <c:lblOffset val="100"/>
        <c:noMultiLvlLbl val="0"/>
      </c:catAx>
      <c:valAx>
        <c:axId val="71695467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3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37DF-4711-85EF-17BF8FF9CF5D}"/>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37DF-4711-85EF-17BF8FF9CF5D}"/>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37DF-4711-85EF-17BF8FF9CF5D}"/>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CFE7-4CA2-9C41-0D4EB1572DC6}"/>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CFE7-4CA2-9C41-0D4EB1572DC6}"/>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CFE7-4CA2-9C41-0D4EB1572DC6}"/>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5666-44A2-92AF-FD902D0C0B0F}"/>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5666-44A2-92AF-FD902D0C0B0F}"/>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5666-44A2-92AF-FD902D0C0B0F}"/>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99FF-45F6-9C00-51E6FF21C14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99FF-45F6-9C00-51E6FF21C143}"/>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99FF-45F6-9C00-51E6FF21C143}"/>
            </c:ext>
          </c:extLst>
        </c:ser>
        <c:dLbls>
          <c:dLblPos val="outEnd"/>
          <c:showLegendKey val="0"/>
          <c:showVal val="1"/>
          <c:showCatName val="0"/>
          <c:showSerName val="0"/>
          <c:showPercent val="0"/>
          <c:showBubbleSize val="0"/>
        </c:dLbls>
        <c:gapWidth val="168"/>
        <c:axId val="716953231"/>
        <c:axId val="716954671"/>
      </c:barChart>
      <c:catAx>
        <c:axId val="71695323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4671"/>
        <c:crosses val="autoZero"/>
        <c:auto val="1"/>
        <c:lblAlgn val="ctr"/>
        <c:lblOffset val="100"/>
        <c:noMultiLvlLbl val="0"/>
      </c:catAx>
      <c:valAx>
        <c:axId val="71695467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3231"/>
        <c:crosses val="autoZero"/>
        <c:crossBetween val="between"/>
        <c:majorUnit val="2"/>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B60-4B84-ACFC-0FC028F0F011}"/>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5B60-4B84-ACFC-0FC028F0F011}"/>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5B60-4B84-ACFC-0FC028F0F011}"/>
            </c:ext>
          </c:extLst>
        </c:ser>
        <c:dLbls>
          <c:dLblPos val="outEnd"/>
          <c:showLegendKey val="0"/>
          <c:showVal val="1"/>
          <c:showCatName val="0"/>
          <c:showSerName val="0"/>
          <c:showPercent val="0"/>
          <c:showBubbleSize val="0"/>
        </c:dLbls>
        <c:gapWidth val="168"/>
        <c:axId val="716953231"/>
        <c:axId val="716954671"/>
      </c:barChart>
      <c:catAx>
        <c:axId val="71695323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4671"/>
        <c:crosses val="autoZero"/>
        <c:auto val="1"/>
        <c:lblAlgn val="ctr"/>
        <c:lblOffset val="100"/>
        <c:noMultiLvlLbl val="0"/>
      </c:catAx>
      <c:valAx>
        <c:axId val="71695467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16953231"/>
        <c:crosses val="autoZero"/>
        <c:crossBetween val="between"/>
        <c:majorUnit val="2"/>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AF6-43C5-ADD6-A74EB830DE6A}"/>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AF6-43C5-ADD6-A74EB830DE6A}"/>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AF6-43C5-ADD6-A74EB830DE6A}"/>
            </c:ext>
          </c:extLst>
        </c:ser>
        <c:dLbls>
          <c:dLblPos val="ctr"/>
          <c:showLegendKey val="0"/>
          <c:showVal val="1"/>
          <c:showCatName val="0"/>
          <c:showSerName val="0"/>
          <c:showPercent val="0"/>
          <c:showBubbleSize val="0"/>
        </c:dLbls>
        <c:gapWidth val="150"/>
        <c:overlap val="100"/>
        <c:axId val="213084879"/>
        <c:axId val="213085359"/>
      </c:barChart>
      <c:catAx>
        <c:axId val="213084879"/>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5359"/>
        <c:crosses val="autoZero"/>
        <c:auto val="1"/>
        <c:lblAlgn val="ctr"/>
        <c:lblOffset val="100"/>
        <c:noMultiLvlLbl val="0"/>
      </c:catAx>
      <c:valAx>
        <c:axId val="213085359"/>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08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E717-4379-836F-9FC01F04D4D0}"/>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E717-4379-836F-9FC01F04D4D0}"/>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E717-4379-836F-9FC01F04D4D0}"/>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2884-4CF0-8963-EED53D7EA0DE}"/>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2884-4CF0-8963-EED53D7EA0DE}"/>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2884-4CF0-8963-EED53D7EA0DE}"/>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A4F-4E9C-8019-BE8D3A50F8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A4F-4E9C-8019-BE8D3A50F8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A4F-4E9C-8019-BE8D3A50F838}"/>
              </c:ext>
            </c:extLst>
          </c:dPt>
          <c:dPt>
            <c:idx val="3"/>
            <c:bubble3D val="0"/>
            <c:spPr>
              <a:solidFill>
                <a:schemeClr val="accent1">
                  <a:lumMod val="75000"/>
                  <a:lumOff val="25000"/>
                </a:schemeClr>
              </a:solidFill>
              <a:ln w="19050">
                <a:solidFill>
                  <a:schemeClr val="lt1"/>
                </a:solidFill>
              </a:ln>
              <a:effectLst/>
            </c:spPr>
            <c:extLst>
              <c:ext xmlns:c16="http://schemas.microsoft.com/office/drawing/2014/chart" uri="{C3380CC4-5D6E-409C-BE32-E72D297353CC}">
                <c16:uniqueId val="{00000007-0A4F-4E9C-8019-BE8D3A50F838}"/>
              </c:ext>
            </c:extLst>
          </c:dPt>
          <c:dLbls>
            <c:dLbl>
              <c:idx val="2"/>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0A4F-4E9C-8019-BE8D3A50F838}"/>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B11C-4525-90F6-BBCFB29538DE}"/>
            </c:ext>
          </c:extLst>
        </c:ser>
        <c:dLbls>
          <c:showLegendKey val="0"/>
          <c:showVal val="0"/>
          <c:showCatName val="0"/>
          <c:showSerName val="0"/>
          <c:showPercent val="0"/>
          <c:showBubbleSize val="0"/>
          <c:showLeaderLines val="1"/>
        </c:dLbls>
        <c:firstSliceAng val="0"/>
        <c:holeSize val="57"/>
      </c:doughnutChart>
      <c:spPr>
        <a:noFill/>
        <a:ln>
          <a:noFill/>
        </a:ln>
        <a:effectLst/>
      </c:spPr>
    </c:plotArea>
    <c:legend>
      <c:legendPos val="b"/>
      <c:layout>
        <c:manualLayout>
          <c:xMode val="edge"/>
          <c:yMode val="edge"/>
          <c:x val="0.14332574532295622"/>
          <c:y val="0.86668014320436504"/>
          <c:w val="0.71334835199178193"/>
          <c:h val="4.4912495548579484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E019-43F0-9A9C-168B67764CA1}"/>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E019-43F0-9A9C-168B67764CA1}"/>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E019-43F0-9A9C-168B67764CA1}"/>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9050" cap="rnd">
              <a:solidFill>
                <a:schemeClr val="accent1"/>
              </a:solidFill>
              <a:round/>
            </a:ln>
            <a:effectLst/>
          </c:spPr>
          <c:marker>
            <c:symbol val="circle"/>
            <c:size val="5"/>
            <c:spPr>
              <a:solidFill>
                <a:schemeClr val="accent1"/>
              </a:solidFill>
              <a:ln w="25400">
                <a:solidFill>
                  <a:schemeClr val="accent1"/>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02FF-4719-87CE-C017523172BD}"/>
            </c:ext>
          </c:extLst>
        </c:ser>
        <c:ser>
          <c:idx val="1"/>
          <c:order val="1"/>
          <c:tx>
            <c:strRef>
              <c:f>Sheet1!$C$1</c:f>
              <c:strCache>
                <c:ptCount val="1"/>
                <c:pt idx="0">
                  <c:v>Series 2</c:v>
                </c:pt>
              </c:strCache>
            </c:strRef>
          </c:tx>
          <c:spPr>
            <a:ln w="19050" cap="rnd">
              <a:solidFill>
                <a:schemeClr val="accent2"/>
              </a:solidFill>
              <a:round/>
            </a:ln>
            <a:effectLst/>
          </c:spPr>
          <c:marker>
            <c:symbol val="circle"/>
            <c:size val="5"/>
            <c:spPr>
              <a:solidFill>
                <a:schemeClr val="accent2"/>
              </a:solidFill>
              <a:ln w="25400">
                <a:solidFill>
                  <a:schemeClr val="accent2"/>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02FF-4719-87CE-C017523172BD}"/>
            </c:ext>
          </c:extLst>
        </c:ser>
        <c:ser>
          <c:idx val="2"/>
          <c:order val="2"/>
          <c:tx>
            <c:strRef>
              <c:f>Sheet1!$D$1</c:f>
              <c:strCache>
                <c:ptCount val="1"/>
                <c:pt idx="0">
                  <c:v>Series 3</c:v>
                </c:pt>
              </c:strCache>
            </c:strRef>
          </c:tx>
          <c:spPr>
            <a:ln w="19050" cap="rnd">
              <a:solidFill>
                <a:schemeClr val="accent4"/>
              </a:solidFill>
              <a:round/>
            </a:ln>
            <a:effectLst/>
          </c:spPr>
          <c:marker>
            <c:symbol val="circle"/>
            <c:size val="5"/>
            <c:spPr>
              <a:solidFill>
                <a:schemeClr val="accent4"/>
              </a:solidFill>
              <a:ln w="25400">
                <a:solidFill>
                  <a:schemeClr val="accent4"/>
                </a:solidFill>
              </a:ln>
              <a:effectLst/>
            </c:spPr>
          </c:marker>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02FF-4719-87CE-C017523172BD}"/>
            </c:ext>
          </c:extLst>
        </c:ser>
        <c:dLbls>
          <c:showLegendKey val="0"/>
          <c:showVal val="0"/>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91170391603841"/>
          <c:y val="0.14805194805194802"/>
          <c:w val="0.7081581332137542"/>
          <c:h val="0.7884559884559884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7AEC-41E9-AD39-0DB7ACD1226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7AEC-41E9-AD39-0DB7ACD12263}"/>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7AEC-41E9-AD39-0DB7ACD12263}"/>
            </c:ext>
          </c:extLst>
        </c:ser>
        <c:dLbls>
          <c:dLblPos val="outEnd"/>
          <c:showLegendKey val="0"/>
          <c:showVal val="1"/>
          <c:showCatName val="0"/>
          <c:showSerName val="0"/>
          <c:showPercent val="0"/>
          <c:showBubbleSize val="0"/>
        </c:dLbls>
        <c:gapWidth val="182"/>
        <c:axId val="1306115024"/>
        <c:axId val="1306112624"/>
      </c:barChart>
      <c:catAx>
        <c:axId val="1306115024"/>
        <c:scaling>
          <c:orientation val="minMax"/>
        </c:scaling>
        <c:delete val="0"/>
        <c:axPos val="l"/>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06112624"/>
        <c:crosses val="autoZero"/>
        <c:auto val="1"/>
        <c:lblAlgn val="ctr"/>
        <c:lblOffset val="100"/>
        <c:noMultiLvlLbl val="0"/>
      </c:catAx>
      <c:valAx>
        <c:axId val="1306112624"/>
        <c:scaling>
          <c:orientation val="minMax"/>
        </c:scaling>
        <c:delete val="1"/>
        <c:axPos val="b"/>
        <c:numFmt formatCode="General" sourceLinked="1"/>
        <c:majorTickMark val="none"/>
        <c:minorTickMark val="none"/>
        <c:tickLblPos val="nextTo"/>
        <c:crossAx val="13061150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91170391603841"/>
          <c:y val="0.14805194805194802"/>
          <c:w val="0.7081581332137542"/>
          <c:h val="0.7884559884559884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FF1F-4205-9C59-DFE270C6A427}"/>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FF1F-4205-9C59-DFE270C6A427}"/>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FF1F-4205-9C59-DFE270C6A427}"/>
            </c:ext>
          </c:extLst>
        </c:ser>
        <c:dLbls>
          <c:dLblPos val="outEnd"/>
          <c:showLegendKey val="0"/>
          <c:showVal val="1"/>
          <c:showCatName val="0"/>
          <c:showSerName val="0"/>
          <c:showPercent val="0"/>
          <c:showBubbleSize val="0"/>
        </c:dLbls>
        <c:gapWidth val="182"/>
        <c:axId val="1306115024"/>
        <c:axId val="1306112624"/>
      </c:barChart>
      <c:catAx>
        <c:axId val="1306115024"/>
        <c:scaling>
          <c:orientation val="minMax"/>
        </c:scaling>
        <c:delete val="0"/>
        <c:axPos val="l"/>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06112624"/>
        <c:crosses val="autoZero"/>
        <c:auto val="1"/>
        <c:lblAlgn val="ctr"/>
        <c:lblOffset val="100"/>
        <c:noMultiLvlLbl val="0"/>
      </c:catAx>
      <c:valAx>
        <c:axId val="1306112624"/>
        <c:scaling>
          <c:orientation val="minMax"/>
        </c:scaling>
        <c:delete val="1"/>
        <c:axPos val="b"/>
        <c:numFmt formatCode="General" sourceLinked="1"/>
        <c:majorTickMark val="none"/>
        <c:minorTickMark val="none"/>
        <c:tickLblPos val="nextTo"/>
        <c:crossAx val="13061150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95607606997336E-2"/>
          <c:y val="0.21872791929256089"/>
          <c:w val="0.94260439239300264"/>
          <c:h val="0.66767643154356193"/>
        </c:manualLayout>
      </c:layout>
      <c:barChart>
        <c:barDir val="col"/>
        <c:grouping val="clustered"/>
        <c:varyColors val="0"/>
        <c:ser>
          <c:idx val="0"/>
          <c:order val="0"/>
          <c:tx>
            <c:strRef>
              <c:f>Sheet1!$B$1</c:f>
              <c:strCache>
                <c:ptCount val="1"/>
                <c:pt idx="0">
                  <c:v>Series</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E4BD-44D6-9479-A63F162B6A3C}"/>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E4BD-44D6-9479-A63F162B6A3C}"/>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E4BD-44D6-9479-A63F162B6A3C}"/>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E4BD-44D6-9479-A63F162B6A3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E4BD-44D6-9479-A63F162B6A3C}"/>
              </c:ext>
            </c:extLst>
          </c:dPt>
          <c:dLbls>
            <c:delete val="1"/>
          </c:dLbls>
          <c:cat>
            <c:numRef>
              <c:f>Sheet1!$A$2:$A$5</c:f>
              <c:numCache>
                <c:formatCode>General</c:formatCode>
                <c:ptCount val="4"/>
                <c:pt idx="0">
                  <c:v>2025</c:v>
                </c:pt>
                <c:pt idx="1">
                  <c:v>2024</c:v>
                </c:pt>
                <c:pt idx="2">
                  <c:v>2023</c:v>
                </c:pt>
                <c:pt idx="3">
                  <c:v>2022</c:v>
                </c:pt>
              </c:numCache>
            </c:num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A-E4BD-44D6-9479-A63F162B6A3C}"/>
            </c:ext>
          </c:extLst>
        </c:ser>
        <c:ser>
          <c:idx val="1"/>
          <c:order val="1"/>
          <c:tx>
            <c:strRef>
              <c:f>Sheet1!$C$1</c:f>
              <c:strCache>
                <c:ptCount val="1"/>
                <c:pt idx="0">
                  <c:v>Column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5</c:v>
                </c:pt>
                <c:pt idx="1">
                  <c:v>2024</c:v>
                </c:pt>
                <c:pt idx="2">
                  <c:v>2023</c:v>
                </c:pt>
                <c:pt idx="3">
                  <c:v>2022</c:v>
                </c:pt>
              </c:numCache>
            </c:numRef>
          </c:cat>
          <c:val>
            <c:numRef>
              <c:f>Sheet1!$C$2:$C$5</c:f>
              <c:numCache>
                <c:formatCode>General</c:formatCode>
                <c:ptCount val="4"/>
                <c:pt idx="0">
                  <c:v>35</c:v>
                </c:pt>
                <c:pt idx="1">
                  <c:v>75</c:v>
                </c:pt>
                <c:pt idx="2">
                  <c:v>45</c:v>
                </c:pt>
                <c:pt idx="3">
                  <c:v>85</c:v>
                </c:pt>
              </c:numCache>
            </c:numRef>
          </c:val>
          <c:extLst>
            <c:ext xmlns:c16="http://schemas.microsoft.com/office/drawing/2014/chart" uri="{C3380CC4-5D6E-409C-BE32-E72D297353CC}">
              <c16:uniqueId val="{0000000B-E4BD-44D6-9479-A63F162B6A3C}"/>
            </c:ext>
          </c:extLst>
        </c:ser>
        <c:dLbls>
          <c:dLblPos val="outEnd"/>
          <c:showLegendKey val="0"/>
          <c:showVal val="1"/>
          <c:showCatName val="0"/>
          <c:showSerName val="0"/>
          <c:showPercent val="0"/>
          <c:showBubbleSize val="0"/>
        </c:dLbls>
        <c:gapWidth val="75"/>
        <c:overlap val="100"/>
        <c:axId val="-4714512"/>
        <c:axId val="-4722128"/>
      </c:barChart>
      <c:catAx>
        <c:axId val="-471451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22128"/>
        <c:crosses val="autoZero"/>
        <c:auto val="1"/>
        <c:lblAlgn val="ctr"/>
        <c:lblOffset val="100"/>
        <c:noMultiLvlLbl val="0"/>
      </c:catAx>
      <c:valAx>
        <c:axId val="-4722128"/>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1451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95607606997336E-2"/>
          <c:y val="0.21872791929256089"/>
          <c:w val="0.94260439239300264"/>
          <c:h val="0.66767643154356193"/>
        </c:manualLayout>
      </c:layout>
      <c:barChart>
        <c:barDir val="col"/>
        <c:grouping val="clustered"/>
        <c:varyColors val="0"/>
        <c:ser>
          <c:idx val="0"/>
          <c:order val="0"/>
          <c:tx>
            <c:strRef>
              <c:f>Sheet1!$B$1</c:f>
              <c:strCache>
                <c:ptCount val="1"/>
                <c:pt idx="0">
                  <c:v>Series</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7A23-4B75-8F55-5416FA0103B3}"/>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7A23-4B75-8F55-5416FA0103B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7A23-4B75-8F55-5416FA0103B3}"/>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7A23-4B75-8F55-5416FA0103B3}"/>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7A23-4B75-8F55-5416FA0103B3}"/>
              </c:ext>
            </c:extLst>
          </c:dPt>
          <c:dLbls>
            <c:delete val="1"/>
          </c:dLbls>
          <c:cat>
            <c:numRef>
              <c:f>Sheet1!$A$2:$A$5</c:f>
              <c:numCache>
                <c:formatCode>General</c:formatCode>
                <c:ptCount val="4"/>
                <c:pt idx="0">
                  <c:v>2025</c:v>
                </c:pt>
                <c:pt idx="1">
                  <c:v>2024</c:v>
                </c:pt>
                <c:pt idx="2">
                  <c:v>2023</c:v>
                </c:pt>
                <c:pt idx="3">
                  <c:v>2022</c:v>
                </c:pt>
              </c:numCache>
            </c:num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A-7A23-4B75-8F55-5416FA0103B3}"/>
            </c:ext>
          </c:extLst>
        </c:ser>
        <c:ser>
          <c:idx val="1"/>
          <c:order val="1"/>
          <c:tx>
            <c:strRef>
              <c:f>Sheet1!$C$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5</c:v>
                </c:pt>
                <c:pt idx="1">
                  <c:v>2024</c:v>
                </c:pt>
                <c:pt idx="2">
                  <c:v>2023</c:v>
                </c:pt>
                <c:pt idx="3">
                  <c:v>2022</c:v>
                </c:pt>
              </c:numCache>
            </c:numRef>
          </c:cat>
          <c:val>
            <c:numRef>
              <c:f>Sheet1!$C$2:$C$5</c:f>
              <c:numCache>
                <c:formatCode>General</c:formatCode>
                <c:ptCount val="4"/>
                <c:pt idx="0">
                  <c:v>35</c:v>
                </c:pt>
                <c:pt idx="1">
                  <c:v>75</c:v>
                </c:pt>
                <c:pt idx="2">
                  <c:v>45</c:v>
                </c:pt>
                <c:pt idx="3">
                  <c:v>85</c:v>
                </c:pt>
              </c:numCache>
            </c:numRef>
          </c:val>
          <c:extLst>
            <c:ext xmlns:c16="http://schemas.microsoft.com/office/drawing/2014/chart" uri="{C3380CC4-5D6E-409C-BE32-E72D297353CC}">
              <c16:uniqueId val="{0000000A-ADE2-4DD3-BEB8-A5DD345C58E1}"/>
            </c:ext>
          </c:extLst>
        </c:ser>
        <c:dLbls>
          <c:dLblPos val="outEnd"/>
          <c:showLegendKey val="0"/>
          <c:showVal val="1"/>
          <c:showCatName val="0"/>
          <c:showSerName val="0"/>
          <c:showPercent val="0"/>
          <c:showBubbleSize val="0"/>
        </c:dLbls>
        <c:gapWidth val="75"/>
        <c:overlap val="100"/>
        <c:axId val="-4714512"/>
        <c:axId val="-4722128"/>
      </c:barChart>
      <c:catAx>
        <c:axId val="-471451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22128"/>
        <c:crosses val="autoZero"/>
        <c:auto val="1"/>
        <c:lblAlgn val="ctr"/>
        <c:lblOffset val="100"/>
        <c:noMultiLvlLbl val="0"/>
      </c:catAx>
      <c:valAx>
        <c:axId val="-4722128"/>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1451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95607606997336E-2"/>
          <c:y val="0.21872791929256089"/>
          <c:w val="0.94260439239300264"/>
          <c:h val="0.66767643154356193"/>
        </c:manualLayout>
      </c:layout>
      <c:barChart>
        <c:barDir val="col"/>
        <c:grouping val="clustered"/>
        <c:varyColors val="0"/>
        <c:ser>
          <c:idx val="0"/>
          <c:order val="0"/>
          <c:tx>
            <c:strRef>
              <c:f>Sheet1!$B$1</c:f>
              <c:strCache>
                <c:ptCount val="1"/>
                <c:pt idx="0">
                  <c:v>Series</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D2FB-4A20-A1B2-EF455CC8B472}"/>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D2FB-4A20-A1B2-EF455CC8B472}"/>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D2FB-4A20-A1B2-EF455CC8B472}"/>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D2FB-4A20-A1B2-EF455CC8B472}"/>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D2FB-4A20-A1B2-EF455CC8B472}"/>
              </c:ext>
            </c:extLst>
          </c:dPt>
          <c:dLbls>
            <c:delete val="1"/>
          </c:dLbls>
          <c:cat>
            <c:numRef>
              <c:f>Sheet1!$A$2:$A$5</c:f>
              <c:numCache>
                <c:formatCode>General</c:formatCode>
                <c:ptCount val="4"/>
                <c:pt idx="0">
                  <c:v>2025</c:v>
                </c:pt>
                <c:pt idx="1">
                  <c:v>2024</c:v>
                </c:pt>
                <c:pt idx="2">
                  <c:v>2023</c:v>
                </c:pt>
                <c:pt idx="3">
                  <c:v>2022</c:v>
                </c:pt>
              </c:numCache>
            </c:num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A-D2FB-4A20-A1B2-EF455CC8B472}"/>
            </c:ext>
          </c:extLst>
        </c:ser>
        <c:ser>
          <c:idx val="1"/>
          <c:order val="1"/>
          <c:tx>
            <c:strRef>
              <c:f>Sheet1!$C$1</c:f>
              <c:strCache>
                <c:ptCount val="1"/>
                <c:pt idx="0">
                  <c:v>Column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5</c:v>
                </c:pt>
                <c:pt idx="1">
                  <c:v>2024</c:v>
                </c:pt>
                <c:pt idx="2">
                  <c:v>2023</c:v>
                </c:pt>
                <c:pt idx="3">
                  <c:v>2022</c:v>
                </c:pt>
              </c:numCache>
            </c:numRef>
          </c:cat>
          <c:val>
            <c:numRef>
              <c:f>Sheet1!$C$2:$C$5</c:f>
              <c:numCache>
                <c:formatCode>General</c:formatCode>
                <c:ptCount val="4"/>
                <c:pt idx="0">
                  <c:v>35</c:v>
                </c:pt>
                <c:pt idx="1">
                  <c:v>75</c:v>
                </c:pt>
                <c:pt idx="2">
                  <c:v>45</c:v>
                </c:pt>
                <c:pt idx="3">
                  <c:v>85</c:v>
                </c:pt>
              </c:numCache>
            </c:numRef>
          </c:val>
          <c:extLst>
            <c:ext xmlns:c16="http://schemas.microsoft.com/office/drawing/2014/chart" uri="{C3380CC4-5D6E-409C-BE32-E72D297353CC}">
              <c16:uniqueId val="{0000000B-D2FB-4A20-A1B2-EF455CC8B472}"/>
            </c:ext>
          </c:extLst>
        </c:ser>
        <c:dLbls>
          <c:dLblPos val="outEnd"/>
          <c:showLegendKey val="0"/>
          <c:showVal val="1"/>
          <c:showCatName val="0"/>
          <c:showSerName val="0"/>
          <c:showPercent val="0"/>
          <c:showBubbleSize val="0"/>
        </c:dLbls>
        <c:gapWidth val="75"/>
        <c:overlap val="100"/>
        <c:axId val="-4714512"/>
        <c:axId val="-4722128"/>
      </c:barChart>
      <c:catAx>
        <c:axId val="-471451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22128"/>
        <c:crosses val="autoZero"/>
        <c:auto val="1"/>
        <c:lblAlgn val="ctr"/>
        <c:lblOffset val="100"/>
        <c:noMultiLvlLbl val="0"/>
      </c:catAx>
      <c:valAx>
        <c:axId val="-4722128"/>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1451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1"/>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98C4-4C58-9E3A-13609AEB0C82}"/>
            </c:ext>
          </c:extLst>
        </c:ser>
        <c:ser>
          <c:idx val="1"/>
          <c:order val="1"/>
          <c:tx>
            <c:strRef>
              <c:f>Sheet1!$C$1</c:f>
              <c:strCache>
                <c:ptCount val="1"/>
                <c:pt idx="0">
                  <c:v>Series 2</c:v>
                </c:pt>
              </c:strCache>
            </c:strRef>
          </c:tx>
          <c:spPr>
            <a:solidFill>
              <a:schemeClr val="accent2"/>
            </a:solidFill>
            <a:ln>
              <a:noFill/>
            </a:ln>
            <a:effectLst/>
          </c:spPr>
          <c:cat>
            <c:numRef>
              <c:f>Sheet1!$A$2:$A$6</c:f>
              <c:numCache>
                <c:formatCode>m/d/yyyy</c:formatCode>
                <c:ptCount val="5"/>
                <c:pt idx="0">
                  <c:v>37377</c:v>
                </c:pt>
                <c:pt idx="1">
                  <c:v>37408</c:v>
                </c:pt>
                <c:pt idx="2">
                  <c:v>37438</c:v>
                </c:pt>
                <c:pt idx="3">
                  <c:v>37469</c:v>
                </c:pt>
                <c:pt idx="4">
                  <c:v>37500</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98C4-4C58-9E3A-13609AEB0C82}"/>
            </c:ext>
          </c:extLst>
        </c:ser>
        <c:dLbls>
          <c:showLegendKey val="0"/>
          <c:showVal val="0"/>
          <c:showCatName val="0"/>
          <c:showSerName val="0"/>
          <c:showPercent val="0"/>
          <c:showBubbleSize val="0"/>
        </c:dLbls>
        <c:axId val="12944559"/>
        <c:axId val="12945519"/>
      </c:areaChart>
      <c:dateAx>
        <c:axId val="12944559"/>
        <c:scaling>
          <c:orientation val="minMax"/>
        </c:scaling>
        <c:delete val="0"/>
        <c:axPos val="b"/>
        <c:numFmt formatCode="m/d/yyyy"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5519"/>
        <c:crosses val="autoZero"/>
        <c:auto val="1"/>
        <c:lblOffset val="100"/>
        <c:baseTimeUnit val="months"/>
      </c:dateAx>
      <c:valAx>
        <c:axId val="12945519"/>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294455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95607606997336E-2"/>
          <c:y val="0.21872791929256089"/>
          <c:w val="0.94260439239300264"/>
          <c:h val="0.66767643154356193"/>
        </c:manualLayout>
      </c:layout>
      <c:barChart>
        <c:barDir val="col"/>
        <c:grouping val="clustered"/>
        <c:varyColors val="0"/>
        <c:ser>
          <c:idx val="0"/>
          <c:order val="0"/>
          <c:tx>
            <c:strRef>
              <c:f>Sheet1!$B$1</c:f>
              <c:strCache>
                <c:ptCount val="1"/>
                <c:pt idx="0">
                  <c:v>Series</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44A8-4C82-9C11-41BD37FFF9F3}"/>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44A8-4C82-9C11-41BD37FFF9F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44A8-4C82-9C11-41BD37FFF9F3}"/>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44A8-4C82-9C11-41BD37FFF9F3}"/>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44A8-4C82-9C11-41BD37FFF9F3}"/>
              </c:ext>
            </c:extLst>
          </c:dPt>
          <c:dLbls>
            <c:delete val="1"/>
          </c:dLbls>
          <c:cat>
            <c:numRef>
              <c:f>Sheet1!$A$2:$A$5</c:f>
              <c:numCache>
                <c:formatCode>General</c:formatCode>
                <c:ptCount val="4"/>
                <c:pt idx="0">
                  <c:v>2025</c:v>
                </c:pt>
                <c:pt idx="1">
                  <c:v>2024</c:v>
                </c:pt>
                <c:pt idx="2">
                  <c:v>2023</c:v>
                </c:pt>
                <c:pt idx="3">
                  <c:v>2022</c:v>
                </c:pt>
              </c:numCache>
            </c:num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A-44A8-4C82-9C11-41BD37FFF9F3}"/>
            </c:ext>
          </c:extLst>
        </c:ser>
        <c:ser>
          <c:idx val="1"/>
          <c:order val="1"/>
          <c:tx>
            <c:strRef>
              <c:f>Sheet1!$C$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5</c:v>
                </c:pt>
                <c:pt idx="1">
                  <c:v>2024</c:v>
                </c:pt>
                <c:pt idx="2">
                  <c:v>2023</c:v>
                </c:pt>
                <c:pt idx="3">
                  <c:v>2022</c:v>
                </c:pt>
              </c:numCache>
            </c:numRef>
          </c:cat>
          <c:val>
            <c:numRef>
              <c:f>Sheet1!$C$2:$C$5</c:f>
              <c:numCache>
                <c:formatCode>General</c:formatCode>
                <c:ptCount val="4"/>
                <c:pt idx="0">
                  <c:v>35</c:v>
                </c:pt>
                <c:pt idx="1">
                  <c:v>75</c:v>
                </c:pt>
                <c:pt idx="2">
                  <c:v>45</c:v>
                </c:pt>
                <c:pt idx="3">
                  <c:v>85</c:v>
                </c:pt>
              </c:numCache>
            </c:numRef>
          </c:val>
          <c:extLst>
            <c:ext xmlns:c16="http://schemas.microsoft.com/office/drawing/2014/chart" uri="{C3380CC4-5D6E-409C-BE32-E72D297353CC}">
              <c16:uniqueId val="{0000000B-44A8-4C82-9C11-41BD37FFF9F3}"/>
            </c:ext>
          </c:extLst>
        </c:ser>
        <c:dLbls>
          <c:dLblPos val="outEnd"/>
          <c:showLegendKey val="0"/>
          <c:showVal val="1"/>
          <c:showCatName val="0"/>
          <c:showSerName val="0"/>
          <c:showPercent val="0"/>
          <c:showBubbleSize val="0"/>
        </c:dLbls>
        <c:gapWidth val="75"/>
        <c:overlap val="100"/>
        <c:axId val="-4714512"/>
        <c:axId val="-4722128"/>
      </c:barChart>
      <c:catAx>
        <c:axId val="-471451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22128"/>
        <c:crosses val="autoZero"/>
        <c:auto val="1"/>
        <c:lblAlgn val="ctr"/>
        <c:lblOffset val="100"/>
        <c:noMultiLvlLbl val="0"/>
      </c:catAx>
      <c:valAx>
        <c:axId val="-4722128"/>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crossAx val="-471451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ea typeface="Open Sans Light" panose="020B0306030504020204" pitchFamily="34" charset="0"/>
          <a:cs typeface="Arial" panose="020B0604020202020204" pitchFamily="34" charset="0"/>
        </a:defRPr>
      </a:pPr>
      <a:endParaRPr lang="zh-CN"/>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04162B"/>
              </a:solidFill>
            </c:spPr>
            <c:extLst>
              <c:ext xmlns:c16="http://schemas.microsoft.com/office/drawing/2014/chart" uri="{C3380CC4-5D6E-409C-BE32-E72D297353CC}">
                <c16:uniqueId val="{00000001-B562-48E2-9669-0C4CE9E58C21}"/>
              </c:ext>
            </c:extLst>
          </c:dPt>
          <c:dPt>
            <c:idx val="1"/>
            <c:bubble3D val="0"/>
            <c:spPr>
              <a:solidFill>
                <a:srgbClr val="DCDCDC"/>
              </a:solidFill>
            </c:spPr>
            <c:extLst>
              <c:ext xmlns:c16="http://schemas.microsoft.com/office/drawing/2014/chart" uri="{C3380CC4-5D6E-409C-BE32-E72D297353CC}">
                <c16:uniqueId val="{00000003-B562-48E2-9669-0C4CE9E58C21}"/>
              </c:ext>
            </c:extLst>
          </c:dPt>
          <c:cat>
            <c:numRef>
              <c:f>Sheet1!$A$2:$A$3</c:f>
              <c:numCache>
                <c:formatCode>General</c:formatCode>
                <c:ptCount val="2"/>
              </c:numCache>
            </c:num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B562-48E2-9669-0C4CE9E58C21}"/>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lang="zh-CN" sz="1800"/>
      </a:pPr>
      <a:endParaRPr lang="zh-CN"/>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359CD5"/>
              </a:solidFill>
            </c:spPr>
            <c:extLst>
              <c:ext xmlns:c16="http://schemas.microsoft.com/office/drawing/2014/chart" uri="{C3380CC4-5D6E-409C-BE32-E72D297353CC}">
                <c16:uniqueId val="{00000001-59AB-4005-A121-4E6D9413FF93}"/>
              </c:ext>
            </c:extLst>
          </c:dPt>
          <c:dPt>
            <c:idx val="1"/>
            <c:bubble3D val="0"/>
            <c:spPr>
              <a:solidFill>
                <a:srgbClr val="DCDCDC"/>
              </a:solidFill>
            </c:spPr>
            <c:extLst>
              <c:ext xmlns:c16="http://schemas.microsoft.com/office/drawing/2014/chart" uri="{C3380CC4-5D6E-409C-BE32-E72D297353CC}">
                <c16:uniqueId val="{00000003-59AB-4005-A121-4E6D9413FF93}"/>
              </c:ext>
            </c:extLst>
          </c:dPt>
          <c:cat>
            <c:numRef>
              <c:f>Sheet1!$A$2:$A$3</c:f>
              <c:numCache>
                <c:formatCode>General</c:formatCode>
                <c:ptCount val="2"/>
              </c:numCache>
            </c:num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59AB-4005-A121-4E6D9413FF93}"/>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lang="zh-CN" sz="1800"/>
      </a:pPr>
      <a:endParaRPr lang="zh-CN"/>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04162B"/>
              </a:solidFill>
            </c:spPr>
            <c:extLst>
              <c:ext xmlns:c16="http://schemas.microsoft.com/office/drawing/2014/chart" uri="{C3380CC4-5D6E-409C-BE32-E72D297353CC}">
                <c16:uniqueId val="{00000001-F0EC-4D7E-86A9-10EDC670EAB9}"/>
              </c:ext>
            </c:extLst>
          </c:dPt>
          <c:dPt>
            <c:idx val="1"/>
            <c:bubble3D val="0"/>
            <c:spPr>
              <a:solidFill>
                <a:srgbClr val="DCDCDC"/>
              </a:solidFill>
            </c:spPr>
            <c:extLst>
              <c:ext xmlns:c16="http://schemas.microsoft.com/office/drawing/2014/chart" uri="{C3380CC4-5D6E-409C-BE32-E72D297353CC}">
                <c16:uniqueId val="{00000003-F0EC-4D7E-86A9-10EDC670EAB9}"/>
              </c:ext>
            </c:extLst>
          </c:dPt>
          <c:cat>
            <c:numRef>
              <c:f>Sheet1!$A$2:$A$3</c:f>
              <c:numCache>
                <c:formatCode>General</c:formatCode>
                <c:ptCount val="2"/>
              </c:numCache>
            </c:num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F0EC-4D7E-86A9-10EDC670EAB9}"/>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lang="zh-CN" sz="1800"/>
      </a:pPr>
      <a:endParaRPr lang="zh-CN"/>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359CD5"/>
              </a:solidFill>
            </c:spPr>
            <c:extLst>
              <c:ext xmlns:c16="http://schemas.microsoft.com/office/drawing/2014/chart" uri="{C3380CC4-5D6E-409C-BE32-E72D297353CC}">
                <c16:uniqueId val="{00000001-0F92-4384-A61B-0C300CB4CF54}"/>
              </c:ext>
            </c:extLst>
          </c:dPt>
          <c:dPt>
            <c:idx val="1"/>
            <c:bubble3D val="0"/>
            <c:spPr>
              <a:solidFill>
                <a:srgbClr val="DCDCDC"/>
              </a:solidFill>
            </c:spPr>
            <c:extLst>
              <c:ext xmlns:c16="http://schemas.microsoft.com/office/drawing/2014/chart" uri="{C3380CC4-5D6E-409C-BE32-E72D297353CC}">
                <c16:uniqueId val="{00000003-0F92-4384-A61B-0C300CB4CF54}"/>
              </c:ext>
            </c:extLst>
          </c:dPt>
          <c:cat>
            <c:numRef>
              <c:f>Sheet1!$A$2:$A$3</c:f>
              <c:numCache>
                <c:formatCode>General</c:formatCode>
                <c:ptCount val="2"/>
              </c:numCache>
            </c:num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0F92-4384-A61B-0C300CB4CF54}"/>
            </c:ext>
          </c:extLst>
        </c:ser>
        <c:dLbls>
          <c:showLegendKey val="0"/>
          <c:showVal val="0"/>
          <c:showCatName val="0"/>
          <c:showSerName val="0"/>
          <c:showPercent val="0"/>
          <c:showBubbleSize val="0"/>
          <c:showLeaderLines val="1"/>
        </c:dLbls>
        <c:firstSliceAng val="0"/>
        <c:holeSize val="60"/>
      </c:doughnutChart>
      <c:spPr>
        <a:noFill/>
        <a:ln w="25400">
          <a:noFill/>
        </a:ln>
      </c:spPr>
    </c:plotArea>
    <c:plotVisOnly val="1"/>
    <c:dispBlanksAs val="gap"/>
    <c:showDLblsOverMax val="0"/>
  </c:chart>
  <c:txPr>
    <a:bodyPr/>
    <a:lstStyle/>
    <a:p>
      <a:pPr>
        <a:defRPr lang="zh-CN" sz="1800"/>
      </a:pPr>
      <a:endParaRPr lang="zh-CN"/>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8306737896071667E-3"/>
          <c:y val="1.221991223473008E-2"/>
          <c:w val="0.98948301457120125"/>
          <c:h val="0.96129976246543303"/>
        </c:manualLayout>
      </c:layout>
      <c:areaChart>
        <c:grouping val="stacked"/>
        <c:varyColors val="0"/>
        <c:ser>
          <c:idx val="3"/>
          <c:order val="0"/>
          <c:tx>
            <c:v>Series 3</c:v>
          </c:tx>
          <c:spPr>
            <a:solidFill>
              <a:srgbClr val="DCDCDC"/>
            </a:solidFill>
            <a:ln w="19050" cap="flat" cmpd="sng" algn="ctr">
              <a:solidFill>
                <a:sysClr val="window" lastClr="FFFFFF"/>
              </a:solidFill>
              <a:prstDash val="solid"/>
              <a:round/>
              <a:headEnd type="none" w="med" len="med"/>
              <a:tailEnd type="none" w="med" len="med"/>
            </a:ln>
            <a:effectLst/>
          </c:spPr>
          <c:cat>
            <c:numRef>
              <c:f>Sheet1!$A$2:$A$14</c:f>
              <c:numCache>
                <c:formatCode>@</c:formatCode>
                <c:ptCount val="13"/>
                <c:pt idx="0">
                  <c:v>0</c:v>
                </c:pt>
                <c:pt idx="1">
                  <c:v>0</c:v>
                </c:pt>
                <c:pt idx="2">
                  <c:v>20.764119601328904</c:v>
                </c:pt>
                <c:pt idx="3">
                  <c:v>41.528239202657808</c:v>
                </c:pt>
                <c:pt idx="4">
                  <c:v>41.528239202657808</c:v>
                </c:pt>
                <c:pt idx="5">
                  <c:v>41.528239202657808</c:v>
                </c:pt>
                <c:pt idx="6">
                  <c:v>61.129568106312284</c:v>
                </c:pt>
                <c:pt idx="7">
                  <c:v>80.730897009966782</c:v>
                </c:pt>
                <c:pt idx="8">
                  <c:v>80.730897009966782</c:v>
                </c:pt>
                <c:pt idx="9">
                  <c:v>80.730897009966782</c:v>
                </c:pt>
                <c:pt idx="10">
                  <c:v>90.365448504983377</c:v>
                </c:pt>
                <c:pt idx="11">
                  <c:v>99.999999999999986</c:v>
                </c:pt>
                <c:pt idx="12">
                  <c:v>99.999999999999986</c:v>
                </c:pt>
              </c:numCache>
            </c:numRef>
          </c:cat>
          <c:val>
            <c:numRef>
              <c:f>Sheet1!$F$2:$F$14</c:f>
              <c:numCache>
                <c:formatCode>General</c:formatCode>
                <c:ptCount val="13"/>
                <c:pt idx="1">
                  <c:v>25</c:v>
                </c:pt>
                <c:pt idx="2">
                  <c:v>25</c:v>
                </c:pt>
                <c:pt idx="3">
                  <c:v>25</c:v>
                </c:pt>
                <c:pt idx="5">
                  <c:v>9</c:v>
                </c:pt>
                <c:pt idx="6">
                  <c:v>9</c:v>
                </c:pt>
                <c:pt idx="7">
                  <c:v>9</c:v>
                </c:pt>
                <c:pt idx="9">
                  <c:v>23</c:v>
                </c:pt>
                <c:pt idx="10">
                  <c:v>23</c:v>
                </c:pt>
                <c:pt idx="11">
                  <c:v>23</c:v>
                </c:pt>
              </c:numCache>
            </c:numRef>
          </c:val>
          <c:extLst>
            <c:ext xmlns:c16="http://schemas.microsoft.com/office/drawing/2014/chart" uri="{C3380CC4-5D6E-409C-BE32-E72D297353CC}">
              <c16:uniqueId val="{00000000-AC0F-4459-9884-6CCF5748A72E}"/>
            </c:ext>
          </c:extLst>
        </c:ser>
        <c:ser>
          <c:idx val="2"/>
          <c:order val="1"/>
          <c:tx>
            <c:v>Series 2</c:v>
          </c:tx>
          <c:spPr>
            <a:solidFill>
              <a:srgbClr val="359CD5"/>
            </a:solidFill>
            <a:ln w="19050" cap="flat" cmpd="sng" algn="ctr">
              <a:solidFill>
                <a:sysClr val="window" lastClr="FFFFFF"/>
              </a:solidFill>
              <a:prstDash val="solid"/>
              <a:round/>
              <a:headEnd type="none" w="med" len="med"/>
              <a:tailEnd type="none" w="med" len="med"/>
            </a:ln>
            <a:effectLst/>
          </c:spPr>
          <c:cat>
            <c:numRef>
              <c:f>Sheet1!$A$2:$A$14</c:f>
              <c:numCache>
                <c:formatCode>@</c:formatCode>
                <c:ptCount val="13"/>
                <c:pt idx="0">
                  <c:v>0</c:v>
                </c:pt>
                <c:pt idx="1">
                  <c:v>0</c:v>
                </c:pt>
                <c:pt idx="2">
                  <c:v>20.764119601328904</c:v>
                </c:pt>
                <c:pt idx="3">
                  <c:v>41.528239202657808</c:v>
                </c:pt>
                <c:pt idx="4">
                  <c:v>41.528239202657808</c:v>
                </c:pt>
                <c:pt idx="5">
                  <c:v>41.528239202657808</c:v>
                </c:pt>
                <c:pt idx="6">
                  <c:v>61.129568106312284</c:v>
                </c:pt>
                <c:pt idx="7">
                  <c:v>80.730897009966782</c:v>
                </c:pt>
                <c:pt idx="8">
                  <c:v>80.730897009966782</c:v>
                </c:pt>
                <c:pt idx="9">
                  <c:v>80.730897009966782</c:v>
                </c:pt>
                <c:pt idx="10">
                  <c:v>90.365448504983377</c:v>
                </c:pt>
                <c:pt idx="11">
                  <c:v>99.999999999999986</c:v>
                </c:pt>
                <c:pt idx="12">
                  <c:v>99.999999999999986</c:v>
                </c:pt>
              </c:numCache>
            </c:numRef>
          </c:cat>
          <c:val>
            <c:numRef>
              <c:f>Sheet1!$E$2:$E$14</c:f>
              <c:numCache>
                <c:formatCode>General</c:formatCode>
                <c:ptCount val="13"/>
                <c:pt idx="1">
                  <c:v>88</c:v>
                </c:pt>
                <c:pt idx="2">
                  <c:v>88</c:v>
                </c:pt>
                <c:pt idx="3">
                  <c:v>88</c:v>
                </c:pt>
                <c:pt idx="5">
                  <c:v>87</c:v>
                </c:pt>
                <c:pt idx="6">
                  <c:v>87</c:v>
                </c:pt>
                <c:pt idx="7">
                  <c:v>87</c:v>
                </c:pt>
                <c:pt idx="9">
                  <c:v>17</c:v>
                </c:pt>
                <c:pt idx="10">
                  <c:v>17</c:v>
                </c:pt>
                <c:pt idx="11">
                  <c:v>17</c:v>
                </c:pt>
              </c:numCache>
            </c:numRef>
          </c:val>
          <c:extLst>
            <c:ext xmlns:c16="http://schemas.microsoft.com/office/drawing/2014/chart" uri="{C3380CC4-5D6E-409C-BE32-E72D297353CC}">
              <c16:uniqueId val="{00000001-AC0F-4459-9884-6CCF5748A72E}"/>
            </c:ext>
          </c:extLst>
        </c:ser>
        <c:ser>
          <c:idx val="1"/>
          <c:order val="2"/>
          <c:tx>
            <c:v>Series 1</c:v>
          </c:tx>
          <c:spPr>
            <a:solidFill>
              <a:srgbClr val="04162B"/>
            </a:solidFill>
            <a:ln w="19050" cap="flat" cmpd="sng" algn="ctr">
              <a:solidFill>
                <a:sysClr val="window" lastClr="FFFFFF"/>
              </a:solidFill>
              <a:prstDash val="solid"/>
              <a:round/>
              <a:headEnd type="none" w="med" len="med"/>
              <a:tailEnd type="none" w="med" len="med"/>
            </a:ln>
            <a:effectLst/>
          </c:spPr>
          <c:cat>
            <c:numRef>
              <c:f>Sheet1!$A$2:$A$14</c:f>
              <c:numCache>
                <c:formatCode>@</c:formatCode>
                <c:ptCount val="13"/>
                <c:pt idx="0">
                  <c:v>0</c:v>
                </c:pt>
                <c:pt idx="1">
                  <c:v>0</c:v>
                </c:pt>
                <c:pt idx="2">
                  <c:v>20.764119601328904</c:v>
                </c:pt>
                <c:pt idx="3">
                  <c:v>41.528239202657808</c:v>
                </c:pt>
                <c:pt idx="4">
                  <c:v>41.528239202657808</c:v>
                </c:pt>
                <c:pt idx="5">
                  <c:v>41.528239202657808</c:v>
                </c:pt>
                <c:pt idx="6">
                  <c:v>61.129568106312284</c:v>
                </c:pt>
                <c:pt idx="7">
                  <c:v>80.730897009966782</c:v>
                </c:pt>
                <c:pt idx="8">
                  <c:v>80.730897009966782</c:v>
                </c:pt>
                <c:pt idx="9">
                  <c:v>80.730897009966782</c:v>
                </c:pt>
                <c:pt idx="10">
                  <c:v>90.365448504983377</c:v>
                </c:pt>
                <c:pt idx="11">
                  <c:v>99.999999999999986</c:v>
                </c:pt>
                <c:pt idx="12">
                  <c:v>99.999999999999986</c:v>
                </c:pt>
              </c:numCache>
            </c:numRef>
          </c:cat>
          <c:val>
            <c:numRef>
              <c:f>Sheet1!$D$2:$D$14</c:f>
              <c:numCache>
                <c:formatCode>General</c:formatCode>
                <c:ptCount val="13"/>
                <c:pt idx="1">
                  <c:v>12</c:v>
                </c:pt>
                <c:pt idx="2">
                  <c:v>12</c:v>
                </c:pt>
                <c:pt idx="3">
                  <c:v>12</c:v>
                </c:pt>
                <c:pt idx="5">
                  <c:v>22</c:v>
                </c:pt>
                <c:pt idx="6">
                  <c:v>22</c:v>
                </c:pt>
                <c:pt idx="7">
                  <c:v>22</c:v>
                </c:pt>
                <c:pt idx="9">
                  <c:v>18</c:v>
                </c:pt>
                <c:pt idx="10">
                  <c:v>18</c:v>
                </c:pt>
                <c:pt idx="11">
                  <c:v>18</c:v>
                </c:pt>
              </c:numCache>
            </c:numRef>
          </c:val>
          <c:extLst>
            <c:ext xmlns:c16="http://schemas.microsoft.com/office/drawing/2014/chart" uri="{C3380CC4-5D6E-409C-BE32-E72D297353CC}">
              <c16:uniqueId val="{00000002-AC0F-4459-9884-6CCF5748A72E}"/>
            </c:ext>
          </c:extLst>
        </c:ser>
        <c:dLbls>
          <c:showLegendKey val="0"/>
          <c:showVal val="0"/>
          <c:showCatName val="0"/>
          <c:showSerName val="0"/>
          <c:showPercent val="0"/>
          <c:showBubbleSize val="0"/>
        </c:dLbls>
        <c:axId val="792457760"/>
        <c:axId val="560869872"/>
      </c:areaChart>
      <c:lineChart>
        <c:grouping val="standard"/>
        <c:varyColors val="0"/>
        <c:ser>
          <c:idx val="0"/>
          <c:order val="3"/>
          <c:tx>
            <c:v>__Ampler.MekkoDataLabels</c:v>
          </c:tx>
          <c:spPr>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rgbClr val="FFFFFF"/>
                  </a:solidFill>
                  <a:prstDash val="solid"/>
                  <a:round/>
                  <a:headEnd type="none" w="med" len="med"/>
                  <a:tailEnd type="none" w="med" len="med"/>
                </a14:hiddenLine>
              </a:ext>
            </a:extLst>
          </c:spPr>
          <c:marker>
            <c:symbol val="none"/>
          </c:marker>
          <c:dLbls>
            <c:dLbl>
              <c:idx val="0"/>
              <c:tx>
                <c:rich>
                  <a:bodyPr/>
                  <a:lstStyle/>
                  <a:p>
                    <a:fld id="{604F8B0C-50C8-4C61-934B-E2480B4007AA}"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C0F-4459-9884-6CCF5748A72E}"/>
                </c:ext>
              </c:extLst>
            </c:dLbl>
            <c:dLbl>
              <c:idx val="1"/>
              <c:tx>
                <c:rich>
                  <a:bodyPr/>
                  <a:lstStyle/>
                  <a:p>
                    <a:fld id="{CB392480-2D05-4DC0-B00C-2BF16655A7CA}"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C0F-4459-9884-6CCF5748A72E}"/>
                </c:ext>
              </c:extLst>
            </c:dLbl>
            <c:dLbl>
              <c:idx val="2"/>
              <c:tx>
                <c:rich>
                  <a:bodyPr/>
                  <a:lstStyle/>
                  <a:p>
                    <a:fld id="{63F771A7-EFE1-4364-90B7-286B988D8C83}"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C0F-4459-9884-6CCF5748A72E}"/>
                </c:ext>
              </c:extLst>
            </c:dLbl>
            <c:dLbl>
              <c:idx val="3"/>
              <c:tx>
                <c:rich>
                  <a:bodyPr/>
                  <a:lstStyle/>
                  <a:p>
                    <a:fld id="{6CBE05F2-A95B-4874-B21E-3EFE5C01232E}"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C0F-4459-9884-6CCF5748A72E}"/>
                </c:ext>
              </c:extLst>
            </c:dLbl>
            <c:dLbl>
              <c:idx val="4"/>
              <c:tx>
                <c:rich>
                  <a:bodyPr/>
                  <a:lstStyle/>
                  <a:p>
                    <a:fld id="{C1D77D23-E464-4B71-A012-40DA286DFE53}"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C0F-4459-9884-6CCF5748A72E}"/>
                </c:ext>
              </c:extLst>
            </c:dLbl>
            <c:dLbl>
              <c:idx val="5"/>
              <c:tx>
                <c:rich>
                  <a:bodyPr/>
                  <a:lstStyle/>
                  <a:p>
                    <a:fld id="{2B09EC6B-5AF4-488A-97E2-AEE89BC1FA71}"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C0F-4459-9884-6CCF5748A72E}"/>
                </c:ext>
              </c:extLst>
            </c:dLbl>
            <c:dLbl>
              <c:idx val="6"/>
              <c:tx>
                <c:rich>
                  <a:bodyPr/>
                  <a:lstStyle/>
                  <a:p>
                    <a:fld id="{E7896C5A-399C-4944-9762-49CCCED28E77}"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C0F-4459-9884-6CCF5748A72E}"/>
                </c:ext>
              </c:extLst>
            </c:dLbl>
            <c:dLbl>
              <c:idx val="7"/>
              <c:tx>
                <c:rich>
                  <a:bodyPr/>
                  <a:lstStyle/>
                  <a:p>
                    <a:fld id="{A401A08B-BDDC-43AB-89BD-C3ED955F7337}"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AC0F-4459-9884-6CCF5748A72E}"/>
                </c:ext>
              </c:extLst>
            </c:dLbl>
            <c:dLbl>
              <c:idx val="8"/>
              <c:tx>
                <c:rich>
                  <a:bodyPr/>
                  <a:lstStyle/>
                  <a:p>
                    <a:fld id="{CE7D5C45-3D66-49E1-A847-A7A6794F253E}"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AC0F-4459-9884-6CCF5748A72E}"/>
                </c:ext>
              </c:extLst>
            </c:dLbl>
            <c:dLbl>
              <c:idx val="9"/>
              <c:tx>
                <c:rich>
                  <a:bodyPr/>
                  <a:lstStyle/>
                  <a:p>
                    <a:fld id="{F10709B0-0648-42F8-B433-49C6CB80EE9A}"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AC0F-4459-9884-6CCF5748A72E}"/>
                </c:ext>
              </c:extLst>
            </c:dLbl>
            <c:dLbl>
              <c:idx val="10"/>
              <c:tx>
                <c:rich>
                  <a:bodyPr/>
                  <a:lstStyle/>
                  <a:p>
                    <a:fld id="{DD579999-008C-4A46-AAFB-830455730517}"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C0F-4459-9884-6CCF5748A72E}"/>
                </c:ext>
              </c:extLst>
            </c:dLbl>
            <c:dLbl>
              <c:idx val="11"/>
              <c:tx>
                <c:rich>
                  <a:bodyPr/>
                  <a:lstStyle/>
                  <a:p>
                    <a:fld id="{990FFD8F-AE2F-429A-B7E4-0D1FA661A3CE}"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C0F-4459-9884-6CCF5748A72E}"/>
                </c:ext>
              </c:extLst>
            </c:dLbl>
            <c:dLbl>
              <c:idx val="12"/>
              <c:tx>
                <c:rich>
                  <a:bodyPr/>
                  <a:lstStyle/>
                  <a:p>
                    <a:fld id="{87CAD5C0-02A3-4781-9937-E80F8E84AB29}"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C0F-4459-9884-6CCF5748A72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noFill/>
                    <a:latin typeface="Arial" panose="020B0604020202020204" pitchFamily="34" charset="0"/>
                    <a:ea typeface="+mn-ea"/>
                    <a:cs typeface="+mn-cs"/>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4</c:f>
              <c:numCache>
                <c:formatCode>@</c:formatCode>
                <c:ptCount val="13"/>
                <c:pt idx="0">
                  <c:v>0</c:v>
                </c:pt>
                <c:pt idx="1">
                  <c:v>0</c:v>
                </c:pt>
                <c:pt idx="2">
                  <c:v>20.764119601328904</c:v>
                </c:pt>
                <c:pt idx="3">
                  <c:v>41.528239202657808</c:v>
                </c:pt>
                <c:pt idx="4">
                  <c:v>41.528239202657808</c:v>
                </c:pt>
                <c:pt idx="5">
                  <c:v>41.528239202657808</c:v>
                </c:pt>
                <c:pt idx="6">
                  <c:v>61.129568106312284</c:v>
                </c:pt>
                <c:pt idx="7">
                  <c:v>80.730897009966782</c:v>
                </c:pt>
                <c:pt idx="8">
                  <c:v>80.730897009966782</c:v>
                </c:pt>
                <c:pt idx="9">
                  <c:v>80.730897009966782</c:v>
                </c:pt>
                <c:pt idx="10">
                  <c:v>90.365448504983377</c:v>
                </c:pt>
                <c:pt idx="11">
                  <c:v>99.999999999999986</c:v>
                </c:pt>
                <c:pt idx="12">
                  <c:v>99.999999999999986</c:v>
                </c:pt>
              </c:numCache>
            </c:numRef>
          </c:cat>
          <c:val>
            <c:numRef>
              <c:f>Sheet1!$C$2:$C$14</c:f>
              <c:numCache>
                <c:formatCode>General</c:formatCode>
                <c:ptCount val="13"/>
                <c:pt idx="2">
                  <c:v>0</c:v>
                </c:pt>
                <c:pt idx="6">
                  <c:v>0</c:v>
                </c:pt>
                <c:pt idx="10">
                  <c:v>0</c:v>
                </c:pt>
              </c:numCache>
            </c:numRef>
          </c:val>
          <c:smooth val="0"/>
          <c:extLst>
            <c:ext xmlns:c15="http://schemas.microsoft.com/office/drawing/2012/chart" uri="{02D57815-91ED-43cb-92C2-25804820EDAC}">
              <c15:datalabelsRange>
                <c15:f>Sheet1!$B$2:$B$14</c15:f>
                <c15:dlblRangeCache>
                  <c:ptCount val="13"/>
                  <c:pt idx="2">
                    <c:v>Label</c:v>
                  </c:pt>
                  <c:pt idx="6">
                    <c:v>Label</c:v>
                  </c:pt>
                  <c:pt idx="10">
                    <c:v>Label</c:v>
                  </c:pt>
                </c15:dlblRangeCache>
              </c15:datalabelsRange>
            </c:ext>
            <c:ext xmlns:c16="http://schemas.microsoft.com/office/drawing/2014/chart" uri="{C3380CC4-5D6E-409C-BE32-E72D297353CC}">
              <c16:uniqueId val="{00000010-AC0F-4459-9884-6CCF5748A72E}"/>
            </c:ext>
          </c:extLst>
        </c:ser>
        <c:dLbls>
          <c:showLegendKey val="0"/>
          <c:showVal val="0"/>
          <c:showCatName val="0"/>
          <c:showSerName val="0"/>
          <c:showPercent val="0"/>
          <c:showBubbleSize val="0"/>
        </c:dLbls>
        <c:marker val="1"/>
        <c:smooth val="0"/>
        <c:axId val="792457760"/>
        <c:axId val="560869872"/>
      </c:lineChart>
      <c:dateAx>
        <c:axId val="792457760"/>
        <c:scaling>
          <c:orientation val="minMax"/>
        </c:scaling>
        <c:delete val="0"/>
        <c:axPos val="b"/>
        <c:numFmt formatCode="@" sourceLinked="1"/>
        <c:majorTickMark val="none"/>
        <c:minorTickMark val="none"/>
        <c:tickLblPos val="none"/>
        <c:spPr>
          <a:noFill/>
          <a:ln w="19050" cap="flat" cmpd="sng" algn="ctr">
            <a:solidFill>
              <a:sysClr val="window" lastClr="FFFFFF">
                <a:lumMod val="85000"/>
              </a:sysClr>
            </a:solidFill>
            <a:prstDash val="solid"/>
            <a:round/>
            <a:headEnd type="none" w="med" len="med"/>
            <a:tailEnd type="none" w="med" len="med"/>
          </a:ln>
          <a:effectLst/>
        </c:spPr>
        <c:txPr>
          <a:bodyPr rot="-60000000" spcFirstLastPara="1" vertOverflow="ellipsis" vert="horz" wrap="square" anchor="ctr" anchorCtr="1"/>
          <a:lstStyle/>
          <a:p>
            <a:pPr>
              <a:defRPr sz="1700" b="0" i="0" u="none" strike="noStrike" kern="1200" baseline="0">
                <a:solidFill>
                  <a:srgbClr val="000000"/>
                </a:solidFill>
                <a:latin typeface="+mn-lt"/>
                <a:ea typeface="+mn-lt"/>
                <a:cs typeface="+mn-lt"/>
              </a:defRPr>
            </a:pPr>
            <a:endParaRPr lang="en-US"/>
          </a:p>
        </c:txPr>
        <c:crossAx val="560869872"/>
        <c:crossesAt val="0"/>
        <c:auto val="0"/>
        <c:lblOffset val="100"/>
        <c:baseTimeUnit val="days"/>
        <c:majorUnit val="20"/>
        <c:minorUnit val="20"/>
      </c:dateAx>
      <c:valAx>
        <c:axId val="560869872"/>
        <c:scaling>
          <c:orientation val="minMax"/>
          <c:max val="130"/>
          <c:min val="0"/>
        </c:scaling>
        <c:delete val="0"/>
        <c:axPos val="l"/>
        <c:numFmt formatCode="#,##0" sourceLinked="0"/>
        <c:majorTickMark val="out"/>
        <c:minorTickMark val="none"/>
        <c:tickLblPos val="none"/>
        <c:spPr>
          <a:noFill/>
          <a:ln w="25400">
            <a:noFill/>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792457760"/>
        <c:crosses val="min"/>
        <c:crossBetween val="between"/>
        <c:majorUnit val="10"/>
        <c:minorUnit val="0.1"/>
      </c:valAx>
      <c:spPr>
        <a:noFill/>
        <a:ln>
          <a:noFill/>
        </a:ln>
        <a:effectLst/>
      </c:spPr>
    </c:plotArea>
    <c:plotVisOnly val="1"/>
    <c:dispBlanksAs val="zero"/>
    <c:showDLblsOverMax val="0"/>
    <c:extLst/>
  </c:chart>
  <c:spPr>
    <a:noFill/>
    <a:ln>
      <a:noFill/>
    </a:ln>
    <a:effectLst/>
  </c:spPr>
  <c:txPr>
    <a:bodyPr/>
    <a:lstStyle/>
    <a:p>
      <a:pPr>
        <a:defRPr sz="1400"/>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0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Y-Values</c:v>
                </c:pt>
              </c:strCache>
            </c:strRef>
          </c:tx>
          <c:spPr>
            <a:ln w="38100" cap="rnd">
              <a:noFill/>
              <a:round/>
            </a:ln>
            <a:effectLst/>
          </c:spPr>
          <c:marker>
            <c:symbol val="circle"/>
            <c:size val="5"/>
            <c:spPr>
              <a:solidFill>
                <a:schemeClr val="accent2"/>
              </a:solidFill>
              <a:ln w="1619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7</c:v>
                </c:pt>
                <c:pt idx="1">
                  <c:v>1.8</c:v>
                </c:pt>
                <c:pt idx="2">
                  <c:v>1.2</c:v>
                </c:pt>
                <c:pt idx="3">
                  <c:v>2.4</c:v>
                </c:pt>
                <c:pt idx="4">
                  <c:v>2.6</c:v>
                </c:pt>
              </c:numCache>
            </c:numRef>
          </c:xVal>
          <c:yVal>
            <c:numRef>
              <c:f>Sheet1!$B$2:$B$6</c:f>
              <c:numCache>
                <c:formatCode>General</c:formatCode>
                <c:ptCount val="5"/>
                <c:pt idx="0">
                  <c:v>2.7</c:v>
                </c:pt>
                <c:pt idx="1">
                  <c:v>3.2</c:v>
                </c:pt>
                <c:pt idx="2">
                  <c:v>2.2000000000000002</c:v>
                </c:pt>
                <c:pt idx="3">
                  <c:v>3</c:v>
                </c:pt>
                <c:pt idx="4">
                  <c:v>0.8</c:v>
                </c:pt>
              </c:numCache>
            </c:numRef>
          </c:yVal>
          <c:smooth val="0"/>
          <c:extLst>
            <c:ext xmlns:c16="http://schemas.microsoft.com/office/drawing/2014/chart" uri="{C3380CC4-5D6E-409C-BE32-E72D297353CC}">
              <c16:uniqueId val="{00000000-88CD-4A06-BA2F-282038E5B1E3}"/>
            </c:ext>
          </c:extLst>
        </c:ser>
        <c:dLbls>
          <c:dLblPos val="t"/>
          <c:showLegendKey val="0"/>
          <c:showVal val="1"/>
          <c:showCatName val="0"/>
          <c:showSerName val="0"/>
          <c:showPercent val="0"/>
          <c:showBubbleSize val="0"/>
        </c:dLbls>
        <c:axId val="209958863"/>
        <c:axId val="209962703"/>
      </c:scatterChart>
      <c:valAx>
        <c:axId val="2099588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62703"/>
        <c:crosses val="autoZero"/>
        <c:crossBetween val="midCat"/>
      </c:valAx>
      <c:valAx>
        <c:axId val="2099627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099588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CB2F-4FA6-8AD6-0FFA1BE5C35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2FC-4FD1-A24B-D0003903E9CB}"/>
              </c:ext>
            </c:extLst>
          </c:dPt>
          <c:dPt>
            <c:idx val="2"/>
            <c:bubble3D val="0"/>
            <c:spPr>
              <a:solidFill>
                <a:schemeClr val="accent1">
                  <a:lumMod val="75000"/>
                  <a:lumOff val="25000"/>
                </a:schemeClr>
              </a:solidFill>
              <a:ln w="19050">
                <a:solidFill>
                  <a:schemeClr val="lt1"/>
                </a:solidFill>
              </a:ln>
              <a:effectLst/>
            </c:spPr>
            <c:extLst>
              <c:ext xmlns:c16="http://schemas.microsoft.com/office/drawing/2014/chart" uri="{C3380CC4-5D6E-409C-BE32-E72D297353CC}">
                <c16:uniqueId val="{00000005-A2FC-4FD1-A24B-D0003903E9CB}"/>
              </c:ext>
            </c:extLst>
          </c:dPt>
          <c:dPt>
            <c:idx val="3"/>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7-A2FC-4FD1-A24B-D0003903E9CB}"/>
              </c:ext>
            </c:extLst>
          </c:dPt>
          <c:dLbls>
            <c:spPr>
              <a:noFill/>
              <a:ln>
                <a:noFill/>
              </a:ln>
              <a:effectLst/>
            </c:spPr>
            <c:txPr>
              <a:bodyPr rot="0" spcFirstLastPara="1" vertOverflow="ellipsis" vert="horz" wrap="square" lIns="38100" tIns="19050" rIns="38100" bIns="19050" anchor="ctr" anchorCtr="1">
                <a:spAutoFit/>
              </a:bodyPr>
              <a:lstStyle/>
              <a:p>
                <a:pPr>
                  <a:defRPr sz="3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CB2F-4FA6-8AD6-0FFA1BE5C35B}"/>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a:solidFill>
                <a:schemeClr val="accent1"/>
              </a:solidFill>
              <a:round/>
            </a:ln>
            <a:effectLst/>
          </c:spPr>
          <c:marker>
            <c:symbol val="circle"/>
            <c:size val="5"/>
            <c:spPr>
              <a:solidFill>
                <a:schemeClr val="accent1"/>
              </a:solidFill>
              <a:ln w="38100">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4.3</c:v>
                </c:pt>
                <c:pt idx="1">
                  <c:v>2.5</c:v>
                </c:pt>
                <c:pt idx="2">
                  <c:v>3.5</c:v>
                </c:pt>
                <c:pt idx="3">
                  <c:v>4.5</c:v>
                </c:pt>
                <c:pt idx="4">
                  <c:v>2</c:v>
                </c:pt>
                <c:pt idx="5">
                  <c:v>3</c:v>
                </c:pt>
                <c:pt idx="6">
                  <c:v>2.6</c:v>
                </c:pt>
              </c:numCache>
            </c:numRef>
          </c:val>
          <c:smooth val="0"/>
          <c:extLst>
            <c:ext xmlns:c16="http://schemas.microsoft.com/office/drawing/2014/chart" uri="{C3380CC4-5D6E-409C-BE32-E72D297353CC}">
              <c16:uniqueId val="{00000000-2EE7-46AC-ADE5-88D88DA5B211}"/>
            </c:ext>
          </c:extLst>
        </c:ser>
        <c:ser>
          <c:idx val="1"/>
          <c:order val="1"/>
          <c:tx>
            <c:strRef>
              <c:f>Sheet1!$C$1</c:f>
              <c:strCache>
                <c:ptCount val="1"/>
                <c:pt idx="0">
                  <c:v>Series 2</c:v>
                </c:pt>
              </c:strCache>
            </c:strRef>
          </c:tx>
          <c:spPr>
            <a:ln w="38100" cap="rnd">
              <a:solidFill>
                <a:schemeClr val="accent2"/>
              </a:solidFill>
              <a:round/>
            </a:ln>
            <a:effectLst/>
          </c:spPr>
          <c:marker>
            <c:symbol val="circle"/>
            <c:size val="5"/>
            <c:spPr>
              <a:solidFill>
                <a:schemeClr val="accent2"/>
              </a:solidFill>
              <a:ln w="38100">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C$2:$C$8</c:f>
              <c:numCache>
                <c:formatCode>General</c:formatCode>
                <c:ptCount val="7"/>
                <c:pt idx="0">
                  <c:v>2.4</c:v>
                </c:pt>
                <c:pt idx="1">
                  <c:v>4.4000000000000004</c:v>
                </c:pt>
                <c:pt idx="2">
                  <c:v>1.8</c:v>
                </c:pt>
                <c:pt idx="3">
                  <c:v>2.8</c:v>
                </c:pt>
                <c:pt idx="4">
                  <c:v>2</c:v>
                </c:pt>
                <c:pt idx="5">
                  <c:v>3.2</c:v>
                </c:pt>
                <c:pt idx="6">
                  <c:v>5</c:v>
                </c:pt>
              </c:numCache>
            </c:numRef>
          </c:val>
          <c:smooth val="0"/>
          <c:extLst>
            <c:ext xmlns:c16="http://schemas.microsoft.com/office/drawing/2014/chart" uri="{C3380CC4-5D6E-409C-BE32-E72D297353CC}">
              <c16:uniqueId val="{00000001-2EE7-46AC-ADE5-88D88DA5B211}"/>
            </c:ext>
          </c:extLst>
        </c:ser>
        <c:ser>
          <c:idx val="2"/>
          <c:order val="2"/>
          <c:tx>
            <c:strRef>
              <c:f>Sheet1!$D$1</c:f>
              <c:strCache>
                <c:ptCount val="1"/>
                <c:pt idx="0">
                  <c:v>Series 3</c:v>
                </c:pt>
              </c:strCache>
            </c:strRef>
          </c:tx>
          <c:spPr>
            <a:ln w="38100" cap="rnd">
              <a:solidFill>
                <a:schemeClr val="accent4"/>
              </a:solidFill>
              <a:round/>
            </a:ln>
            <a:effectLst/>
          </c:spPr>
          <c:marker>
            <c:symbol val="circle"/>
            <c:size val="5"/>
            <c:spPr>
              <a:solidFill>
                <a:schemeClr val="accent4"/>
              </a:solidFill>
              <a:ln w="38100">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D$2:$D$8</c:f>
              <c:numCache>
                <c:formatCode>General</c:formatCode>
                <c:ptCount val="7"/>
                <c:pt idx="0">
                  <c:v>2</c:v>
                </c:pt>
                <c:pt idx="1">
                  <c:v>2</c:v>
                </c:pt>
                <c:pt idx="2">
                  <c:v>3</c:v>
                </c:pt>
                <c:pt idx="3">
                  <c:v>5</c:v>
                </c:pt>
                <c:pt idx="4">
                  <c:v>4.2</c:v>
                </c:pt>
                <c:pt idx="5">
                  <c:v>1.6</c:v>
                </c:pt>
                <c:pt idx="6">
                  <c:v>3.8</c:v>
                </c:pt>
              </c:numCache>
            </c:numRef>
          </c:val>
          <c:smooth val="0"/>
          <c:extLst>
            <c:ext xmlns:c16="http://schemas.microsoft.com/office/drawing/2014/chart" uri="{C3380CC4-5D6E-409C-BE32-E72D297353CC}">
              <c16:uniqueId val="{00000002-2EE7-46AC-ADE5-88D88DA5B211}"/>
            </c:ext>
          </c:extLst>
        </c:ser>
        <c:dLbls>
          <c:dLblPos val="t"/>
          <c:showLegendKey val="0"/>
          <c:showVal val="1"/>
          <c:showCatName val="0"/>
          <c:showSerName val="0"/>
          <c:showPercent val="0"/>
          <c:showBubbleSize val="0"/>
        </c:dLbls>
        <c:marker val="1"/>
        <c:smooth val="0"/>
        <c:axId val="148184991"/>
        <c:axId val="148183351"/>
      </c:lineChart>
      <c:catAx>
        <c:axId val="148184991"/>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3351"/>
        <c:crosses val="autoZero"/>
        <c:auto val="1"/>
        <c:lblAlgn val="ctr"/>
        <c:lblOffset val="100"/>
        <c:noMultiLvlLbl val="0"/>
      </c:catAx>
      <c:valAx>
        <c:axId val="148183351"/>
        <c:scaling>
          <c:orientation val="minMax"/>
        </c:scaling>
        <c:delete val="0"/>
        <c:axPos val="l"/>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crossAx val="148184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latin typeface="Arial" panose="020B0604020202020204" pitchFamily="34" charset="0"/>
          <a:ea typeface="+mn-ea"/>
          <a:cs typeface="Arial" panose="020B0604020202020204" pitchFamily="34" charset="0"/>
        </a:defRPr>
      </a:pPr>
      <a:endParaRPr lang="zh-CN"/>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Category 8</cx:pt>
        </cx:lvl>
      </cx:strDim>
      <cx:numDim type="val">
        <cx:f>Sheet1!$B$2:$B$9</cx:f>
        <cx:lvl ptCount="8" formatCode="General">
          <cx:pt idx="0">100</cx:pt>
          <cx:pt idx="1">20</cx:pt>
          <cx:pt idx="2">50</cx:pt>
          <cx:pt idx="3">-40</cx:pt>
          <cx:pt idx="4">130</cx:pt>
          <cx:pt idx="5">-60</cx:pt>
          <cx:pt idx="6">70</cx:pt>
          <cx:pt idx="7">140</cx:pt>
        </cx:lvl>
      </cx:numDim>
    </cx:data>
  </cx:chartData>
  <cx:chart>
    <cx:plotArea>
      <cx:plotAreaRegion>
        <cx:series layoutId="waterfall" uniqueId="{ED37DDC8-A966-42E2-AA58-D98C2AE2572F}">
          <cx:tx>
            <cx:txData>
              <cx:f>Sheet1!$B$1</cx:f>
              <cx:v>Series1</cx:v>
            </cx:txData>
          </cx:tx>
          <cx:spPr>
            <a:ln>
              <a:noFill/>
            </a:ln>
          </cx:spPr>
          <cx:dataLabels pos="outEnd">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visibility seriesName="0" categoryName="0" value="1"/>
          </cx:dataLabels>
          <cx:dataId val="0"/>
          <cx:layoutPr>
            <cx:subtotals>
              <cx:idx val="0"/>
              <cx:idx val="4"/>
              <cx:idx val="7"/>
            </cx:subtotals>
          </cx:layoutPr>
        </cx:series>
      </cx:plotAreaRegion>
      <cx:axis id="0">
        <cx:catScaling gapWidth="0.5"/>
        <cx:majorTickMarks type="out"/>
        <cx:tickLabels/>
        <cx:spPr>
          <a:ln>
            <a:solidFill>
              <a:schemeClr val="bg1">
                <a:lumMod val="85000"/>
              </a:schemeClr>
            </a:solidFill>
          </a:ln>
        </cx:spPr>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axis>
      <cx:axis id="1">
        <cx:valScaling/>
        <cx:majorTickMarks type="out"/>
        <cx:tickLabels/>
        <cx:spPr>
          <a:ln>
            <a:solidFill>
              <a:schemeClr val="bg1">
                <a:lumMod val="85000"/>
              </a:schemeClr>
            </a:solidFill>
          </a:ln>
        </cx:spPr>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axis>
    </cx:plotArea>
    <cx:legend pos="b" align="ctr" overlay="0">
      <cx:txPr>
        <a:bodyPr spcFirstLastPara="1" vertOverflow="ellipsis" horzOverflow="overflow" wrap="square" lIns="0" tIns="0" rIns="0" bIns="0" anchor="ctr" anchorCtr="1"/>
        <a:lstStyle/>
        <a:p>
          <a:pPr algn="ctr" rtl="0">
            <a:defRPr sz="1800">
              <a:solidFill>
                <a:schemeClr val="tx1"/>
              </a:solidFill>
            </a:defRPr>
          </a:pPr>
          <a:endParaRPr lang="en-US" sz="1800" b="0" i="0" u="none" strike="noStrike" baseline="0">
            <a:solidFill>
              <a:schemeClr val="tx1"/>
            </a:solidFill>
            <a:latin typeface="Arial"/>
          </a:endParaRPr>
        </a:p>
      </cx:txPr>
    </cx:legend>
  </cx:chart>
  <cx:fmtOvrs>
    <cx:fmtOvr idx="0">
      <cx:spPr>
        <a:solidFill>
          <a:schemeClr val="accent2"/>
        </a:solidFill>
      </cx:spPr>
    </cx:fmtOvr>
    <cx:fmtOvr idx="1">
      <cx:spPr>
        <a:solidFill>
          <a:schemeClr val="accent5"/>
        </a:solidFill>
      </cx:spPr>
    </cx:fmtOvr>
    <cx:fmtOvr idx="2">
      <cx:spPr>
        <a:solidFill>
          <a:schemeClr val="accent1"/>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Category 8</cx:pt>
        </cx:lvl>
      </cx:strDim>
      <cx:numDim type="val">
        <cx:f>Sheet1!$B$2:$B$9</cx:f>
        <cx:lvl ptCount="8" formatCode="General">
          <cx:pt idx="0">100</cx:pt>
          <cx:pt idx="1">20</cx:pt>
          <cx:pt idx="2">50</cx:pt>
          <cx:pt idx="3">-40</cx:pt>
          <cx:pt idx="4">130</cx:pt>
          <cx:pt idx="5">-60</cx:pt>
          <cx:pt idx="6">70</cx:pt>
          <cx:pt idx="7">140</cx:pt>
        </cx:lvl>
      </cx:numDim>
    </cx:data>
  </cx:chartData>
  <cx:chart>
    <cx:plotArea>
      <cx:plotAreaRegion>
        <cx:series layoutId="waterfall" uniqueId="{ED37DDC8-A966-42E2-AA58-D98C2AE2572F}">
          <cx:tx>
            <cx:txData>
              <cx:f>Sheet1!$B$1</cx:f>
              <cx:v>Series1</cx:v>
            </cx:txData>
          </cx:tx>
          <cx:spPr>
            <a:ln>
              <a:noFill/>
            </a:ln>
          </cx:spPr>
          <cx:dataLabels pos="outEnd">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visibility seriesName="0" categoryName="0" value="1"/>
          </cx:dataLabels>
          <cx:dataId val="0"/>
          <cx:layoutPr>
            <cx:subtotals>
              <cx:idx val="0"/>
              <cx:idx val="4"/>
              <cx:idx val="7"/>
            </cx:subtotals>
          </cx:layoutPr>
        </cx:series>
      </cx:plotAreaRegion>
      <cx:axis id="0">
        <cx:catScaling gapWidth="0.5"/>
        <cx:majorTickMarks type="out"/>
        <cx:tickLabels/>
        <cx:spPr>
          <a:ln>
            <a:solidFill>
              <a:schemeClr val="bg1">
                <a:lumMod val="85000"/>
              </a:schemeClr>
            </a:solidFill>
          </a:ln>
        </cx:spPr>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axis>
      <cx:axis id="1">
        <cx:valScaling/>
        <cx:majorTickMarks type="out"/>
        <cx:tickLabels/>
        <cx:spPr>
          <a:ln>
            <a:solidFill>
              <a:schemeClr val="bg1">
                <a:lumMod val="85000"/>
              </a:schemeClr>
            </a:solidFill>
          </a:ln>
        </cx:spPr>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axis>
    </cx:plotArea>
    <cx:legend pos="b" align="ctr" overlay="0">
      <cx:txPr>
        <a:bodyPr spcFirstLastPara="1" vertOverflow="ellipsis" horzOverflow="overflow" wrap="square" lIns="0" tIns="0" rIns="0" bIns="0" anchor="ctr" anchorCtr="1"/>
        <a:lstStyle/>
        <a:p>
          <a:pPr algn="ctr" rtl="0">
            <a:defRPr sz="1800">
              <a:solidFill>
                <a:schemeClr val="tx1"/>
              </a:solidFill>
            </a:defRPr>
          </a:pPr>
          <a:endParaRPr lang="en-US" sz="1800" b="0" i="0" u="none" strike="noStrike" baseline="0">
            <a:solidFill>
              <a:schemeClr val="tx1"/>
            </a:solidFill>
            <a:latin typeface="Arial"/>
          </a:endParaRPr>
        </a:p>
      </cx:txPr>
    </cx:legend>
  </cx:chart>
  <cx:fmtOvrs>
    <cx:fmtOvr idx="0">
      <cx:spPr>
        <a:solidFill>
          <a:schemeClr val="accent2"/>
        </a:solidFill>
      </cx:spPr>
    </cx:fmtOvr>
    <cx:fmtOvr idx="1">
      <cx:spPr>
        <a:solidFill>
          <a:schemeClr val="accent5"/>
        </a:solidFill>
      </cx:spPr>
    </cx:fmtOvr>
    <cx:fmtOvr idx="2">
      <cx:spPr>
        <a:solidFill>
          <a:schemeClr val="accent1"/>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Category 8</cx:pt>
        </cx:lvl>
      </cx:strDim>
      <cx:numDim type="val">
        <cx:f>Sheet1!$B$2:$B$9</cx:f>
        <cx:lvl ptCount="8" formatCode="General">
          <cx:pt idx="0">100</cx:pt>
          <cx:pt idx="1">20</cx:pt>
          <cx:pt idx="2">50</cx:pt>
          <cx:pt idx="3">-40</cx:pt>
          <cx:pt idx="4">130</cx:pt>
          <cx:pt idx="5">-60</cx:pt>
          <cx:pt idx="6">70</cx:pt>
          <cx:pt idx="7">140</cx:pt>
        </cx:lvl>
      </cx:numDim>
    </cx:data>
  </cx:chartData>
  <cx:chart>
    <cx:plotArea>
      <cx:plotAreaRegion>
        <cx:series layoutId="waterfall" uniqueId="{ED37DDC8-A966-42E2-AA58-D98C2AE2572F}">
          <cx:tx>
            <cx:txData>
              <cx:f>Sheet1!$B$1</cx:f>
              <cx:v>Series1</cx:v>
            </cx:txData>
          </cx:tx>
          <cx:spPr>
            <a:ln>
              <a:noFill/>
            </a:ln>
          </cx:spPr>
          <cx:dataLabels pos="outEnd">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visibility seriesName="0" categoryName="0" value="1"/>
          </cx:dataLabels>
          <cx:dataId val="0"/>
          <cx:layoutPr>
            <cx:subtotals>
              <cx:idx val="0"/>
              <cx:idx val="4"/>
              <cx:idx val="7"/>
            </cx:subtotals>
          </cx:layoutPr>
        </cx:series>
      </cx:plotAreaRegion>
      <cx:axis id="0">
        <cx:catScaling gapWidth="0.5"/>
        <cx:majorTickMarks type="out"/>
        <cx:tickLabels/>
        <cx:spPr>
          <a:ln>
            <a:solidFill>
              <a:schemeClr val="bg1">
                <a:lumMod val="85000"/>
              </a:schemeClr>
            </a:solidFill>
          </a:ln>
        </cx:spPr>
        <cx:txPr>
          <a:bodyPr vertOverflow="overflow" horzOverflow="overflow" wrap="square" lIns="0" tIns="0" rIns="0" bIns="0"/>
          <a:lstStyle/>
          <a:p>
            <a:pPr algn="ctr" rtl="0">
              <a:defRPr sz="14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400">
              <a:solidFill>
                <a:schemeClr val="tx1"/>
              </a:solidFill>
            </a:endParaRPr>
          </a:p>
        </cx:txPr>
      </cx:axis>
      <cx:axis id="1">
        <cx:valScaling/>
        <cx:majorTickMarks type="out"/>
        <cx:tickLabels/>
        <cx:spPr>
          <a:ln>
            <a:solidFill>
              <a:schemeClr val="bg1">
                <a:lumMod val="85000"/>
              </a:schemeClr>
            </a:solidFill>
          </a:ln>
        </cx:spPr>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axis>
    </cx:plotArea>
    <cx:legend pos="b" align="ctr" overlay="0">
      <cx:txPr>
        <a:bodyPr spcFirstLastPara="1" vertOverflow="ellipsis" horzOverflow="overflow" wrap="square" lIns="0" tIns="0" rIns="0" bIns="0" anchor="ctr" anchorCtr="1"/>
        <a:lstStyle/>
        <a:p>
          <a:pPr algn="ctr" rtl="0">
            <a:defRPr sz="1800">
              <a:solidFill>
                <a:schemeClr val="tx1"/>
              </a:solidFill>
            </a:defRPr>
          </a:pPr>
          <a:endParaRPr lang="en-US" sz="1800" b="0" i="0" u="none" strike="noStrike" baseline="0">
            <a:solidFill>
              <a:schemeClr val="tx1"/>
            </a:solidFill>
            <a:latin typeface="Arial"/>
          </a:endParaRPr>
        </a:p>
      </cx:txPr>
    </cx:legend>
  </cx:chart>
  <cx:fmtOvrs>
    <cx:fmtOvr idx="0">
      <cx:spPr>
        <a:solidFill>
          <a:schemeClr val="accent2"/>
        </a:solidFill>
      </cx:spPr>
    </cx:fmtOvr>
    <cx:fmtOvr idx="1">
      <cx:spPr>
        <a:solidFill>
          <a:schemeClr val="accent5"/>
        </a:solidFill>
      </cx:spPr>
    </cx:fmtOvr>
    <cx:fmtOvr idx="2">
      <cx:spPr>
        <a:solidFill>
          <a:schemeClr val="accent1"/>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Category 8</cx:pt>
        </cx:lvl>
      </cx:strDim>
      <cx:numDim type="val">
        <cx:f>Sheet1!$B$2:$B$9</cx:f>
        <cx:lvl ptCount="8" formatCode="General">
          <cx:pt idx="0">100</cx:pt>
          <cx:pt idx="1">20</cx:pt>
          <cx:pt idx="2">50</cx:pt>
          <cx:pt idx="3">-40</cx:pt>
          <cx:pt idx="4">130</cx:pt>
          <cx:pt idx="5">-60</cx:pt>
          <cx:pt idx="6">70</cx:pt>
          <cx:pt idx="7">140</cx:pt>
        </cx:lvl>
      </cx:numDim>
    </cx:data>
  </cx:chartData>
  <cx:chart>
    <cx:plotArea>
      <cx:plotAreaRegion>
        <cx:series layoutId="waterfall" uniqueId="{ED37DDC8-A966-42E2-AA58-D98C2AE2572F}">
          <cx:tx>
            <cx:txData>
              <cx:f>Sheet1!$B$1</cx:f>
              <cx:v>Series1</cx:v>
            </cx:txData>
          </cx:tx>
          <cx:dataLabels pos="outEnd">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visibility seriesName="0" categoryName="0" value="1"/>
          </cx:dataLabels>
          <cx:dataId val="0"/>
          <cx:layoutPr>
            <cx:subtotals>
              <cx:idx val="0"/>
              <cx:idx val="4"/>
              <cx:idx val="7"/>
            </cx:subtotals>
          </cx:layoutPr>
        </cx:series>
      </cx:plotAreaRegion>
      <cx:axis id="0">
        <cx:catScaling gapWidth="0.5"/>
        <cx:majorTickMarks type="out"/>
        <cx:tickLabels/>
        <cx:spPr>
          <a:ln>
            <a:solidFill>
              <a:schemeClr val="bg1">
                <a:lumMod val="85000"/>
              </a:schemeClr>
            </a:solidFill>
          </a:ln>
        </cx:spPr>
        <cx:txPr>
          <a:bodyPr vertOverflow="overflow" horzOverflow="overflow" wrap="square" lIns="0" tIns="0" rIns="0" bIns="0"/>
          <a:lstStyle/>
          <a:p>
            <a:pPr algn="ctr" rtl="0">
              <a:defRPr sz="14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400">
              <a:solidFill>
                <a:schemeClr val="tx1"/>
              </a:solidFill>
            </a:endParaRPr>
          </a:p>
        </cx:txPr>
      </cx:axis>
      <cx:axis id="1">
        <cx:valScaling/>
        <cx:majorTickMarks type="out"/>
        <cx:tickLabels/>
        <cx:spPr>
          <a:ln>
            <a:solidFill>
              <a:schemeClr val="bg1">
                <a:lumMod val="85000"/>
              </a:schemeClr>
            </a:solidFill>
          </a:ln>
        </cx:spPr>
        <cx:txPr>
          <a:bodyPr vertOverflow="overflow" horzOverflow="overflow" wrap="square" lIns="0" tIns="0" rIns="0" bIns="0"/>
          <a:lstStyle/>
          <a:p>
            <a:pPr algn="ctr" rtl="0">
              <a:defRPr sz="18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800">
              <a:solidFill>
                <a:schemeClr val="tx1"/>
              </a:solidFill>
            </a:endParaRPr>
          </a:p>
        </cx:txPr>
      </cx:axis>
    </cx:plotArea>
    <cx:legend pos="b" align="ctr" overlay="0">
      <cx:txPr>
        <a:bodyPr spcFirstLastPara="1" vertOverflow="ellipsis" horzOverflow="overflow" wrap="square" lIns="0" tIns="0" rIns="0" bIns="0" anchor="ctr" anchorCtr="1"/>
        <a:lstStyle/>
        <a:p>
          <a:pPr algn="ctr" rtl="0">
            <a:defRPr sz="1800">
              <a:solidFill>
                <a:schemeClr val="tx1"/>
              </a:solidFill>
            </a:defRPr>
          </a:pPr>
          <a:endParaRPr lang="en-US" sz="1800" b="0" i="0" u="none" strike="noStrike" baseline="0">
            <a:solidFill>
              <a:schemeClr val="tx1"/>
            </a:solidFill>
            <a:latin typeface="Arial"/>
          </a:endParaRPr>
        </a:p>
      </cx:txPr>
    </cx:legend>
  </cx:chart>
  <cx:fmtOvrs>
    <cx:fmtOvr idx="0">
      <cx:spPr>
        <a:solidFill>
          <a:schemeClr val="accent2"/>
        </a:solidFill>
      </cx:spPr>
    </cx:fmtOvr>
    <cx:fmtOvr idx="1">
      <cx:spPr>
        <a:solidFill>
          <a:schemeClr val="accent5"/>
        </a:solidFill>
      </cx:spPr>
    </cx:fmtOvr>
    <cx:fmtOvr idx="2">
      <cx:spPr>
        <a:solidFill>
          <a:schemeClr val="accent1"/>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4A9DF2-70EC-4B96-A053-2561A61F337D}" type="datetimeFigureOut">
              <a:rPr lang="en-US" smtClean="0"/>
              <a:t>6/1/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588163-CFC1-4ACA-9600-FB08ECAA64C8}" type="slidenum">
              <a:rPr lang="en-US" smtClean="0"/>
              <a:t>‹#›</a:t>
            </a:fld>
            <a:endParaRPr lang="en-US" dirty="0"/>
          </a:p>
        </p:txBody>
      </p:sp>
    </p:spTree>
    <p:extLst>
      <p:ext uri="{BB962C8B-B14F-4D97-AF65-F5344CB8AC3E}">
        <p14:creationId xmlns:p14="http://schemas.microsoft.com/office/powerpoint/2010/main" val="2684273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CC339-ECFF-6360-B391-672000842F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B8D4D1-715B-A52B-E685-A2A537A519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1D0C81-11D2-E5B0-9D09-AB27821EE7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A8BC31D-6D6A-4928-5B67-96EC30B3A240}"/>
              </a:ext>
            </a:extLst>
          </p:cNvPr>
          <p:cNvSpPr>
            <a:spLocks noGrp="1"/>
          </p:cNvSpPr>
          <p:nvPr>
            <p:ph type="sldNum" sz="quarter" idx="5"/>
          </p:nvPr>
        </p:nvSpPr>
        <p:spPr/>
        <p:txBody>
          <a:bodyPr/>
          <a:lstStyle/>
          <a:p>
            <a:fld id="{6308F9D5-63B9-4088-A0EA-655CDC6DDC5F}" type="slidenum">
              <a:rPr lang="en-US" smtClean="0"/>
              <a:t>55</a:t>
            </a:fld>
            <a:endParaRPr lang="en-US" dirty="0"/>
          </a:p>
        </p:txBody>
      </p:sp>
    </p:spTree>
    <p:extLst>
      <p:ext uri="{BB962C8B-B14F-4D97-AF65-F5344CB8AC3E}">
        <p14:creationId xmlns:p14="http://schemas.microsoft.com/office/powerpoint/2010/main" val="6698396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E13FD9-27FD-479D-9792-3B044D1C707C}" type="slidenum">
              <a:rPr lang="zh-CN" altLang="en-US" smtClean="0"/>
              <a:t>100</a:t>
            </a:fld>
            <a:endParaRPr lang="zh-CN" altLang="en-US"/>
          </a:p>
        </p:txBody>
      </p:sp>
    </p:spTree>
    <p:extLst>
      <p:ext uri="{BB962C8B-B14F-4D97-AF65-F5344CB8AC3E}">
        <p14:creationId xmlns:p14="http://schemas.microsoft.com/office/powerpoint/2010/main" val="243564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E3081-82CC-0B58-806C-BEF9860259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1FBBA7-2EF6-643F-F663-F7EFFE178F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8E9918-9225-289E-DD03-4094599402F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9F8C5D-67DC-9DDA-D6B9-A189C87FF556}"/>
              </a:ext>
            </a:extLst>
          </p:cNvPr>
          <p:cNvSpPr>
            <a:spLocks noGrp="1"/>
          </p:cNvSpPr>
          <p:nvPr>
            <p:ph type="sldNum" sz="quarter" idx="5"/>
          </p:nvPr>
        </p:nvSpPr>
        <p:spPr/>
        <p:txBody>
          <a:bodyPr/>
          <a:lstStyle/>
          <a:p>
            <a:fld id="{6308F9D5-63B9-4088-A0EA-655CDC6DDC5F}" type="slidenum">
              <a:rPr lang="en-US" smtClean="0"/>
              <a:t>56</a:t>
            </a:fld>
            <a:endParaRPr lang="en-US" dirty="0"/>
          </a:p>
        </p:txBody>
      </p:sp>
    </p:spTree>
    <p:extLst>
      <p:ext uri="{BB962C8B-B14F-4D97-AF65-F5344CB8AC3E}">
        <p14:creationId xmlns:p14="http://schemas.microsoft.com/office/powerpoint/2010/main" val="1180694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2FD8D2-7986-BBCD-10C8-459D594C67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7ACCDC-20CA-0186-F434-154891C623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8714B3-28B5-8B05-17F7-DB24164742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C451A6-85E6-0B43-E10E-119A913E2905}"/>
              </a:ext>
            </a:extLst>
          </p:cNvPr>
          <p:cNvSpPr>
            <a:spLocks noGrp="1"/>
          </p:cNvSpPr>
          <p:nvPr>
            <p:ph type="sldNum" sz="quarter" idx="5"/>
          </p:nvPr>
        </p:nvSpPr>
        <p:spPr/>
        <p:txBody>
          <a:bodyPr/>
          <a:lstStyle/>
          <a:p>
            <a:fld id="{6308F9D5-63B9-4088-A0EA-655CDC6DDC5F}" type="slidenum">
              <a:rPr lang="en-US" smtClean="0"/>
              <a:t>57</a:t>
            </a:fld>
            <a:endParaRPr lang="en-US" dirty="0"/>
          </a:p>
        </p:txBody>
      </p:sp>
    </p:spTree>
    <p:extLst>
      <p:ext uri="{BB962C8B-B14F-4D97-AF65-F5344CB8AC3E}">
        <p14:creationId xmlns:p14="http://schemas.microsoft.com/office/powerpoint/2010/main" val="1438377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F7EF1-28CD-C53A-599C-BCA4E9D686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ECA09C-9A96-8099-4821-2CC1C0BA86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3F9E24-1D2A-56E5-5102-399F75786E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1416AAC-A085-4C1F-B063-F360138F71FD}"/>
              </a:ext>
            </a:extLst>
          </p:cNvPr>
          <p:cNvSpPr>
            <a:spLocks noGrp="1"/>
          </p:cNvSpPr>
          <p:nvPr>
            <p:ph type="sldNum" sz="quarter" idx="5"/>
          </p:nvPr>
        </p:nvSpPr>
        <p:spPr/>
        <p:txBody>
          <a:bodyPr/>
          <a:lstStyle/>
          <a:p>
            <a:fld id="{6308F9D5-63B9-4088-A0EA-655CDC6DDC5F}" type="slidenum">
              <a:rPr lang="en-US" smtClean="0"/>
              <a:t>58</a:t>
            </a:fld>
            <a:endParaRPr lang="en-US" dirty="0"/>
          </a:p>
        </p:txBody>
      </p:sp>
    </p:spTree>
    <p:extLst>
      <p:ext uri="{BB962C8B-B14F-4D97-AF65-F5344CB8AC3E}">
        <p14:creationId xmlns:p14="http://schemas.microsoft.com/office/powerpoint/2010/main" val="3264616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1</a:t>
            </a:fld>
            <a:endParaRPr lang="en-GB" dirty="0"/>
          </a:p>
        </p:txBody>
      </p:sp>
    </p:spTree>
    <p:extLst>
      <p:ext uri="{BB962C8B-B14F-4D97-AF65-F5344CB8AC3E}">
        <p14:creationId xmlns:p14="http://schemas.microsoft.com/office/powerpoint/2010/main" val="1745561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SzPct val="100000"/>
              <a:buFont typeface="Trebuchet MS" panose="020B0603020202020204" pitchFamily="34" charset="0"/>
              <a:buChar char="​"/>
            </a:pPr>
            <a:r>
              <a:rPr lang="en-US" sz="3200" dirty="0">
                <a:solidFill>
                  <a:schemeClr val="accent3"/>
                </a:solidFill>
                <a:latin typeface="Trebuchet MS" panose="020B0603020202020204" pitchFamily="34" charset="0"/>
                <a:sym typeface="Trebuchet MS"/>
              </a:rPr>
              <a:t>How can we help you?</a:t>
            </a:r>
          </a:p>
          <a:p>
            <a:pPr>
              <a:buSzPct val="100000"/>
              <a:buFont typeface="Trebuchet MS" panose="020B0603020202020204" pitchFamily="34" charset="0"/>
              <a:buChar char="​"/>
            </a:pPr>
            <a:r>
              <a:rPr lang="en-US" dirty="0">
                <a:solidFill>
                  <a:srgbClr val="FFFFFF"/>
                </a:solidFill>
                <a:latin typeface="Trebuchet MS" panose="020B0603020202020204" pitchFamily="34" charset="0"/>
              </a:rPr>
              <a:t>Create, edit, or format slides</a:t>
            </a:r>
          </a:p>
          <a:p>
            <a:pPr>
              <a:buSzPct val="100000"/>
              <a:buFont typeface="Trebuchet MS" panose="020B0603020202020204" pitchFamily="34" charset="0"/>
              <a:buChar char="​"/>
            </a:pPr>
            <a:r>
              <a:rPr lang="en-US" dirty="0">
                <a:solidFill>
                  <a:srgbClr val="FFFFFF"/>
                </a:solidFill>
                <a:latin typeface="Trebuchet MS" panose="020B0603020202020204" pitchFamily="34" charset="0"/>
              </a:rPr>
              <a:t>Sanitize existing slides</a:t>
            </a:r>
          </a:p>
          <a:p>
            <a:pPr>
              <a:buSzPct val="100000"/>
              <a:buFont typeface="Trebuchet MS" panose="020B0603020202020204" pitchFamily="34" charset="0"/>
              <a:buChar char="​"/>
            </a:pPr>
            <a:r>
              <a:rPr lang="en-US" dirty="0">
                <a:solidFill>
                  <a:srgbClr val="FFFFFF"/>
                </a:solidFill>
                <a:latin typeface="Trebuchet MS" panose="020B0603020202020204" pitchFamily="34" charset="0"/>
              </a:rPr>
              <a:t>Convert Legacy slides to Grid slides</a:t>
            </a:r>
          </a:p>
          <a:p>
            <a:pPr>
              <a:buSzPct val="100000"/>
              <a:buFont typeface="Trebuchet MS" panose="020B0603020202020204" pitchFamily="34" charset="0"/>
              <a:buChar char="​"/>
            </a:pPr>
            <a:r>
              <a:rPr lang="en-US" dirty="0">
                <a:solidFill>
                  <a:srgbClr val="FFFFFF"/>
                </a:solidFill>
                <a:latin typeface="Trebuchet MS" panose="020B0603020202020204" pitchFamily="34" charset="0"/>
              </a:rPr>
              <a:t>Convert client format slides to Client slides</a:t>
            </a:r>
          </a:p>
          <a:p>
            <a:pPr>
              <a:buSzPct val="100000"/>
              <a:buFont typeface="Trebuchet MS" panose="020B0603020202020204" pitchFamily="34" charset="0"/>
              <a:buChar char="​"/>
            </a:pPr>
            <a:r>
              <a:rPr lang="en-US" dirty="0">
                <a:solidFill>
                  <a:srgbClr val="FFFFFF"/>
                </a:solidFill>
                <a:latin typeface="Trebuchet MS" panose="020B0603020202020204" pitchFamily="34" charset="0"/>
              </a:rPr>
              <a:t>Create bespoke client macros</a:t>
            </a:r>
          </a:p>
          <a:p>
            <a:pPr>
              <a:buSzPct val="100000"/>
              <a:buFont typeface="Trebuchet MS" panose="020B0603020202020204" pitchFamily="34" charset="0"/>
              <a:buChar char="​"/>
            </a:pPr>
            <a:r>
              <a:rPr lang="en-US" dirty="0">
                <a:solidFill>
                  <a:srgbClr val="FFFFFF"/>
                </a:solidFill>
                <a:latin typeface="Trebuchet MS" panose="020B0603020202020204" pitchFamily="34" charset="0"/>
              </a:rPr>
              <a:t>Other support services for Excel, web surveys, data entry and web research</a:t>
            </a:r>
          </a:p>
          <a:p>
            <a:endParaRPr lang="en-US" dirty="0"/>
          </a:p>
          <a:p>
            <a:endParaRPr lang="en-GB" dirty="0"/>
          </a:p>
        </p:txBody>
      </p:sp>
      <p:sp>
        <p:nvSpPr>
          <p:cNvPr id="4" name="Slide Number Placeholder 3"/>
          <p:cNvSpPr>
            <a:spLocks noGrp="1"/>
          </p:cNvSpPr>
          <p:nvPr>
            <p:ph type="sldNum" sz="quarter" idx="10"/>
          </p:nvPr>
        </p:nvSpPr>
        <p:spPr/>
        <p:txBody>
          <a:bodyPr/>
          <a:lstStyle/>
          <a:p>
            <a:fld id="{7481ECDC-7530-4EA9-86FD-4E56342A475C}" type="slidenum">
              <a:rPr lang="en-US" smtClean="0"/>
              <a:t>82</a:t>
            </a:fld>
            <a:endParaRPr lang="en-US" dirty="0"/>
          </a:p>
        </p:txBody>
      </p:sp>
    </p:spTree>
    <p:extLst>
      <p:ext uri="{BB962C8B-B14F-4D97-AF65-F5344CB8AC3E}">
        <p14:creationId xmlns:p14="http://schemas.microsoft.com/office/powerpoint/2010/main" val="1137135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08F9D5-63B9-4088-A0EA-655CDC6DDC5F}" type="slidenum">
              <a:rPr lang="en-US" smtClean="0"/>
              <a:t>89</a:t>
            </a:fld>
            <a:endParaRPr lang="en-US" dirty="0"/>
          </a:p>
        </p:txBody>
      </p:sp>
    </p:spTree>
    <p:extLst>
      <p:ext uri="{BB962C8B-B14F-4D97-AF65-F5344CB8AC3E}">
        <p14:creationId xmlns:p14="http://schemas.microsoft.com/office/powerpoint/2010/main" val="1200450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C7067-E29F-D383-256D-8C2AD141BC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1CF366-179E-619B-D3D7-BF3735CF60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080189-D1F2-52D3-C856-F859DF70D21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B43F98-4B4A-1F78-7DF0-E516E9BADD8F}"/>
              </a:ext>
            </a:extLst>
          </p:cNvPr>
          <p:cNvSpPr>
            <a:spLocks noGrp="1"/>
          </p:cNvSpPr>
          <p:nvPr>
            <p:ph type="sldNum" sz="quarter" idx="5"/>
          </p:nvPr>
        </p:nvSpPr>
        <p:spPr/>
        <p:txBody>
          <a:bodyPr/>
          <a:lstStyle/>
          <a:p>
            <a:fld id="{6308F9D5-63B9-4088-A0EA-655CDC6DDC5F}" type="slidenum">
              <a:rPr lang="en-US" smtClean="0"/>
              <a:t>90</a:t>
            </a:fld>
            <a:endParaRPr lang="en-US" dirty="0"/>
          </a:p>
        </p:txBody>
      </p:sp>
    </p:spTree>
    <p:extLst>
      <p:ext uri="{BB962C8B-B14F-4D97-AF65-F5344CB8AC3E}">
        <p14:creationId xmlns:p14="http://schemas.microsoft.com/office/powerpoint/2010/main" val="3363468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08F9D5-63B9-4088-A0EA-655CDC6DDC5F}" type="slidenum">
              <a:rPr lang="en-US" smtClean="0"/>
              <a:t>98</a:t>
            </a:fld>
            <a:endParaRPr lang="en-US" dirty="0"/>
          </a:p>
        </p:txBody>
      </p:sp>
    </p:spTree>
    <p:extLst>
      <p:ext uri="{BB962C8B-B14F-4D97-AF65-F5344CB8AC3E}">
        <p14:creationId xmlns:p14="http://schemas.microsoft.com/office/powerpoint/2010/main" val="2026831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Layout">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D5D06DE6-9792-C027-9577-AFD1237BD940}"/>
              </a:ext>
            </a:extLst>
          </p:cNvPr>
          <p:cNvSpPr>
            <a:spLocks noGrp="1"/>
          </p:cNvSpPr>
          <p:nvPr>
            <p:ph type="body" sz="quarter" idx="10" hasCustomPrompt="1"/>
          </p:nvPr>
        </p:nvSpPr>
        <p:spPr>
          <a:xfrm>
            <a:off x="1288860" y="3866701"/>
            <a:ext cx="8091397" cy="1715400"/>
          </a:xfrm>
        </p:spPr>
        <p:txBody>
          <a:bodyPr>
            <a:noAutofit/>
          </a:bodyPr>
          <a:lstStyle>
            <a:lvl1pPr marL="0" indent="0">
              <a:buFontTx/>
              <a:buNone/>
              <a:defRPr sz="4400" b="1">
                <a:solidFill>
                  <a:schemeClr val="accent1"/>
                </a:solidFill>
              </a:defRPr>
            </a:lvl1pPr>
            <a:lvl2pPr marL="457200" indent="0">
              <a:buFontTx/>
              <a:buNone/>
              <a:defRPr sz="4600" b="1"/>
            </a:lvl2pPr>
            <a:lvl3pPr marL="914400" indent="0">
              <a:buFontTx/>
              <a:buNone/>
              <a:defRPr sz="4600" b="1"/>
            </a:lvl3pPr>
            <a:lvl4pPr marL="1371600" indent="0">
              <a:buFontTx/>
              <a:buNone/>
              <a:defRPr sz="4600" b="1"/>
            </a:lvl4pPr>
            <a:lvl5pPr marL="1828800" indent="0">
              <a:buFontTx/>
              <a:buNone/>
              <a:defRPr sz="4600" b="1"/>
            </a:lvl5pPr>
          </a:lstStyle>
          <a:p>
            <a:pPr lvl="0"/>
            <a:r>
              <a:rPr lang="en-US" dirty="0"/>
              <a:t>Presentation Title </a:t>
            </a:r>
          </a:p>
        </p:txBody>
      </p:sp>
      <p:sp>
        <p:nvSpPr>
          <p:cNvPr id="36" name="Text Placeholder 34">
            <a:extLst>
              <a:ext uri="{FF2B5EF4-FFF2-40B4-BE49-F238E27FC236}">
                <a16:creationId xmlns:a16="http://schemas.microsoft.com/office/drawing/2014/main" id="{618FCF8D-01B5-E382-DA13-DA3C3EE912C8}"/>
              </a:ext>
            </a:extLst>
          </p:cNvPr>
          <p:cNvSpPr>
            <a:spLocks noGrp="1"/>
          </p:cNvSpPr>
          <p:nvPr>
            <p:ph type="body" sz="quarter" idx="11" hasCustomPrompt="1"/>
          </p:nvPr>
        </p:nvSpPr>
        <p:spPr>
          <a:xfrm>
            <a:off x="1288860" y="6057900"/>
            <a:ext cx="8091397" cy="438601"/>
          </a:xfrm>
        </p:spPr>
        <p:txBody>
          <a:bodyPr>
            <a:noAutofit/>
          </a:bodyPr>
          <a:lstStyle>
            <a:lvl1pPr marL="0" indent="0">
              <a:buFontTx/>
              <a:buNone/>
              <a:defRPr sz="2000" b="0">
                <a:solidFill>
                  <a:schemeClr val="accent1"/>
                </a:solidFill>
              </a:defRPr>
            </a:lvl1pPr>
            <a:lvl2pPr marL="457200" indent="0">
              <a:buFontTx/>
              <a:buNone/>
              <a:defRPr sz="4600" b="1"/>
            </a:lvl2pPr>
            <a:lvl3pPr marL="914400" indent="0">
              <a:buFontTx/>
              <a:buNone/>
              <a:defRPr sz="4600" b="1"/>
            </a:lvl3pPr>
            <a:lvl4pPr marL="1371600" indent="0">
              <a:buFontTx/>
              <a:buNone/>
              <a:defRPr sz="4600" b="1"/>
            </a:lvl4pPr>
            <a:lvl5pPr marL="1828800" indent="0">
              <a:buFontTx/>
              <a:buNone/>
              <a:defRPr sz="4600" b="1"/>
            </a:lvl5pPr>
          </a:lstStyle>
          <a:p>
            <a:pPr lvl="0"/>
            <a:r>
              <a:rPr lang="en-US" dirty="0"/>
              <a:t>Date</a:t>
            </a:r>
          </a:p>
        </p:txBody>
      </p:sp>
      <p:grpSp>
        <p:nvGrpSpPr>
          <p:cNvPr id="42" name="Group 41">
            <a:extLst>
              <a:ext uri="{FF2B5EF4-FFF2-40B4-BE49-F238E27FC236}">
                <a16:creationId xmlns:a16="http://schemas.microsoft.com/office/drawing/2014/main" id="{C6B335A7-6109-B26B-B9B4-4A350117C7B4}"/>
              </a:ext>
            </a:extLst>
          </p:cNvPr>
          <p:cNvGrpSpPr/>
          <p:nvPr userDrawn="1"/>
        </p:nvGrpSpPr>
        <p:grpSpPr>
          <a:xfrm>
            <a:off x="1" y="0"/>
            <a:ext cx="701674" cy="10287000"/>
            <a:chOff x="1" y="0"/>
            <a:chExt cx="974394" cy="10287000"/>
          </a:xfrm>
        </p:grpSpPr>
        <p:sp>
          <p:nvSpPr>
            <p:cNvPr id="41" name="Freeform 4">
              <a:extLst>
                <a:ext uri="{FF2B5EF4-FFF2-40B4-BE49-F238E27FC236}">
                  <a16:creationId xmlns:a16="http://schemas.microsoft.com/office/drawing/2014/main" id="{2ED1CD4F-7C54-9762-2DC4-C4F5F3FA91CE}"/>
                </a:ext>
              </a:extLst>
            </p:cNvPr>
            <p:cNvSpPr/>
            <p:nvPr userDrawn="1"/>
          </p:nvSpPr>
          <p:spPr>
            <a:xfrm>
              <a:off x="649597" y="0"/>
              <a:ext cx="324798" cy="10287000"/>
            </a:xfrm>
            <a:custGeom>
              <a:avLst/>
              <a:gdLst/>
              <a:ahLst/>
              <a:cxnLst/>
              <a:rect l="l" t="t" r="r" b="b"/>
              <a:pathLst>
                <a:path w="1384190" h="3472226">
                  <a:moveTo>
                    <a:pt x="0" y="0"/>
                  </a:moveTo>
                  <a:lnTo>
                    <a:pt x="1384190" y="0"/>
                  </a:lnTo>
                  <a:lnTo>
                    <a:pt x="1384190" y="3472226"/>
                  </a:lnTo>
                  <a:lnTo>
                    <a:pt x="0" y="3472226"/>
                  </a:lnTo>
                  <a:close/>
                </a:path>
              </a:pathLst>
            </a:custGeom>
            <a:solidFill>
              <a:schemeClr val="accent3"/>
            </a:solidFill>
            <a:ln>
              <a:noFill/>
            </a:ln>
          </p:spPr>
          <p:txBody>
            <a:bodyPr/>
            <a:lstStyle/>
            <a:p>
              <a:endParaRPr lang="en-US" dirty="0"/>
            </a:p>
          </p:txBody>
        </p:sp>
        <p:sp>
          <p:nvSpPr>
            <p:cNvPr id="5" name="Freeform 4">
              <a:extLst>
                <a:ext uri="{FF2B5EF4-FFF2-40B4-BE49-F238E27FC236}">
                  <a16:creationId xmlns:a16="http://schemas.microsoft.com/office/drawing/2014/main" id="{248D07B7-AD58-DF23-DDAD-324509531AD6}"/>
                </a:ext>
              </a:extLst>
            </p:cNvPr>
            <p:cNvSpPr/>
            <p:nvPr/>
          </p:nvSpPr>
          <p:spPr>
            <a:xfrm>
              <a:off x="1" y="0"/>
              <a:ext cx="324798" cy="10287000"/>
            </a:xfrm>
            <a:custGeom>
              <a:avLst/>
              <a:gdLst/>
              <a:ahLst/>
              <a:cxnLst/>
              <a:rect l="l" t="t" r="r" b="b"/>
              <a:pathLst>
                <a:path w="1384190" h="3472226">
                  <a:moveTo>
                    <a:pt x="0" y="0"/>
                  </a:moveTo>
                  <a:lnTo>
                    <a:pt x="1384190" y="0"/>
                  </a:lnTo>
                  <a:lnTo>
                    <a:pt x="1384190" y="3472226"/>
                  </a:lnTo>
                  <a:lnTo>
                    <a:pt x="0" y="3472226"/>
                  </a:lnTo>
                  <a:close/>
                </a:path>
              </a:pathLst>
            </a:custGeom>
            <a:solidFill>
              <a:schemeClr val="accent1"/>
            </a:solidFill>
            <a:ln>
              <a:noFill/>
            </a:ln>
          </p:spPr>
          <p:txBody>
            <a:bodyPr/>
            <a:lstStyle/>
            <a:p>
              <a:endParaRPr lang="en-US" dirty="0"/>
            </a:p>
          </p:txBody>
        </p:sp>
        <p:sp>
          <p:nvSpPr>
            <p:cNvPr id="40" name="Freeform 4">
              <a:extLst>
                <a:ext uri="{FF2B5EF4-FFF2-40B4-BE49-F238E27FC236}">
                  <a16:creationId xmlns:a16="http://schemas.microsoft.com/office/drawing/2014/main" id="{1A1AEC32-8D76-B228-34DA-4B63537F4B0E}"/>
                </a:ext>
              </a:extLst>
            </p:cNvPr>
            <p:cNvSpPr/>
            <p:nvPr userDrawn="1"/>
          </p:nvSpPr>
          <p:spPr>
            <a:xfrm>
              <a:off x="324799" y="0"/>
              <a:ext cx="324798" cy="10287000"/>
            </a:xfrm>
            <a:custGeom>
              <a:avLst/>
              <a:gdLst/>
              <a:ahLst/>
              <a:cxnLst/>
              <a:rect l="l" t="t" r="r" b="b"/>
              <a:pathLst>
                <a:path w="1384190" h="3472226">
                  <a:moveTo>
                    <a:pt x="0" y="0"/>
                  </a:moveTo>
                  <a:lnTo>
                    <a:pt x="1384190" y="0"/>
                  </a:lnTo>
                  <a:lnTo>
                    <a:pt x="1384190" y="3472226"/>
                  </a:lnTo>
                  <a:lnTo>
                    <a:pt x="0" y="3472226"/>
                  </a:lnTo>
                  <a:close/>
                </a:path>
              </a:pathLst>
            </a:custGeom>
            <a:solidFill>
              <a:schemeClr val="accent2"/>
            </a:solidFill>
            <a:ln>
              <a:noFill/>
            </a:ln>
          </p:spPr>
          <p:txBody>
            <a:bodyPr/>
            <a:lstStyle/>
            <a:p>
              <a:endParaRPr lang="en-US" dirty="0"/>
            </a:p>
          </p:txBody>
        </p:sp>
      </p:grpSp>
      <p:sp>
        <p:nvSpPr>
          <p:cNvPr id="18" name="Rectangle: Top Corners Rounded 17">
            <a:extLst>
              <a:ext uri="{FF2B5EF4-FFF2-40B4-BE49-F238E27FC236}">
                <a16:creationId xmlns:a16="http://schemas.microsoft.com/office/drawing/2014/main" id="{3291871F-0CB1-875A-9049-68A6FF376A9F}"/>
              </a:ext>
            </a:extLst>
          </p:cNvPr>
          <p:cNvSpPr/>
          <p:nvPr userDrawn="1"/>
        </p:nvSpPr>
        <p:spPr>
          <a:xfrm rot="16200000">
            <a:off x="13724272" y="4965082"/>
            <a:ext cx="8770621" cy="356836"/>
          </a:xfrm>
          <a:prstGeom prst="round2SameRect">
            <a:avLst>
              <a:gd name="adj1" fmla="val 50000"/>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972195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19" name="Picture Placeholder 13">
            <a:extLst>
              <a:ext uri="{FF2B5EF4-FFF2-40B4-BE49-F238E27FC236}">
                <a16:creationId xmlns:a16="http://schemas.microsoft.com/office/drawing/2014/main" id="{9D74F7B4-56BE-27DF-FDAA-A1BCDA9A8F0B}"/>
              </a:ext>
            </a:extLst>
          </p:cNvPr>
          <p:cNvSpPr>
            <a:spLocks noGrp="1"/>
          </p:cNvSpPr>
          <p:nvPr>
            <p:ph type="pic" sz="quarter" idx="13"/>
          </p:nvPr>
        </p:nvSpPr>
        <p:spPr>
          <a:xfrm>
            <a:off x="2630550" y="2843450"/>
            <a:ext cx="1544312" cy="1544312"/>
          </a:xfrm>
          <a:prstGeom prst="ellipse">
            <a:avLst/>
          </a:prstGeom>
          <a:pattFill prst="pct10">
            <a:fgClr>
              <a:schemeClr val="accent1"/>
            </a:fgClr>
            <a:bgClr>
              <a:schemeClr val="bg1"/>
            </a:bgClr>
          </a:pattFill>
        </p:spPr>
        <p:txBody>
          <a:bodyPr/>
          <a:lstStyle/>
          <a:p>
            <a:endParaRPr lang="en-US" dirty="0"/>
          </a:p>
        </p:txBody>
      </p:sp>
      <p:sp>
        <p:nvSpPr>
          <p:cNvPr id="20" name="Picture Placeholder 13">
            <a:extLst>
              <a:ext uri="{FF2B5EF4-FFF2-40B4-BE49-F238E27FC236}">
                <a16:creationId xmlns:a16="http://schemas.microsoft.com/office/drawing/2014/main" id="{0C3A3381-05D7-EDB1-879C-6EB643DC259B}"/>
              </a:ext>
            </a:extLst>
          </p:cNvPr>
          <p:cNvSpPr>
            <a:spLocks noGrp="1"/>
          </p:cNvSpPr>
          <p:nvPr>
            <p:ph type="pic" sz="quarter" idx="14"/>
          </p:nvPr>
        </p:nvSpPr>
        <p:spPr>
          <a:xfrm>
            <a:off x="6428479" y="2843450"/>
            <a:ext cx="1544312" cy="1544312"/>
          </a:xfrm>
          <a:prstGeom prst="ellipse">
            <a:avLst/>
          </a:prstGeom>
          <a:pattFill prst="pct10">
            <a:fgClr>
              <a:schemeClr val="accent1"/>
            </a:fgClr>
            <a:bgClr>
              <a:schemeClr val="bg1"/>
            </a:bgClr>
          </a:pattFill>
        </p:spPr>
        <p:txBody>
          <a:bodyPr/>
          <a:lstStyle/>
          <a:p>
            <a:endParaRPr lang="en-US" dirty="0"/>
          </a:p>
        </p:txBody>
      </p:sp>
      <p:sp>
        <p:nvSpPr>
          <p:cNvPr id="21" name="Picture Placeholder 13">
            <a:extLst>
              <a:ext uri="{FF2B5EF4-FFF2-40B4-BE49-F238E27FC236}">
                <a16:creationId xmlns:a16="http://schemas.microsoft.com/office/drawing/2014/main" id="{3D2462CD-6AA5-05E5-182A-40899E86BADF}"/>
              </a:ext>
            </a:extLst>
          </p:cNvPr>
          <p:cNvSpPr>
            <a:spLocks noGrp="1"/>
          </p:cNvSpPr>
          <p:nvPr>
            <p:ph type="pic" sz="quarter" idx="15"/>
          </p:nvPr>
        </p:nvSpPr>
        <p:spPr>
          <a:xfrm>
            <a:off x="10226408" y="2843450"/>
            <a:ext cx="1544312" cy="1544312"/>
          </a:xfrm>
          <a:prstGeom prst="ellipse">
            <a:avLst/>
          </a:prstGeom>
          <a:pattFill prst="pct10">
            <a:fgClr>
              <a:schemeClr val="accent1"/>
            </a:fgClr>
            <a:bgClr>
              <a:schemeClr val="bg1"/>
            </a:bgClr>
          </a:pattFill>
        </p:spPr>
        <p:txBody>
          <a:bodyPr/>
          <a:lstStyle/>
          <a:p>
            <a:endParaRPr lang="en-US" dirty="0"/>
          </a:p>
        </p:txBody>
      </p:sp>
      <p:sp>
        <p:nvSpPr>
          <p:cNvPr id="22" name="Picture Placeholder 13">
            <a:extLst>
              <a:ext uri="{FF2B5EF4-FFF2-40B4-BE49-F238E27FC236}">
                <a16:creationId xmlns:a16="http://schemas.microsoft.com/office/drawing/2014/main" id="{BA0F11DD-391D-B2C8-92A6-95898DED8AAA}"/>
              </a:ext>
            </a:extLst>
          </p:cNvPr>
          <p:cNvSpPr>
            <a:spLocks noGrp="1"/>
          </p:cNvSpPr>
          <p:nvPr>
            <p:ph type="pic" sz="quarter" idx="16"/>
          </p:nvPr>
        </p:nvSpPr>
        <p:spPr>
          <a:xfrm>
            <a:off x="14024336" y="2843450"/>
            <a:ext cx="1544312" cy="1544312"/>
          </a:xfrm>
          <a:prstGeom prst="ellipse">
            <a:avLst/>
          </a:prstGeom>
          <a:pattFill prst="pct10">
            <a:fgClr>
              <a:schemeClr val="accent1"/>
            </a:fgClr>
            <a:bgClr>
              <a:schemeClr val="bg1"/>
            </a:bgClr>
          </a:pattFill>
        </p:spPr>
        <p:txBody>
          <a:bodyPr/>
          <a:lstStyle/>
          <a:p>
            <a:endParaRPr lang="en-US" dirty="0"/>
          </a:p>
        </p:txBody>
      </p:sp>
      <p:sp>
        <p:nvSpPr>
          <p:cNvPr id="27" name="Picture Placeholder 13">
            <a:extLst>
              <a:ext uri="{FF2B5EF4-FFF2-40B4-BE49-F238E27FC236}">
                <a16:creationId xmlns:a16="http://schemas.microsoft.com/office/drawing/2014/main" id="{A5B87F88-1840-FD6F-7724-6FBDEB1A5744}"/>
              </a:ext>
            </a:extLst>
          </p:cNvPr>
          <p:cNvSpPr>
            <a:spLocks noGrp="1"/>
          </p:cNvSpPr>
          <p:nvPr>
            <p:ph type="pic" sz="quarter" idx="17"/>
          </p:nvPr>
        </p:nvSpPr>
        <p:spPr>
          <a:xfrm>
            <a:off x="2630550" y="6665325"/>
            <a:ext cx="1544312" cy="1544312"/>
          </a:xfrm>
          <a:prstGeom prst="ellipse">
            <a:avLst/>
          </a:prstGeom>
          <a:pattFill prst="pct10">
            <a:fgClr>
              <a:schemeClr val="accent1"/>
            </a:fgClr>
            <a:bgClr>
              <a:schemeClr val="bg1"/>
            </a:bgClr>
          </a:pattFill>
        </p:spPr>
        <p:txBody>
          <a:bodyPr/>
          <a:lstStyle/>
          <a:p>
            <a:endParaRPr lang="en-US" dirty="0"/>
          </a:p>
        </p:txBody>
      </p:sp>
      <p:sp>
        <p:nvSpPr>
          <p:cNvPr id="28" name="Picture Placeholder 13">
            <a:extLst>
              <a:ext uri="{FF2B5EF4-FFF2-40B4-BE49-F238E27FC236}">
                <a16:creationId xmlns:a16="http://schemas.microsoft.com/office/drawing/2014/main" id="{A7D84A63-B331-8622-DDC5-4D5301BF64AE}"/>
              </a:ext>
            </a:extLst>
          </p:cNvPr>
          <p:cNvSpPr>
            <a:spLocks noGrp="1"/>
          </p:cNvSpPr>
          <p:nvPr>
            <p:ph type="pic" sz="quarter" idx="18"/>
          </p:nvPr>
        </p:nvSpPr>
        <p:spPr>
          <a:xfrm>
            <a:off x="6428479" y="6665325"/>
            <a:ext cx="1544312" cy="1544312"/>
          </a:xfrm>
          <a:prstGeom prst="ellipse">
            <a:avLst/>
          </a:prstGeom>
          <a:pattFill prst="pct10">
            <a:fgClr>
              <a:schemeClr val="accent1"/>
            </a:fgClr>
            <a:bgClr>
              <a:schemeClr val="bg1"/>
            </a:bgClr>
          </a:pattFill>
        </p:spPr>
        <p:txBody>
          <a:bodyPr/>
          <a:lstStyle/>
          <a:p>
            <a:endParaRPr lang="en-US" dirty="0"/>
          </a:p>
        </p:txBody>
      </p:sp>
      <p:sp>
        <p:nvSpPr>
          <p:cNvPr id="29" name="Picture Placeholder 13">
            <a:extLst>
              <a:ext uri="{FF2B5EF4-FFF2-40B4-BE49-F238E27FC236}">
                <a16:creationId xmlns:a16="http://schemas.microsoft.com/office/drawing/2014/main" id="{77DEBFB9-8C26-FDCE-39F7-E63395BC7EB5}"/>
              </a:ext>
            </a:extLst>
          </p:cNvPr>
          <p:cNvSpPr>
            <a:spLocks noGrp="1"/>
          </p:cNvSpPr>
          <p:nvPr>
            <p:ph type="pic" sz="quarter" idx="19"/>
          </p:nvPr>
        </p:nvSpPr>
        <p:spPr>
          <a:xfrm>
            <a:off x="10226408" y="6665325"/>
            <a:ext cx="1544312" cy="1544312"/>
          </a:xfrm>
          <a:prstGeom prst="ellipse">
            <a:avLst/>
          </a:prstGeom>
          <a:pattFill prst="pct10">
            <a:fgClr>
              <a:schemeClr val="accent1"/>
            </a:fgClr>
            <a:bgClr>
              <a:schemeClr val="bg1"/>
            </a:bgClr>
          </a:pattFill>
        </p:spPr>
        <p:txBody>
          <a:bodyPr/>
          <a:lstStyle/>
          <a:p>
            <a:endParaRPr lang="en-US" dirty="0"/>
          </a:p>
        </p:txBody>
      </p:sp>
      <p:sp>
        <p:nvSpPr>
          <p:cNvPr id="30" name="Picture Placeholder 13">
            <a:extLst>
              <a:ext uri="{FF2B5EF4-FFF2-40B4-BE49-F238E27FC236}">
                <a16:creationId xmlns:a16="http://schemas.microsoft.com/office/drawing/2014/main" id="{44BA52C7-035F-7148-BCE9-2371B4EBE33A}"/>
              </a:ext>
            </a:extLst>
          </p:cNvPr>
          <p:cNvSpPr>
            <a:spLocks noGrp="1"/>
          </p:cNvSpPr>
          <p:nvPr>
            <p:ph type="pic" sz="quarter" idx="20"/>
          </p:nvPr>
        </p:nvSpPr>
        <p:spPr>
          <a:xfrm>
            <a:off x="14024336" y="6665325"/>
            <a:ext cx="1544312" cy="1544312"/>
          </a:xfrm>
          <a:prstGeom prst="ellipse">
            <a:avLst/>
          </a:prstGeom>
          <a:pattFill prst="pct10">
            <a:fgClr>
              <a:schemeClr val="accent1"/>
            </a:fgClr>
            <a:bgClr>
              <a:schemeClr val="bg1"/>
            </a:bgClr>
          </a:pattFill>
        </p:spPr>
        <p:txBody>
          <a:bodyPr/>
          <a:lstStyle/>
          <a:p>
            <a:endParaRPr lang="en-US" dirty="0"/>
          </a:p>
        </p:txBody>
      </p:sp>
      <p:sp>
        <p:nvSpPr>
          <p:cNvPr id="4" name="Footer Placeholder 4">
            <a:extLst>
              <a:ext uri="{FF2B5EF4-FFF2-40B4-BE49-F238E27FC236}">
                <a16:creationId xmlns:a16="http://schemas.microsoft.com/office/drawing/2014/main" id="{F14FA3A6-A823-22B9-EE66-97CF5C1DEAE9}"/>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119820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15" name="Picture Placeholder 9">
            <a:extLst>
              <a:ext uri="{FF2B5EF4-FFF2-40B4-BE49-F238E27FC236}">
                <a16:creationId xmlns:a16="http://schemas.microsoft.com/office/drawing/2014/main" id="{5464D427-2C6E-5D04-E3B7-B54B4CFF3749}"/>
              </a:ext>
            </a:extLst>
          </p:cNvPr>
          <p:cNvSpPr>
            <a:spLocks noGrp="1"/>
          </p:cNvSpPr>
          <p:nvPr>
            <p:ph type="pic" sz="quarter" idx="13"/>
          </p:nvPr>
        </p:nvSpPr>
        <p:spPr>
          <a:xfrm>
            <a:off x="714374" y="1889656"/>
            <a:ext cx="3871912" cy="2675550"/>
          </a:xfrm>
          <a:pattFill prst="pct10">
            <a:fgClr>
              <a:schemeClr val="accent1"/>
            </a:fgClr>
            <a:bgClr>
              <a:schemeClr val="bg1"/>
            </a:bgClr>
          </a:pattFill>
          <a:ln>
            <a:noFill/>
          </a:ln>
        </p:spPr>
        <p:txBody>
          <a:bodyPr/>
          <a:lstStyle/>
          <a:p>
            <a:endParaRPr lang="en-US" dirty="0"/>
          </a:p>
        </p:txBody>
      </p:sp>
      <p:sp>
        <p:nvSpPr>
          <p:cNvPr id="16" name="Picture Placeholder 9">
            <a:extLst>
              <a:ext uri="{FF2B5EF4-FFF2-40B4-BE49-F238E27FC236}">
                <a16:creationId xmlns:a16="http://schemas.microsoft.com/office/drawing/2014/main" id="{1A55B09E-E458-56A4-BEBD-E3518AA50AB8}"/>
              </a:ext>
            </a:extLst>
          </p:cNvPr>
          <p:cNvSpPr>
            <a:spLocks noGrp="1"/>
          </p:cNvSpPr>
          <p:nvPr>
            <p:ph type="pic" sz="quarter" idx="14"/>
          </p:nvPr>
        </p:nvSpPr>
        <p:spPr>
          <a:xfrm>
            <a:off x="5043486" y="1889656"/>
            <a:ext cx="3871912" cy="2675550"/>
          </a:xfrm>
          <a:pattFill prst="pct10">
            <a:fgClr>
              <a:schemeClr val="accent1"/>
            </a:fgClr>
            <a:bgClr>
              <a:schemeClr val="bg1"/>
            </a:bgClr>
          </a:pattFill>
          <a:ln>
            <a:noFill/>
          </a:ln>
        </p:spPr>
        <p:txBody>
          <a:bodyPr/>
          <a:lstStyle/>
          <a:p>
            <a:endParaRPr lang="en-US" dirty="0"/>
          </a:p>
        </p:txBody>
      </p:sp>
      <p:sp>
        <p:nvSpPr>
          <p:cNvPr id="17" name="Picture Placeholder 9">
            <a:extLst>
              <a:ext uri="{FF2B5EF4-FFF2-40B4-BE49-F238E27FC236}">
                <a16:creationId xmlns:a16="http://schemas.microsoft.com/office/drawing/2014/main" id="{D9712A65-1E55-1AAC-1F49-8686E5090E46}"/>
              </a:ext>
            </a:extLst>
          </p:cNvPr>
          <p:cNvSpPr>
            <a:spLocks noGrp="1"/>
          </p:cNvSpPr>
          <p:nvPr>
            <p:ph type="pic" sz="quarter" idx="15"/>
          </p:nvPr>
        </p:nvSpPr>
        <p:spPr>
          <a:xfrm>
            <a:off x="9372598" y="1889656"/>
            <a:ext cx="3871912" cy="2675550"/>
          </a:xfrm>
          <a:pattFill prst="pct10">
            <a:fgClr>
              <a:schemeClr val="accent1"/>
            </a:fgClr>
            <a:bgClr>
              <a:schemeClr val="bg1"/>
            </a:bgClr>
          </a:pattFill>
          <a:ln>
            <a:noFill/>
          </a:ln>
        </p:spPr>
        <p:txBody>
          <a:bodyPr/>
          <a:lstStyle/>
          <a:p>
            <a:endParaRPr lang="en-US" dirty="0"/>
          </a:p>
        </p:txBody>
      </p:sp>
      <p:sp>
        <p:nvSpPr>
          <p:cNvPr id="18" name="Picture Placeholder 9">
            <a:extLst>
              <a:ext uri="{FF2B5EF4-FFF2-40B4-BE49-F238E27FC236}">
                <a16:creationId xmlns:a16="http://schemas.microsoft.com/office/drawing/2014/main" id="{138BBE78-D23B-C548-90A3-628D17816A8A}"/>
              </a:ext>
            </a:extLst>
          </p:cNvPr>
          <p:cNvSpPr>
            <a:spLocks noGrp="1"/>
          </p:cNvSpPr>
          <p:nvPr>
            <p:ph type="pic" sz="quarter" idx="16"/>
          </p:nvPr>
        </p:nvSpPr>
        <p:spPr>
          <a:xfrm>
            <a:off x="13701711" y="1889656"/>
            <a:ext cx="3871912" cy="2675550"/>
          </a:xfrm>
          <a:pattFill prst="pct10">
            <a:fgClr>
              <a:schemeClr val="accent1"/>
            </a:fgClr>
            <a:bgClr>
              <a:schemeClr val="bg1"/>
            </a:bgClr>
          </a:pattFill>
          <a:ln>
            <a:noFill/>
          </a:ln>
        </p:spPr>
        <p:txBody>
          <a:bodyPr/>
          <a:lstStyle/>
          <a:p>
            <a:endParaRPr lang="en-US" dirty="0"/>
          </a:p>
        </p:txBody>
      </p:sp>
      <p:sp>
        <p:nvSpPr>
          <p:cNvPr id="4" name="Footer Placeholder 4">
            <a:extLst>
              <a:ext uri="{FF2B5EF4-FFF2-40B4-BE49-F238E27FC236}">
                <a16:creationId xmlns:a16="http://schemas.microsoft.com/office/drawing/2014/main" id="{1C935983-7755-5154-519D-9FE5EBA80E67}"/>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144352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3 Grid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lnSpc>
                <a:spcPct val="100000"/>
              </a:lnSpc>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lvl1pPr>
              <a:lnSpc>
                <a:spcPct val="100000"/>
              </a:lnSpc>
              <a:defRPr/>
            </a:lvl1pPr>
          </a:lstStyle>
          <a:p>
            <a:fld id="{E2D680B1-7F17-42D2-83E2-2C9AC13983BB}" type="slidenum">
              <a:rPr lang="en-US" smtClean="0"/>
              <a:pPr/>
              <a:t>‹#›</a:t>
            </a:fld>
            <a:endParaRPr lang="en-US" dirty="0"/>
          </a:p>
        </p:txBody>
      </p:sp>
      <p:sp>
        <p:nvSpPr>
          <p:cNvPr id="4" name="Content Placeholder 2">
            <a:extLst>
              <a:ext uri="{FF2B5EF4-FFF2-40B4-BE49-F238E27FC236}">
                <a16:creationId xmlns:a16="http://schemas.microsoft.com/office/drawing/2014/main" id="{82BE1B0A-3EFA-CDCD-ACC1-0E1BD80F69D3}"/>
              </a:ext>
            </a:extLst>
          </p:cNvPr>
          <p:cNvSpPr>
            <a:spLocks noGrp="1"/>
          </p:cNvSpPr>
          <p:nvPr>
            <p:ph idx="1"/>
          </p:nvPr>
        </p:nvSpPr>
        <p:spPr>
          <a:xfrm>
            <a:off x="701675" y="2562752"/>
            <a:ext cx="5436871" cy="2852532"/>
          </a:xfrm>
        </p:spPr>
        <p:txBody>
          <a:bodyPr lIns="91440" tIns="0" rIns="91440" bIns="0">
            <a:normAutofit/>
          </a:bodyPr>
          <a:lstStyle>
            <a:lvl1pPr>
              <a:lnSpc>
                <a:spcPct val="100000"/>
              </a:lnSpc>
              <a:spcBef>
                <a:spcPts val="300"/>
              </a:spcBef>
              <a:defRPr sz="2000">
                <a:solidFill>
                  <a:schemeClr val="tx1"/>
                </a:solidFill>
              </a:defRPr>
            </a:lvl1pPr>
            <a:lvl2pPr>
              <a:lnSpc>
                <a:spcPct val="100000"/>
              </a:lnSpc>
              <a:spcBef>
                <a:spcPts val="300"/>
              </a:spcBef>
              <a:defRPr sz="2000">
                <a:solidFill>
                  <a:schemeClr val="tx1"/>
                </a:solidFill>
              </a:defRPr>
            </a:lvl2pPr>
            <a:lvl3pPr>
              <a:lnSpc>
                <a:spcPct val="100000"/>
              </a:lnSpc>
              <a:spcBef>
                <a:spcPts val="300"/>
              </a:spcBef>
              <a:defRPr sz="2000">
                <a:solidFill>
                  <a:schemeClr val="tx1"/>
                </a:solidFill>
              </a:defRPr>
            </a:lvl3pPr>
            <a:lvl4pPr>
              <a:lnSpc>
                <a:spcPct val="100000"/>
              </a:lnSpc>
              <a:spcBef>
                <a:spcPts val="300"/>
              </a:spcBef>
              <a:defRPr sz="2000">
                <a:solidFill>
                  <a:schemeClr val="tx1"/>
                </a:solidFill>
              </a:defRPr>
            </a:lvl4pPr>
            <a:lvl5pPr>
              <a:lnSpc>
                <a:spcPct val="100000"/>
              </a:lnSpc>
              <a:spcBef>
                <a:spcPts val="300"/>
              </a:spcBef>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Content Placeholder 2">
            <a:extLst>
              <a:ext uri="{FF2B5EF4-FFF2-40B4-BE49-F238E27FC236}">
                <a16:creationId xmlns:a16="http://schemas.microsoft.com/office/drawing/2014/main" id="{63077C04-EE84-814F-7B2F-0CC65C0D53C1}"/>
              </a:ext>
            </a:extLst>
          </p:cNvPr>
          <p:cNvSpPr>
            <a:spLocks noGrp="1"/>
          </p:cNvSpPr>
          <p:nvPr>
            <p:ph idx="13" hasCustomPrompt="1"/>
          </p:nvPr>
        </p:nvSpPr>
        <p:spPr>
          <a:xfrm>
            <a:off x="714375" y="1889656"/>
            <a:ext cx="5436871" cy="521565"/>
          </a:xfrm>
          <a:solidFill>
            <a:schemeClr val="accent1"/>
          </a:solidFill>
        </p:spPr>
        <p:txBody>
          <a:bodyPr lIns="91440" tIns="0" rIns="91440" bIns="0" anchor="ctr">
            <a:normAutofit/>
          </a:bodyPr>
          <a:lstStyle>
            <a:lvl1pPr marL="0" indent="0">
              <a:lnSpc>
                <a:spcPct val="100000"/>
              </a:lnSpc>
              <a:buFontTx/>
              <a:buNone/>
              <a:defRPr sz="2000" b="1">
                <a:solidFill>
                  <a:schemeClr val="bg1"/>
                </a:solidFill>
              </a:defRPr>
            </a:lvl1pPr>
            <a:lvl2pPr marL="685800" indent="0">
              <a:buFontTx/>
              <a:buNone/>
              <a:defRPr sz="2700">
                <a:solidFill>
                  <a:schemeClr val="tx1"/>
                </a:solidFill>
              </a:defRPr>
            </a:lvl2pPr>
            <a:lvl3pPr marL="1371600" indent="0">
              <a:buFontTx/>
              <a:buNone/>
              <a:defRPr sz="2400">
                <a:solidFill>
                  <a:schemeClr val="tx1"/>
                </a:solidFill>
              </a:defRPr>
            </a:lvl3pPr>
            <a:lvl4pPr marL="2057400" indent="0">
              <a:buFontTx/>
              <a:buNone/>
              <a:defRPr sz="2100">
                <a:solidFill>
                  <a:schemeClr val="tx1"/>
                </a:solidFill>
              </a:defRPr>
            </a:lvl4pPr>
            <a:lvl5pPr marL="2743200" indent="0">
              <a:buFontTx/>
              <a:buNone/>
              <a:defRPr sz="2100">
                <a:solidFill>
                  <a:schemeClr val="tx1"/>
                </a:solidFill>
              </a:defRPr>
            </a:lvl5pPr>
          </a:lstStyle>
          <a:p>
            <a:pPr lvl="0"/>
            <a:r>
              <a:rPr lang="en-US" dirty="0"/>
              <a:t>Heading</a:t>
            </a:r>
            <a:endParaRPr lang="en-IN" dirty="0"/>
          </a:p>
        </p:txBody>
      </p:sp>
      <p:sp>
        <p:nvSpPr>
          <p:cNvPr id="9" name="Content Placeholder 2">
            <a:extLst>
              <a:ext uri="{FF2B5EF4-FFF2-40B4-BE49-F238E27FC236}">
                <a16:creationId xmlns:a16="http://schemas.microsoft.com/office/drawing/2014/main" id="{6293B461-3AC5-965C-0E00-0FEB9D48CE4B}"/>
              </a:ext>
            </a:extLst>
          </p:cNvPr>
          <p:cNvSpPr>
            <a:spLocks noGrp="1"/>
          </p:cNvSpPr>
          <p:nvPr>
            <p:ph idx="14"/>
          </p:nvPr>
        </p:nvSpPr>
        <p:spPr>
          <a:xfrm>
            <a:off x="6425564" y="2562752"/>
            <a:ext cx="5436871" cy="2852532"/>
          </a:xfrm>
        </p:spPr>
        <p:txBody>
          <a:bodyPr lIns="91440" tIns="0" rIns="91440" bIns="0">
            <a:normAutofit/>
          </a:bodyPr>
          <a:lstStyle>
            <a:lvl1pPr>
              <a:lnSpc>
                <a:spcPct val="100000"/>
              </a:lnSpc>
              <a:spcBef>
                <a:spcPts val="300"/>
              </a:spcBef>
              <a:defRPr sz="2000">
                <a:solidFill>
                  <a:schemeClr val="tx1"/>
                </a:solidFill>
              </a:defRPr>
            </a:lvl1pPr>
            <a:lvl2pPr>
              <a:lnSpc>
                <a:spcPct val="100000"/>
              </a:lnSpc>
              <a:spcBef>
                <a:spcPts val="300"/>
              </a:spcBef>
              <a:defRPr sz="2000">
                <a:solidFill>
                  <a:schemeClr val="tx1"/>
                </a:solidFill>
              </a:defRPr>
            </a:lvl2pPr>
            <a:lvl3pPr>
              <a:lnSpc>
                <a:spcPct val="100000"/>
              </a:lnSpc>
              <a:spcBef>
                <a:spcPts val="300"/>
              </a:spcBef>
              <a:defRPr sz="2000">
                <a:solidFill>
                  <a:schemeClr val="tx1"/>
                </a:solidFill>
              </a:defRPr>
            </a:lvl3pPr>
            <a:lvl4pPr>
              <a:lnSpc>
                <a:spcPct val="100000"/>
              </a:lnSpc>
              <a:spcBef>
                <a:spcPts val="300"/>
              </a:spcBef>
              <a:defRPr sz="2000">
                <a:solidFill>
                  <a:schemeClr val="tx1"/>
                </a:solidFill>
              </a:defRPr>
            </a:lvl4pPr>
            <a:lvl5pPr>
              <a:lnSpc>
                <a:spcPct val="100000"/>
              </a:lnSpc>
              <a:spcBef>
                <a:spcPts val="300"/>
              </a:spcBef>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0" name="Content Placeholder 2">
            <a:extLst>
              <a:ext uri="{FF2B5EF4-FFF2-40B4-BE49-F238E27FC236}">
                <a16:creationId xmlns:a16="http://schemas.microsoft.com/office/drawing/2014/main" id="{27D520F5-6EC0-AC8D-1668-71F10795B5C4}"/>
              </a:ext>
            </a:extLst>
          </p:cNvPr>
          <p:cNvSpPr>
            <a:spLocks noGrp="1"/>
          </p:cNvSpPr>
          <p:nvPr>
            <p:ph idx="15" hasCustomPrompt="1"/>
          </p:nvPr>
        </p:nvSpPr>
        <p:spPr>
          <a:xfrm>
            <a:off x="6425564" y="1894624"/>
            <a:ext cx="5436871" cy="521565"/>
          </a:xfrm>
          <a:solidFill>
            <a:schemeClr val="accent2"/>
          </a:solidFill>
        </p:spPr>
        <p:txBody>
          <a:bodyPr lIns="91440" tIns="0" rIns="91440" bIns="0" anchor="ctr">
            <a:normAutofit/>
          </a:bodyPr>
          <a:lstStyle>
            <a:lvl1pPr marL="0" indent="0">
              <a:lnSpc>
                <a:spcPct val="100000"/>
              </a:lnSpc>
              <a:buFontTx/>
              <a:buNone/>
              <a:defRPr sz="2000" b="1">
                <a:solidFill>
                  <a:schemeClr val="bg1"/>
                </a:solidFill>
              </a:defRPr>
            </a:lvl1pPr>
            <a:lvl2pPr marL="685800" indent="0">
              <a:buFontTx/>
              <a:buNone/>
              <a:defRPr sz="2700">
                <a:solidFill>
                  <a:schemeClr val="tx1"/>
                </a:solidFill>
              </a:defRPr>
            </a:lvl2pPr>
            <a:lvl3pPr marL="1371600" indent="0">
              <a:buFontTx/>
              <a:buNone/>
              <a:defRPr sz="2400">
                <a:solidFill>
                  <a:schemeClr val="tx1"/>
                </a:solidFill>
              </a:defRPr>
            </a:lvl3pPr>
            <a:lvl4pPr marL="2057400" indent="0">
              <a:buFontTx/>
              <a:buNone/>
              <a:defRPr sz="2100">
                <a:solidFill>
                  <a:schemeClr val="tx1"/>
                </a:solidFill>
              </a:defRPr>
            </a:lvl4pPr>
            <a:lvl5pPr marL="2743200" indent="0">
              <a:buFontTx/>
              <a:buNone/>
              <a:defRPr sz="2100">
                <a:solidFill>
                  <a:schemeClr val="tx1"/>
                </a:solidFill>
              </a:defRPr>
            </a:lvl5pPr>
          </a:lstStyle>
          <a:p>
            <a:pPr lvl="0"/>
            <a:r>
              <a:rPr lang="en-US" dirty="0"/>
              <a:t>Heading</a:t>
            </a:r>
            <a:endParaRPr lang="en-IN" dirty="0"/>
          </a:p>
        </p:txBody>
      </p:sp>
      <p:sp>
        <p:nvSpPr>
          <p:cNvPr id="11" name="Content Placeholder 2">
            <a:extLst>
              <a:ext uri="{FF2B5EF4-FFF2-40B4-BE49-F238E27FC236}">
                <a16:creationId xmlns:a16="http://schemas.microsoft.com/office/drawing/2014/main" id="{A08B1C77-9500-179A-EE6E-18BD895ED017}"/>
              </a:ext>
            </a:extLst>
          </p:cNvPr>
          <p:cNvSpPr>
            <a:spLocks noGrp="1"/>
          </p:cNvSpPr>
          <p:nvPr>
            <p:ph idx="16"/>
          </p:nvPr>
        </p:nvSpPr>
        <p:spPr>
          <a:xfrm>
            <a:off x="12136754" y="2562752"/>
            <a:ext cx="5436871" cy="2852532"/>
          </a:xfrm>
        </p:spPr>
        <p:txBody>
          <a:bodyPr lIns="91440" tIns="0" rIns="91440" bIns="0">
            <a:normAutofit/>
          </a:bodyPr>
          <a:lstStyle>
            <a:lvl1pPr>
              <a:lnSpc>
                <a:spcPct val="100000"/>
              </a:lnSpc>
              <a:spcBef>
                <a:spcPts val="300"/>
              </a:spcBef>
              <a:defRPr sz="2000">
                <a:solidFill>
                  <a:schemeClr val="tx1"/>
                </a:solidFill>
              </a:defRPr>
            </a:lvl1pPr>
            <a:lvl2pPr>
              <a:lnSpc>
                <a:spcPct val="100000"/>
              </a:lnSpc>
              <a:spcBef>
                <a:spcPts val="300"/>
              </a:spcBef>
              <a:defRPr sz="2000">
                <a:solidFill>
                  <a:schemeClr val="tx1"/>
                </a:solidFill>
              </a:defRPr>
            </a:lvl2pPr>
            <a:lvl3pPr>
              <a:lnSpc>
                <a:spcPct val="100000"/>
              </a:lnSpc>
              <a:spcBef>
                <a:spcPts val="300"/>
              </a:spcBef>
              <a:defRPr sz="2000">
                <a:solidFill>
                  <a:schemeClr val="tx1"/>
                </a:solidFill>
              </a:defRPr>
            </a:lvl3pPr>
            <a:lvl4pPr>
              <a:lnSpc>
                <a:spcPct val="100000"/>
              </a:lnSpc>
              <a:spcBef>
                <a:spcPts val="300"/>
              </a:spcBef>
              <a:defRPr sz="2000">
                <a:solidFill>
                  <a:schemeClr val="tx1"/>
                </a:solidFill>
              </a:defRPr>
            </a:lvl4pPr>
            <a:lvl5pPr>
              <a:lnSpc>
                <a:spcPct val="100000"/>
              </a:lnSpc>
              <a:spcBef>
                <a:spcPts val="300"/>
              </a:spcBef>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2" name="Content Placeholder 2">
            <a:extLst>
              <a:ext uri="{FF2B5EF4-FFF2-40B4-BE49-F238E27FC236}">
                <a16:creationId xmlns:a16="http://schemas.microsoft.com/office/drawing/2014/main" id="{2B8B7790-3428-1A55-8625-94F1FC2419D2}"/>
              </a:ext>
            </a:extLst>
          </p:cNvPr>
          <p:cNvSpPr>
            <a:spLocks noGrp="1"/>
          </p:cNvSpPr>
          <p:nvPr>
            <p:ph idx="17" hasCustomPrompt="1"/>
          </p:nvPr>
        </p:nvSpPr>
        <p:spPr>
          <a:xfrm>
            <a:off x="12136754" y="1894624"/>
            <a:ext cx="5436871" cy="521565"/>
          </a:xfrm>
          <a:solidFill>
            <a:schemeClr val="accent3"/>
          </a:solidFill>
        </p:spPr>
        <p:txBody>
          <a:bodyPr lIns="91440" tIns="0" rIns="91440" bIns="0" anchor="ctr">
            <a:normAutofit/>
          </a:bodyPr>
          <a:lstStyle>
            <a:lvl1pPr marL="0" indent="0">
              <a:lnSpc>
                <a:spcPct val="100000"/>
              </a:lnSpc>
              <a:buFontTx/>
              <a:buNone/>
              <a:defRPr sz="2000" b="1">
                <a:solidFill>
                  <a:schemeClr val="tx1"/>
                </a:solidFill>
              </a:defRPr>
            </a:lvl1pPr>
            <a:lvl2pPr marL="685800" indent="0">
              <a:buFontTx/>
              <a:buNone/>
              <a:defRPr sz="2700">
                <a:solidFill>
                  <a:schemeClr val="tx1"/>
                </a:solidFill>
              </a:defRPr>
            </a:lvl2pPr>
            <a:lvl3pPr marL="1371600" indent="0">
              <a:buFontTx/>
              <a:buNone/>
              <a:defRPr sz="2400">
                <a:solidFill>
                  <a:schemeClr val="tx1"/>
                </a:solidFill>
              </a:defRPr>
            </a:lvl3pPr>
            <a:lvl4pPr marL="2057400" indent="0">
              <a:buFontTx/>
              <a:buNone/>
              <a:defRPr sz="2100">
                <a:solidFill>
                  <a:schemeClr val="tx1"/>
                </a:solidFill>
              </a:defRPr>
            </a:lvl4pPr>
            <a:lvl5pPr marL="2743200" indent="0">
              <a:buFontTx/>
              <a:buNone/>
              <a:defRPr sz="2100">
                <a:solidFill>
                  <a:schemeClr val="tx1"/>
                </a:solidFill>
              </a:defRPr>
            </a:lvl5pPr>
          </a:lstStyle>
          <a:p>
            <a:pPr lvl="0"/>
            <a:r>
              <a:rPr lang="en-US" dirty="0"/>
              <a:t>Heading</a:t>
            </a:r>
            <a:endParaRPr lang="en-IN" dirty="0"/>
          </a:p>
        </p:txBody>
      </p:sp>
      <p:sp>
        <p:nvSpPr>
          <p:cNvPr id="13" name="Content Placeholder 2">
            <a:extLst>
              <a:ext uri="{FF2B5EF4-FFF2-40B4-BE49-F238E27FC236}">
                <a16:creationId xmlns:a16="http://schemas.microsoft.com/office/drawing/2014/main" id="{1A4714B2-4ED7-3602-5E04-E68455AC5979}"/>
              </a:ext>
            </a:extLst>
          </p:cNvPr>
          <p:cNvSpPr>
            <a:spLocks noGrp="1"/>
          </p:cNvSpPr>
          <p:nvPr>
            <p:ph idx="18"/>
          </p:nvPr>
        </p:nvSpPr>
        <p:spPr>
          <a:xfrm>
            <a:off x="701675" y="6362700"/>
            <a:ext cx="5436871" cy="2852532"/>
          </a:xfrm>
        </p:spPr>
        <p:txBody>
          <a:bodyPr lIns="91440" tIns="0" rIns="91440" bIns="0">
            <a:normAutofit/>
          </a:bodyPr>
          <a:lstStyle>
            <a:lvl1pPr>
              <a:lnSpc>
                <a:spcPct val="100000"/>
              </a:lnSpc>
              <a:spcBef>
                <a:spcPts val="300"/>
              </a:spcBef>
              <a:defRPr sz="2000">
                <a:solidFill>
                  <a:schemeClr val="tx1"/>
                </a:solidFill>
              </a:defRPr>
            </a:lvl1pPr>
            <a:lvl2pPr>
              <a:lnSpc>
                <a:spcPct val="100000"/>
              </a:lnSpc>
              <a:spcBef>
                <a:spcPts val="300"/>
              </a:spcBef>
              <a:defRPr sz="2000">
                <a:solidFill>
                  <a:schemeClr val="tx1"/>
                </a:solidFill>
              </a:defRPr>
            </a:lvl2pPr>
            <a:lvl3pPr>
              <a:lnSpc>
                <a:spcPct val="100000"/>
              </a:lnSpc>
              <a:spcBef>
                <a:spcPts val="300"/>
              </a:spcBef>
              <a:defRPr sz="2000">
                <a:solidFill>
                  <a:schemeClr val="tx1"/>
                </a:solidFill>
              </a:defRPr>
            </a:lvl3pPr>
            <a:lvl4pPr>
              <a:lnSpc>
                <a:spcPct val="100000"/>
              </a:lnSpc>
              <a:spcBef>
                <a:spcPts val="300"/>
              </a:spcBef>
              <a:defRPr sz="2000">
                <a:solidFill>
                  <a:schemeClr val="tx1"/>
                </a:solidFill>
              </a:defRPr>
            </a:lvl4pPr>
            <a:lvl5pPr>
              <a:lnSpc>
                <a:spcPct val="100000"/>
              </a:lnSpc>
              <a:spcBef>
                <a:spcPts val="300"/>
              </a:spcBef>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4" name="Content Placeholder 2">
            <a:extLst>
              <a:ext uri="{FF2B5EF4-FFF2-40B4-BE49-F238E27FC236}">
                <a16:creationId xmlns:a16="http://schemas.microsoft.com/office/drawing/2014/main" id="{5916D0D2-1072-1B37-B2A3-E84B806E1C92}"/>
              </a:ext>
            </a:extLst>
          </p:cNvPr>
          <p:cNvSpPr>
            <a:spLocks noGrp="1"/>
          </p:cNvSpPr>
          <p:nvPr>
            <p:ph idx="19" hasCustomPrompt="1"/>
          </p:nvPr>
        </p:nvSpPr>
        <p:spPr>
          <a:xfrm>
            <a:off x="714375" y="5689604"/>
            <a:ext cx="5436871" cy="521565"/>
          </a:xfrm>
          <a:solidFill>
            <a:schemeClr val="accent1"/>
          </a:solidFill>
        </p:spPr>
        <p:txBody>
          <a:bodyPr lIns="91440" tIns="0" rIns="91440" bIns="0" anchor="ctr">
            <a:normAutofit/>
          </a:bodyPr>
          <a:lstStyle>
            <a:lvl1pPr marL="0" indent="0">
              <a:lnSpc>
                <a:spcPct val="100000"/>
              </a:lnSpc>
              <a:buFontTx/>
              <a:buNone/>
              <a:defRPr sz="2000" b="1">
                <a:solidFill>
                  <a:schemeClr val="bg1"/>
                </a:solidFill>
              </a:defRPr>
            </a:lvl1pPr>
            <a:lvl2pPr marL="685800" indent="0">
              <a:buFontTx/>
              <a:buNone/>
              <a:defRPr sz="2700">
                <a:solidFill>
                  <a:schemeClr val="tx1"/>
                </a:solidFill>
              </a:defRPr>
            </a:lvl2pPr>
            <a:lvl3pPr marL="1371600" indent="0">
              <a:buFontTx/>
              <a:buNone/>
              <a:defRPr sz="2400">
                <a:solidFill>
                  <a:schemeClr val="tx1"/>
                </a:solidFill>
              </a:defRPr>
            </a:lvl3pPr>
            <a:lvl4pPr marL="2057400" indent="0">
              <a:buFontTx/>
              <a:buNone/>
              <a:defRPr sz="2100">
                <a:solidFill>
                  <a:schemeClr val="tx1"/>
                </a:solidFill>
              </a:defRPr>
            </a:lvl4pPr>
            <a:lvl5pPr marL="2743200" indent="0">
              <a:buFontTx/>
              <a:buNone/>
              <a:defRPr sz="2100">
                <a:solidFill>
                  <a:schemeClr val="tx1"/>
                </a:solidFill>
              </a:defRPr>
            </a:lvl5pPr>
          </a:lstStyle>
          <a:p>
            <a:pPr lvl="0"/>
            <a:r>
              <a:rPr lang="en-US" dirty="0"/>
              <a:t>Heading</a:t>
            </a:r>
            <a:endParaRPr lang="en-IN" dirty="0"/>
          </a:p>
        </p:txBody>
      </p:sp>
      <p:sp>
        <p:nvSpPr>
          <p:cNvPr id="15" name="Content Placeholder 2">
            <a:extLst>
              <a:ext uri="{FF2B5EF4-FFF2-40B4-BE49-F238E27FC236}">
                <a16:creationId xmlns:a16="http://schemas.microsoft.com/office/drawing/2014/main" id="{49F92FDE-4A52-5B65-C311-BCA14C41BB6A}"/>
              </a:ext>
            </a:extLst>
          </p:cNvPr>
          <p:cNvSpPr>
            <a:spLocks noGrp="1"/>
          </p:cNvSpPr>
          <p:nvPr>
            <p:ph idx="20"/>
          </p:nvPr>
        </p:nvSpPr>
        <p:spPr>
          <a:xfrm>
            <a:off x="6425564" y="6362700"/>
            <a:ext cx="5436871" cy="2852532"/>
          </a:xfrm>
        </p:spPr>
        <p:txBody>
          <a:bodyPr lIns="91440" tIns="0" rIns="91440" bIns="0">
            <a:normAutofit/>
          </a:bodyPr>
          <a:lstStyle>
            <a:lvl1pPr>
              <a:lnSpc>
                <a:spcPct val="100000"/>
              </a:lnSpc>
              <a:spcBef>
                <a:spcPts val="300"/>
              </a:spcBef>
              <a:defRPr sz="2000">
                <a:solidFill>
                  <a:schemeClr val="tx1"/>
                </a:solidFill>
              </a:defRPr>
            </a:lvl1pPr>
            <a:lvl2pPr>
              <a:lnSpc>
                <a:spcPct val="100000"/>
              </a:lnSpc>
              <a:spcBef>
                <a:spcPts val="300"/>
              </a:spcBef>
              <a:defRPr sz="2000">
                <a:solidFill>
                  <a:schemeClr val="tx1"/>
                </a:solidFill>
              </a:defRPr>
            </a:lvl2pPr>
            <a:lvl3pPr>
              <a:lnSpc>
                <a:spcPct val="100000"/>
              </a:lnSpc>
              <a:spcBef>
                <a:spcPts val="300"/>
              </a:spcBef>
              <a:defRPr sz="2000">
                <a:solidFill>
                  <a:schemeClr val="tx1"/>
                </a:solidFill>
              </a:defRPr>
            </a:lvl3pPr>
            <a:lvl4pPr>
              <a:lnSpc>
                <a:spcPct val="100000"/>
              </a:lnSpc>
              <a:spcBef>
                <a:spcPts val="300"/>
              </a:spcBef>
              <a:defRPr sz="2000">
                <a:solidFill>
                  <a:schemeClr val="tx1"/>
                </a:solidFill>
              </a:defRPr>
            </a:lvl4pPr>
            <a:lvl5pPr>
              <a:lnSpc>
                <a:spcPct val="100000"/>
              </a:lnSpc>
              <a:spcBef>
                <a:spcPts val="300"/>
              </a:spcBef>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6" name="Content Placeholder 2">
            <a:extLst>
              <a:ext uri="{FF2B5EF4-FFF2-40B4-BE49-F238E27FC236}">
                <a16:creationId xmlns:a16="http://schemas.microsoft.com/office/drawing/2014/main" id="{36A15F03-CC85-9E5B-73B8-2E73B47E40CA}"/>
              </a:ext>
            </a:extLst>
          </p:cNvPr>
          <p:cNvSpPr>
            <a:spLocks noGrp="1"/>
          </p:cNvSpPr>
          <p:nvPr>
            <p:ph idx="21" hasCustomPrompt="1"/>
          </p:nvPr>
        </p:nvSpPr>
        <p:spPr>
          <a:xfrm>
            <a:off x="6425564" y="5689604"/>
            <a:ext cx="5436871" cy="521565"/>
          </a:xfrm>
          <a:solidFill>
            <a:schemeClr val="accent2"/>
          </a:solidFill>
        </p:spPr>
        <p:txBody>
          <a:bodyPr lIns="91440" tIns="0" rIns="91440" bIns="0" anchor="ctr">
            <a:normAutofit/>
          </a:bodyPr>
          <a:lstStyle>
            <a:lvl1pPr marL="0" indent="0">
              <a:lnSpc>
                <a:spcPct val="100000"/>
              </a:lnSpc>
              <a:buFontTx/>
              <a:buNone/>
              <a:defRPr sz="2000" b="1">
                <a:solidFill>
                  <a:schemeClr val="bg1"/>
                </a:solidFill>
              </a:defRPr>
            </a:lvl1pPr>
            <a:lvl2pPr marL="685800" indent="0">
              <a:buFontTx/>
              <a:buNone/>
              <a:defRPr sz="2700">
                <a:solidFill>
                  <a:schemeClr val="tx1"/>
                </a:solidFill>
              </a:defRPr>
            </a:lvl2pPr>
            <a:lvl3pPr marL="1371600" indent="0">
              <a:buFontTx/>
              <a:buNone/>
              <a:defRPr sz="2400">
                <a:solidFill>
                  <a:schemeClr val="tx1"/>
                </a:solidFill>
              </a:defRPr>
            </a:lvl3pPr>
            <a:lvl4pPr marL="2057400" indent="0">
              <a:buFontTx/>
              <a:buNone/>
              <a:defRPr sz="2100">
                <a:solidFill>
                  <a:schemeClr val="tx1"/>
                </a:solidFill>
              </a:defRPr>
            </a:lvl4pPr>
            <a:lvl5pPr marL="2743200" indent="0">
              <a:buFontTx/>
              <a:buNone/>
              <a:defRPr sz="2100">
                <a:solidFill>
                  <a:schemeClr val="tx1"/>
                </a:solidFill>
              </a:defRPr>
            </a:lvl5pPr>
          </a:lstStyle>
          <a:p>
            <a:pPr lvl="0"/>
            <a:r>
              <a:rPr lang="en-US" dirty="0"/>
              <a:t>Heading</a:t>
            </a:r>
            <a:endParaRPr lang="en-IN" dirty="0"/>
          </a:p>
        </p:txBody>
      </p:sp>
      <p:sp>
        <p:nvSpPr>
          <p:cNvPr id="17" name="Content Placeholder 2">
            <a:extLst>
              <a:ext uri="{FF2B5EF4-FFF2-40B4-BE49-F238E27FC236}">
                <a16:creationId xmlns:a16="http://schemas.microsoft.com/office/drawing/2014/main" id="{49A53EF9-EA9A-60BD-3F5E-3045DE69141C}"/>
              </a:ext>
            </a:extLst>
          </p:cNvPr>
          <p:cNvSpPr>
            <a:spLocks noGrp="1"/>
          </p:cNvSpPr>
          <p:nvPr>
            <p:ph idx="22"/>
          </p:nvPr>
        </p:nvSpPr>
        <p:spPr>
          <a:xfrm>
            <a:off x="12136754" y="6362700"/>
            <a:ext cx="5436871" cy="2852532"/>
          </a:xfrm>
        </p:spPr>
        <p:txBody>
          <a:bodyPr lIns="91440" tIns="0" rIns="91440" bIns="0">
            <a:normAutofit/>
          </a:bodyPr>
          <a:lstStyle>
            <a:lvl1pPr>
              <a:lnSpc>
                <a:spcPct val="100000"/>
              </a:lnSpc>
              <a:spcBef>
                <a:spcPts val="300"/>
              </a:spcBef>
              <a:defRPr sz="2000">
                <a:solidFill>
                  <a:schemeClr val="tx1"/>
                </a:solidFill>
              </a:defRPr>
            </a:lvl1pPr>
            <a:lvl2pPr>
              <a:lnSpc>
                <a:spcPct val="100000"/>
              </a:lnSpc>
              <a:spcBef>
                <a:spcPts val="300"/>
              </a:spcBef>
              <a:defRPr sz="2000">
                <a:solidFill>
                  <a:schemeClr val="tx1"/>
                </a:solidFill>
              </a:defRPr>
            </a:lvl2pPr>
            <a:lvl3pPr>
              <a:lnSpc>
                <a:spcPct val="100000"/>
              </a:lnSpc>
              <a:spcBef>
                <a:spcPts val="300"/>
              </a:spcBef>
              <a:defRPr sz="2000">
                <a:solidFill>
                  <a:schemeClr val="tx1"/>
                </a:solidFill>
              </a:defRPr>
            </a:lvl3pPr>
            <a:lvl4pPr>
              <a:lnSpc>
                <a:spcPct val="100000"/>
              </a:lnSpc>
              <a:spcBef>
                <a:spcPts val="300"/>
              </a:spcBef>
              <a:defRPr sz="2000">
                <a:solidFill>
                  <a:schemeClr val="tx1"/>
                </a:solidFill>
              </a:defRPr>
            </a:lvl4pPr>
            <a:lvl5pPr>
              <a:lnSpc>
                <a:spcPct val="100000"/>
              </a:lnSpc>
              <a:spcBef>
                <a:spcPts val="300"/>
              </a:spcBef>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8" name="Content Placeholder 2">
            <a:extLst>
              <a:ext uri="{FF2B5EF4-FFF2-40B4-BE49-F238E27FC236}">
                <a16:creationId xmlns:a16="http://schemas.microsoft.com/office/drawing/2014/main" id="{79413566-88CF-1923-92B0-48B2B74519A2}"/>
              </a:ext>
            </a:extLst>
          </p:cNvPr>
          <p:cNvSpPr>
            <a:spLocks noGrp="1"/>
          </p:cNvSpPr>
          <p:nvPr>
            <p:ph idx="23" hasCustomPrompt="1"/>
          </p:nvPr>
        </p:nvSpPr>
        <p:spPr>
          <a:xfrm>
            <a:off x="12136754" y="5689604"/>
            <a:ext cx="5436871" cy="521565"/>
          </a:xfrm>
          <a:solidFill>
            <a:schemeClr val="accent3"/>
          </a:solidFill>
        </p:spPr>
        <p:txBody>
          <a:bodyPr lIns="91440" tIns="0" rIns="91440" bIns="0" anchor="ctr">
            <a:normAutofit/>
          </a:bodyPr>
          <a:lstStyle>
            <a:lvl1pPr marL="0" indent="0">
              <a:lnSpc>
                <a:spcPct val="100000"/>
              </a:lnSpc>
              <a:buFontTx/>
              <a:buNone/>
              <a:defRPr sz="2000" b="1">
                <a:solidFill>
                  <a:schemeClr val="tx1"/>
                </a:solidFill>
              </a:defRPr>
            </a:lvl1pPr>
            <a:lvl2pPr marL="685800" indent="0">
              <a:buFontTx/>
              <a:buNone/>
              <a:defRPr sz="2700">
                <a:solidFill>
                  <a:schemeClr val="tx1"/>
                </a:solidFill>
              </a:defRPr>
            </a:lvl2pPr>
            <a:lvl3pPr marL="1371600" indent="0">
              <a:buFontTx/>
              <a:buNone/>
              <a:defRPr sz="2400">
                <a:solidFill>
                  <a:schemeClr val="tx1"/>
                </a:solidFill>
              </a:defRPr>
            </a:lvl3pPr>
            <a:lvl4pPr marL="2057400" indent="0">
              <a:buFontTx/>
              <a:buNone/>
              <a:defRPr sz="2100">
                <a:solidFill>
                  <a:schemeClr val="tx1"/>
                </a:solidFill>
              </a:defRPr>
            </a:lvl4pPr>
            <a:lvl5pPr marL="2743200" indent="0">
              <a:buFontTx/>
              <a:buNone/>
              <a:defRPr sz="2100">
                <a:solidFill>
                  <a:schemeClr val="tx1"/>
                </a:solidFill>
              </a:defRPr>
            </a:lvl5pPr>
          </a:lstStyle>
          <a:p>
            <a:pPr lvl="0"/>
            <a:r>
              <a:rPr lang="en-US" dirty="0"/>
              <a:t>Heading</a:t>
            </a:r>
            <a:endParaRPr lang="en-IN" dirty="0"/>
          </a:p>
        </p:txBody>
      </p:sp>
      <p:sp>
        <p:nvSpPr>
          <p:cNvPr id="3" name="Footer Placeholder 4">
            <a:extLst>
              <a:ext uri="{FF2B5EF4-FFF2-40B4-BE49-F238E27FC236}">
                <a16:creationId xmlns:a16="http://schemas.microsoft.com/office/drawing/2014/main" id="{05ACDC91-19E7-0788-BDCD-F383247D74F9}"/>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068184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714375" y="1889656"/>
            <a:ext cx="16859250" cy="3525628"/>
          </a:xfrm>
        </p:spPr>
        <p:txBody>
          <a:bodyPr/>
          <a:lstStyle/>
          <a:p>
            <a:endParaRPr lang="en-US" dirty="0"/>
          </a:p>
        </p:txBody>
      </p:sp>
      <p:sp>
        <p:nvSpPr>
          <p:cNvPr id="21" name="Content Placeholder 2">
            <a:extLst>
              <a:ext uri="{FF2B5EF4-FFF2-40B4-BE49-F238E27FC236}">
                <a16:creationId xmlns:a16="http://schemas.microsoft.com/office/drawing/2014/main" id="{19CB5D3D-57C5-FAB3-47E0-27E2CF1A9208}"/>
              </a:ext>
            </a:extLst>
          </p:cNvPr>
          <p:cNvSpPr>
            <a:spLocks noGrp="1"/>
          </p:cNvSpPr>
          <p:nvPr>
            <p:ph idx="14"/>
          </p:nvPr>
        </p:nvSpPr>
        <p:spPr>
          <a:xfrm>
            <a:off x="714375" y="5689604"/>
            <a:ext cx="16859250"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a:extLst>
              <a:ext uri="{FF2B5EF4-FFF2-40B4-BE49-F238E27FC236}">
                <a16:creationId xmlns:a16="http://schemas.microsoft.com/office/drawing/2014/main" id="{05A63069-1EAF-AC1C-97F9-C6A4F1AC74FD}"/>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307644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714375" y="1889656"/>
            <a:ext cx="8292465" cy="3525628"/>
          </a:xfrm>
        </p:spPr>
        <p:txBody>
          <a:bodyPr/>
          <a:lstStyle/>
          <a:p>
            <a:endParaRPr lang="en-US" dirty="0"/>
          </a:p>
        </p:txBody>
      </p:sp>
      <p:sp>
        <p:nvSpPr>
          <p:cNvPr id="21" name="Content Placeholder 2">
            <a:extLst>
              <a:ext uri="{FF2B5EF4-FFF2-40B4-BE49-F238E27FC236}">
                <a16:creationId xmlns:a16="http://schemas.microsoft.com/office/drawing/2014/main" id="{19CB5D3D-57C5-FAB3-47E0-27E2CF1A9208}"/>
              </a:ext>
            </a:extLst>
          </p:cNvPr>
          <p:cNvSpPr>
            <a:spLocks noGrp="1"/>
          </p:cNvSpPr>
          <p:nvPr>
            <p:ph idx="14"/>
          </p:nvPr>
        </p:nvSpPr>
        <p:spPr>
          <a:xfrm>
            <a:off x="714375" y="5689604"/>
            <a:ext cx="8292465"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hart Placeholder 7">
            <a:extLst>
              <a:ext uri="{FF2B5EF4-FFF2-40B4-BE49-F238E27FC236}">
                <a16:creationId xmlns:a16="http://schemas.microsoft.com/office/drawing/2014/main" id="{F18304E0-C823-297F-1C17-7F2A2CD282EF}"/>
              </a:ext>
            </a:extLst>
          </p:cNvPr>
          <p:cNvSpPr>
            <a:spLocks noGrp="1"/>
          </p:cNvSpPr>
          <p:nvPr>
            <p:ph type="chart" sz="quarter" idx="15"/>
          </p:nvPr>
        </p:nvSpPr>
        <p:spPr>
          <a:xfrm>
            <a:off x="9281160" y="1889656"/>
            <a:ext cx="8292465" cy="3525628"/>
          </a:xfrm>
        </p:spPr>
        <p:txBody>
          <a:bodyPr/>
          <a:lstStyle/>
          <a:p>
            <a:endParaRPr lang="en-US" dirty="0"/>
          </a:p>
        </p:txBody>
      </p:sp>
      <p:sp>
        <p:nvSpPr>
          <p:cNvPr id="5" name="Content Placeholder 2">
            <a:extLst>
              <a:ext uri="{FF2B5EF4-FFF2-40B4-BE49-F238E27FC236}">
                <a16:creationId xmlns:a16="http://schemas.microsoft.com/office/drawing/2014/main" id="{1B8C256F-1E8E-317C-6DDA-154F8353D9A6}"/>
              </a:ext>
            </a:extLst>
          </p:cNvPr>
          <p:cNvSpPr>
            <a:spLocks noGrp="1"/>
          </p:cNvSpPr>
          <p:nvPr>
            <p:ph idx="16"/>
          </p:nvPr>
        </p:nvSpPr>
        <p:spPr>
          <a:xfrm>
            <a:off x="9281160" y="5689604"/>
            <a:ext cx="8292465"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18F72F67-E422-837C-5299-028113A715B8}"/>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139898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714375" y="1889656"/>
            <a:ext cx="8292465" cy="3525628"/>
          </a:xfrm>
        </p:spPr>
        <p:txBody>
          <a:bodyPr/>
          <a:lstStyle/>
          <a:p>
            <a:endParaRPr lang="en-US" dirty="0"/>
          </a:p>
        </p:txBody>
      </p:sp>
      <p:sp>
        <p:nvSpPr>
          <p:cNvPr id="21" name="Content Placeholder 2">
            <a:extLst>
              <a:ext uri="{FF2B5EF4-FFF2-40B4-BE49-F238E27FC236}">
                <a16:creationId xmlns:a16="http://schemas.microsoft.com/office/drawing/2014/main" id="{19CB5D3D-57C5-FAB3-47E0-27E2CF1A9208}"/>
              </a:ext>
            </a:extLst>
          </p:cNvPr>
          <p:cNvSpPr>
            <a:spLocks noGrp="1"/>
          </p:cNvSpPr>
          <p:nvPr>
            <p:ph idx="14"/>
          </p:nvPr>
        </p:nvSpPr>
        <p:spPr>
          <a:xfrm>
            <a:off x="9281160" y="1889656"/>
            <a:ext cx="8292465"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hart Placeholder 7">
            <a:extLst>
              <a:ext uri="{FF2B5EF4-FFF2-40B4-BE49-F238E27FC236}">
                <a16:creationId xmlns:a16="http://schemas.microsoft.com/office/drawing/2014/main" id="{F18304E0-C823-297F-1C17-7F2A2CD282EF}"/>
              </a:ext>
            </a:extLst>
          </p:cNvPr>
          <p:cNvSpPr>
            <a:spLocks noGrp="1"/>
          </p:cNvSpPr>
          <p:nvPr>
            <p:ph type="chart" sz="quarter" idx="15"/>
          </p:nvPr>
        </p:nvSpPr>
        <p:spPr>
          <a:xfrm>
            <a:off x="714375" y="5689604"/>
            <a:ext cx="8292465" cy="3525628"/>
          </a:xfrm>
        </p:spPr>
        <p:txBody>
          <a:bodyPr/>
          <a:lstStyle/>
          <a:p>
            <a:endParaRPr lang="en-US" dirty="0"/>
          </a:p>
        </p:txBody>
      </p:sp>
      <p:sp>
        <p:nvSpPr>
          <p:cNvPr id="5" name="Content Placeholder 2">
            <a:extLst>
              <a:ext uri="{FF2B5EF4-FFF2-40B4-BE49-F238E27FC236}">
                <a16:creationId xmlns:a16="http://schemas.microsoft.com/office/drawing/2014/main" id="{1B8C256F-1E8E-317C-6DDA-154F8353D9A6}"/>
              </a:ext>
            </a:extLst>
          </p:cNvPr>
          <p:cNvSpPr>
            <a:spLocks noGrp="1"/>
          </p:cNvSpPr>
          <p:nvPr>
            <p:ph idx="16"/>
          </p:nvPr>
        </p:nvSpPr>
        <p:spPr>
          <a:xfrm>
            <a:off x="9281160" y="5689604"/>
            <a:ext cx="8292465"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F5E5A91E-2C73-14D1-B898-2EBE3672C0E1}"/>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0818951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714375" y="1889656"/>
            <a:ext cx="8292465" cy="3525628"/>
          </a:xfrm>
        </p:spPr>
        <p:txBody>
          <a:bodyPr/>
          <a:lstStyle/>
          <a:p>
            <a:endParaRPr lang="en-US" dirty="0"/>
          </a:p>
        </p:txBody>
      </p:sp>
      <p:sp>
        <p:nvSpPr>
          <p:cNvPr id="4" name="Chart Placeholder 7">
            <a:extLst>
              <a:ext uri="{FF2B5EF4-FFF2-40B4-BE49-F238E27FC236}">
                <a16:creationId xmlns:a16="http://schemas.microsoft.com/office/drawing/2014/main" id="{F18304E0-C823-297F-1C17-7F2A2CD282EF}"/>
              </a:ext>
            </a:extLst>
          </p:cNvPr>
          <p:cNvSpPr>
            <a:spLocks noGrp="1"/>
          </p:cNvSpPr>
          <p:nvPr>
            <p:ph type="chart" sz="quarter" idx="15"/>
          </p:nvPr>
        </p:nvSpPr>
        <p:spPr>
          <a:xfrm>
            <a:off x="714375" y="5689604"/>
            <a:ext cx="8292465" cy="3525628"/>
          </a:xfrm>
        </p:spPr>
        <p:txBody>
          <a:bodyPr/>
          <a:lstStyle/>
          <a:p>
            <a:endParaRPr lang="en-US" dirty="0"/>
          </a:p>
        </p:txBody>
      </p:sp>
      <p:sp>
        <p:nvSpPr>
          <p:cNvPr id="9" name="Chart Placeholder 7">
            <a:extLst>
              <a:ext uri="{FF2B5EF4-FFF2-40B4-BE49-F238E27FC236}">
                <a16:creationId xmlns:a16="http://schemas.microsoft.com/office/drawing/2014/main" id="{0D87B413-325F-DFE4-4CD4-DB642FFB8606}"/>
              </a:ext>
            </a:extLst>
          </p:cNvPr>
          <p:cNvSpPr>
            <a:spLocks noGrp="1"/>
          </p:cNvSpPr>
          <p:nvPr>
            <p:ph type="chart" sz="quarter" idx="17"/>
          </p:nvPr>
        </p:nvSpPr>
        <p:spPr>
          <a:xfrm>
            <a:off x="9281160" y="1889656"/>
            <a:ext cx="8292465" cy="3525628"/>
          </a:xfrm>
        </p:spPr>
        <p:txBody>
          <a:bodyPr/>
          <a:lstStyle/>
          <a:p>
            <a:endParaRPr lang="en-US" dirty="0"/>
          </a:p>
        </p:txBody>
      </p:sp>
      <p:sp>
        <p:nvSpPr>
          <p:cNvPr id="10" name="Chart Placeholder 7">
            <a:extLst>
              <a:ext uri="{FF2B5EF4-FFF2-40B4-BE49-F238E27FC236}">
                <a16:creationId xmlns:a16="http://schemas.microsoft.com/office/drawing/2014/main" id="{55F0A100-1971-96D3-AD25-96E598F8B47A}"/>
              </a:ext>
            </a:extLst>
          </p:cNvPr>
          <p:cNvSpPr>
            <a:spLocks noGrp="1"/>
          </p:cNvSpPr>
          <p:nvPr>
            <p:ph type="chart" sz="quarter" idx="18"/>
          </p:nvPr>
        </p:nvSpPr>
        <p:spPr>
          <a:xfrm>
            <a:off x="9281160" y="5689604"/>
            <a:ext cx="8292465" cy="3525628"/>
          </a:xfrm>
        </p:spPr>
        <p:txBody>
          <a:bodyPr/>
          <a:lstStyle/>
          <a:p>
            <a:endParaRPr lang="en-US" dirty="0"/>
          </a:p>
        </p:txBody>
      </p:sp>
      <p:sp>
        <p:nvSpPr>
          <p:cNvPr id="5" name="Footer Placeholder 4">
            <a:extLst>
              <a:ext uri="{FF2B5EF4-FFF2-40B4-BE49-F238E27FC236}">
                <a16:creationId xmlns:a16="http://schemas.microsoft.com/office/drawing/2014/main" id="{4793705F-9234-C263-3A1B-3A252A19B0B5}"/>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41903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5040630" y="1889656"/>
            <a:ext cx="3880485" cy="3525628"/>
          </a:xfrm>
        </p:spPr>
        <p:txBody>
          <a:bodyPr/>
          <a:lstStyle/>
          <a:p>
            <a:endParaRPr lang="en-US" dirty="0"/>
          </a:p>
        </p:txBody>
      </p:sp>
      <p:sp>
        <p:nvSpPr>
          <p:cNvPr id="4" name="Chart Placeholder 7">
            <a:extLst>
              <a:ext uri="{FF2B5EF4-FFF2-40B4-BE49-F238E27FC236}">
                <a16:creationId xmlns:a16="http://schemas.microsoft.com/office/drawing/2014/main" id="{F18304E0-C823-297F-1C17-7F2A2CD282EF}"/>
              </a:ext>
            </a:extLst>
          </p:cNvPr>
          <p:cNvSpPr>
            <a:spLocks noGrp="1"/>
          </p:cNvSpPr>
          <p:nvPr>
            <p:ph type="chart" sz="quarter" idx="15"/>
          </p:nvPr>
        </p:nvSpPr>
        <p:spPr>
          <a:xfrm>
            <a:off x="714375" y="1889656"/>
            <a:ext cx="3880485" cy="3525628"/>
          </a:xfrm>
        </p:spPr>
        <p:txBody>
          <a:bodyPr/>
          <a:lstStyle/>
          <a:p>
            <a:endParaRPr lang="en-US" dirty="0"/>
          </a:p>
        </p:txBody>
      </p:sp>
      <p:sp>
        <p:nvSpPr>
          <p:cNvPr id="9" name="Chart Placeholder 7">
            <a:extLst>
              <a:ext uri="{FF2B5EF4-FFF2-40B4-BE49-F238E27FC236}">
                <a16:creationId xmlns:a16="http://schemas.microsoft.com/office/drawing/2014/main" id="{0D87B413-325F-DFE4-4CD4-DB642FFB8606}"/>
              </a:ext>
            </a:extLst>
          </p:cNvPr>
          <p:cNvSpPr>
            <a:spLocks noGrp="1"/>
          </p:cNvSpPr>
          <p:nvPr>
            <p:ph type="chart" sz="quarter" idx="17"/>
          </p:nvPr>
        </p:nvSpPr>
        <p:spPr>
          <a:xfrm>
            <a:off x="13693140" y="1889656"/>
            <a:ext cx="3880485" cy="3525628"/>
          </a:xfrm>
        </p:spPr>
        <p:txBody>
          <a:bodyPr/>
          <a:lstStyle/>
          <a:p>
            <a:endParaRPr lang="en-US" dirty="0"/>
          </a:p>
        </p:txBody>
      </p:sp>
      <p:sp>
        <p:nvSpPr>
          <p:cNvPr id="10" name="Chart Placeholder 7">
            <a:extLst>
              <a:ext uri="{FF2B5EF4-FFF2-40B4-BE49-F238E27FC236}">
                <a16:creationId xmlns:a16="http://schemas.microsoft.com/office/drawing/2014/main" id="{55F0A100-1971-96D3-AD25-96E598F8B47A}"/>
              </a:ext>
            </a:extLst>
          </p:cNvPr>
          <p:cNvSpPr>
            <a:spLocks noGrp="1"/>
          </p:cNvSpPr>
          <p:nvPr>
            <p:ph type="chart" sz="quarter" idx="18"/>
          </p:nvPr>
        </p:nvSpPr>
        <p:spPr>
          <a:xfrm>
            <a:off x="9366885" y="1889656"/>
            <a:ext cx="3880485" cy="3525628"/>
          </a:xfrm>
        </p:spPr>
        <p:txBody>
          <a:bodyPr/>
          <a:lstStyle/>
          <a:p>
            <a:endParaRPr lang="en-US" dirty="0"/>
          </a:p>
        </p:txBody>
      </p:sp>
      <p:sp>
        <p:nvSpPr>
          <p:cNvPr id="5" name="Footer Placeholder 4">
            <a:extLst>
              <a:ext uri="{FF2B5EF4-FFF2-40B4-BE49-F238E27FC236}">
                <a16:creationId xmlns:a16="http://schemas.microsoft.com/office/drawing/2014/main" id="{7A9E0C1D-F688-75FA-168B-CF3FAA201C03}"/>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985484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11218918" y="1889655"/>
            <a:ext cx="6354707" cy="7325576"/>
          </a:xfrm>
        </p:spPr>
        <p:txBody>
          <a:bodyPr/>
          <a:lstStyle/>
          <a:p>
            <a:endParaRPr lang="en-US" dirty="0"/>
          </a:p>
        </p:txBody>
      </p:sp>
      <p:sp>
        <p:nvSpPr>
          <p:cNvPr id="21" name="Content Placeholder 2">
            <a:extLst>
              <a:ext uri="{FF2B5EF4-FFF2-40B4-BE49-F238E27FC236}">
                <a16:creationId xmlns:a16="http://schemas.microsoft.com/office/drawing/2014/main" id="{19CB5D3D-57C5-FAB3-47E0-27E2CF1A9208}"/>
              </a:ext>
            </a:extLst>
          </p:cNvPr>
          <p:cNvSpPr>
            <a:spLocks noGrp="1"/>
          </p:cNvSpPr>
          <p:nvPr>
            <p:ph idx="14"/>
          </p:nvPr>
        </p:nvSpPr>
        <p:spPr>
          <a:xfrm>
            <a:off x="714375" y="1889655"/>
            <a:ext cx="10230224" cy="7325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a:extLst>
              <a:ext uri="{FF2B5EF4-FFF2-40B4-BE49-F238E27FC236}">
                <a16:creationId xmlns:a16="http://schemas.microsoft.com/office/drawing/2014/main" id="{5B0F2C62-4F31-15FD-84E2-56D51B71A494}"/>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28218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3" name="Chart Placeholder 7">
            <a:extLst>
              <a:ext uri="{FF2B5EF4-FFF2-40B4-BE49-F238E27FC236}">
                <a16:creationId xmlns:a16="http://schemas.microsoft.com/office/drawing/2014/main" id="{A105976E-98CC-1525-77A5-60BC6F8246EB}"/>
              </a:ext>
            </a:extLst>
          </p:cNvPr>
          <p:cNvSpPr>
            <a:spLocks noGrp="1"/>
          </p:cNvSpPr>
          <p:nvPr>
            <p:ph type="chart" sz="quarter" idx="13"/>
          </p:nvPr>
        </p:nvSpPr>
        <p:spPr>
          <a:xfrm>
            <a:off x="6425564" y="1889656"/>
            <a:ext cx="5436871" cy="3525628"/>
          </a:xfrm>
        </p:spPr>
        <p:txBody>
          <a:bodyPr/>
          <a:lstStyle/>
          <a:p>
            <a:endParaRPr lang="en-US" dirty="0"/>
          </a:p>
        </p:txBody>
      </p:sp>
      <p:sp>
        <p:nvSpPr>
          <p:cNvPr id="4" name="Chart Placeholder 7">
            <a:extLst>
              <a:ext uri="{FF2B5EF4-FFF2-40B4-BE49-F238E27FC236}">
                <a16:creationId xmlns:a16="http://schemas.microsoft.com/office/drawing/2014/main" id="{F18304E0-C823-297F-1C17-7F2A2CD282EF}"/>
              </a:ext>
            </a:extLst>
          </p:cNvPr>
          <p:cNvSpPr>
            <a:spLocks noGrp="1"/>
          </p:cNvSpPr>
          <p:nvPr>
            <p:ph type="chart" sz="quarter" idx="15"/>
          </p:nvPr>
        </p:nvSpPr>
        <p:spPr>
          <a:xfrm>
            <a:off x="714375" y="1889656"/>
            <a:ext cx="5436871" cy="3525628"/>
          </a:xfrm>
        </p:spPr>
        <p:txBody>
          <a:bodyPr/>
          <a:lstStyle/>
          <a:p>
            <a:endParaRPr lang="en-US" dirty="0"/>
          </a:p>
        </p:txBody>
      </p:sp>
      <p:sp>
        <p:nvSpPr>
          <p:cNvPr id="10" name="Chart Placeholder 7">
            <a:extLst>
              <a:ext uri="{FF2B5EF4-FFF2-40B4-BE49-F238E27FC236}">
                <a16:creationId xmlns:a16="http://schemas.microsoft.com/office/drawing/2014/main" id="{55F0A100-1971-96D3-AD25-96E598F8B47A}"/>
              </a:ext>
            </a:extLst>
          </p:cNvPr>
          <p:cNvSpPr>
            <a:spLocks noGrp="1"/>
          </p:cNvSpPr>
          <p:nvPr>
            <p:ph type="chart" sz="quarter" idx="18"/>
          </p:nvPr>
        </p:nvSpPr>
        <p:spPr>
          <a:xfrm>
            <a:off x="12136754" y="1889656"/>
            <a:ext cx="5436871" cy="3525628"/>
          </a:xfrm>
        </p:spPr>
        <p:txBody>
          <a:bodyPr/>
          <a:lstStyle/>
          <a:p>
            <a:endParaRPr lang="en-US" dirty="0"/>
          </a:p>
        </p:txBody>
      </p:sp>
      <p:sp>
        <p:nvSpPr>
          <p:cNvPr id="5" name="Content Placeholder 2">
            <a:extLst>
              <a:ext uri="{FF2B5EF4-FFF2-40B4-BE49-F238E27FC236}">
                <a16:creationId xmlns:a16="http://schemas.microsoft.com/office/drawing/2014/main" id="{55A7FA16-0C02-E692-8526-16F583C3F045}"/>
              </a:ext>
            </a:extLst>
          </p:cNvPr>
          <p:cNvSpPr>
            <a:spLocks noGrp="1"/>
          </p:cNvSpPr>
          <p:nvPr>
            <p:ph idx="14"/>
          </p:nvPr>
        </p:nvSpPr>
        <p:spPr>
          <a:xfrm>
            <a:off x="714375" y="5689604"/>
            <a:ext cx="5436871"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D42B77EF-A62E-AAFD-BC1D-629764A00EC2}"/>
              </a:ext>
            </a:extLst>
          </p:cNvPr>
          <p:cNvSpPr>
            <a:spLocks noGrp="1"/>
          </p:cNvSpPr>
          <p:nvPr>
            <p:ph idx="19"/>
          </p:nvPr>
        </p:nvSpPr>
        <p:spPr>
          <a:xfrm>
            <a:off x="6425564" y="5689604"/>
            <a:ext cx="5436871"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9E870889-49DC-DDA8-AC0C-91F97C821391}"/>
              </a:ext>
            </a:extLst>
          </p:cNvPr>
          <p:cNvSpPr>
            <a:spLocks noGrp="1"/>
          </p:cNvSpPr>
          <p:nvPr>
            <p:ph idx="20"/>
          </p:nvPr>
        </p:nvSpPr>
        <p:spPr>
          <a:xfrm>
            <a:off x="12136754" y="5689604"/>
            <a:ext cx="5436871" cy="35256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7050601D-DC9F-2EFA-8CF3-B8A12ACF30A2}"/>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624545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ayout">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D5D06DE6-9792-C027-9577-AFD1237BD940}"/>
              </a:ext>
            </a:extLst>
          </p:cNvPr>
          <p:cNvSpPr>
            <a:spLocks noGrp="1"/>
          </p:cNvSpPr>
          <p:nvPr>
            <p:ph type="body" sz="quarter" idx="10" hasCustomPrompt="1"/>
          </p:nvPr>
        </p:nvSpPr>
        <p:spPr>
          <a:xfrm>
            <a:off x="1288860" y="3866701"/>
            <a:ext cx="8091397" cy="1715400"/>
          </a:xfrm>
        </p:spPr>
        <p:txBody>
          <a:bodyPr>
            <a:noAutofit/>
          </a:bodyPr>
          <a:lstStyle>
            <a:lvl1pPr marL="0" indent="0">
              <a:buFontTx/>
              <a:buNone/>
              <a:defRPr sz="4400" b="1">
                <a:solidFill>
                  <a:schemeClr val="accent1"/>
                </a:solidFill>
              </a:defRPr>
            </a:lvl1pPr>
            <a:lvl2pPr marL="457200" indent="0">
              <a:buFontTx/>
              <a:buNone/>
              <a:defRPr sz="4600" b="1"/>
            </a:lvl2pPr>
            <a:lvl3pPr marL="914400" indent="0">
              <a:buFontTx/>
              <a:buNone/>
              <a:defRPr sz="4600" b="1"/>
            </a:lvl3pPr>
            <a:lvl4pPr marL="1371600" indent="0">
              <a:buFontTx/>
              <a:buNone/>
              <a:defRPr sz="4600" b="1"/>
            </a:lvl4pPr>
            <a:lvl5pPr marL="1828800" indent="0">
              <a:buFontTx/>
              <a:buNone/>
              <a:defRPr sz="4600" b="1"/>
            </a:lvl5pPr>
          </a:lstStyle>
          <a:p>
            <a:pPr lvl="0"/>
            <a:r>
              <a:rPr lang="en-US" dirty="0"/>
              <a:t>Presentation Title </a:t>
            </a:r>
          </a:p>
        </p:txBody>
      </p:sp>
      <p:sp>
        <p:nvSpPr>
          <p:cNvPr id="36" name="Text Placeholder 34">
            <a:extLst>
              <a:ext uri="{FF2B5EF4-FFF2-40B4-BE49-F238E27FC236}">
                <a16:creationId xmlns:a16="http://schemas.microsoft.com/office/drawing/2014/main" id="{618FCF8D-01B5-E382-DA13-DA3C3EE912C8}"/>
              </a:ext>
            </a:extLst>
          </p:cNvPr>
          <p:cNvSpPr>
            <a:spLocks noGrp="1"/>
          </p:cNvSpPr>
          <p:nvPr>
            <p:ph type="body" sz="quarter" idx="11" hasCustomPrompt="1"/>
          </p:nvPr>
        </p:nvSpPr>
        <p:spPr>
          <a:xfrm>
            <a:off x="1288860" y="6057900"/>
            <a:ext cx="8091397" cy="438601"/>
          </a:xfrm>
        </p:spPr>
        <p:txBody>
          <a:bodyPr>
            <a:noAutofit/>
          </a:bodyPr>
          <a:lstStyle>
            <a:lvl1pPr marL="0" indent="0">
              <a:buFontTx/>
              <a:buNone/>
              <a:defRPr sz="2000" b="0">
                <a:solidFill>
                  <a:schemeClr val="accent1"/>
                </a:solidFill>
              </a:defRPr>
            </a:lvl1pPr>
            <a:lvl2pPr marL="457200" indent="0">
              <a:buFontTx/>
              <a:buNone/>
              <a:defRPr sz="4600" b="1"/>
            </a:lvl2pPr>
            <a:lvl3pPr marL="914400" indent="0">
              <a:buFontTx/>
              <a:buNone/>
              <a:defRPr sz="4600" b="1"/>
            </a:lvl3pPr>
            <a:lvl4pPr marL="1371600" indent="0">
              <a:buFontTx/>
              <a:buNone/>
              <a:defRPr sz="4600" b="1"/>
            </a:lvl4pPr>
            <a:lvl5pPr marL="1828800" indent="0">
              <a:buFontTx/>
              <a:buNone/>
              <a:defRPr sz="4600" b="1"/>
            </a:lvl5pPr>
          </a:lstStyle>
          <a:p>
            <a:pPr lvl="0"/>
            <a:r>
              <a:rPr lang="en-US" dirty="0"/>
              <a:t>Date</a:t>
            </a:r>
          </a:p>
        </p:txBody>
      </p:sp>
      <p:grpSp>
        <p:nvGrpSpPr>
          <p:cNvPr id="42" name="Group 41">
            <a:extLst>
              <a:ext uri="{FF2B5EF4-FFF2-40B4-BE49-F238E27FC236}">
                <a16:creationId xmlns:a16="http://schemas.microsoft.com/office/drawing/2014/main" id="{C6B335A7-6109-B26B-B9B4-4A350117C7B4}"/>
              </a:ext>
            </a:extLst>
          </p:cNvPr>
          <p:cNvGrpSpPr/>
          <p:nvPr userDrawn="1"/>
        </p:nvGrpSpPr>
        <p:grpSpPr>
          <a:xfrm>
            <a:off x="1" y="0"/>
            <a:ext cx="701674" cy="10287000"/>
            <a:chOff x="1" y="0"/>
            <a:chExt cx="974394" cy="10287000"/>
          </a:xfrm>
        </p:grpSpPr>
        <p:sp>
          <p:nvSpPr>
            <p:cNvPr id="41" name="Freeform 4">
              <a:extLst>
                <a:ext uri="{FF2B5EF4-FFF2-40B4-BE49-F238E27FC236}">
                  <a16:creationId xmlns:a16="http://schemas.microsoft.com/office/drawing/2014/main" id="{2ED1CD4F-7C54-9762-2DC4-C4F5F3FA91CE}"/>
                </a:ext>
              </a:extLst>
            </p:cNvPr>
            <p:cNvSpPr/>
            <p:nvPr userDrawn="1"/>
          </p:nvSpPr>
          <p:spPr>
            <a:xfrm>
              <a:off x="649597" y="0"/>
              <a:ext cx="324798" cy="10287000"/>
            </a:xfrm>
            <a:custGeom>
              <a:avLst/>
              <a:gdLst/>
              <a:ahLst/>
              <a:cxnLst/>
              <a:rect l="l" t="t" r="r" b="b"/>
              <a:pathLst>
                <a:path w="1384190" h="3472226">
                  <a:moveTo>
                    <a:pt x="0" y="0"/>
                  </a:moveTo>
                  <a:lnTo>
                    <a:pt x="1384190" y="0"/>
                  </a:lnTo>
                  <a:lnTo>
                    <a:pt x="1384190" y="3472226"/>
                  </a:lnTo>
                  <a:lnTo>
                    <a:pt x="0" y="3472226"/>
                  </a:lnTo>
                  <a:close/>
                </a:path>
              </a:pathLst>
            </a:custGeom>
            <a:solidFill>
              <a:schemeClr val="accent3"/>
            </a:solidFill>
            <a:ln>
              <a:noFill/>
            </a:ln>
          </p:spPr>
          <p:txBody>
            <a:bodyPr/>
            <a:lstStyle/>
            <a:p>
              <a:endParaRPr lang="en-US" dirty="0"/>
            </a:p>
          </p:txBody>
        </p:sp>
        <p:sp>
          <p:nvSpPr>
            <p:cNvPr id="5" name="Freeform 4">
              <a:extLst>
                <a:ext uri="{FF2B5EF4-FFF2-40B4-BE49-F238E27FC236}">
                  <a16:creationId xmlns:a16="http://schemas.microsoft.com/office/drawing/2014/main" id="{248D07B7-AD58-DF23-DDAD-324509531AD6}"/>
                </a:ext>
              </a:extLst>
            </p:cNvPr>
            <p:cNvSpPr/>
            <p:nvPr/>
          </p:nvSpPr>
          <p:spPr>
            <a:xfrm>
              <a:off x="1" y="0"/>
              <a:ext cx="324798" cy="10287000"/>
            </a:xfrm>
            <a:custGeom>
              <a:avLst/>
              <a:gdLst/>
              <a:ahLst/>
              <a:cxnLst/>
              <a:rect l="l" t="t" r="r" b="b"/>
              <a:pathLst>
                <a:path w="1384190" h="3472226">
                  <a:moveTo>
                    <a:pt x="0" y="0"/>
                  </a:moveTo>
                  <a:lnTo>
                    <a:pt x="1384190" y="0"/>
                  </a:lnTo>
                  <a:lnTo>
                    <a:pt x="1384190" y="3472226"/>
                  </a:lnTo>
                  <a:lnTo>
                    <a:pt x="0" y="3472226"/>
                  </a:lnTo>
                  <a:close/>
                </a:path>
              </a:pathLst>
            </a:custGeom>
            <a:solidFill>
              <a:schemeClr val="accent1"/>
            </a:solidFill>
            <a:ln>
              <a:noFill/>
            </a:ln>
          </p:spPr>
          <p:txBody>
            <a:bodyPr/>
            <a:lstStyle/>
            <a:p>
              <a:endParaRPr lang="en-US" dirty="0"/>
            </a:p>
          </p:txBody>
        </p:sp>
        <p:sp>
          <p:nvSpPr>
            <p:cNvPr id="40" name="Freeform 4">
              <a:extLst>
                <a:ext uri="{FF2B5EF4-FFF2-40B4-BE49-F238E27FC236}">
                  <a16:creationId xmlns:a16="http://schemas.microsoft.com/office/drawing/2014/main" id="{1A1AEC32-8D76-B228-34DA-4B63537F4B0E}"/>
                </a:ext>
              </a:extLst>
            </p:cNvPr>
            <p:cNvSpPr/>
            <p:nvPr userDrawn="1"/>
          </p:nvSpPr>
          <p:spPr>
            <a:xfrm>
              <a:off x="324799" y="0"/>
              <a:ext cx="324798" cy="10287000"/>
            </a:xfrm>
            <a:custGeom>
              <a:avLst/>
              <a:gdLst/>
              <a:ahLst/>
              <a:cxnLst/>
              <a:rect l="l" t="t" r="r" b="b"/>
              <a:pathLst>
                <a:path w="1384190" h="3472226">
                  <a:moveTo>
                    <a:pt x="0" y="0"/>
                  </a:moveTo>
                  <a:lnTo>
                    <a:pt x="1384190" y="0"/>
                  </a:lnTo>
                  <a:lnTo>
                    <a:pt x="1384190" y="3472226"/>
                  </a:lnTo>
                  <a:lnTo>
                    <a:pt x="0" y="3472226"/>
                  </a:lnTo>
                  <a:close/>
                </a:path>
              </a:pathLst>
            </a:custGeom>
            <a:solidFill>
              <a:schemeClr val="accent2"/>
            </a:solidFill>
            <a:ln>
              <a:noFill/>
            </a:ln>
          </p:spPr>
          <p:txBody>
            <a:bodyPr/>
            <a:lstStyle/>
            <a:p>
              <a:endParaRPr lang="en-US" dirty="0"/>
            </a:p>
          </p:txBody>
        </p:sp>
      </p:grpSp>
      <p:grpSp>
        <p:nvGrpSpPr>
          <p:cNvPr id="8" name="Group 7">
            <a:extLst>
              <a:ext uri="{FF2B5EF4-FFF2-40B4-BE49-F238E27FC236}">
                <a16:creationId xmlns:a16="http://schemas.microsoft.com/office/drawing/2014/main" id="{BFB0A42F-E6A3-CB96-9852-85C86F511AD6}"/>
              </a:ext>
            </a:extLst>
          </p:cNvPr>
          <p:cNvGrpSpPr/>
          <p:nvPr userDrawn="1"/>
        </p:nvGrpSpPr>
        <p:grpSpPr>
          <a:xfrm>
            <a:off x="11692218" y="0"/>
            <a:ext cx="6595782" cy="10287000"/>
            <a:chOff x="7794812" y="0"/>
            <a:chExt cx="4397188" cy="6858000"/>
          </a:xfrm>
        </p:grpSpPr>
        <p:sp>
          <p:nvSpPr>
            <p:cNvPr id="9" name="Isosceles Triangle 8">
              <a:extLst>
                <a:ext uri="{FF2B5EF4-FFF2-40B4-BE49-F238E27FC236}">
                  <a16:creationId xmlns:a16="http://schemas.microsoft.com/office/drawing/2014/main" id="{04244303-0891-69A8-2D9D-161F4AE9C4AF}"/>
                </a:ext>
              </a:extLst>
            </p:cNvPr>
            <p:cNvSpPr/>
            <p:nvPr/>
          </p:nvSpPr>
          <p:spPr>
            <a:xfrm flipH="1">
              <a:off x="7794812" y="1371600"/>
              <a:ext cx="4397188" cy="5486400"/>
            </a:xfrm>
            <a:prstGeom prst="triangl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10" name="Freeform 9">
              <a:extLst>
                <a:ext uri="{FF2B5EF4-FFF2-40B4-BE49-F238E27FC236}">
                  <a16:creationId xmlns:a16="http://schemas.microsoft.com/office/drawing/2014/main" id="{EAA11CFF-61B1-248D-7099-2F8686DECDAB}"/>
                </a:ext>
              </a:extLst>
            </p:cNvPr>
            <p:cNvSpPr/>
            <p:nvPr/>
          </p:nvSpPr>
          <p:spPr>
            <a:xfrm flipH="1">
              <a:off x="11261904" y="1371600"/>
              <a:ext cx="930096" cy="2407024"/>
            </a:xfrm>
            <a:custGeom>
              <a:avLst/>
              <a:gdLst>
                <a:gd name="connsiteX0" fmla="*/ 0 w 930096"/>
                <a:gd name="connsiteY0" fmla="*/ 0 h 2407024"/>
                <a:gd name="connsiteX1" fmla="*/ 0 w 930096"/>
                <a:gd name="connsiteY1" fmla="*/ 2407024 h 2407024"/>
                <a:gd name="connsiteX2" fmla="*/ 930096 w 930096"/>
                <a:gd name="connsiteY2" fmla="*/ 1160488 h 2407024"/>
              </a:gdLst>
              <a:ahLst/>
              <a:cxnLst>
                <a:cxn ang="0">
                  <a:pos x="connsiteX0" y="connsiteY0"/>
                </a:cxn>
                <a:cxn ang="0">
                  <a:pos x="connsiteX1" y="connsiteY1"/>
                </a:cxn>
                <a:cxn ang="0">
                  <a:pos x="connsiteX2" y="connsiteY2"/>
                </a:cxn>
              </a:cxnLst>
              <a:rect l="l" t="t" r="r" b="b"/>
              <a:pathLst>
                <a:path w="930096" h="2407024">
                  <a:moveTo>
                    <a:pt x="0" y="0"/>
                  </a:moveTo>
                  <a:lnTo>
                    <a:pt x="0" y="2407024"/>
                  </a:lnTo>
                  <a:lnTo>
                    <a:pt x="930096" y="11604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11" name="Isosceles Triangle 10">
              <a:extLst>
                <a:ext uri="{FF2B5EF4-FFF2-40B4-BE49-F238E27FC236}">
                  <a16:creationId xmlns:a16="http://schemas.microsoft.com/office/drawing/2014/main" id="{606BB107-8387-8780-6BFC-A3410E9BB552}"/>
                </a:ext>
              </a:extLst>
            </p:cNvPr>
            <p:cNvSpPr/>
            <p:nvPr/>
          </p:nvSpPr>
          <p:spPr>
            <a:xfrm rot="10800000">
              <a:off x="9838765" y="0"/>
              <a:ext cx="2353235" cy="3778624"/>
            </a:xfrm>
            <a:prstGeom prst="triangl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grpSp>
    </p:spTree>
    <p:extLst>
      <p:ext uri="{BB962C8B-B14F-4D97-AF65-F5344CB8AC3E}">
        <p14:creationId xmlns:p14="http://schemas.microsoft.com/office/powerpoint/2010/main" val="783334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74A52-9FFC-AC39-C5C6-B5E84AC5970E}"/>
              </a:ext>
            </a:extLst>
          </p:cNvPr>
          <p:cNvSpPr>
            <a:spLocks noGrp="1"/>
          </p:cNvSpPr>
          <p:nvPr>
            <p:ph type="title"/>
          </p:nvPr>
        </p:nvSpPr>
        <p:spPr>
          <a:xfrm>
            <a:off x="8122253" y="317500"/>
            <a:ext cx="9420224" cy="1266827"/>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7242FC55-4D2C-6A55-9DC3-D3F5645AFAB4}"/>
              </a:ext>
            </a:extLst>
          </p:cNvPr>
          <p:cNvSpPr>
            <a:spLocks noGrp="1"/>
          </p:cNvSpPr>
          <p:nvPr>
            <p:ph type="ftr" sz="quarter" idx="10"/>
          </p:nvPr>
        </p:nvSpPr>
        <p:spPr>
          <a:xfrm>
            <a:off x="8122253" y="9520560"/>
            <a:ext cx="7776000" cy="448940"/>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93DAABA0-A95A-CC14-B3A9-50073A443CFD}"/>
              </a:ext>
            </a:extLst>
          </p:cNvPr>
          <p:cNvSpPr>
            <a:spLocks noGrp="1"/>
          </p:cNvSpPr>
          <p:nvPr>
            <p:ph type="sldNum" sz="quarter" idx="11"/>
          </p:nvPr>
        </p:nvSpPr>
        <p:spPr/>
        <p:txBody>
          <a:bodyPr/>
          <a:lstStyle/>
          <a:p>
            <a:fld id="{E2D680B1-7F17-42D2-83E2-2C9AC13983BB}" type="slidenum">
              <a:rPr lang="en-US" smtClean="0"/>
              <a:pPr/>
              <a:t>‹#›</a:t>
            </a:fld>
            <a:endParaRPr lang="en-US" dirty="0"/>
          </a:p>
        </p:txBody>
      </p:sp>
      <p:sp>
        <p:nvSpPr>
          <p:cNvPr id="6" name="Picture Placeholder 5">
            <a:extLst>
              <a:ext uri="{FF2B5EF4-FFF2-40B4-BE49-F238E27FC236}">
                <a16:creationId xmlns:a16="http://schemas.microsoft.com/office/drawing/2014/main" id="{B4638F13-1CD3-7690-D13A-99CF303E4C33}"/>
              </a:ext>
            </a:extLst>
          </p:cNvPr>
          <p:cNvSpPr>
            <a:spLocks noGrp="1"/>
          </p:cNvSpPr>
          <p:nvPr>
            <p:ph type="pic" sz="quarter" idx="12"/>
          </p:nvPr>
        </p:nvSpPr>
        <p:spPr>
          <a:xfrm>
            <a:off x="0" y="0"/>
            <a:ext cx="7315200" cy="10287000"/>
          </a:xfrm>
          <a:pattFill prst="pct5">
            <a:fgClr>
              <a:schemeClr val="bg1">
                <a:lumMod val="50000"/>
              </a:schemeClr>
            </a:fgClr>
            <a:bgClr>
              <a:schemeClr val="bg1"/>
            </a:bgClr>
          </a:pattFill>
        </p:spPr>
        <p:txBody>
          <a:bodyPr/>
          <a:lstStyle/>
          <a:p>
            <a:endParaRPr lang="en-US" dirty="0"/>
          </a:p>
        </p:txBody>
      </p:sp>
    </p:spTree>
    <p:extLst>
      <p:ext uri="{BB962C8B-B14F-4D97-AF65-F5344CB8AC3E}">
        <p14:creationId xmlns:p14="http://schemas.microsoft.com/office/powerpoint/2010/main" val="12547937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0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1F32B-EA3C-45CD-B7FA-A5E3D25B415F}"/>
              </a:ext>
            </a:extLst>
          </p:cNvPr>
          <p:cNvSpPr/>
          <p:nvPr userDrawn="1"/>
        </p:nvSpPr>
        <p:spPr>
          <a:xfrm>
            <a:off x="0" y="0"/>
            <a:ext cx="18287997" cy="10287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700" dirty="0">
              <a:latin typeface="+mn-lt"/>
            </a:endParaRPr>
          </a:p>
        </p:txBody>
      </p:sp>
      <p:sp>
        <p:nvSpPr>
          <p:cNvPr id="3" name="Picture Placeholder 5">
            <a:extLst>
              <a:ext uri="{FF2B5EF4-FFF2-40B4-BE49-F238E27FC236}">
                <a16:creationId xmlns:a16="http://schemas.microsoft.com/office/drawing/2014/main" id="{3A2F106F-4780-4802-976E-1440E94D2890}"/>
              </a:ext>
            </a:extLst>
          </p:cNvPr>
          <p:cNvSpPr>
            <a:spLocks noGrp="1"/>
          </p:cNvSpPr>
          <p:nvPr>
            <p:ph type="pic" sz="quarter" idx="13"/>
          </p:nvPr>
        </p:nvSpPr>
        <p:spPr>
          <a:xfrm flipH="1">
            <a:off x="3" y="0"/>
            <a:ext cx="18287994" cy="7372350"/>
          </a:xfrm>
          <a:custGeom>
            <a:avLst/>
            <a:gdLst>
              <a:gd name="connsiteX0" fmla="*/ 0 w 10071354"/>
              <a:gd name="connsiteY0" fmla="*/ 0 h 4914900"/>
              <a:gd name="connsiteX1" fmla="*/ 10071354 w 10071354"/>
              <a:gd name="connsiteY1" fmla="*/ 0 h 4914900"/>
              <a:gd name="connsiteX2" fmla="*/ 10071354 w 10071354"/>
              <a:gd name="connsiteY2" fmla="*/ 3782607 h 4914900"/>
              <a:gd name="connsiteX3" fmla="*/ 4553420 w 10071354"/>
              <a:gd name="connsiteY3" fmla="*/ 3782607 h 4914900"/>
              <a:gd name="connsiteX4" fmla="*/ 4436897 w 10071354"/>
              <a:gd name="connsiteY4" fmla="*/ 3785817 h 4914900"/>
              <a:gd name="connsiteX5" fmla="*/ 3104327 w 10071354"/>
              <a:gd name="connsiteY5" fmla="*/ 4361893 h 4914900"/>
              <a:gd name="connsiteX6" fmla="*/ 2133136 w 10071354"/>
              <a:gd name="connsiteY6" fmla="*/ 4914900 h 4914900"/>
              <a:gd name="connsiteX7" fmla="*/ 1186919 w 10071354"/>
              <a:gd name="connsiteY7" fmla="*/ 4403577 h 4914900"/>
              <a:gd name="connsiteX8" fmla="*/ 230514 w 10071354"/>
              <a:gd name="connsiteY8" fmla="*/ 3802980 h 4914900"/>
              <a:gd name="connsiteX9" fmla="*/ 129778 w 10071354"/>
              <a:gd name="connsiteY9" fmla="*/ 3782607 h 4914900"/>
              <a:gd name="connsiteX10" fmla="*/ 0 w 10071354"/>
              <a:gd name="connsiteY10" fmla="*/ 3782607 h 4914900"/>
              <a:gd name="connsiteX11" fmla="*/ 0 w 10071354"/>
              <a:gd name="connsiteY11" fmla="*/ 3764219 h 4914900"/>
              <a:gd name="connsiteX12" fmla="*/ 0 w 10071354"/>
              <a:gd name="connsiteY12" fmla="*/ 3575225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71354" h="4914900">
                <a:moveTo>
                  <a:pt x="0" y="0"/>
                </a:moveTo>
                <a:lnTo>
                  <a:pt x="10071354" y="0"/>
                </a:lnTo>
                <a:lnTo>
                  <a:pt x="10071354" y="3782607"/>
                </a:lnTo>
                <a:lnTo>
                  <a:pt x="4553420" y="3782607"/>
                </a:lnTo>
                <a:lnTo>
                  <a:pt x="4436897" y="3785817"/>
                </a:lnTo>
                <a:cubicBezTo>
                  <a:pt x="3609813" y="3832213"/>
                  <a:pt x="3226593" y="4208183"/>
                  <a:pt x="3104327" y="4361893"/>
                </a:cubicBezTo>
                <a:cubicBezTo>
                  <a:pt x="2907314" y="4692586"/>
                  <a:pt x="2546587" y="4914900"/>
                  <a:pt x="2133136" y="4914900"/>
                </a:cubicBezTo>
                <a:cubicBezTo>
                  <a:pt x="1739110" y="4914900"/>
                  <a:pt x="1389481" y="4712038"/>
                  <a:pt x="1186919" y="4403577"/>
                </a:cubicBezTo>
                <a:cubicBezTo>
                  <a:pt x="871629" y="4023732"/>
                  <a:pt x="497515" y="3867222"/>
                  <a:pt x="230514" y="3802980"/>
                </a:cubicBezTo>
                <a:lnTo>
                  <a:pt x="129778" y="3782607"/>
                </a:lnTo>
                <a:lnTo>
                  <a:pt x="0" y="3782607"/>
                </a:lnTo>
                <a:lnTo>
                  <a:pt x="0" y="3764219"/>
                </a:lnTo>
                <a:lnTo>
                  <a:pt x="0" y="3575225"/>
                </a:lnTo>
                <a:close/>
              </a:path>
            </a:pathLst>
          </a:custGeom>
          <a:pattFill prst="pct5">
            <a:fgClr>
              <a:schemeClr val="bg1">
                <a:lumMod val="50000"/>
              </a:schemeClr>
            </a:fgClr>
            <a:bgClr>
              <a:schemeClr val="bg1"/>
            </a:bgClr>
          </a:pattFill>
        </p:spPr>
        <p:txBody>
          <a:bodyPr wrap="square">
            <a:noAutofit/>
          </a:bodyPr>
          <a:lstStyle>
            <a:lvl1pPr>
              <a:defRPr sz="3000">
                <a:latin typeface="+mn-lt"/>
                <a:cs typeface="Arial" panose="020B0604020202020204" pitchFamily="34" charset="0"/>
              </a:defRPr>
            </a:lvl1pPr>
          </a:lstStyle>
          <a:p>
            <a:endParaRPr lang="en-ID" dirty="0"/>
          </a:p>
        </p:txBody>
      </p:sp>
      <p:sp>
        <p:nvSpPr>
          <p:cNvPr id="4" name="Rectangle 3">
            <a:extLst>
              <a:ext uri="{FF2B5EF4-FFF2-40B4-BE49-F238E27FC236}">
                <a16:creationId xmlns:a16="http://schemas.microsoft.com/office/drawing/2014/main" id="{0CD70C6B-DD99-411E-9BF2-96D2C29F0EEE}"/>
              </a:ext>
            </a:extLst>
          </p:cNvPr>
          <p:cNvSpPr/>
          <p:nvPr userDrawn="1"/>
        </p:nvSpPr>
        <p:spPr>
          <a:xfrm>
            <a:off x="0" y="5676901"/>
            <a:ext cx="9144000" cy="4038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700" dirty="0">
              <a:latin typeface="+mn-lt"/>
            </a:endParaRPr>
          </a:p>
        </p:txBody>
      </p:sp>
      <p:sp>
        <p:nvSpPr>
          <p:cNvPr id="15" name="Title 1">
            <a:extLst>
              <a:ext uri="{FF2B5EF4-FFF2-40B4-BE49-F238E27FC236}">
                <a16:creationId xmlns:a16="http://schemas.microsoft.com/office/drawing/2014/main" id="{1BD5C743-CF74-4AA1-E5CD-6A30EB876FD7}"/>
              </a:ext>
            </a:extLst>
          </p:cNvPr>
          <p:cNvSpPr>
            <a:spLocks noGrp="1"/>
          </p:cNvSpPr>
          <p:nvPr>
            <p:ph type="title" hasCustomPrompt="1"/>
          </p:nvPr>
        </p:nvSpPr>
        <p:spPr>
          <a:xfrm>
            <a:off x="783000" y="7189708"/>
            <a:ext cx="5841024" cy="1988345"/>
          </a:xfrm>
        </p:spPr>
        <p:txBody>
          <a:bodyPr/>
          <a:lstStyle>
            <a:lvl1pPr>
              <a:defRPr sz="5400">
                <a:solidFill>
                  <a:schemeClr val="bg1"/>
                </a:solidFill>
              </a:defRPr>
            </a:lvl1pPr>
          </a:lstStyle>
          <a:p>
            <a:r>
              <a:rPr lang="en-US" dirty="0"/>
              <a:t>Thank You</a:t>
            </a:r>
          </a:p>
        </p:txBody>
      </p:sp>
      <p:sp>
        <p:nvSpPr>
          <p:cNvPr id="5" name="Slide Number Placeholder 5">
            <a:extLst>
              <a:ext uri="{FF2B5EF4-FFF2-40B4-BE49-F238E27FC236}">
                <a16:creationId xmlns:a16="http://schemas.microsoft.com/office/drawing/2014/main" id="{64B19FC9-9FC5-2F7D-E341-1D2C79036439}"/>
              </a:ext>
            </a:extLst>
          </p:cNvPr>
          <p:cNvSpPr>
            <a:spLocks noGrp="1"/>
          </p:cNvSpPr>
          <p:nvPr>
            <p:ph type="sldNum" sz="quarter" idx="12"/>
          </p:nvPr>
        </p:nvSpPr>
        <p:spPr>
          <a:xfrm>
            <a:off x="16773525" y="9501500"/>
            <a:ext cx="800100" cy="468000"/>
          </a:xfrm>
        </p:spPr>
        <p:txBody>
          <a:bodyPr/>
          <a:lstStyle>
            <a:lvl1pPr>
              <a:defRPr>
                <a:solidFill>
                  <a:schemeClr val="bg1"/>
                </a:solidFill>
              </a:defRPr>
            </a:lvl1pPr>
          </a:lstStyle>
          <a:p>
            <a:fld id="{E2D680B1-7F17-42D2-83E2-2C9AC13983BB}" type="slidenum">
              <a:rPr lang="en-US" smtClean="0"/>
              <a:pPr/>
              <a:t>‹#›</a:t>
            </a:fld>
            <a:endParaRPr lang="en-US" dirty="0"/>
          </a:p>
        </p:txBody>
      </p:sp>
    </p:spTree>
    <p:extLst>
      <p:ext uri="{BB962C8B-B14F-4D97-AF65-F5344CB8AC3E}">
        <p14:creationId xmlns:p14="http://schemas.microsoft.com/office/powerpoint/2010/main" val="663830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Divider layout – Dark Background">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7A6FDB-AE2B-4B41-B096-DB84BF4B23C9}"/>
              </a:ext>
            </a:extLst>
          </p:cNvPr>
          <p:cNvGraphicFramePr>
            <a:graphicFrameLocks noChangeAspect="1"/>
          </p:cNvGraphicFramePr>
          <p:nvPr userDrawn="1">
            <p:custDataLst>
              <p:tags r:id="rId1"/>
            </p:custDataLst>
            <p:extLst>
              <p:ext uri="{D42A27DB-BD31-4B8C-83A1-F6EECF244321}">
                <p14:modId xmlns:p14="http://schemas.microsoft.com/office/powerpoint/2010/main" val="1474633899"/>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7E7A6FDB-AE2B-4B41-B096-DB84BF4B23C9}"/>
                          </a:ext>
                        </a:extLst>
                      </p:cNvPr>
                      <p:cNvPicPr/>
                      <p:nvPr/>
                    </p:nvPicPr>
                    <p:blipFill>
                      <a:blip r:embed="rId4"/>
                      <a:stretch>
                        <a:fillRect/>
                      </a:stretch>
                    </p:blipFill>
                    <p:spPr>
                      <a:xfrm>
                        <a:off x="2382" y="2382"/>
                        <a:ext cx="2382" cy="2382"/>
                      </a:xfrm>
                      <a:prstGeom prst="rect">
                        <a:avLst/>
                      </a:prstGeom>
                    </p:spPr>
                  </p:pic>
                </p:oleObj>
              </mc:Fallback>
            </mc:AlternateContent>
          </a:graphicData>
        </a:graphic>
      </p:graphicFrame>
      <p:sp>
        <p:nvSpPr>
          <p:cNvPr id="19" name="Title 1">
            <a:extLst>
              <a:ext uri="{FF2B5EF4-FFF2-40B4-BE49-F238E27FC236}">
                <a16:creationId xmlns:a16="http://schemas.microsoft.com/office/drawing/2014/main" id="{3D412533-33BE-4B1C-BAE4-AE62C8721B2A}"/>
              </a:ext>
            </a:extLst>
          </p:cNvPr>
          <p:cNvSpPr>
            <a:spLocks noGrp="1"/>
          </p:cNvSpPr>
          <p:nvPr>
            <p:ph type="ctrTitle" hasCustomPrompt="1"/>
          </p:nvPr>
        </p:nvSpPr>
        <p:spPr>
          <a:xfrm>
            <a:off x="742950" y="4572119"/>
            <a:ext cx="10001250" cy="1354217"/>
          </a:xfrm>
        </p:spPr>
        <p:txBody>
          <a:bodyPr vert="horz" wrap="square" anchor="b">
            <a:noAutofit/>
          </a:bodyPr>
          <a:lstStyle>
            <a:lvl1pPr algn="l">
              <a:defRPr sz="4400">
                <a:solidFill>
                  <a:schemeClr val="bg1"/>
                </a:solidFill>
              </a:defRPr>
            </a:lvl1pPr>
          </a:lstStyle>
          <a:p>
            <a:r>
              <a:rPr lang="en-US" dirty="0"/>
              <a:t>Click to add divider page title</a:t>
            </a:r>
            <a:endParaRPr lang="en-GB" dirty="0"/>
          </a:p>
        </p:txBody>
      </p:sp>
      <p:sp>
        <p:nvSpPr>
          <p:cNvPr id="15" name="Freeform 5">
            <a:extLst>
              <a:ext uri="{FF2B5EF4-FFF2-40B4-BE49-F238E27FC236}">
                <a16:creationId xmlns:a16="http://schemas.microsoft.com/office/drawing/2014/main" id="{8D4A9BE0-5D90-2363-E645-CB53F9712004}"/>
              </a:ext>
            </a:extLst>
          </p:cNvPr>
          <p:cNvSpPr/>
          <p:nvPr userDrawn="1"/>
        </p:nvSpPr>
        <p:spPr>
          <a:xfrm>
            <a:off x="14885982" y="8039100"/>
            <a:ext cx="2687643" cy="1004507"/>
          </a:xfrm>
          <a:custGeom>
            <a:avLst/>
            <a:gdLst/>
            <a:ahLst/>
            <a:cxnLst/>
            <a:rect l="l" t="t" r="r" b="b"/>
            <a:pathLst>
              <a:path w="7315200" h="2734056">
                <a:moveTo>
                  <a:pt x="0" y="0"/>
                </a:moveTo>
                <a:lnTo>
                  <a:pt x="7315200" y="0"/>
                </a:lnTo>
                <a:lnTo>
                  <a:pt x="7315200" y="2734056"/>
                </a:lnTo>
                <a:lnTo>
                  <a:pt x="0" y="2734056"/>
                </a:lnTo>
                <a:lnTo>
                  <a:pt x="0" y="0"/>
                </a:lnTo>
                <a:close/>
              </a:path>
            </a:pathLst>
          </a:custGeom>
          <a:blipFill dpi="0" rotWithShape="1">
            <a:blip r:embed="rId5">
              <a:extLst>
                <a:ext uri="{96DAC541-7B7A-43D3-8B79-37D633B846F1}">
                  <asvg:svgBlip xmlns:asvg="http://schemas.microsoft.com/office/drawing/2016/SVG/main" r:embed="rId6"/>
                </a:ext>
              </a:extLst>
            </a:blip>
            <a:srcRect/>
            <a:stretch>
              <a:fillRect/>
            </a:stretch>
          </a:blipFill>
        </p:spPr>
        <p:txBody>
          <a:bodyPr/>
          <a:lstStyle/>
          <a:p>
            <a:endParaRPr lang="en-US"/>
          </a:p>
        </p:txBody>
      </p:sp>
      <p:grpSp>
        <p:nvGrpSpPr>
          <p:cNvPr id="25" name="Group 24">
            <a:extLst>
              <a:ext uri="{FF2B5EF4-FFF2-40B4-BE49-F238E27FC236}">
                <a16:creationId xmlns:a16="http://schemas.microsoft.com/office/drawing/2014/main" id="{CFF37D08-9A37-788A-96EF-444B6F6B374E}"/>
              </a:ext>
            </a:extLst>
          </p:cNvPr>
          <p:cNvGrpSpPr/>
          <p:nvPr userDrawn="1"/>
        </p:nvGrpSpPr>
        <p:grpSpPr>
          <a:xfrm>
            <a:off x="742951" y="6057900"/>
            <a:ext cx="10681072" cy="540000"/>
            <a:chOff x="742951" y="6057900"/>
            <a:chExt cx="10681072" cy="540000"/>
          </a:xfrm>
        </p:grpSpPr>
        <p:sp>
          <p:nvSpPr>
            <p:cNvPr id="86" name="Rectangle 85">
              <a:extLst>
                <a:ext uri="{FF2B5EF4-FFF2-40B4-BE49-F238E27FC236}">
                  <a16:creationId xmlns:a16="http://schemas.microsoft.com/office/drawing/2014/main" id="{EBB89BE6-FA15-46E7-8C3B-74F373B71FC8}"/>
                </a:ext>
              </a:extLst>
            </p:cNvPr>
            <p:cNvSpPr/>
            <p:nvPr userDrawn="1"/>
          </p:nvSpPr>
          <p:spPr>
            <a:xfrm>
              <a:off x="742951" y="6293611"/>
              <a:ext cx="10313665" cy="68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sp>
          <p:nvSpPr>
            <p:cNvPr id="23" name="Oval 22">
              <a:extLst>
                <a:ext uri="{FF2B5EF4-FFF2-40B4-BE49-F238E27FC236}">
                  <a16:creationId xmlns:a16="http://schemas.microsoft.com/office/drawing/2014/main" id="{E3E959C7-EEDC-9314-DBE0-EB3F55F98F5A}"/>
                </a:ext>
              </a:extLst>
            </p:cNvPr>
            <p:cNvSpPr/>
            <p:nvPr userDrawn="1"/>
          </p:nvSpPr>
          <p:spPr>
            <a:xfrm>
              <a:off x="10884023" y="6057900"/>
              <a:ext cx="540000" cy="54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Rectangle: Top Corners Rounded 21">
            <a:extLst>
              <a:ext uri="{FF2B5EF4-FFF2-40B4-BE49-F238E27FC236}">
                <a16:creationId xmlns:a16="http://schemas.microsoft.com/office/drawing/2014/main" id="{B0864E02-C1BB-33C4-0B4D-F4DF58A1C90C}"/>
              </a:ext>
            </a:extLst>
          </p:cNvPr>
          <p:cNvSpPr/>
          <p:nvPr userDrawn="1"/>
        </p:nvSpPr>
        <p:spPr>
          <a:xfrm rot="5400000" flipH="1">
            <a:off x="-4206896" y="4965082"/>
            <a:ext cx="8770621" cy="356836"/>
          </a:xfrm>
          <a:prstGeom prst="round2SameRect">
            <a:avLst>
              <a:gd name="adj1" fmla="val 50000"/>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5">
            <a:extLst>
              <a:ext uri="{FF2B5EF4-FFF2-40B4-BE49-F238E27FC236}">
                <a16:creationId xmlns:a16="http://schemas.microsoft.com/office/drawing/2014/main" id="{45DA13FA-3B37-43B3-F9A0-EACA234E483E}"/>
              </a:ext>
            </a:extLst>
          </p:cNvPr>
          <p:cNvSpPr>
            <a:spLocks noGrp="1"/>
          </p:cNvSpPr>
          <p:nvPr>
            <p:ph type="sldNum" sz="quarter" idx="12"/>
          </p:nvPr>
        </p:nvSpPr>
        <p:spPr>
          <a:xfrm>
            <a:off x="16773525" y="9501500"/>
            <a:ext cx="800100" cy="468000"/>
          </a:xfrm>
        </p:spPr>
        <p:txBody>
          <a:bodyPr/>
          <a:lstStyle>
            <a:lvl1pPr>
              <a:defRPr>
                <a:solidFill>
                  <a:schemeClr val="bg1"/>
                </a:solidFill>
              </a:defRPr>
            </a:lvl1pPr>
          </a:lstStyle>
          <a:p>
            <a:fld id="{E2D680B1-7F17-42D2-83E2-2C9AC13983BB}" type="slidenum">
              <a:rPr lang="en-US" smtClean="0"/>
              <a:pPr/>
              <a:t>‹#›</a:t>
            </a:fld>
            <a:endParaRPr lang="en-US" dirty="0"/>
          </a:p>
        </p:txBody>
      </p:sp>
    </p:spTree>
    <p:extLst>
      <p:ext uri="{BB962C8B-B14F-4D97-AF65-F5344CB8AC3E}">
        <p14:creationId xmlns:p14="http://schemas.microsoft.com/office/powerpoint/2010/main" val="2839399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layout – With Picture">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348D11E-8E76-4679-AB54-2791595567E8}"/>
              </a:ext>
            </a:extLst>
          </p:cNvPr>
          <p:cNvSpPr>
            <a:spLocks noGrp="1"/>
          </p:cNvSpPr>
          <p:nvPr>
            <p:ph type="pic" sz="quarter" idx="13"/>
          </p:nvPr>
        </p:nvSpPr>
        <p:spPr>
          <a:xfrm>
            <a:off x="4583586" y="-385"/>
            <a:ext cx="13704414" cy="10287386"/>
          </a:xfrm>
          <a:custGeom>
            <a:avLst/>
            <a:gdLst>
              <a:gd name="connsiteX0" fmla="*/ 0 w 9136276"/>
              <a:gd name="connsiteY0" fmla="*/ 0 h 6858257"/>
              <a:gd name="connsiteX1" fmla="*/ 9136276 w 9136276"/>
              <a:gd name="connsiteY1" fmla="*/ 0 h 6858257"/>
              <a:gd name="connsiteX2" fmla="*/ 9136276 w 9136276"/>
              <a:gd name="connsiteY2" fmla="*/ 6858000 h 6858257"/>
              <a:gd name="connsiteX3" fmla="*/ 902827 w 9136276"/>
              <a:gd name="connsiteY3" fmla="*/ 6858000 h 6858257"/>
              <a:gd name="connsiteX4" fmla="*/ 3465911 w 9136276"/>
              <a:gd name="connsiteY4" fmla="*/ 4513064 h 6858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6276" h="6858257">
                <a:moveTo>
                  <a:pt x="0" y="0"/>
                </a:moveTo>
                <a:lnTo>
                  <a:pt x="9136276" y="0"/>
                </a:lnTo>
                <a:lnTo>
                  <a:pt x="9136276" y="6858000"/>
                </a:lnTo>
                <a:lnTo>
                  <a:pt x="902827" y="6858000"/>
                </a:lnTo>
                <a:cubicBezTo>
                  <a:pt x="950818" y="6886582"/>
                  <a:pt x="3452644" y="4530780"/>
                  <a:pt x="3465911" y="4513064"/>
                </a:cubicBezTo>
                <a:close/>
              </a:path>
            </a:pathLst>
          </a:custGeom>
          <a:pattFill prst="pct10">
            <a:fgClr>
              <a:schemeClr val="accent1"/>
            </a:fgClr>
            <a:bgClr>
              <a:schemeClr val="bg1"/>
            </a:bgClr>
          </a:pattFill>
        </p:spPr>
        <p:txBody>
          <a:bodyPr wrap="square">
            <a:noAutofit/>
          </a:bodyPr>
          <a:lstStyle/>
          <a:p>
            <a:endParaRPr lang="en-US" dirty="0"/>
          </a:p>
        </p:txBody>
      </p:sp>
      <p:sp>
        <p:nvSpPr>
          <p:cNvPr id="2" name="Title 1">
            <a:extLst>
              <a:ext uri="{FF2B5EF4-FFF2-40B4-BE49-F238E27FC236}">
                <a16:creationId xmlns:a16="http://schemas.microsoft.com/office/drawing/2014/main" id="{FE7FE672-B31D-4EA2-9AD9-67F1214644FF}"/>
              </a:ext>
            </a:extLst>
          </p:cNvPr>
          <p:cNvSpPr>
            <a:spLocks noGrp="1"/>
          </p:cNvSpPr>
          <p:nvPr>
            <p:ph type="title" hasCustomPrompt="1"/>
          </p:nvPr>
        </p:nvSpPr>
        <p:spPr>
          <a:xfrm>
            <a:off x="783000" y="4323142"/>
            <a:ext cx="5841024" cy="1988345"/>
          </a:xfrm>
        </p:spPr>
        <p:txBody>
          <a:bodyPr>
            <a:normAutofit/>
          </a:bodyPr>
          <a:lstStyle>
            <a:lvl1pPr>
              <a:defRPr sz="4400">
                <a:solidFill>
                  <a:schemeClr val="bg1"/>
                </a:solidFill>
              </a:defRPr>
            </a:lvl1pPr>
          </a:lstStyle>
          <a:p>
            <a:r>
              <a:rPr lang="en-US" dirty="0"/>
              <a:t>Click to add divider page title</a:t>
            </a:r>
          </a:p>
        </p:txBody>
      </p:sp>
      <p:sp>
        <p:nvSpPr>
          <p:cNvPr id="3" name="Rectangle: Rounded Corners 2">
            <a:extLst>
              <a:ext uri="{FF2B5EF4-FFF2-40B4-BE49-F238E27FC236}">
                <a16:creationId xmlns:a16="http://schemas.microsoft.com/office/drawing/2014/main" id="{A01A85CF-B301-0B44-4C54-69933F337BEB}"/>
              </a:ext>
            </a:extLst>
          </p:cNvPr>
          <p:cNvSpPr/>
          <p:nvPr userDrawn="1"/>
        </p:nvSpPr>
        <p:spPr>
          <a:xfrm>
            <a:off x="742950" y="9501500"/>
            <a:ext cx="2381250" cy="551500"/>
          </a:xfrm>
          <a:prstGeom prst="roundRect">
            <a:avLst>
              <a:gd name="adj" fmla="val 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Arial" panose="020B0604020202020204" pitchFamily="34" charset="0"/>
                <a:cs typeface="Arial" panose="020B0604020202020204" pitchFamily="34" charset="0"/>
              </a:rPr>
              <a:t>Logo Placeholder</a:t>
            </a:r>
          </a:p>
        </p:txBody>
      </p:sp>
    </p:spTree>
    <p:extLst>
      <p:ext uri="{BB962C8B-B14F-4D97-AF65-F5344CB8AC3E}">
        <p14:creationId xmlns:p14="http://schemas.microsoft.com/office/powerpoint/2010/main" val="1707097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layout Without Pictur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27702F9-14C8-B23F-35B6-E1E78860A24D}"/>
              </a:ext>
            </a:extLst>
          </p:cNvPr>
          <p:cNvGrpSpPr/>
          <p:nvPr userDrawn="1"/>
        </p:nvGrpSpPr>
        <p:grpSpPr>
          <a:xfrm>
            <a:off x="2" y="0"/>
            <a:ext cx="7120860" cy="10287000"/>
            <a:chOff x="2" y="0"/>
            <a:chExt cx="7120860" cy="10287000"/>
          </a:xfrm>
        </p:grpSpPr>
        <p:sp>
          <p:nvSpPr>
            <p:cNvPr id="31" name="Freeform 9">
              <a:extLst>
                <a:ext uri="{FF2B5EF4-FFF2-40B4-BE49-F238E27FC236}">
                  <a16:creationId xmlns:a16="http://schemas.microsoft.com/office/drawing/2014/main" id="{8CB19401-B083-1E79-EABB-D8B106CA2A34}"/>
                </a:ext>
              </a:extLst>
            </p:cNvPr>
            <p:cNvSpPr/>
            <p:nvPr userDrawn="1"/>
          </p:nvSpPr>
          <p:spPr>
            <a:xfrm rot="10800000" flipH="1">
              <a:off x="504251" y="419100"/>
              <a:ext cx="3906489" cy="7817834"/>
            </a:xfrm>
            <a:custGeom>
              <a:avLst/>
              <a:gdLst>
                <a:gd name="connsiteX0" fmla="*/ 0 w 930096"/>
                <a:gd name="connsiteY0" fmla="*/ 0 h 2407024"/>
                <a:gd name="connsiteX1" fmla="*/ 0 w 930096"/>
                <a:gd name="connsiteY1" fmla="*/ 2407024 h 2407024"/>
                <a:gd name="connsiteX2" fmla="*/ 930096 w 930096"/>
                <a:gd name="connsiteY2" fmla="*/ 1160488 h 2407024"/>
              </a:gdLst>
              <a:ahLst/>
              <a:cxnLst>
                <a:cxn ang="0">
                  <a:pos x="connsiteX0" y="connsiteY0"/>
                </a:cxn>
                <a:cxn ang="0">
                  <a:pos x="connsiteX1" y="connsiteY1"/>
                </a:cxn>
                <a:cxn ang="0">
                  <a:pos x="connsiteX2" y="connsiteY2"/>
                </a:cxn>
              </a:cxnLst>
              <a:rect l="l" t="t" r="r" b="b"/>
              <a:pathLst>
                <a:path w="930096" h="2407024">
                  <a:moveTo>
                    <a:pt x="0" y="0"/>
                  </a:moveTo>
                  <a:lnTo>
                    <a:pt x="0" y="2407024"/>
                  </a:lnTo>
                  <a:lnTo>
                    <a:pt x="930096" y="1160488"/>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2700" dirty="0"/>
            </a:p>
          </p:txBody>
        </p:sp>
        <p:sp>
          <p:nvSpPr>
            <p:cNvPr id="30" name="Isosceles Triangle 29">
              <a:extLst>
                <a:ext uri="{FF2B5EF4-FFF2-40B4-BE49-F238E27FC236}">
                  <a16:creationId xmlns:a16="http://schemas.microsoft.com/office/drawing/2014/main" id="{993233BA-6AE9-AAB2-C650-6A048F11976A}"/>
                </a:ext>
              </a:extLst>
            </p:cNvPr>
            <p:cNvSpPr/>
            <p:nvPr/>
          </p:nvSpPr>
          <p:spPr>
            <a:xfrm rot="10800000" flipH="1">
              <a:off x="2" y="0"/>
              <a:ext cx="7120860" cy="9037582"/>
            </a:xfrm>
            <a:prstGeom prst="triangl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32" name="Isosceles Triangle 31">
              <a:extLst>
                <a:ext uri="{FF2B5EF4-FFF2-40B4-BE49-F238E27FC236}">
                  <a16:creationId xmlns:a16="http://schemas.microsoft.com/office/drawing/2014/main" id="{954E67E5-7524-7C99-9E8B-6F468D17AE8C}"/>
                </a:ext>
              </a:extLst>
            </p:cNvPr>
            <p:cNvSpPr/>
            <p:nvPr/>
          </p:nvSpPr>
          <p:spPr>
            <a:xfrm>
              <a:off x="4" y="6844975"/>
              <a:ext cx="3810858" cy="3442025"/>
            </a:xfrm>
            <a:prstGeom prst="triangl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dirty="0"/>
            </a:p>
          </p:txBody>
        </p:sp>
      </p:grpSp>
      <p:sp>
        <p:nvSpPr>
          <p:cNvPr id="8" name="Text Placeholder 7">
            <a:extLst>
              <a:ext uri="{FF2B5EF4-FFF2-40B4-BE49-F238E27FC236}">
                <a16:creationId xmlns:a16="http://schemas.microsoft.com/office/drawing/2014/main" id="{9CFFF85E-5C4A-67F7-A055-0494CD5AE07D}"/>
              </a:ext>
            </a:extLst>
          </p:cNvPr>
          <p:cNvSpPr>
            <a:spLocks noGrp="1"/>
          </p:cNvSpPr>
          <p:nvPr>
            <p:ph type="body" sz="quarter" idx="11" hasCustomPrompt="1"/>
          </p:nvPr>
        </p:nvSpPr>
        <p:spPr>
          <a:xfrm>
            <a:off x="6049962" y="4038600"/>
            <a:ext cx="9952038" cy="2476500"/>
          </a:xfrm>
        </p:spPr>
        <p:txBody>
          <a:bodyPr>
            <a:noAutofit/>
          </a:bodyPr>
          <a:lstStyle>
            <a:lvl1pPr marL="0" indent="0">
              <a:buFontTx/>
              <a:buNone/>
              <a:defRPr sz="4400" b="1">
                <a:solidFill>
                  <a:schemeClr val="accent1"/>
                </a:solidFill>
              </a:defRPr>
            </a:lvl1pPr>
            <a:lvl2pPr marL="457200" indent="0">
              <a:buFontTx/>
              <a:buNone/>
              <a:defRPr sz="5000"/>
            </a:lvl2pPr>
            <a:lvl3pPr marL="914400" indent="0">
              <a:buFontTx/>
              <a:buNone/>
              <a:defRPr sz="5000"/>
            </a:lvl3pPr>
            <a:lvl4pPr marL="1371600" indent="0">
              <a:buFontTx/>
              <a:buNone/>
              <a:defRPr sz="5000"/>
            </a:lvl4pPr>
            <a:lvl5pPr marL="1828800" indent="0">
              <a:buFontTx/>
              <a:buNone/>
              <a:defRPr sz="5000"/>
            </a:lvl5pPr>
          </a:lstStyle>
          <a:p>
            <a:pPr lvl="0"/>
            <a:r>
              <a:rPr lang="en-US" dirty="0"/>
              <a:t>Click to add divider</a:t>
            </a:r>
            <a:br>
              <a:rPr lang="en-US" dirty="0"/>
            </a:br>
            <a:r>
              <a:rPr lang="en-US" dirty="0"/>
              <a:t>page title</a:t>
            </a:r>
          </a:p>
        </p:txBody>
      </p:sp>
      <p:sp>
        <p:nvSpPr>
          <p:cNvPr id="14" name="Freeform: Shape 13">
            <a:extLst>
              <a:ext uri="{FF2B5EF4-FFF2-40B4-BE49-F238E27FC236}">
                <a16:creationId xmlns:a16="http://schemas.microsoft.com/office/drawing/2014/main" id="{9F01B70B-B71A-381B-C2D6-7A4F880B9E88}"/>
              </a:ext>
            </a:extLst>
          </p:cNvPr>
          <p:cNvSpPr/>
          <p:nvPr userDrawn="1"/>
        </p:nvSpPr>
        <p:spPr>
          <a:xfrm>
            <a:off x="914400" y="46892"/>
            <a:ext cx="7573108" cy="7737231"/>
          </a:xfrm>
          <a:custGeom>
            <a:avLst/>
            <a:gdLst>
              <a:gd name="connsiteX0" fmla="*/ 140677 w 7573108"/>
              <a:gd name="connsiteY0" fmla="*/ 7643446 h 7737231"/>
              <a:gd name="connsiteX1" fmla="*/ 7573108 w 7573108"/>
              <a:gd name="connsiteY1" fmla="*/ 0 h 7737231"/>
              <a:gd name="connsiteX2" fmla="*/ 5767754 w 7573108"/>
              <a:gd name="connsiteY2" fmla="*/ 0 h 7737231"/>
              <a:gd name="connsiteX3" fmla="*/ 0 w 7573108"/>
              <a:gd name="connsiteY3" fmla="*/ 7737231 h 7737231"/>
            </a:gdLst>
            <a:ahLst/>
            <a:cxnLst>
              <a:cxn ang="0">
                <a:pos x="connsiteX0" y="connsiteY0"/>
              </a:cxn>
              <a:cxn ang="0">
                <a:pos x="connsiteX1" y="connsiteY1"/>
              </a:cxn>
              <a:cxn ang="0">
                <a:pos x="connsiteX2" y="connsiteY2"/>
              </a:cxn>
              <a:cxn ang="0">
                <a:pos x="connsiteX3" y="connsiteY3"/>
              </a:cxn>
            </a:cxnLst>
            <a:rect l="l" t="t" r="r" b="b"/>
            <a:pathLst>
              <a:path w="7573108" h="7737231">
                <a:moveTo>
                  <a:pt x="140677" y="7643446"/>
                </a:moveTo>
                <a:lnTo>
                  <a:pt x="7573108" y="0"/>
                </a:lnTo>
                <a:lnTo>
                  <a:pt x="5767754" y="0"/>
                </a:lnTo>
                <a:lnTo>
                  <a:pt x="0" y="7737231"/>
                </a:lnTo>
              </a:path>
            </a:pathLst>
          </a:cu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991AC2CA-45CA-BE3A-B263-1F4D61E70CAF}"/>
              </a:ext>
            </a:extLst>
          </p:cNvPr>
          <p:cNvSpPr>
            <a:spLocks noGrp="1"/>
          </p:cNvSpPr>
          <p:nvPr>
            <p:ph type="sldNum" sz="quarter" idx="12"/>
          </p:nvPr>
        </p:nvSpPr>
        <p:spPr>
          <a:xfrm>
            <a:off x="16773525" y="9501500"/>
            <a:ext cx="800100" cy="468000"/>
          </a:xfrm>
        </p:spPr>
        <p:txBody>
          <a:bodyPr/>
          <a:lstStyle/>
          <a:p>
            <a:fld id="{E2D680B1-7F17-42D2-83E2-2C9AC13983BB}" type="slidenum">
              <a:rPr lang="en-US" smtClean="0"/>
              <a:t>‹#›</a:t>
            </a:fld>
            <a:endParaRPr lang="en-US" dirty="0"/>
          </a:p>
        </p:txBody>
      </p:sp>
      <p:sp>
        <p:nvSpPr>
          <p:cNvPr id="2" name="Rectangle: Rounded Corners 1">
            <a:extLst>
              <a:ext uri="{FF2B5EF4-FFF2-40B4-BE49-F238E27FC236}">
                <a16:creationId xmlns:a16="http://schemas.microsoft.com/office/drawing/2014/main" id="{78669969-304E-0F5F-9373-FA14CB53604D}"/>
              </a:ext>
            </a:extLst>
          </p:cNvPr>
          <p:cNvSpPr/>
          <p:nvPr userDrawn="1"/>
        </p:nvSpPr>
        <p:spPr>
          <a:xfrm>
            <a:off x="742950" y="9501500"/>
            <a:ext cx="2381250" cy="551500"/>
          </a:xfrm>
          <a:prstGeom prst="roundRect">
            <a:avLst>
              <a:gd name="adj" fmla="val 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Arial" panose="020B0604020202020204" pitchFamily="34" charset="0"/>
                <a:cs typeface="Arial" panose="020B0604020202020204" pitchFamily="34" charset="0"/>
              </a:rPr>
              <a:t>Logo Placeholder</a:t>
            </a:r>
          </a:p>
        </p:txBody>
      </p:sp>
    </p:spTree>
    <p:extLst>
      <p:ext uri="{BB962C8B-B14F-4D97-AF65-F5344CB8AC3E}">
        <p14:creationId xmlns:p14="http://schemas.microsoft.com/office/powerpoint/2010/main" val="1482581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3" name="Content Placeholder 2">
            <a:extLst>
              <a:ext uri="{FF2B5EF4-FFF2-40B4-BE49-F238E27FC236}">
                <a16:creationId xmlns:a16="http://schemas.microsoft.com/office/drawing/2014/main" id="{5DE02299-2EDA-F216-AA02-DD369FDBBFA0}"/>
              </a:ext>
            </a:extLst>
          </p:cNvPr>
          <p:cNvSpPr>
            <a:spLocks noGrp="1"/>
          </p:cNvSpPr>
          <p:nvPr>
            <p:ph idx="1"/>
          </p:nvPr>
        </p:nvSpPr>
        <p:spPr>
          <a:xfrm>
            <a:off x="714375" y="1889656"/>
            <a:ext cx="16859250" cy="7325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4" name="Footer Placeholder 4">
            <a:extLst>
              <a:ext uri="{FF2B5EF4-FFF2-40B4-BE49-F238E27FC236}">
                <a16:creationId xmlns:a16="http://schemas.microsoft.com/office/drawing/2014/main" id="{222D0E30-8C97-0C62-9094-8D3CF38657E9}"/>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263600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3 Chart and 1/3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3" name="Content Placeholder 2">
            <a:extLst>
              <a:ext uri="{FF2B5EF4-FFF2-40B4-BE49-F238E27FC236}">
                <a16:creationId xmlns:a16="http://schemas.microsoft.com/office/drawing/2014/main" id="{5DE02299-2EDA-F216-AA02-DD369FDBBFA0}"/>
              </a:ext>
            </a:extLst>
          </p:cNvPr>
          <p:cNvSpPr>
            <a:spLocks noGrp="1"/>
          </p:cNvSpPr>
          <p:nvPr>
            <p:ph idx="1"/>
          </p:nvPr>
        </p:nvSpPr>
        <p:spPr>
          <a:xfrm>
            <a:off x="12197654" y="1889656"/>
            <a:ext cx="5375970" cy="7325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4" name="Content Placeholder 2">
            <a:extLst>
              <a:ext uri="{FF2B5EF4-FFF2-40B4-BE49-F238E27FC236}">
                <a16:creationId xmlns:a16="http://schemas.microsoft.com/office/drawing/2014/main" id="{418B54F4-3212-393D-A934-571F2F7EC9D6}"/>
              </a:ext>
            </a:extLst>
          </p:cNvPr>
          <p:cNvSpPr>
            <a:spLocks noGrp="1"/>
          </p:cNvSpPr>
          <p:nvPr>
            <p:ph idx="13"/>
          </p:nvPr>
        </p:nvSpPr>
        <p:spPr>
          <a:xfrm>
            <a:off x="714375" y="1889656"/>
            <a:ext cx="11026079" cy="7325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01303149-442B-8EAA-BA7D-E9F6CCBA7362}"/>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502468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2 Chart and 1/2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a:xfrm>
            <a:off x="714375" y="317500"/>
            <a:ext cx="16859250" cy="1266827"/>
          </a:xfrm>
        </p:spPr>
        <p:txBody>
          <a:bodyPr/>
          <a:lstStyle>
            <a:lvl1pPr>
              <a:defRPr b="1">
                <a:solidFill>
                  <a:schemeClr val="accent1"/>
                </a:solidFill>
              </a:defRPr>
            </a:lvl1pPr>
          </a:lstStyle>
          <a:p>
            <a:r>
              <a:rPr lang="en-US" dirty="0"/>
              <a:t>Click to add title</a:t>
            </a:r>
          </a:p>
        </p:txBody>
      </p:sp>
      <p:sp>
        <p:nvSpPr>
          <p:cNvPr id="3" name="Content Placeholder 2">
            <a:extLst>
              <a:ext uri="{FF2B5EF4-FFF2-40B4-BE49-F238E27FC236}">
                <a16:creationId xmlns:a16="http://schemas.microsoft.com/office/drawing/2014/main" id="{5DE02299-2EDA-F216-AA02-DD369FDBBFA0}"/>
              </a:ext>
            </a:extLst>
          </p:cNvPr>
          <p:cNvSpPr>
            <a:spLocks noGrp="1"/>
          </p:cNvSpPr>
          <p:nvPr>
            <p:ph idx="1"/>
          </p:nvPr>
        </p:nvSpPr>
        <p:spPr>
          <a:xfrm>
            <a:off x="9372600" y="1889656"/>
            <a:ext cx="8201025" cy="7325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4" name="Content Placeholder 2">
            <a:extLst>
              <a:ext uri="{FF2B5EF4-FFF2-40B4-BE49-F238E27FC236}">
                <a16:creationId xmlns:a16="http://schemas.microsoft.com/office/drawing/2014/main" id="{418B54F4-3212-393D-A934-571F2F7EC9D6}"/>
              </a:ext>
            </a:extLst>
          </p:cNvPr>
          <p:cNvSpPr>
            <a:spLocks noGrp="1"/>
          </p:cNvSpPr>
          <p:nvPr>
            <p:ph idx="13"/>
          </p:nvPr>
        </p:nvSpPr>
        <p:spPr>
          <a:xfrm>
            <a:off x="714375" y="1889656"/>
            <a:ext cx="8201025" cy="7325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851410E-3F60-2499-76A8-F25BD0C1A997}"/>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277072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E3D1-9794-DB83-C978-069C6BB72173}"/>
              </a:ext>
            </a:extLst>
          </p:cNvPr>
          <p:cNvSpPr>
            <a:spLocks noGrp="1"/>
          </p:cNvSpPr>
          <p:nvPr>
            <p:ph type="title" hasCustomPrompt="1"/>
          </p:nvPr>
        </p:nvSpPr>
        <p:spPr/>
        <p:txBody>
          <a:bodyPr/>
          <a:lstStyle>
            <a:lvl1pPr>
              <a:defRPr b="1">
                <a:solidFill>
                  <a:schemeClr val="accent1"/>
                </a:solidFill>
              </a:defRPr>
            </a:lvl1pPr>
          </a:lstStyle>
          <a:p>
            <a:r>
              <a:rPr lang="en-US" dirty="0"/>
              <a:t>Click to add title</a:t>
            </a:r>
          </a:p>
        </p:txBody>
      </p:sp>
      <p:sp>
        <p:nvSpPr>
          <p:cNvPr id="6" name="Slide Number Placeholder 5">
            <a:extLst>
              <a:ext uri="{FF2B5EF4-FFF2-40B4-BE49-F238E27FC236}">
                <a16:creationId xmlns:a16="http://schemas.microsoft.com/office/drawing/2014/main" id="{16AF87E3-F69C-88FE-5D2A-D513631BF7A3}"/>
              </a:ext>
            </a:extLst>
          </p:cNvPr>
          <p:cNvSpPr>
            <a:spLocks noGrp="1"/>
          </p:cNvSpPr>
          <p:nvPr>
            <p:ph type="sldNum" sz="quarter" idx="12"/>
          </p:nvPr>
        </p:nvSpPr>
        <p:spPr/>
        <p:txBody>
          <a:bodyPr/>
          <a:lstStyle/>
          <a:p>
            <a:fld id="{E2D680B1-7F17-42D2-83E2-2C9AC13983BB}" type="slidenum">
              <a:rPr lang="en-US" smtClean="0"/>
              <a:t>‹#›</a:t>
            </a:fld>
            <a:endParaRPr lang="en-US" dirty="0"/>
          </a:p>
        </p:txBody>
      </p:sp>
      <p:sp>
        <p:nvSpPr>
          <p:cNvPr id="4" name="Footer Placeholder 4">
            <a:extLst>
              <a:ext uri="{FF2B5EF4-FFF2-40B4-BE49-F238E27FC236}">
                <a16:creationId xmlns:a16="http://schemas.microsoft.com/office/drawing/2014/main" id="{53A7D6DD-B72F-C610-7786-CA13806E4811}"/>
              </a:ext>
            </a:extLst>
          </p:cNvPr>
          <p:cNvSpPr>
            <a:spLocks noGrp="1"/>
          </p:cNvSpPr>
          <p:nvPr>
            <p:ph type="ftr" sz="quarter" idx="3"/>
          </p:nvPr>
        </p:nvSpPr>
        <p:spPr>
          <a:xfrm>
            <a:off x="3352800" y="9520560"/>
            <a:ext cx="8619000" cy="448940"/>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927684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66BD8F-401F-2DBF-0BEE-85CAEC4F13C5}"/>
              </a:ext>
            </a:extLst>
          </p:cNvPr>
          <p:cNvGraphicFramePr>
            <a:graphicFrameLocks noChangeAspect="1"/>
          </p:cNvGraphicFramePr>
          <p:nvPr userDrawn="1">
            <p:custDataLst>
              <p:tags r:id="rId23"/>
            </p:custDataLst>
            <p:extLst>
              <p:ext uri="{D42A27DB-BD31-4B8C-83A1-F6EECF244321}">
                <p14:modId xmlns:p14="http://schemas.microsoft.com/office/powerpoint/2010/main" val="635584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7" name="think-cell data - do not delete" hidden="1">
                        <a:extLst>
                          <a:ext uri="{FF2B5EF4-FFF2-40B4-BE49-F238E27FC236}">
                            <a16:creationId xmlns:a16="http://schemas.microsoft.com/office/drawing/2014/main" id="{3F66BD8F-401F-2DBF-0BEE-85CAEC4F13C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E4C60E1-108D-7890-2148-7CDB8BD5029E}"/>
              </a:ext>
            </a:extLst>
          </p:cNvPr>
          <p:cNvSpPr>
            <a:spLocks noGrp="1"/>
          </p:cNvSpPr>
          <p:nvPr>
            <p:ph type="title"/>
          </p:nvPr>
        </p:nvSpPr>
        <p:spPr>
          <a:xfrm>
            <a:off x="714375" y="317500"/>
            <a:ext cx="16859250" cy="1266827"/>
          </a:xfrm>
          <a:prstGeom prst="rect">
            <a:avLst/>
          </a:prstGeom>
        </p:spPr>
        <p:txBody>
          <a:bodyPr vert="horz" lIns="0" tIns="0" rIns="0" bIns="0" rtlCol="0" anchor="ctr">
            <a:normAutofit/>
          </a:bodyPr>
          <a:lstStyle/>
          <a:p>
            <a:r>
              <a:rPr lang="en-US" dirty="0"/>
              <a:t>Click to add title</a:t>
            </a:r>
          </a:p>
        </p:txBody>
      </p:sp>
      <p:sp>
        <p:nvSpPr>
          <p:cNvPr id="3" name="Text Placeholder 2">
            <a:extLst>
              <a:ext uri="{FF2B5EF4-FFF2-40B4-BE49-F238E27FC236}">
                <a16:creationId xmlns:a16="http://schemas.microsoft.com/office/drawing/2014/main" id="{E6527DE4-6E8F-79F4-2C2B-8BC05FCBFF97}"/>
              </a:ext>
            </a:extLst>
          </p:cNvPr>
          <p:cNvSpPr>
            <a:spLocks noGrp="1"/>
          </p:cNvSpPr>
          <p:nvPr>
            <p:ph type="body" idx="1"/>
          </p:nvPr>
        </p:nvSpPr>
        <p:spPr>
          <a:xfrm>
            <a:off x="714375" y="1889656"/>
            <a:ext cx="16859250" cy="732557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08E5665-37C2-54D6-D1C6-35E05DF839D3}"/>
              </a:ext>
            </a:extLst>
          </p:cNvPr>
          <p:cNvSpPr>
            <a:spLocks noGrp="1"/>
          </p:cNvSpPr>
          <p:nvPr>
            <p:ph type="sldNum" sz="quarter" idx="4"/>
          </p:nvPr>
        </p:nvSpPr>
        <p:spPr>
          <a:xfrm>
            <a:off x="16773525" y="9501500"/>
            <a:ext cx="800100" cy="468000"/>
          </a:xfrm>
          <a:prstGeom prst="rect">
            <a:avLst/>
          </a:prstGeom>
        </p:spPr>
        <p:txBody>
          <a:bodyPr vert="horz" lIns="0" tIns="0" rIns="0" bIns="0" rtlCol="0" anchor="ctr"/>
          <a:lstStyle>
            <a:lvl1pPr algn="r">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fld id="{E2D680B1-7F17-42D2-83E2-2C9AC13983BB}" type="slidenum">
              <a:rPr lang="en-US" smtClean="0"/>
              <a:pPr/>
              <a:t>‹#›</a:t>
            </a:fld>
            <a:endParaRPr lang="en-US" dirty="0"/>
          </a:p>
        </p:txBody>
      </p:sp>
      <p:sp>
        <p:nvSpPr>
          <p:cNvPr id="21" name="Rectangle: Top Corners Rounded 20">
            <a:extLst>
              <a:ext uri="{FF2B5EF4-FFF2-40B4-BE49-F238E27FC236}">
                <a16:creationId xmlns:a16="http://schemas.microsoft.com/office/drawing/2014/main" id="{959F2CA7-B6BF-8125-5E2E-6835373F22E4}"/>
              </a:ext>
            </a:extLst>
          </p:cNvPr>
          <p:cNvSpPr/>
          <p:nvPr userDrawn="1"/>
        </p:nvSpPr>
        <p:spPr>
          <a:xfrm rot="5400000" flipH="1">
            <a:off x="-492444" y="809943"/>
            <a:ext cx="1289687" cy="304800"/>
          </a:xfrm>
          <a:prstGeom prst="round2SameRect">
            <a:avLst>
              <a:gd name="adj1" fmla="val 50000"/>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oter Placeholder 4">
            <a:extLst>
              <a:ext uri="{FF2B5EF4-FFF2-40B4-BE49-F238E27FC236}">
                <a16:creationId xmlns:a16="http://schemas.microsoft.com/office/drawing/2014/main" id="{3D220426-4054-0550-CCFE-D2AFE3352B70}"/>
              </a:ext>
            </a:extLst>
          </p:cNvPr>
          <p:cNvSpPr>
            <a:spLocks noGrp="1"/>
          </p:cNvSpPr>
          <p:nvPr>
            <p:ph type="ftr" sz="quarter" idx="3"/>
          </p:nvPr>
        </p:nvSpPr>
        <p:spPr>
          <a:xfrm>
            <a:off x="3505200" y="9520560"/>
            <a:ext cx="8466600" cy="448940"/>
          </a:xfrm>
          <a:prstGeom prst="rect">
            <a:avLst/>
          </a:prstGeom>
        </p:spPr>
        <p:txBody>
          <a:bodyPr vert="horz" lIns="0" tIns="0" rIns="0" bIns="0" rtlCol="0" anchor="ctr"/>
          <a:lstStyle>
            <a:lvl1pPr algn="l">
              <a:defRPr sz="120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endParaRPr lang="en-US" dirty="0"/>
          </a:p>
        </p:txBody>
      </p:sp>
      <p:sp>
        <p:nvSpPr>
          <p:cNvPr id="10" name="Rectangle: Rounded Corners 9">
            <a:extLst>
              <a:ext uri="{FF2B5EF4-FFF2-40B4-BE49-F238E27FC236}">
                <a16:creationId xmlns:a16="http://schemas.microsoft.com/office/drawing/2014/main" id="{EAC737F1-E18A-A2F6-7406-C694B5585016}"/>
              </a:ext>
            </a:extLst>
          </p:cNvPr>
          <p:cNvSpPr/>
          <p:nvPr userDrawn="1"/>
        </p:nvSpPr>
        <p:spPr>
          <a:xfrm>
            <a:off x="742950" y="9501500"/>
            <a:ext cx="2381250" cy="551500"/>
          </a:xfrm>
          <a:prstGeom prst="roundRect">
            <a:avLst>
              <a:gd name="adj" fmla="val 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Arial" panose="020B0604020202020204" pitchFamily="34" charset="0"/>
                <a:cs typeface="Arial" panose="020B0604020202020204" pitchFamily="34" charset="0"/>
              </a:rPr>
              <a:t>Logo Placeholder</a:t>
            </a:r>
          </a:p>
        </p:txBody>
      </p:sp>
    </p:spTree>
    <p:extLst>
      <p:ext uri="{BB962C8B-B14F-4D97-AF65-F5344CB8AC3E}">
        <p14:creationId xmlns:p14="http://schemas.microsoft.com/office/powerpoint/2010/main" val="2873272051"/>
      </p:ext>
    </p:extLst>
  </p:cSld>
  <p:clrMap bg1="lt1" tx1="dk1" bg2="lt2" tx2="dk2" accent1="accent1" accent2="accent2" accent3="accent3" accent4="accent4" accent5="accent5" accent6="accent6" hlink="hlink" folHlink="folHlink"/>
  <p:sldLayoutIdLst>
    <p:sldLayoutId id="2147483700" r:id="rId1"/>
    <p:sldLayoutId id="2147483685" r:id="rId2"/>
    <p:sldLayoutId id="2147483699" r:id="rId3"/>
    <p:sldLayoutId id="2147483689" r:id="rId4"/>
    <p:sldLayoutId id="2147483687" r:id="rId5"/>
    <p:sldLayoutId id="2147483662" r:id="rId6"/>
    <p:sldLayoutId id="2147483695" r:id="rId7"/>
    <p:sldLayoutId id="2147483696" r:id="rId8"/>
    <p:sldLayoutId id="2147483676" r:id="rId9"/>
    <p:sldLayoutId id="2147483697" r:id="rId10"/>
    <p:sldLayoutId id="2147483698" r:id="rId11"/>
    <p:sldLayoutId id="2147483678" r:id="rId12"/>
    <p:sldLayoutId id="2147483679" r:id="rId13"/>
    <p:sldLayoutId id="2147483681" r:id="rId14"/>
    <p:sldLayoutId id="2147483682" r:id="rId15"/>
    <p:sldLayoutId id="2147483683" r:id="rId16"/>
    <p:sldLayoutId id="2147483684" r:id="rId17"/>
    <p:sldLayoutId id="2147483680" r:id="rId18"/>
    <p:sldLayoutId id="2147483688" r:id="rId19"/>
    <p:sldLayoutId id="2147483692" r:id="rId20"/>
    <p:sldLayoutId id="2147483694" r:id="rId21"/>
  </p:sldLayoutIdLst>
  <p:hf hdr="0" ftr="0" dt="0"/>
  <p:txStyles>
    <p:titleStyle>
      <a:lvl1pPr algn="l" defTabSz="914400" rtl="0" eaLnBrk="1" latinLnBrk="0" hangingPunct="1">
        <a:lnSpc>
          <a:spcPct val="100000"/>
        </a:lnSpc>
        <a:spcBef>
          <a:spcPct val="0"/>
        </a:spcBef>
        <a:buNone/>
        <a:defRPr sz="4000" b="1" kern="1200">
          <a:solidFill>
            <a:schemeClr val="accent1"/>
          </a:solidFill>
          <a:latin typeface="Arial" panose="020B0604020202020204" pitchFamily="34" charset="0"/>
          <a:ea typeface="Calibri" panose="020F0502020204030204" pitchFamily="34" charset="0"/>
          <a:cs typeface="Arial" panose="020B0604020202020204" pitchFamily="34" charset="0"/>
        </a:defRPr>
      </a:lvl1pPr>
    </p:titleStyle>
    <p:body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2" userDrawn="1">
          <p15:clr>
            <a:srgbClr val="F26B43"/>
          </p15:clr>
        </p15:guide>
        <p15:guide id="2" pos="442" userDrawn="1">
          <p15:clr>
            <a:srgbClr val="F26B43"/>
          </p15:clr>
        </p15:guide>
        <p15:guide id="3" pos="11078" userDrawn="1">
          <p15:clr>
            <a:srgbClr val="F26B43"/>
          </p15:clr>
        </p15:guide>
        <p15:guide id="4" orient="horz" pos="1008" userDrawn="1">
          <p15:clr>
            <a:srgbClr val="F26B43"/>
          </p15:clr>
        </p15:guide>
        <p15:guide id="5" orient="horz" pos="1190" userDrawn="1">
          <p15:clr>
            <a:srgbClr val="F26B43"/>
          </p15:clr>
        </p15:guide>
        <p15:guide id="6" orient="horz" pos="6278" userDrawn="1">
          <p15:clr>
            <a:srgbClr val="F26B43"/>
          </p15:clr>
        </p15:guide>
        <p15:guide id="7" orient="horz" pos="58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1.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11.xml"/><Relationship Id="rId5" Type="http://schemas.openxmlformats.org/officeDocument/2006/relationships/image" Target="../media/image13.jpeg"/><Relationship Id="rId4" Type="http://schemas.openxmlformats.org/officeDocument/2006/relationships/image" Target="../media/image12.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microsoft.com/office/2014/relationships/chartEx" Target="../charts/chartEx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chart" Target="../charts/chart6.xml"/><Relationship Id="rId3" Type="http://schemas.openxmlformats.org/officeDocument/2006/relationships/tags" Target="../tags/tag7.xml"/><Relationship Id="rId21" Type="http://schemas.openxmlformats.org/officeDocument/2006/relationships/slideLayout" Target="../slideLayouts/slideLayout6.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image" Target="../media/image14.wmf"/><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oleObject" Target="../embeddings/oleObject6.bin"/><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image" Target="../media/image1.emf"/><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26.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microsoft.com/office/2014/relationships/chartEx" Target="../charts/chartEx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2" Type="http://schemas.microsoft.com/office/2014/relationships/chartEx" Target="../charts/chartEx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chart" Target="../charts/chart27.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4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2.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7.xml"/><Relationship Id="rId5" Type="http://schemas.openxmlformats.org/officeDocument/2006/relationships/image" Target="../media/image15.emf"/><Relationship Id="rId4" Type="http://schemas.openxmlformats.org/officeDocument/2006/relationships/oleObject" Target="../embeddings/oleObject9.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15.emf"/></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19.xml"/><Relationship Id="rId4" Type="http://schemas.openxmlformats.org/officeDocument/2006/relationships/chart" Target="../charts/chart37.xml"/></Relationships>
</file>

<file path=ppt/slides/_rels/slide95.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16.xml"/><Relationship Id="rId5" Type="http://schemas.openxmlformats.org/officeDocument/2006/relationships/chart" Target="../charts/chart41.xml"/><Relationship Id="rId4" Type="http://schemas.openxmlformats.org/officeDocument/2006/relationships/chart" Target="../charts/chart40.xml"/></Relationships>
</file>

<file path=ppt/slides/_rels/slide96.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46.xml"/></Relationships>
</file>

<file path=ppt/slides/_rels/slide99.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7.xml"/><Relationship Id="rId5" Type="http://schemas.openxmlformats.org/officeDocument/2006/relationships/chart" Target="../charts/chart50.xml"/><Relationship Id="rId4" Type="http://schemas.openxmlformats.org/officeDocument/2006/relationships/chart" Target="../charts/char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1E0F433-23FC-8654-58D1-7B4DF2E7D15C}"/>
              </a:ext>
            </a:extLst>
          </p:cNvPr>
          <p:cNvSpPr>
            <a:spLocks noGrp="1"/>
          </p:cNvSpPr>
          <p:nvPr>
            <p:ph type="body" sz="quarter" idx="10"/>
          </p:nvPr>
        </p:nvSpPr>
        <p:spPr>
          <a:xfrm>
            <a:off x="1288860" y="3866701"/>
            <a:ext cx="8091397" cy="1715400"/>
          </a:xfrm>
        </p:spPr>
        <p:txBody>
          <a:bodyPr/>
          <a:lstStyle/>
          <a:p>
            <a:r>
              <a:rPr lang="en-US" dirty="0"/>
              <a:t>Presentation Title</a:t>
            </a:r>
          </a:p>
        </p:txBody>
      </p:sp>
      <p:sp>
        <p:nvSpPr>
          <p:cNvPr id="16" name="Text Placeholder 15">
            <a:extLst>
              <a:ext uri="{FF2B5EF4-FFF2-40B4-BE49-F238E27FC236}">
                <a16:creationId xmlns:a16="http://schemas.microsoft.com/office/drawing/2014/main" id="{88822CF3-859B-F599-AB7F-9DA823AE460B}"/>
              </a:ext>
            </a:extLst>
          </p:cNvPr>
          <p:cNvSpPr>
            <a:spLocks noGrp="1"/>
          </p:cNvSpPr>
          <p:nvPr>
            <p:ph type="body" sz="quarter" idx="11"/>
          </p:nvPr>
        </p:nvSpPr>
        <p:spPr>
          <a:xfrm>
            <a:off x="1288860" y="6057900"/>
            <a:ext cx="8091397" cy="438601"/>
          </a:xfrm>
        </p:spPr>
        <p:txBody>
          <a:bodyPr/>
          <a:lstStyle/>
          <a:p>
            <a:r>
              <a:rPr lang="en-US" dirty="0"/>
              <a:t>Date</a:t>
            </a:r>
          </a:p>
        </p:txBody>
      </p:sp>
      <p:sp>
        <p:nvSpPr>
          <p:cNvPr id="2" name="Rectangle: Rounded Corners 1">
            <a:extLst>
              <a:ext uri="{FF2B5EF4-FFF2-40B4-BE49-F238E27FC236}">
                <a16:creationId xmlns:a16="http://schemas.microsoft.com/office/drawing/2014/main" id="{B2EAEFB1-2788-9336-4B3F-4539E560814D}"/>
              </a:ext>
            </a:extLst>
          </p:cNvPr>
          <p:cNvSpPr/>
          <p:nvPr/>
        </p:nvSpPr>
        <p:spPr>
          <a:xfrm>
            <a:off x="1288861" y="1350960"/>
            <a:ext cx="5181602" cy="1201740"/>
          </a:xfrm>
          <a:prstGeom prst="roundRect">
            <a:avLst>
              <a:gd name="adj" fmla="val 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Arial" panose="020B0604020202020204" pitchFamily="34" charset="0"/>
                <a:cs typeface="Arial" panose="020B0604020202020204" pitchFamily="34" charset="0"/>
              </a:rPr>
              <a:t>Logo Placeholder left aligned to title</a:t>
            </a:r>
          </a:p>
        </p:txBody>
      </p:sp>
    </p:spTree>
    <p:extLst>
      <p:ext uri="{BB962C8B-B14F-4D97-AF65-F5344CB8AC3E}">
        <p14:creationId xmlns:p14="http://schemas.microsoft.com/office/powerpoint/2010/main" val="4161846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55">
            <a:extLst>
              <a:ext uri="{FF2B5EF4-FFF2-40B4-BE49-F238E27FC236}">
                <a16:creationId xmlns:a16="http://schemas.microsoft.com/office/drawing/2014/main" id="{5C959354-07C9-D0B7-25F1-C03A8E47EBE0}"/>
              </a:ext>
            </a:extLst>
          </p:cNvPr>
          <p:cNvSpPr>
            <a:spLocks noGrp="1"/>
          </p:cNvSpPr>
          <p:nvPr>
            <p:ph type="title"/>
          </p:nvPr>
        </p:nvSpPr>
        <p:spPr/>
        <p:txBody>
          <a:bodyPr/>
          <a:lstStyle/>
          <a:p>
            <a:r>
              <a:rPr lang="en-US" dirty="0"/>
              <a:t>Team Slide</a:t>
            </a:r>
          </a:p>
        </p:txBody>
      </p:sp>
      <p:sp>
        <p:nvSpPr>
          <p:cNvPr id="4" name="Picture Placeholder 3">
            <a:extLst>
              <a:ext uri="{FF2B5EF4-FFF2-40B4-BE49-F238E27FC236}">
                <a16:creationId xmlns:a16="http://schemas.microsoft.com/office/drawing/2014/main" id="{2B6272BE-113F-4A6D-6DC0-86FDD4DCA138}"/>
              </a:ext>
            </a:extLst>
          </p:cNvPr>
          <p:cNvSpPr>
            <a:spLocks noGrp="1"/>
          </p:cNvSpPr>
          <p:nvPr>
            <p:ph type="pic" sz="quarter" idx="13"/>
          </p:nvPr>
        </p:nvSpPr>
        <p:spPr>
          <a:xfrm>
            <a:off x="2630550" y="2843450"/>
            <a:ext cx="1544312" cy="1544312"/>
          </a:xfrm>
          <a:solidFill>
            <a:schemeClr val="bg1"/>
          </a:solidFill>
          <a:ln>
            <a:noFill/>
          </a:ln>
        </p:spPr>
        <p:txBody>
          <a:bodyPr/>
          <a:lstStyle/>
          <a:p>
            <a:endParaRPr lang="en-US" dirty="0"/>
          </a:p>
        </p:txBody>
      </p:sp>
      <p:sp>
        <p:nvSpPr>
          <p:cNvPr id="6" name="Picture Placeholder 5">
            <a:extLst>
              <a:ext uri="{FF2B5EF4-FFF2-40B4-BE49-F238E27FC236}">
                <a16:creationId xmlns:a16="http://schemas.microsoft.com/office/drawing/2014/main" id="{2AF4483A-8F49-1AE6-6930-D7DF8572244E}"/>
              </a:ext>
            </a:extLst>
          </p:cNvPr>
          <p:cNvSpPr>
            <a:spLocks noGrp="1"/>
          </p:cNvSpPr>
          <p:nvPr>
            <p:ph type="pic" sz="quarter" idx="14"/>
          </p:nvPr>
        </p:nvSpPr>
        <p:spPr>
          <a:xfrm>
            <a:off x="6428479" y="2843450"/>
            <a:ext cx="1544312" cy="1544312"/>
          </a:xfrm>
          <a:solidFill>
            <a:schemeClr val="bg1"/>
          </a:solidFill>
          <a:ln>
            <a:noFill/>
          </a:ln>
        </p:spPr>
        <p:txBody>
          <a:bodyPr/>
          <a:lstStyle/>
          <a:p>
            <a:endParaRPr lang="en-US" dirty="0"/>
          </a:p>
        </p:txBody>
      </p:sp>
      <p:sp>
        <p:nvSpPr>
          <p:cNvPr id="9" name="Picture Placeholder 8">
            <a:extLst>
              <a:ext uri="{FF2B5EF4-FFF2-40B4-BE49-F238E27FC236}">
                <a16:creationId xmlns:a16="http://schemas.microsoft.com/office/drawing/2014/main" id="{44535B16-CF9E-D61F-3235-C28041323FCB}"/>
              </a:ext>
            </a:extLst>
          </p:cNvPr>
          <p:cNvSpPr>
            <a:spLocks noGrp="1"/>
          </p:cNvSpPr>
          <p:nvPr>
            <p:ph type="pic" sz="quarter" idx="15"/>
          </p:nvPr>
        </p:nvSpPr>
        <p:spPr>
          <a:xfrm>
            <a:off x="10226408" y="2843450"/>
            <a:ext cx="1544312" cy="1544312"/>
          </a:xfrm>
          <a:solidFill>
            <a:schemeClr val="bg1"/>
          </a:solidFill>
          <a:ln>
            <a:noFill/>
          </a:ln>
        </p:spPr>
        <p:txBody>
          <a:bodyPr/>
          <a:lstStyle/>
          <a:p>
            <a:endParaRPr lang="en-US" dirty="0"/>
          </a:p>
        </p:txBody>
      </p:sp>
      <p:sp>
        <p:nvSpPr>
          <p:cNvPr id="10" name="Picture Placeholder 9">
            <a:extLst>
              <a:ext uri="{FF2B5EF4-FFF2-40B4-BE49-F238E27FC236}">
                <a16:creationId xmlns:a16="http://schemas.microsoft.com/office/drawing/2014/main" id="{50DC45B5-962A-4662-EE4E-60A710824986}"/>
              </a:ext>
            </a:extLst>
          </p:cNvPr>
          <p:cNvSpPr>
            <a:spLocks noGrp="1"/>
          </p:cNvSpPr>
          <p:nvPr>
            <p:ph type="pic" sz="quarter" idx="16"/>
          </p:nvPr>
        </p:nvSpPr>
        <p:spPr>
          <a:xfrm>
            <a:off x="14024336" y="2843450"/>
            <a:ext cx="1544312" cy="1544312"/>
          </a:xfrm>
          <a:solidFill>
            <a:schemeClr val="bg1"/>
          </a:solidFill>
          <a:ln>
            <a:noFill/>
          </a:ln>
        </p:spPr>
        <p:txBody>
          <a:bodyPr/>
          <a:lstStyle/>
          <a:p>
            <a:endParaRPr lang="en-US" dirty="0"/>
          </a:p>
        </p:txBody>
      </p:sp>
      <p:sp>
        <p:nvSpPr>
          <p:cNvPr id="11" name="Picture Placeholder 10">
            <a:extLst>
              <a:ext uri="{FF2B5EF4-FFF2-40B4-BE49-F238E27FC236}">
                <a16:creationId xmlns:a16="http://schemas.microsoft.com/office/drawing/2014/main" id="{97154D39-6AFA-4E2F-1B0C-431AE0739F8D}"/>
              </a:ext>
            </a:extLst>
          </p:cNvPr>
          <p:cNvSpPr>
            <a:spLocks noGrp="1"/>
          </p:cNvSpPr>
          <p:nvPr>
            <p:ph type="pic" sz="quarter" idx="17"/>
          </p:nvPr>
        </p:nvSpPr>
        <p:spPr>
          <a:solidFill>
            <a:schemeClr val="bg1"/>
          </a:solidFill>
          <a:ln>
            <a:noFill/>
          </a:ln>
        </p:spPr>
        <p:txBody>
          <a:bodyPr/>
          <a:lstStyle/>
          <a:p>
            <a:endParaRPr lang="en-US" dirty="0"/>
          </a:p>
        </p:txBody>
      </p:sp>
      <p:sp>
        <p:nvSpPr>
          <p:cNvPr id="12" name="Picture Placeholder 11">
            <a:extLst>
              <a:ext uri="{FF2B5EF4-FFF2-40B4-BE49-F238E27FC236}">
                <a16:creationId xmlns:a16="http://schemas.microsoft.com/office/drawing/2014/main" id="{F4E7CAA9-29C7-0A36-10A2-97BB64F88067}"/>
              </a:ext>
            </a:extLst>
          </p:cNvPr>
          <p:cNvSpPr>
            <a:spLocks noGrp="1"/>
          </p:cNvSpPr>
          <p:nvPr>
            <p:ph type="pic" sz="quarter" idx="18"/>
          </p:nvPr>
        </p:nvSpPr>
        <p:spPr>
          <a:solidFill>
            <a:schemeClr val="bg1"/>
          </a:solidFill>
          <a:ln>
            <a:noFill/>
          </a:ln>
        </p:spPr>
        <p:txBody>
          <a:bodyPr/>
          <a:lstStyle/>
          <a:p>
            <a:endParaRPr lang="en-US" dirty="0"/>
          </a:p>
        </p:txBody>
      </p:sp>
      <p:sp>
        <p:nvSpPr>
          <p:cNvPr id="13" name="Picture Placeholder 12">
            <a:extLst>
              <a:ext uri="{FF2B5EF4-FFF2-40B4-BE49-F238E27FC236}">
                <a16:creationId xmlns:a16="http://schemas.microsoft.com/office/drawing/2014/main" id="{18388723-958A-9697-9B0C-11A1CE715180}"/>
              </a:ext>
            </a:extLst>
          </p:cNvPr>
          <p:cNvSpPr>
            <a:spLocks noGrp="1"/>
          </p:cNvSpPr>
          <p:nvPr>
            <p:ph type="pic" sz="quarter" idx="19"/>
          </p:nvPr>
        </p:nvSpPr>
        <p:spPr>
          <a:solidFill>
            <a:schemeClr val="bg1"/>
          </a:solidFill>
          <a:ln>
            <a:noFill/>
          </a:ln>
        </p:spPr>
        <p:txBody>
          <a:bodyPr/>
          <a:lstStyle/>
          <a:p>
            <a:endParaRPr lang="en-US" dirty="0"/>
          </a:p>
        </p:txBody>
      </p:sp>
      <p:sp>
        <p:nvSpPr>
          <p:cNvPr id="14" name="Picture Placeholder 13">
            <a:extLst>
              <a:ext uri="{FF2B5EF4-FFF2-40B4-BE49-F238E27FC236}">
                <a16:creationId xmlns:a16="http://schemas.microsoft.com/office/drawing/2014/main" id="{FAD4905C-407F-1341-2CAC-77F4A89FE332}"/>
              </a:ext>
            </a:extLst>
          </p:cNvPr>
          <p:cNvSpPr>
            <a:spLocks noGrp="1"/>
          </p:cNvSpPr>
          <p:nvPr>
            <p:ph type="pic" sz="quarter" idx="20"/>
          </p:nvPr>
        </p:nvSpPr>
        <p:spPr>
          <a:solidFill>
            <a:schemeClr val="bg1"/>
          </a:solidFill>
          <a:ln>
            <a:noFill/>
          </a:ln>
        </p:spPr>
        <p:txBody>
          <a:bodyPr/>
          <a:lstStyle/>
          <a:p>
            <a:endParaRPr lang="en-US" dirty="0"/>
          </a:p>
        </p:txBody>
      </p:sp>
      <p:sp>
        <p:nvSpPr>
          <p:cNvPr id="5" name="Rectangle 4">
            <a:extLst>
              <a:ext uri="{FF2B5EF4-FFF2-40B4-BE49-F238E27FC236}">
                <a16:creationId xmlns:a16="http://schemas.microsoft.com/office/drawing/2014/main" id="{DB3781E8-8B5C-906D-1D87-5D72D5C25044}"/>
              </a:ext>
            </a:extLst>
          </p:cNvPr>
          <p:cNvSpPr/>
          <p:nvPr/>
        </p:nvSpPr>
        <p:spPr>
          <a:xfrm>
            <a:off x="669974" y="1892300"/>
            <a:ext cx="16859250" cy="64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Founders</a:t>
            </a:r>
            <a:endParaRPr lang="en-US" sz="2000" b="1" dirty="0"/>
          </a:p>
        </p:txBody>
      </p:sp>
      <p:sp>
        <p:nvSpPr>
          <p:cNvPr id="40" name="Rectangle 39">
            <a:extLst>
              <a:ext uri="{FF2B5EF4-FFF2-40B4-BE49-F238E27FC236}">
                <a16:creationId xmlns:a16="http://schemas.microsoft.com/office/drawing/2014/main" id="{31D7EB22-1017-C6B6-D033-56731E94F28F}"/>
              </a:ext>
            </a:extLst>
          </p:cNvPr>
          <p:cNvSpPr/>
          <p:nvPr/>
        </p:nvSpPr>
        <p:spPr>
          <a:xfrm>
            <a:off x="714375" y="5714175"/>
            <a:ext cx="16859250" cy="64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dvisors</a:t>
            </a:r>
            <a:endParaRPr lang="en-US" sz="2000" b="1" dirty="0"/>
          </a:p>
        </p:txBody>
      </p:sp>
      <p:sp>
        <p:nvSpPr>
          <p:cNvPr id="8" name="Rectangle 7">
            <a:extLst>
              <a:ext uri="{FF2B5EF4-FFF2-40B4-BE49-F238E27FC236}">
                <a16:creationId xmlns:a16="http://schemas.microsoft.com/office/drawing/2014/main" id="{45D6BC02-A58A-8A5C-8974-58CADCD9358C}"/>
              </a:ext>
            </a:extLst>
          </p:cNvPr>
          <p:cNvSpPr/>
          <p:nvPr/>
        </p:nvSpPr>
        <p:spPr>
          <a:xfrm>
            <a:off x="1817865"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60" name="Rectangle 59">
            <a:extLst>
              <a:ext uri="{FF2B5EF4-FFF2-40B4-BE49-F238E27FC236}">
                <a16:creationId xmlns:a16="http://schemas.microsoft.com/office/drawing/2014/main" id="{99AD2343-0E3E-CF61-CDA6-8602A7BD2B4D}"/>
              </a:ext>
            </a:extLst>
          </p:cNvPr>
          <p:cNvSpPr/>
          <p:nvPr/>
        </p:nvSpPr>
        <p:spPr>
          <a:xfrm>
            <a:off x="5615794"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63" name="Rectangle 62">
            <a:extLst>
              <a:ext uri="{FF2B5EF4-FFF2-40B4-BE49-F238E27FC236}">
                <a16:creationId xmlns:a16="http://schemas.microsoft.com/office/drawing/2014/main" id="{F087586C-9A92-EDD0-B619-39D42C563022}"/>
              </a:ext>
            </a:extLst>
          </p:cNvPr>
          <p:cNvSpPr/>
          <p:nvPr/>
        </p:nvSpPr>
        <p:spPr>
          <a:xfrm>
            <a:off x="9413723"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27" name="Rectangle 1026">
            <a:extLst>
              <a:ext uri="{FF2B5EF4-FFF2-40B4-BE49-F238E27FC236}">
                <a16:creationId xmlns:a16="http://schemas.microsoft.com/office/drawing/2014/main" id="{2F6718FD-82CE-95E3-B408-4F294B56A789}"/>
              </a:ext>
            </a:extLst>
          </p:cNvPr>
          <p:cNvSpPr/>
          <p:nvPr/>
        </p:nvSpPr>
        <p:spPr>
          <a:xfrm>
            <a:off x="13211651"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42" name="Rectangle 1041">
            <a:extLst>
              <a:ext uri="{FF2B5EF4-FFF2-40B4-BE49-F238E27FC236}">
                <a16:creationId xmlns:a16="http://schemas.microsoft.com/office/drawing/2014/main" id="{9398CC7A-12FC-3BEB-1959-1E270E2567EA}"/>
              </a:ext>
            </a:extLst>
          </p:cNvPr>
          <p:cNvSpPr/>
          <p:nvPr/>
        </p:nvSpPr>
        <p:spPr>
          <a:xfrm>
            <a:off x="1817865"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40" name="Rectangle 1039">
            <a:extLst>
              <a:ext uri="{FF2B5EF4-FFF2-40B4-BE49-F238E27FC236}">
                <a16:creationId xmlns:a16="http://schemas.microsoft.com/office/drawing/2014/main" id="{E331E018-DA8E-DE95-0727-24C58DE0CB36}"/>
              </a:ext>
            </a:extLst>
          </p:cNvPr>
          <p:cNvSpPr/>
          <p:nvPr/>
        </p:nvSpPr>
        <p:spPr>
          <a:xfrm>
            <a:off x="5615794"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38" name="Rectangle 1037">
            <a:extLst>
              <a:ext uri="{FF2B5EF4-FFF2-40B4-BE49-F238E27FC236}">
                <a16:creationId xmlns:a16="http://schemas.microsoft.com/office/drawing/2014/main" id="{BACA8222-0BEE-3249-3EA3-527F120E6A8D}"/>
              </a:ext>
            </a:extLst>
          </p:cNvPr>
          <p:cNvSpPr/>
          <p:nvPr/>
        </p:nvSpPr>
        <p:spPr>
          <a:xfrm>
            <a:off x="9413723"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36" name="Rectangle 1035">
            <a:extLst>
              <a:ext uri="{FF2B5EF4-FFF2-40B4-BE49-F238E27FC236}">
                <a16:creationId xmlns:a16="http://schemas.microsoft.com/office/drawing/2014/main" id="{ACEB7F85-985C-C98A-C89A-B56D85D36182}"/>
              </a:ext>
            </a:extLst>
          </p:cNvPr>
          <p:cNvSpPr/>
          <p:nvPr/>
        </p:nvSpPr>
        <p:spPr>
          <a:xfrm>
            <a:off x="13211651"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3" name="Slide Number Placeholder 2">
            <a:extLst>
              <a:ext uri="{FF2B5EF4-FFF2-40B4-BE49-F238E27FC236}">
                <a16:creationId xmlns:a16="http://schemas.microsoft.com/office/drawing/2014/main" id="{4DBE7FB7-7ABA-61FE-E513-46F09BED866F}"/>
              </a:ext>
            </a:extLst>
          </p:cNvPr>
          <p:cNvSpPr>
            <a:spLocks noGrp="1"/>
          </p:cNvSpPr>
          <p:nvPr>
            <p:ph type="sldNum" sz="quarter" idx="12"/>
          </p:nvPr>
        </p:nvSpPr>
        <p:spPr/>
        <p:txBody>
          <a:bodyPr/>
          <a:lstStyle/>
          <a:p>
            <a:fld id="{E2D680B1-7F17-42D2-83E2-2C9AC13983BB}" type="slidenum">
              <a:rPr lang="en-US" smtClean="0"/>
              <a:t>10</a:t>
            </a:fld>
            <a:endParaRPr lang="en-US" dirty="0"/>
          </a:p>
        </p:txBody>
      </p:sp>
    </p:spTree>
    <p:extLst>
      <p:ext uri="{BB962C8B-B14F-4D97-AF65-F5344CB8AC3E}">
        <p14:creationId xmlns:p14="http://schemas.microsoft.com/office/powerpoint/2010/main" val="8822596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8FA98EEB-6712-898A-ED41-A929BBC462A5}"/>
              </a:ext>
            </a:extLst>
          </p:cNvPr>
          <p:cNvSpPr>
            <a:spLocks noGrp="1"/>
          </p:cNvSpPr>
          <p:nvPr>
            <p:ph type="title"/>
          </p:nvPr>
        </p:nvSpPr>
        <p:spPr/>
        <p:txBody>
          <a:bodyPr/>
          <a:lstStyle/>
          <a:p>
            <a:r>
              <a:rPr lang="en-US" dirty="0"/>
              <a:t>Pie Charts with Descriptions</a:t>
            </a:r>
          </a:p>
        </p:txBody>
      </p:sp>
      <p:grpSp>
        <p:nvGrpSpPr>
          <p:cNvPr id="10" name="Group 9">
            <a:extLst>
              <a:ext uri="{FF2B5EF4-FFF2-40B4-BE49-F238E27FC236}">
                <a16:creationId xmlns:a16="http://schemas.microsoft.com/office/drawing/2014/main" id="{AF5C8001-1A87-BE58-A6C7-0D32206DDE82}"/>
              </a:ext>
            </a:extLst>
          </p:cNvPr>
          <p:cNvGrpSpPr/>
          <p:nvPr/>
        </p:nvGrpSpPr>
        <p:grpSpPr>
          <a:xfrm>
            <a:off x="714375" y="2493470"/>
            <a:ext cx="16859250" cy="6117949"/>
            <a:chOff x="971550" y="2792460"/>
            <a:chExt cx="16344899" cy="6117949"/>
          </a:xfrm>
        </p:grpSpPr>
        <p:cxnSp>
          <p:nvCxnSpPr>
            <p:cNvPr id="11" name="Straight Connector 10">
              <a:extLst>
                <a:ext uri="{FF2B5EF4-FFF2-40B4-BE49-F238E27FC236}">
                  <a16:creationId xmlns:a16="http://schemas.microsoft.com/office/drawing/2014/main" id="{F55C719D-A20C-4127-AB95-40071CDC7DFB}"/>
                </a:ext>
              </a:extLst>
            </p:cNvPr>
            <p:cNvCxnSpPr/>
            <p:nvPr/>
          </p:nvCxnSpPr>
          <p:spPr>
            <a:xfrm flipV="1">
              <a:off x="2911395" y="6382588"/>
              <a:ext cx="0" cy="513512"/>
            </a:xfrm>
            <a:prstGeom prst="line">
              <a:avLst/>
            </a:prstGeom>
            <a:ln w="28575">
              <a:solidFill>
                <a:schemeClr val="accent1"/>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D03906-3AF9-CD23-0FAE-729807C853A5}"/>
                </a:ext>
              </a:extLst>
            </p:cNvPr>
            <p:cNvCxnSpPr/>
            <p:nvPr/>
          </p:nvCxnSpPr>
          <p:spPr>
            <a:xfrm flipV="1">
              <a:off x="7016116" y="6382588"/>
              <a:ext cx="0" cy="513512"/>
            </a:xfrm>
            <a:prstGeom prst="line">
              <a:avLst/>
            </a:prstGeom>
            <a:ln w="28575">
              <a:solidFill>
                <a:schemeClr val="accent2"/>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7D0B888-5FFB-1138-FCE0-3C50904A1A97}"/>
                </a:ext>
              </a:extLst>
            </p:cNvPr>
            <p:cNvCxnSpPr/>
            <p:nvPr/>
          </p:nvCxnSpPr>
          <p:spPr>
            <a:xfrm flipV="1">
              <a:off x="11309988" y="6382588"/>
              <a:ext cx="0" cy="513512"/>
            </a:xfrm>
            <a:prstGeom prst="line">
              <a:avLst/>
            </a:prstGeom>
            <a:ln w="28575">
              <a:solidFill>
                <a:schemeClr val="accent1"/>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6AC308F-736F-EE83-8DAE-39B35DA93342}"/>
                </a:ext>
              </a:extLst>
            </p:cNvPr>
            <p:cNvCxnSpPr/>
            <p:nvPr/>
          </p:nvCxnSpPr>
          <p:spPr>
            <a:xfrm flipV="1">
              <a:off x="15376603" y="6382588"/>
              <a:ext cx="0" cy="513512"/>
            </a:xfrm>
            <a:prstGeom prst="line">
              <a:avLst/>
            </a:prstGeom>
            <a:ln w="28575">
              <a:solidFill>
                <a:schemeClr val="accent2"/>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 name="Chart 1">
              <a:extLst>
                <a:ext uri="{FF2B5EF4-FFF2-40B4-BE49-F238E27FC236}">
                  <a16:creationId xmlns:a16="http://schemas.microsoft.com/office/drawing/2014/main" id="{38813AAE-7205-4217-A255-98ECA30DC6D2}"/>
                </a:ext>
              </a:extLst>
            </p:cNvPr>
            <p:cNvGraphicFramePr>
              <a:graphicFrameLocks noChangeAspect="1"/>
            </p:cNvGraphicFramePr>
            <p:nvPr>
              <p:extLst>
                <p:ext uri="{D42A27DB-BD31-4B8C-83A1-F6EECF244321}">
                  <p14:modId xmlns:p14="http://schemas.microsoft.com/office/powerpoint/2010/main" val="2713127460"/>
                </p:ext>
              </p:extLst>
            </p:nvPr>
          </p:nvGraphicFramePr>
          <p:xfrm>
            <a:off x="971550" y="2829528"/>
            <a:ext cx="3879691" cy="40109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06D3EB32-FB96-460B-8740-E15DFAA8129C}"/>
                </a:ext>
              </a:extLst>
            </p:cNvPr>
            <p:cNvGraphicFramePr>
              <a:graphicFrameLocks noChangeAspect="1"/>
            </p:cNvGraphicFramePr>
            <p:nvPr>
              <p:extLst>
                <p:ext uri="{D42A27DB-BD31-4B8C-83A1-F6EECF244321}">
                  <p14:modId xmlns:p14="http://schemas.microsoft.com/office/powerpoint/2010/main" val="1537478079"/>
                </p:ext>
              </p:extLst>
            </p:nvPr>
          </p:nvGraphicFramePr>
          <p:xfrm>
            <a:off x="5126619" y="2792460"/>
            <a:ext cx="3879691" cy="40109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D0678509-A55B-46F2-B810-4654F981D293}"/>
                </a:ext>
              </a:extLst>
            </p:cNvPr>
            <p:cNvGraphicFramePr>
              <a:graphicFrameLocks noChangeAspect="1"/>
            </p:cNvGraphicFramePr>
            <p:nvPr>
              <p:extLst>
                <p:ext uri="{D42A27DB-BD31-4B8C-83A1-F6EECF244321}">
                  <p14:modId xmlns:p14="http://schemas.microsoft.com/office/powerpoint/2010/main" val="601415099"/>
                </p:ext>
              </p:extLst>
            </p:nvPr>
          </p:nvGraphicFramePr>
          <p:xfrm>
            <a:off x="9281688" y="2792460"/>
            <a:ext cx="3879691" cy="401092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a:extLst>
                <a:ext uri="{FF2B5EF4-FFF2-40B4-BE49-F238E27FC236}">
                  <a16:creationId xmlns:a16="http://schemas.microsoft.com/office/drawing/2014/main" id="{5DE2EFFD-1221-4E73-A735-EDBE7EF50AD8}"/>
                </a:ext>
              </a:extLst>
            </p:cNvPr>
            <p:cNvGraphicFramePr>
              <a:graphicFrameLocks noChangeAspect="1"/>
            </p:cNvGraphicFramePr>
            <p:nvPr>
              <p:extLst>
                <p:ext uri="{D42A27DB-BD31-4B8C-83A1-F6EECF244321}">
                  <p14:modId xmlns:p14="http://schemas.microsoft.com/office/powerpoint/2010/main" val="3327039982"/>
                </p:ext>
              </p:extLst>
            </p:nvPr>
          </p:nvGraphicFramePr>
          <p:xfrm>
            <a:off x="13436758" y="2792460"/>
            <a:ext cx="3879691" cy="4010924"/>
          </p:xfrm>
          <a:graphic>
            <a:graphicData uri="http://schemas.openxmlformats.org/drawingml/2006/chart">
              <c:chart xmlns:c="http://schemas.openxmlformats.org/drawingml/2006/chart" xmlns:r="http://schemas.openxmlformats.org/officeDocument/2006/relationships" r:id="rId6"/>
            </a:graphicData>
          </a:graphic>
        </p:graphicFrame>
        <p:sp>
          <p:nvSpPr>
            <p:cNvPr id="6" name="TextBox 5">
              <a:extLst>
                <a:ext uri="{FF2B5EF4-FFF2-40B4-BE49-F238E27FC236}">
                  <a16:creationId xmlns:a16="http://schemas.microsoft.com/office/drawing/2014/main" id="{0CFA469E-6274-4BDE-B85A-1647D51BDF11}"/>
                </a:ext>
              </a:extLst>
            </p:cNvPr>
            <p:cNvSpPr txBox="1"/>
            <p:nvPr/>
          </p:nvSpPr>
          <p:spPr>
            <a:xfrm>
              <a:off x="2295040" y="4428590"/>
              <a:ext cx="1232710" cy="738664"/>
            </a:xfrm>
            <a:prstGeom prst="rect">
              <a:avLst/>
            </a:prstGeom>
            <a:noFill/>
          </p:spPr>
          <p:txBody>
            <a:bodyPr wrap="none" lIns="0" tIns="0" rIns="0" bIns="0" rtlCol="0" anchor="ctr">
              <a:spAutoFit/>
            </a:bodyPr>
            <a:lstStyle/>
            <a:p>
              <a:pPr algn="ctr"/>
              <a:r>
                <a:rPr lang="en-US" sz="4800" b="1" dirty="0">
                  <a:solidFill>
                    <a:schemeClr val="accent1"/>
                  </a:solidFill>
                  <a:latin typeface="Arial" panose="020B0604020202020204" pitchFamily="34" charset="0"/>
                  <a:ea typeface="Roboto" panose="02000000000000000000" pitchFamily="2" charset="0"/>
                  <a:cs typeface="Arial" panose="020B0604020202020204" pitchFamily="34" charset="0"/>
                </a:rPr>
                <a:t>8</a:t>
              </a:r>
              <a:r>
                <a:rPr lang="id-ID" sz="4800" b="1" dirty="0">
                  <a:solidFill>
                    <a:schemeClr val="accent1"/>
                  </a:solidFill>
                  <a:latin typeface="Arial" panose="020B0604020202020204" pitchFamily="34" charset="0"/>
                  <a:ea typeface="Roboto" panose="02000000000000000000" pitchFamily="2" charset="0"/>
                  <a:cs typeface="Arial" panose="020B0604020202020204" pitchFamily="34" charset="0"/>
                </a:rPr>
                <a:t>0</a:t>
              </a:r>
              <a:r>
                <a:rPr lang="id-ID" sz="4800" dirty="0">
                  <a:solidFill>
                    <a:schemeClr val="accent1"/>
                  </a:solidFill>
                  <a:latin typeface="Arial" panose="020B0604020202020204" pitchFamily="34" charset="0"/>
                  <a:ea typeface="Roboto" panose="02000000000000000000" pitchFamily="2" charset="0"/>
                  <a:cs typeface="Arial" panose="020B0604020202020204" pitchFamily="34" charset="0"/>
                </a:rPr>
                <a:t>%</a:t>
              </a:r>
            </a:p>
          </p:txBody>
        </p:sp>
        <p:sp>
          <p:nvSpPr>
            <p:cNvPr id="27" name="TextBox 26">
              <a:extLst>
                <a:ext uri="{FF2B5EF4-FFF2-40B4-BE49-F238E27FC236}">
                  <a16:creationId xmlns:a16="http://schemas.microsoft.com/office/drawing/2014/main" id="{B9F0C9F3-0314-491B-A3E6-306147364D45}"/>
                </a:ext>
              </a:extLst>
            </p:cNvPr>
            <p:cNvSpPr txBox="1"/>
            <p:nvPr/>
          </p:nvSpPr>
          <p:spPr>
            <a:xfrm>
              <a:off x="6450109" y="4428590"/>
              <a:ext cx="1232710" cy="738664"/>
            </a:xfrm>
            <a:prstGeom prst="rect">
              <a:avLst/>
            </a:prstGeom>
            <a:noFill/>
          </p:spPr>
          <p:txBody>
            <a:bodyPr wrap="none" lIns="0" tIns="0" rIns="0" bIns="0" rtlCol="0" anchor="ctr">
              <a:spAutoFit/>
            </a:bodyPr>
            <a:lstStyle/>
            <a:p>
              <a:pPr algn="ctr"/>
              <a:r>
                <a:rPr lang="en-US" sz="4800" b="1" dirty="0">
                  <a:solidFill>
                    <a:schemeClr val="accent2"/>
                  </a:solidFill>
                  <a:latin typeface="Arial" panose="020B0604020202020204" pitchFamily="34" charset="0"/>
                  <a:ea typeface="Roboto" panose="02000000000000000000" pitchFamily="2" charset="0"/>
                  <a:cs typeface="Arial" panose="020B0604020202020204" pitchFamily="34" charset="0"/>
                </a:rPr>
                <a:t>9</a:t>
              </a:r>
              <a:r>
                <a:rPr lang="id-ID" sz="4800" b="1" dirty="0">
                  <a:solidFill>
                    <a:schemeClr val="accent2"/>
                  </a:solidFill>
                  <a:latin typeface="Arial" panose="020B0604020202020204" pitchFamily="34" charset="0"/>
                  <a:ea typeface="Roboto" panose="02000000000000000000" pitchFamily="2" charset="0"/>
                  <a:cs typeface="Arial" panose="020B0604020202020204" pitchFamily="34" charset="0"/>
                </a:rPr>
                <a:t>0</a:t>
              </a:r>
              <a:r>
                <a:rPr lang="id-ID" sz="4800" dirty="0">
                  <a:solidFill>
                    <a:schemeClr val="accent2"/>
                  </a:solidFill>
                  <a:latin typeface="Arial" panose="020B0604020202020204" pitchFamily="34" charset="0"/>
                  <a:ea typeface="Roboto" panose="02000000000000000000" pitchFamily="2" charset="0"/>
                  <a:cs typeface="Arial" panose="020B0604020202020204" pitchFamily="34" charset="0"/>
                </a:rPr>
                <a:t>%</a:t>
              </a:r>
            </a:p>
          </p:txBody>
        </p:sp>
        <p:sp>
          <p:nvSpPr>
            <p:cNvPr id="28" name="TextBox 27">
              <a:extLst>
                <a:ext uri="{FF2B5EF4-FFF2-40B4-BE49-F238E27FC236}">
                  <a16:creationId xmlns:a16="http://schemas.microsoft.com/office/drawing/2014/main" id="{A6809652-34C9-4CD5-96AB-F26B9A26BA26}"/>
                </a:ext>
              </a:extLst>
            </p:cNvPr>
            <p:cNvSpPr txBox="1"/>
            <p:nvPr/>
          </p:nvSpPr>
          <p:spPr>
            <a:xfrm>
              <a:off x="10605178" y="4428590"/>
              <a:ext cx="1232710" cy="738664"/>
            </a:xfrm>
            <a:prstGeom prst="rect">
              <a:avLst/>
            </a:prstGeom>
            <a:noFill/>
          </p:spPr>
          <p:txBody>
            <a:bodyPr wrap="none" lIns="0" tIns="0" rIns="0" bIns="0" rtlCol="0" anchor="ctr">
              <a:spAutoFit/>
            </a:bodyPr>
            <a:lstStyle/>
            <a:p>
              <a:pPr algn="ctr"/>
              <a:r>
                <a:rPr lang="id-ID" sz="4800" b="1" dirty="0">
                  <a:solidFill>
                    <a:schemeClr val="accent1"/>
                  </a:solidFill>
                  <a:latin typeface="Arial" panose="020B0604020202020204" pitchFamily="34" charset="0"/>
                  <a:ea typeface="Roboto" panose="02000000000000000000" pitchFamily="2" charset="0"/>
                  <a:cs typeface="Arial" panose="020B0604020202020204" pitchFamily="34" charset="0"/>
                </a:rPr>
                <a:t>60</a:t>
              </a:r>
              <a:r>
                <a:rPr lang="id-ID" sz="4800" dirty="0">
                  <a:solidFill>
                    <a:schemeClr val="accent1"/>
                  </a:solidFill>
                  <a:latin typeface="Arial" panose="020B0604020202020204" pitchFamily="34" charset="0"/>
                  <a:ea typeface="Roboto" panose="02000000000000000000" pitchFamily="2" charset="0"/>
                  <a:cs typeface="Arial" panose="020B0604020202020204" pitchFamily="34" charset="0"/>
                </a:rPr>
                <a:t>%</a:t>
              </a:r>
            </a:p>
          </p:txBody>
        </p:sp>
        <p:sp>
          <p:nvSpPr>
            <p:cNvPr id="29" name="TextBox 28">
              <a:extLst>
                <a:ext uri="{FF2B5EF4-FFF2-40B4-BE49-F238E27FC236}">
                  <a16:creationId xmlns:a16="http://schemas.microsoft.com/office/drawing/2014/main" id="{46186097-9485-4F20-B0EB-3ECAA919E623}"/>
                </a:ext>
              </a:extLst>
            </p:cNvPr>
            <p:cNvSpPr txBox="1"/>
            <p:nvPr/>
          </p:nvSpPr>
          <p:spPr>
            <a:xfrm>
              <a:off x="14760248" y="4428590"/>
              <a:ext cx="1232710" cy="738664"/>
            </a:xfrm>
            <a:prstGeom prst="rect">
              <a:avLst/>
            </a:prstGeom>
            <a:noFill/>
          </p:spPr>
          <p:txBody>
            <a:bodyPr wrap="none" lIns="0" tIns="0" rIns="0" bIns="0" rtlCol="0" anchor="ctr">
              <a:spAutoFit/>
            </a:bodyPr>
            <a:lstStyle/>
            <a:p>
              <a:pPr algn="ctr"/>
              <a:r>
                <a:rPr lang="en-US" sz="4800" b="1" dirty="0">
                  <a:solidFill>
                    <a:schemeClr val="accent2"/>
                  </a:solidFill>
                  <a:latin typeface="Arial" panose="020B0604020202020204" pitchFamily="34" charset="0"/>
                  <a:ea typeface="Roboto" panose="02000000000000000000" pitchFamily="2" charset="0"/>
                  <a:cs typeface="Arial" panose="020B0604020202020204" pitchFamily="34" charset="0"/>
                </a:rPr>
                <a:t>7</a:t>
              </a:r>
              <a:r>
                <a:rPr lang="id-ID" sz="4800" b="1" dirty="0">
                  <a:solidFill>
                    <a:schemeClr val="accent2"/>
                  </a:solidFill>
                  <a:latin typeface="Arial" panose="020B0604020202020204" pitchFamily="34" charset="0"/>
                  <a:ea typeface="Roboto" panose="02000000000000000000" pitchFamily="2" charset="0"/>
                  <a:cs typeface="Arial" panose="020B0604020202020204" pitchFamily="34" charset="0"/>
                </a:rPr>
                <a:t>0</a:t>
              </a:r>
              <a:r>
                <a:rPr lang="id-ID" sz="4800" dirty="0">
                  <a:solidFill>
                    <a:schemeClr val="accent2"/>
                  </a:solidFill>
                  <a:latin typeface="Arial" panose="020B0604020202020204" pitchFamily="34" charset="0"/>
                  <a:ea typeface="Roboto" panose="02000000000000000000" pitchFamily="2" charset="0"/>
                  <a:cs typeface="Arial" panose="020B0604020202020204" pitchFamily="34" charset="0"/>
                </a:rPr>
                <a:t>%</a:t>
              </a:r>
            </a:p>
          </p:txBody>
        </p:sp>
        <p:sp>
          <p:nvSpPr>
            <p:cNvPr id="37" name="Content Placeholder 31">
              <a:extLst>
                <a:ext uri="{FF2B5EF4-FFF2-40B4-BE49-F238E27FC236}">
                  <a16:creationId xmlns:a16="http://schemas.microsoft.com/office/drawing/2014/main" id="{5A45A0DA-9285-D56A-66C4-65D7FAF9E88D}"/>
                </a:ext>
              </a:extLst>
            </p:cNvPr>
            <p:cNvSpPr txBox="1">
              <a:spLocks/>
            </p:cNvSpPr>
            <p:nvPr/>
          </p:nvSpPr>
          <p:spPr>
            <a:xfrm>
              <a:off x="974725" y="7134711"/>
              <a:ext cx="3879691" cy="17756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38" name="Content Placeholder 31">
              <a:extLst>
                <a:ext uri="{FF2B5EF4-FFF2-40B4-BE49-F238E27FC236}">
                  <a16:creationId xmlns:a16="http://schemas.microsoft.com/office/drawing/2014/main" id="{2AA5373F-979B-8D10-840E-733F1910A78A}"/>
                </a:ext>
              </a:extLst>
            </p:cNvPr>
            <p:cNvSpPr txBox="1">
              <a:spLocks/>
            </p:cNvSpPr>
            <p:nvPr/>
          </p:nvSpPr>
          <p:spPr>
            <a:xfrm>
              <a:off x="5128736" y="7134711"/>
              <a:ext cx="3879691" cy="17756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39" name="Content Placeholder 31">
              <a:extLst>
                <a:ext uri="{FF2B5EF4-FFF2-40B4-BE49-F238E27FC236}">
                  <a16:creationId xmlns:a16="http://schemas.microsoft.com/office/drawing/2014/main" id="{975FA678-C7CD-DD9B-6A0F-3631776EE301}"/>
                </a:ext>
              </a:extLst>
            </p:cNvPr>
            <p:cNvSpPr txBox="1">
              <a:spLocks/>
            </p:cNvSpPr>
            <p:nvPr/>
          </p:nvSpPr>
          <p:spPr>
            <a:xfrm>
              <a:off x="9282747" y="7134711"/>
              <a:ext cx="3879691" cy="17756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40" name="Content Placeholder 31">
              <a:extLst>
                <a:ext uri="{FF2B5EF4-FFF2-40B4-BE49-F238E27FC236}">
                  <a16:creationId xmlns:a16="http://schemas.microsoft.com/office/drawing/2014/main" id="{68D5CC07-0F0B-DE03-7670-42C8E93596B8}"/>
                </a:ext>
              </a:extLst>
            </p:cNvPr>
            <p:cNvSpPr txBox="1">
              <a:spLocks/>
            </p:cNvSpPr>
            <p:nvPr/>
          </p:nvSpPr>
          <p:spPr>
            <a:xfrm>
              <a:off x="13436758" y="7134711"/>
              <a:ext cx="3879691" cy="17756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88000" indent="-288000">
                <a:lnSpc>
                  <a:spcPct val="100000"/>
                </a:lnSpc>
                <a:spcBef>
                  <a:spcPts val="300"/>
                </a:spcBef>
                <a:spcAft>
                  <a:spcPts val="300"/>
                </a:spcAft>
                <a:buClr>
                  <a:schemeClr val="accent1"/>
                </a:buClr>
                <a:buSzPct val="100000"/>
                <a:buFont typeface="Symbol" panose="05050102010706020507" pitchFamily="18" charset="2"/>
                <a:buChar char=""/>
              </a:pPr>
              <a:r>
                <a:rPr lang="en-US" altLang="ko-KR"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grpSp>
      <p:sp>
        <p:nvSpPr>
          <p:cNvPr id="9" name="Slide Number Placeholder 8">
            <a:extLst>
              <a:ext uri="{FF2B5EF4-FFF2-40B4-BE49-F238E27FC236}">
                <a16:creationId xmlns:a16="http://schemas.microsoft.com/office/drawing/2014/main" id="{ACF895F0-371C-7D6E-83AB-0B2CD9858329}"/>
              </a:ext>
            </a:extLst>
          </p:cNvPr>
          <p:cNvSpPr>
            <a:spLocks noGrp="1"/>
          </p:cNvSpPr>
          <p:nvPr>
            <p:ph type="sldNum" sz="quarter" idx="12"/>
          </p:nvPr>
        </p:nvSpPr>
        <p:spPr/>
        <p:txBody>
          <a:bodyPr/>
          <a:lstStyle/>
          <a:p>
            <a:fld id="{E2D680B1-7F17-42D2-83E2-2C9AC13983BB}" type="slidenum">
              <a:rPr lang="en-US" smtClean="0"/>
              <a:t>100</a:t>
            </a:fld>
            <a:endParaRPr lang="en-US" dirty="0"/>
          </a:p>
        </p:txBody>
      </p:sp>
    </p:spTree>
    <p:extLst>
      <p:ext uri="{BB962C8B-B14F-4D97-AF65-F5344CB8AC3E}">
        <p14:creationId xmlns:p14="http://schemas.microsoft.com/office/powerpoint/2010/main" val="81803732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BD023-ABE3-2D92-4BC3-80F60DD4C04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E37221-26FB-C49F-8BBA-CECB39520DAB}"/>
              </a:ext>
            </a:extLst>
          </p:cNvPr>
          <p:cNvGraphicFramePr>
            <a:graphicFrameLocks noChangeAspect="1"/>
          </p:cNvGraphicFramePr>
          <p:nvPr>
            <p:custDataLst>
              <p:tags r:id="rId1"/>
            </p:custDataLst>
            <p:extLst>
              <p:ext uri="{D42A27DB-BD31-4B8C-83A1-F6EECF244321}">
                <p14:modId xmlns:p14="http://schemas.microsoft.com/office/powerpoint/2010/main" val="518153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D3E37221-26FB-C49F-8BBA-CECB39520D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B2949D-1DA5-7875-38CE-910918D0975F}"/>
              </a:ext>
            </a:extLst>
          </p:cNvPr>
          <p:cNvSpPr>
            <a:spLocks noGrp="1"/>
          </p:cNvSpPr>
          <p:nvPr>
            <p:ph type="title"/>
          </p:nvPr>
        </p:nvSpPr>
        <p:spPr>
          <a:xfrm>
            <a:off x="714375" y="317500"/>
            <a:ext cx="16859250" cy="1266825"/>
          </a:xfrm>
        </p:spPr>
        <p:txBody>
          <a:bodyPr vert="horz"/>
          <a:lstStyle/>
          <a:p>
            <a:r>
              <a:rPr lang="en-US" dirty="0"/>
              <a:t>Icons (1/3) </a:t>
            </a:r>
            <a:endParaRPr lang="en-IN" dirty="0"/>
          </a:p>
        </p:txBody>
      </p:sp>
      <p:sp>
        <p:nvSpPr>
          <p:cNvPr id="33" name="Slide Number Placeholder 32">
            <a:extLst>
              <a:ext uri="{FF2B5EF4-FFF2-40B4-BE49-F238E27FC236}">
                <a16:creationId xmlns:a16="http://schemas.microsoft.com/office/drawing/2014/main" id="{C2532FBB-123A-5086-135F-B9D33784767F}"/>
              </a:ext>
            </a:extLst>
          </p:cNvPr>
          <p:cNvSpPr>
            <a:spLocks noGrp="1"/>
          </p:cNvSpPr>
          <p:nvPr>
            <p:ph type="sldNum" sz="quarter" idx="12"/>
          </p:nvPr>
        </p:nvSpPr>
        <p:spPr/>
        <p:txBody>
          <a:bodyPr/>
          <a:lstStyle/>
          <a:p>
            <a:fld id="{E2D680B1-7F17-42D2-83E2-2C9AC13983BB}" type="slidenum">
              <a:rPr lang="en-US" smtClean="0"/>
              <a:t>101</a:t>
            </a:fld>
            <a:endParaRPr lang="en-US" dirty="0"/>
          </a:p>
        </p:txBody>
      </p:sp>
      <p:sp>
        <p:nvSpPr>
          <p:cNvPr id="31" name="Shape 2525">
            <a:extLst>
              <a:ext uri="{FF2B5EF4-FFF2-40B4-BE49-F238E27FC236}">
                <a16:creationId xmlns:a16="http://schemas.microsoft.com/office/drawing/2014/main" id="{BD9CC875-0CBF-F975-3F24-FFA89A6FAC90}"/>
              </a:ext>
            </a:extLst>
          </p:cNvPr>
          <p:cNvSpPr/>
          <p:nvPr/>
        </p:nvSpPr>
        <p:spPr>
          <a:xfrm>
            <a:off x="714375" y="192978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 name="Shape 2526">
            <a:extLst>
              <a:ext uri="{FF2B5EF4-FFF2-40B4-BE49-F238E27FC236}">
                <a16:creationId xmlns:a16="http://schemas.microsoft.com/office/drawing/2014/main" id="{44CC2087-080B-FD2B-AC99-4E58C4D88684}"/>
              </a:ext>
            </a:extLst>
          </p:cNvPr>
          <p:cNvSpPr/>
          <p:nvPr/>
        </p:nvSpPr>
        <p:spPr>
          <a:xfrm>
            <a:off x="2119350" y="192978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 name="Shape 2527">
            <a:extLst>
              <a:ext uri="{FF2B5EF4-FFF2-40B4-BE49-F238E27FC236}">
                <a16:creationId xmlns:a16="http://schemas.microsoft.com/office/drawing/2014/main" id="{4E75BF18-F118-20AF-80F4-DF481C22E836}"/>
              </a:ext>
            </a:extLst>
          </p:cNvPr>
          <p:cNvSpPr/>
          <p:nvPr/>
        </p:nvSpPr>
        <p:spPr>
          <a:xfrm>
            <a:off x="2919450" y="192978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 name="Shape 2528">
            <a:extLst>
              <a:ext uri="{FF2B5EF4-FFF2-40B4-BE49-F238E27FC236}">
                <a16:creationId xmlns:a16="http://schemas.microsoft.com/office/drawing/2014/main" id="{CF27A964-E154-9983-7AB4-BB80840DF05C}"/>
              </a:ext>
            </a:extLst>
          </p:cNvPr>
          <p:cNvSpPr/>
          <p:nvPr/>
        </p:nvSpPr>
        <p:spPr>
          <a:xfrm>
            <a:off x="3776700" y="1929788"/>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 name="Shape 2529">
            <a:extLst>
              <a:ext uri="{FF2B5EF4-FFF2-40B4-BE49-F238E27FC236}">
                <a16:creationId xmlns:a16="http://schemas.microsoft.com/office/drawing/2014/main" id="{6E9F3189-A8FD-38C4-9BDB-8A166972ECFE}"/>
              </a:ext>
            </a:extLst>
          </p:cNvPr>
          <p:cNvSpPr/>
          <p:nvPr/>
        </p:nvSpPr>
        <p:spPr>
          <a:xfrm>
            <a:off x="4576800" y="1929788"/>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 name="Shape 2530">
            <a:extLst>
              <a:ext uri="{FF2B5EF4-FFF2-40B4-BE49-F238E27FC236}">
                <a16:creationId xmlns:a16="http://schemas.microsoft.com/office/drawing/2014/main" id="{18631735-C735-6729-AE5B-C4C34FA7E155}"/>
              </a:ext>
            </a:extLst>
          </p:cNvPr>
          <p:cNvSpPr/>
          <p:nvPr/>
        </p:nvSpPr>
        <p:spPr>
          <a:xfrm>
            <a:off x="5357849" y="1929787"/>
            <a:ext cx="342901" cy="419070"/>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 name="Shape 2531">
            <a:extLst>
              <a:ext uri="{FF2B5EF4-FFF2-40B4-BE49-F238E27FC236}">
                <a16:creationId xmlns:a16="http://schemas.microsoft.com/office/drawing/2014/main" id="{0C8D2EEB-30DE-DB1D-1664-63A8DC43C708}"/>
              </a:ext>
            </a:extLst>
          </p:cNvPr>
          <p:cNvSpPr/>
          <p:nvPr/>
        </p:nvSpPr>
        <p:spPr>
          <a:xfrm>
            <a:off x="6157949" y="1929788"/>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 name="Shape 2532">
            <a:extLst>
              <a:ext uri="{FF2B5EF4-FFF2-40B4-BE49-F238E27FC236}">
                <a16:creationId xmlns:a16="http://schemas.microsoft.com/office/drawing/2014/main" id="{606E448F-92F3-0627-1D60-CDEB540DD84B}"/>
              </a:ext>
            </a:extLst>
          </p:cNvPr>
          <p:cNvSpPr/>
          <p:nvPr/>
        </p:nvSpPr>
        <p:spPr>
          <a:xfrm>
            <a:off x="6958049" y="1929788"/>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 name="Shape 2533">
            <a:extLst>
              <a:ext uri="{FF2B5EF4-FFF2-40B4-BE49-F238E27FC236}">
                <a16:creationId xmlns:a16="http://schemas.microsoft.com/office/drawing/2014/main" id="{72D749FF-B574-F461-B270-1DA85641799E}"/>
              </a:ext>
            </a:extLst>
          </p:cNvPr>
          <p:cNvSpPr/>
          <p:nvPr/>
        </p:nvSpPr>
        <p:spPr>
          <a:xfrm>
            <a:off x="7758150" y="1929788"/>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 name="Shape 2534">
            <a:extLst>
              <a:ext uri="{FF2B5EF4-FFF2-40B4-BE49-F238E27FC236}">
                <a16:creationId xmlns:a16="http://schemas.microsoft.com/office/drawing/2014/main" id="{6F375FFD-E155-A1EC-AD86-584C03ED71F7}"/>
              </a:ext>
            </a:extLst>
          </p:cNvPr>
          <p:cNvSpPr/>
          <p:nvPr/>
        </p:nvSpPr>
        <p:spPr>
          <a:xfrm>
            <a:off x="8558250" y="1929787"/>
            <a:ext cx="342901" cy="419070"/>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 name="Shape 2535">
            <a:extLst>
              <a:ext uri="{FF2B5EF4-FFF2-40B4-BE49-F238E27FC236}">
                <a16:creationId xmlns:a16="http://schemas.microsoft.com/office/drawing/2014/main" id="{3ADE0B1F-F544-18ED-29CE-33CAA650AD15}"/>
              </a:ext>
            </a:extLst>
          </p:cNvPr>
          <p:cNvSpPr/>
          <p:nvPr/>
        </p:nvSpPr>
        <p:spPr>
          <a:xfrm>
            <a:off x="714375" y="2729803"/>
            <a:ext cx="342901" cy="419070"/>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 name="Shape 2536">
            <a:extLst>
              <a:ext uri="{FF2B5EF4-FFF2-40B4-BE49-F238E27FC236}">
                <a16:creationId xmlns:a16="http://schemas.microsoft.com/office/drawing/2014/main" id="{3C4CDE98-6425-9F47-2B19-F8D9C043376C}"/>
              </a:ext>
            </a:extLst>
          </p:cNvPr>
          <p:cNvSpPr/>
          <p:nvPr/>
        </p:nvSpPr>
        <p:spPr>
          <a:xfrm>
            <a:off x="2119350" y="272980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 name="Shape 2537">
            <a:extLst>
              <a:ext uri="{FF2B5EF4-FFF2-40B4-BE49-F238E27FC236}">
                <a16:creationId xmlns:a16="http://schemas.microsoft.com/office/drawing/2014/main" id="{CD416BF5-B996-825F-C68F-EE397C76C978}"/>
              </a:ext>
            </a:extLst>
          </p:cNvPr>
          <p:cNvSpPr/>
          <p:nvPr/>
        </p:nvSpPr>
        <p:spPr>
          <a:xfrm>
            <a:off x="2957550" y="2729803"/>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 name="Shape 2538">
            <a:extLst>
              <a:ext uri="{FF2B5EF4-FFF2-40B4-BE49-F238E27FC236}">
                <a16:creationId xmlns:a16="http://schemas.microsoft.com/office/drawing/2014/main" id="{0F5A97B4-AAC8-9327-373F-E36A9D754810}"/>
              </a:ext>
            </a:extLst>
          </p:cNvPr>
          <p:cNvSpPr/>
          <p:nvPr/>
        </p:nvSpPr>
        <p:spPr>
          <a:xfrm>
            <a:off x="3757650" y="2729803"/>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 name="Shape 2539">
            <a:extLst>
              <a:ext uri="{FF2B5EF4-FFF2-40B4-BE49-F238E27FC236}">
                <a16:creationId xmlns:a16="http://schemas.microsoft.com/office/drawing/2014/main" id="{3404E781-6C40-19F6-EF4D-2CAA161C076C}"/>
              </a:ext>
            </a:extLst>
          </p:cNvPr>
          <p:cNvSpPr/>
          <p:nvPr/>
        </p:nvSpPr>
        <p:spPr>
          <a:xfrm>
            <a:off x="4519650" y="2796471"/>
            <a:ext cx="419100" cy="285721"/>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 name="Shape 2540">
            <a:extLst>
              <a:ext uri="{FF2B5EF4-FFF2-40B4-BE49-F238E27FC236}">
                <a16:creationId xmlns:a16="http://schemas.microsoft.com/office/drawing/2014/main" id="{6D1DF46E-4E89-00FD-5FC9-DA805DB8788A}"/>
              </a:ext>
            </a:extLst>
          </p:cNvPr>
          <p:cNvSpPr/>
          <p:nvPr/>
        </p:nvSpPr>
        <p:spPr>
          <a:xfrm>
            <a:off x="5319751" y="272980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 name="Shape 2541">
            <a:extLst>
              <a:ext uri="{FF2B5EF4-FFF2-40B4-BE49-F238E27FC236}">
                <a16:creationId xmlns:a16="http://schemas.microsoft.com/office/drawing/2014/main" id="{26346EEA-5D7E-0F11-82FD-C83E19154A8B}"/>
              </a:ext>
            </a:extLst>
          </p:cNvPr>
          <p:cNvSpPr/>
          <p:nvPr/>
        </p:nvSpPr>
        <p:spPr>
          <a:xfrm>
            <a:off x="6157949" y="2767899"/>
            <a:ext cx="342901" cy="342864"/>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 name="Shape 2542">
            <a:extLst>
              <a:ext uri="{FF2B5EF4-FFF2-40B4-BE49-F238E27FC236}">
                <a16:creationId xmlns:a16="http://schemas.microsoft.com/office/drawing/2014/main" id="{9F20CAB5-AE7B-44C9-D286-78409D8CD661}"/>
              </a:ext>
            </a:extLst>
          </p:cNvPr>
          <p:cNvSpPr/>
          <p:nvPr/>
        </p:nvSpPr>
        <p:spPr>
          <a:xfrm>
            <a:off x="6919950" y="272980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 name="Shape 2543">
            <a:extLst>
              <a:ext uri="{FF2B5EF4-FFF2-40B4-BE49-F238E27FC236}">
                <a16:creationId xmlns:a16="http://schemas.microsoft.com/office/drawing/2014/main" id="{C89EC582-20F3-CEEC-590A-F4926354EDB2}"/>
              </a:ext>
            </a:extLst>
          </p:cNvPr>
          <p:cNvSpPr/>
          <p:nvPr/>
        </p:nvSpPr>
        <p:spPr>
          <a:xfrm>
            <a:off x="7720050" y="272980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 name="Shape 2544">
            <a:extLst>
              <a:ext uri="{FF2B5EF4-FFF2-40B4-BE49-F238E27FC236}">
                <a16:creationId xmlns:a16="http://schemas.microsoft.com/office/drawing/2014/main" id="{D2193083-D348-3CF6-F393-2ADF1926030D}"/>
              </a:ext>
            </a:extLst>
          </p:cNvPr>
          <p:cNvSpPr/>
          <p:nvPr/>
        </p:nvSpPr>
        <p:spPr>
          <a:xfrm>
            <a:off x="8520150" y="272980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 name="Shape 2545">
            <a:extLst>
              <a:ext uri="{FF2B5EF4-FFF2-40B4-BE49-F238E27FC236}">
                <a16:creationId xmlns:a16="http://schemas.microsoft.com/office/drawing/2014/main" id="{35DAC335-C68C-6950-B397-26390F940736}"/>
              </a:ext>
            </a:extLst>
          </p:cNvPr>
          <p:cNvSpPr/>
          <p:nvPr/>
        </p:nvSpPr>
        <p:spPr>
          <a:xfrm>
            <a:off x="714375" y="352981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 name="Shape 2546">
            <a:extLst>
              <a:ext uri="{FF2B5EF4-FFF2-40B4-BE49-F238E27FC236}">
                <a16:creationId xmlns:a16="http://schemas.microsoft.com/office/drawing/2014/main" id="{ABE1C2F3-1F60-E68C-5D90-31CB45329168}"/>
              </a:ext>
            </a:extLst>
          </p:cNvPr>
          <p:cNvSpPr/>
          <p:nvPr/>
        </p:nvSpPr>
        <p:spPr>
          <a:xfrm>
            <a:off x="2119350" y="3567914"/>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 name="Shape 2547">
            <a:extLst>
              <a:ext uri="{FF2B5EF4-FFF2-40B4-BE49-F238E27FC236}">
                <a16:creationId xmlns:a16="http://schemas.microsoft.com/office/drawing/2014/main" id="{D5D9C5EC-BDCF-05B2-6B7B-DB5B9C8A1443}"/>
              </a:ext>
            </a:extLst>
          </p:cNvPr>
          <p:cNvSpPr/>
          <p:nvPr/>
        </p:nvSpPr>
        <p:spPr>
          <a:xfrm>
            <a:off x="2919450" y="352981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 name="Shape 2548">
            <a:extLst>
              <a:ext uri="{FF2B5EF4-FFF2-40B4-BE49-F238E27FC236}">
                <a16:creationId xmlns:a16="http://schemas.microsoft.com/office/drawing/2014/main" id="{17264C98-ACB5-5F4C-BBF4-4516202E6892}"/>
              </a:ext>
            </a:extLst>
          </p:cNvPr>
          <p:cNvSpPr/>
          <p:nvPr/>
        </p:nvSpPr>
        <p:spPr>
          <a:xfrm>
            <a:off x="3719550" y="3691726"/>
            <a:ext cx="419100" cy="95241"/>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 name="Shape 2549">
            <a:extLst>
              <a:ext uri="{FF2B5EF4-FFF2-40B4-BE49-F238E27FC236}">
                <a16:creationId xmlns:a16="http://schemas.microsoft.com/office/drawing/2014/main" id="{BE947862-4D5C-20F4-6B02-C64A43F1FED5}"/>
              </a:ext>
            </a:extLst>
          </p:cNvPr>
          <p:cNvSpPr/>
          <p:nvPr/>
        </p:nvSpPr>
        <p:spPr>
          <a:xfrm>
            <a:off x="4519650" y="352981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8" name="Shape 2550">
            <a:extLst>
              <a:ext uri="{FF2B5EF4-FFF2-40B4-BE49-F238E27FC236}">
                <a16:creationId xmlns:a16="http://schemas.microsoft.com/office/drawing/2014/main" id="{5C6B87C4-B841-8974-9254-58A607B859A2}"/>
              </a:ext>
            </a:extLst>
          </p:cNvPr>
          <p:cNvSpPr/>
          <p:nvPr/>
        </p:nvSpPr>
        <p:spPr>
          <a:xfrm>
            <a:off x="5319751" y="352981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9" name="Shape 2551">
            <a:extLst>
              <a:ext uri="{FF2B5EF4-FFF2-40B4-BE49-F238E27FC236}">
                <a16:creationId xmlns:a16="http://schemas.microsoft.com/office/drawing/2014/main" id="{EE5197CD-A659-BE08-76FD-36C09F597C7C}"/>
              </a:ext>
            </a:extLst>
          </p:cNvPr>
          <p:cNvSpPr/>
          <p:nvPr/>
        </p:nvSpPr>
        <p:spPr>
          <a:xfrm>
            <a:off x="6119851" y="352981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0" name="Shape 2552">
            <a:extLst>
              <a:ext uri="{FF2B5EF4-FFF2-40B4-BE49-F238E27FC236}">
                <a16:creationId xmlns:a16="http://schemas.microsoft.com/office/drawing/2014/main" id="{64527AF9-C992-A40A-912F-8850C4D21682}"/>
              </a:ext>
            </a:extLst>
          </p:cNvPr>
          <p:cNvSpPr/>
          <p:nvPr/>
        </p:nvSpPr>
        <p:spPr>
          <a:xfrm>
            <a:off x="6919950" y="354886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1" name="Shape 2553">
            <a:extLst>
              <a:ext uri="{FF2B5EF4-FFF2-40B4-BE49-F238E27FC236}">
                <a16:creationId xmlns:a16="http://schemas.microsoft.com/office/drawing/2014/main" id="{B4B0DBF0-B95B-846E-D2DA-39AEF4F93FBC}"/>
              </a:ext>
            </a:extLst>
          </p:cNvPr>
          <p:cNvSpPr/>
          <p:nvPr/>
        </p:nvSpPr>
        <p:spPr>
          <a:xfrm>
            <a:off x="7720050" y="354886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2" name="Shape 2554">
            <a:extLst>
              <a:ext uri="{FF2B5EF4-FFF2-40B4-BE49-F238E27FC236}">
                <a16:creationId xmlns:a16="http://schemas.microsoft.com/office/drawing/2014/main" id="{2D5D4E00-B94F-75DA-0388-CC6C50D48B66}"/>
              </a:ext>
            </a:extLst>
          </p:cNvPr>
          <p:cNvSpPr/>
          <p:nvPr/>
        </p:nvSpPr>
        <p:spPr>
          <a:xfrm>
            <a:off x="8520150" y="354886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3" name="Shape 2555">
            <a:extLst>
              <a:ext uri="{FF2B5EF4-FFF2-40B4-BE49-F238E27FC236}">
                <a16:creationId xmlns:a16="http://schemas.microsoft.com/office/drawing/2014/main" id="{A71C879E-F130-7B43-051A-2ECFE7568E5A}"/>
              </a:ext>
            </a:extLst>
          </p:cNvPr>
          <p:cNvSpPr/>
          <p:nvPr/>
        </p:nvSpPr>
        <p:spPr>
          <a:xfrm>
            <a:off x="714375"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28" name="Shape 2556">
            <a:extLst>
              <a:ext uri="{FF2B5EF4-FFF2-40B4-BE49-F238E27FC236}">
                <a16:creationId xmlns:a16="http://schemas.microsoft.com/office/drawing/2014/main" id="{3C2E51E9-9A05-9CCE-1EC9-46BD35227175}"/>
              </a:ext>
            </a:extLst>
          </p:cNvPr>
          <p:cNvSpPr/>
          <p:nvPr/>
        </p:nvSpPr>
        <p:spPr>
          <a:xfrm>
            <a:off x="2119350"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29" name="Shape 2557">
            <a:extLst>
              <a:ext uri="{FF2B5EF4-FFF2-40B4-BE49-F238E27FC236}">
                <a16:creationId xmlns:a16="http://schemas.microsoft.com/office/drawing/2014/main" id="{7360CE19-09B5-73CB-8C11-DB3788ABE833}"/>
              </a:ext>
            </a:extLst>
          </p:cNvPr>
          <p:cNvSpPr/>
          <p:nvPr/>
        </p:nvSpPr>
        <p:spPr>
          <a:xfrm>
            <a:off x="2919450"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0" name="Shape 2558">
            <a:extLst>
              <a:ext uri="{FF2B5EF4-FFF2-40B4-BE49-F238E27FC236}">
                <a16:creationId xmlns:a16="http://schemas.microsoft.com/office/drawing/2014/main" id="{816B48F4-0A62-B4A4-4EED-C481CE3FFB0C}"/>
              </a:ext>
            </a:extLst>
          </p:cNvPr>
          <p:cNvSpPr/>
          <p:nvPr/>
        </p:nvSpPr>
        <p:spPr>
          <a:xfrm>
            <a:off x="3719550"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1" name="Shape 2559">
            <a:extLst>
              <a:ext uri="{FF2B5EF4-FFF2-40B4-BE49-F238E27FC236}">
                <a16:creationId xmlns:a16="http://schemas.microsoft.com/office/drawing/2014/main" id="{5B9C7302-B10E-0360-8F0A-6C05C84A2552}"/>
              </a:ext>
            </a:extLst>
          </p:cNvPr>
          <p:cNvSpPr/>
          <p:nvPr/>
        </p:nvSpPr>
        <p:spPr>
          <a:xfrm>
            <a:off x="4519650" y="4367929"/>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6" name="Shape 2560">
            <a:extLst>
              <a:ext uri="{FF2B5EF4-FFF2-40B4-BE49-F238E27FC236}">
                <a16:creationId xmlns:a16="http://schemas.microsoft.com/office/drawing/2014/main" id="{1431C6B7-D54C-84AB-9828-CE2A18344AB7}"/>
              </a:ext>
            </a:extLst>
          </p:cNvPr>
          <p:cNvSpPr/>
          <p:nvPr/>
        </p:nvSpPr>
        <p:spPr>
          <a:xfrm>
            <a:off x="5319751"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8" name="Shape 2561">
            <a:extLst>
              <a:ext uri="{FF2B5EF4-FFF2-40B4-BE49-F238E27FC236}">
                <a16:creationId xmlns:a16="http://schemas.microsoft.com/office/drawing/2014/main" id="{7CDC43D2-1539-A7FE-7903-80B1F0471374}"/>
              </a:ext>
            </a:extLst>
          </p:cNvPr>
          <p:cNvSpPr/>
          <p:nvPr/>
        </p:nvSpPr>
        <p:spPr>
          <a:xfrm>
            <a:off x="6119851" y="4367929"/>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9" name="Shape 2562">
            <a:extLst>
              <a:ext uri="{FF2B5EF4-FFF2-40B4-BE49-F238E27FC236}">
                <a16:creationId xmlns:a16="http://schemas.microsoft.com/office/drawing/2014/main" id="{93E6AD6F-14BA-939B-A6D3-0919790077A7}"/>
              </a:ext>
            </a:extLst>
          </p:cNvPr>
          <p:cNvSpPr/>
          <p:nvPr/>
        </p:nvSpPr>
        <p:spPr>
          <a:xfrm>
            <a:off x="6919950"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0" name="Shape 2563">
            <a:extLst>
              <a:ext uri="{FF2B5EF4-FFF2-40B4-BE49-F238E27FC236}">
                <a16:creationId xmlns:a16="http://schemas.microsoft.com/office/drawing/2014/main" id="{9E783076-A0EA-5F47-7BBD-564DD53F5F7A}"/>
              </a:ext>
            </a:extLst>
          </p:cNvPr>
          <p:cNvSpPr/>
          <p:nvPr/>
        </p:nvSpPr>
        <p:spPr>
          <a:xfrm>
            <a:off x="7720050"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1" name="Shape 2564">
            <a:extLst>
              <a:ext uri="{FF2B5EF4-FFF2-40B4-BE49-F238E27FC236}">
                <a16:creationId xmlns:a16="http://schemas.microsoft.com/office/drawing/2014/main" id="{42E4B98E-81D4-AFDD-FA8B-7C99B1718889}"/>
              </a:ext>
            </a:extLst>
          </p:cNvPr>
          <p:cNvSpPr/>
          <p:nvPr/>
        </p:nvSpPr>
        <p:spPr>
          <a:xfrm>
            <a:off x="8520150" y="432983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2" name="Shape 2565">
            <a:extLst>
              <a:ext uri="{FF2B5EF4-FFF2-40B4-BE49-F238E27FC236}">
                <a16:creationId xmlns:a16="http://schemas.microsoft.com/office/drawing/2014/main" id="{7B17B092-128E-C012-7A08-2891FAA5E8C3}"/>
              </a:ext>
            </a:extLst>
          </p:cNvPr>
          <p:cNvSpPr/>
          <p:nvPr/>
        </p:nvSpPr>
        <p:spPr>
          <a:xfrm>
            <a:off x="714375" y="5167944"/>
            <a:ext cx="419100" cy="342874"/>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3" name="Shape 2566">
            <a:extLst>
              <a:ext uri="{FF2B5EF4-FFF2-40B4-BE49-F238E27FC236}">
                <a16:creationId xmlns:a16="http://schemas.microsoft.com/office/drawing/2014/main" id="{E00A5561-C0A7-DA97-0980-D317A185E6A0}"/>
              </a:ext>
            </a:extLst>
          </p:cNvPr>
          <p:cNvSpPr/>
          <p:nvPr/>
        </p:nvSpPr>
        <p:spPr>
          <a:xfrm>
            <a:off x="2119350" y="5167944"/>
            <a:ext cx="419100" cy="342879"/>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4" name="Shape 2567">
            <a:extLst>
              <a:ext uri="{FF2B5EF4-FFF2-40B4-BE49-F238E27FC236}">
                <a16:creationId xmlns:a16="http://schemas.microsoft.com/office/drawing/2014/main" id="{AC1A94D3-9784-6C75-EC7B-5BC9390B3B9E}"/>
              </a:ext>
            </a:extLst>
          </p:cNvPr>
          <p:cNvSpPr/>
          <p:nvPr/>
        </p:nvSpPr>
        <p:spPr>
          <a:xfrm>
            <a:off x="2919450" y="5129848"/>
            <a:ext cx="419100" cy="419070"/>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5" name="Shape 2568">
            <a:extLst>
              <a:ext uri="{FF2B5EF4-FFF2-40B4-BE49-F238E27FC236}">
                <a16:creationId xmlns:a16="http://schemas.microsoft.com/office/drawing/2014/main" id="{4CC19A18-109B-D2F5-5D40-4A3508F18F03}"/>
              </a:ext>
            </a:extLst>
          </p:cNvPr>
          <p:cNvSpPr/>
          <p:nvPr/>
        </p:nvSpPr>
        <p:spPr>
          <a:xfrm>
            <a:off x="3719550" y="5129848"/>
            <a:ext cx="419100" cy="419070"/>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6" name="Shape 2569">
            <a:extLst>
              <a:ext uri="{FF2B5EF4-FFF2-40B4-BE49-F238E27FC236}">
                <a16:creationId xmlns:a16="http://schemas.microsoft.com/office/drawing/2014/main" id="{238FCE6C-C654-EC06-1C0C-44B47694E9EA}"/>
              </a:ext>
            </a:extLst>
          </p:cNvPr>
          <p:cNvSpPr/>
          <p:nvPr/>
        </p:nvSpPr>
        <p:spPr>
          <a:xfrm>
            <a:off x="4519650" y="5129847"/>
            <a:ext cx="419100" cy="419066"/>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7" name="Shape 2570">
            <a:extLst>
              <a:ext uri="{FF2B5EF4-FFF2-40B4-BE49-F238E27FC236}">
                <a16:creationId xmlns:a16="http://schemas.microsoft.com/office/drawing/2014/main" id="{A714D50D-05C7-DADA-E884-53B5B4EE96A3}"/>
              </a:ext>
            </a:extLst>
          </p:cNvPr>
          <p:cNvSpPr/>
          <p:nvPr/>
        </p:nvSpPr>
        <p:spPr>
          <a:xfrm>
            <a:off x="5319751" y="5139372"/>
            <a:ext cx="419100" cy="409535"/>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8" name="Shape 2571">
            <a:extLst>
              <a:ext uri="{FF2B5EF4-FFF2-40B4-BE49-F238E27FC236}">
                <a16:creationId xmlns:a16="http://schemas.microsoft.com/office/drawing/2014/main" id="{A833EDDE-0AE6-6BA6-79B7-119D72871E7F}"/>
              </a:ext>
            </a:extLst>
          </p:cNvPr>
          <p:cNvSpPr/>
          <p:nvPr/>
        </p:nvSpPr>
        <p:spPr>
          <a:xfrm>
            <a:off x="6119851" y="512984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9" name="Shape 2572">
            <a:extLst>
              <a:ext uri="{FF2B5EF4-FFF2-40B4-BE49-F238E27FC236}">
                <a16:creationId xmlns:a16="http://schemas.microsoft.com/office/drawing/2014/main" id="{E9DBA2F2-B1CF-4F00-EFBD-ECC804704B53}"/>
              </a:ext>
            </a:extLst>
          </p:cNvPr>
          <p:cNvSpPr/>
          <p:nvPr/>
        </p:nvSpPr>
        <p:spPr>
          <a:xfrm>
            <a:off x="6919950" y="512984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5" name="Shape 2573">
            <a:extLst>
              <a:ext uri="{FF2B5EF4-FFF2-40B4-BE49-F238E27FC236}">
                <a16:creationId xmlns:a16="http://schemas.microsoft.com/office/drawing/2014/main" id="{61670693-2A9C-2FEA-B118-1AF8283AAEC6}"/>
              </a:ext>
            </a:extLst>
          </p:cNvPr>
          <p:cNvSpPr/>
          <p:nvPr/>
        </p:nvSpPr>
        <p:spPr>
          <a:xfrm>
            <a:off x="7720050" y="512984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6" name="Shape 2574">
            <a:extLst>
              <a:ext uri="{FF2B5EF4-FFF2-40B4-BE49-F238E27FC236}">
                <a16:creationId xmlns:a16="http://schemas.microsoft.com/office/drawing/2014/main" id="{8C5D80D7-859C-671A-29B5-8693B1E42C8E}"/>
              </a:ext>
            </a:extLst>
          </p:cNvPr>
          <p:cNvSpPr/>
          <p:nvPr/>
        </p:nvSpPr>
        <p:spPr>
          <a:xfrm>
            <a:off x="8539200" y="5129849"/>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7" name="Shape 2575">
            <a:extLst>
              <a:ext uri="{FF2B5EF4-FFF2-40B4-BE49-F238E27FC236}">
                <a16:creationId xmlns:a16="http://schemas.microsoft.com/office/drawing/2014/main" id="{3479624B-A5F9-F813-00E1-1746C8630D41}"/>
              </a:ext>
            </a:extLst>
          </p:cNvPr>
          <p:cNvSpPr/>
          <p:nvPr/>
        </p:nvSpPr>
        <p:spPr>
          <a:xfrm>
            <a:off x="714375"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8" name="Shape 2576">
            <a:extLst>
              <a:ext uri="{FF2B5EF4-FFF2-40B4-BE49-F238E27FC236}">
                <a16:creationId xmlns:a16="http://schemas.microsoft.com/office/drawing/2014/main" id="{83A96C88-0EED-A27B-BB4D-0396826B1B43}"/>
              </a:ext>
            </a:extLst>
          </p:cNvPr>
          <p:cNvSpPr/>
          <p:nvPr/>
        </p:nvSpPr>
        <p:spPr>
          <a:xfrm>
            <a:off x="2119350"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9" name="Shape 2577">
            <a:extLst>
              <a:ext uri="{FF2B5EF4-FFF2-40B4-BE49-F238E27FC236}">
                <a16:creationId xmlns:a16="http://schemas.microsoft.com/office/drawing/2014/main" id="{9EF7FBC3-C2C0-4618-29E6-E03AE0F4BEC6}"/>
              </a:ext>
            </a:extLst>
          </p:cNvPr>
          <p:cNvSpPr/>
          <p:nvPr/>
        </p:nvSpPr>
        <p:spPr>
          <a:xfrm>
            <a:off x="2938500" y="5929864"/>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0" name="Shape 2578">
            <a:extLst>
              <a:ext uri="{FF2B5EF4-FFF2-40B4-BE49-F238E27FC236}">
                <a16:creationId xmlns:a16="http://schemas.microsoft.com/office/drawing/2014/main" id="{CC5FD711-FE3C-3126-3B73-9C7201931336}"/>
              </a:ext>
            </a:extLst>
          </p:cNvPr>
          <p:cNvSpPr/>
          <p:nvPr/>
        </p:nvSpPr>
        <p:spPr>
          <a:xfrm>
            <a:off x="3795750" y="5929864"/>
            <a:ext cx="2667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1" name="Shape 2579">
            <a:extLst>
              <a:ext uri="{FF2B5EF4-FFF2-40B4-BE49-F238E27FC236}">
                <a16:creationId xmlns:a16="http://schemas.microsoft.com/office/drawing/2014/main" id="{2A711764-593E-0AFE-AB30-807A9AE077E5}"/>
              </a:ext>
            </a:extLst>
          </p:cNvPr>
          <p:cNvSpPr/>
          <p:nvPr/>
        </p:nvSpPr>
        <p:spPr>
          <a:xfrm>
            <a:off x="4519650"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2" name="Shape 2580">
            <a:extLst>
              <a:ext uri="{FF2B5EF4-FFF2-40B4-BE49-F238E27FC236}">
                <a16:creationId xmlns:a16="http://schemas.microsoft.com/office/drawing/2014/main" id="{4DAB9AE0-A1E4-370B-2392-628CEE899E97}"/>
              </a:ext>
            </a:extLst>
          </p:cNvPr>
          <p:cNvSpPr/>
          <p:nvPr/>
        </p:nvSpPr>
        <p:spPr>
          <a:xfrm>
            <a:off x="5319751"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3" name="Shape 2581">
            <a:extLst>
              <a:ext uri="{FF2B5EF4-FFF2-40B4-BE49-F238E27FC236}">
                <a16:creationId xmlns:a16="http://schemas.microsoft.com/office/drawing/2014/main" id="{0A185251-8264-CE98-D4FB-0878C26B1DA7}"/>
              </a:ext>
            </a:extLst>
          </p:cNvPr>
          <p:cNvSpPr/>
          <p:nvPr/>
        </p:nvSpPr>
        <p:spPr>
          <a:xfrm>
            <a:off x="6119851"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4" name="Shape 2582">
            <a:extLst>
              <a:ext uri="{FF2B5EF4-FFF2-40B4-BE49-F238E27FC236}">
                <a16:creationId xmlns:a16="http://schemas.microsoft.com/office/drawing/2014/main" id="{06C440C9-39F5-990B-39FB-1E9D9B6567F7}"/>
              </a:ext>
            </a:extLst>
          </p:cNvPr>
          <p:cNvSpPr/>
          <p:nvPr/>
        </p:nvSpPr>
        <p:spPr>
          <a:xfrm>
            <a:off x="6919950"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5" name="Shape 2583">
            <a:extLst>
              <a:ext uri="{FF2B5EF4-FFF2-40B4-BE49-F238E27FC236}">
                <a16:creationId xmlns:a16="http://schemas.microsoft.com/office/drawing/2014/main" id="{C5A96A84-6B42-3955-0F62-43C4BADC8668}"/>
              </a:ext>
            </a:extLst>
          </p:cNvPr>
          <p:cNvSpPr/>
          <p:nvPr/>
        </p:nvSpPr>
        <p:spPr>
          <a:xfrm>
            <a:off x="7720050"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6" name="Shape 2584">
            <a:extLst>
              <a:ext uri="{FF2B5EF4-FFF2-40B4-BE49-F238E27FC236}">
                <a16:creationId xmlns:a16="http://schemas.microsoft.com/office/drawing/2014/main" id="{39F440DA-4BDF-9031-DEFF-F6901331975E}"/>
              </a:ext>
            </a:extLst>
          </p:cNvPr>
          <p:cNvSpPr/>
          <p:nvPr/>
        </p:nvSpPr>
        <p:spPr>
          <a:xfrm>
            <a:off x="8520150" y="592986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7" name="Shape 2585">
            <a:extLst>
              <a:ext uri="{FF2B5EF4-FFF2-40B4-BE49-F238E27FC236}">
                <a16:creationId xmlns:a16="http://schemas.microsoft.com/office/drawing/2014/main" id="{C14AE94B-4915-D13A-AEA9-60BEC0784612}"/>
              </a:ext>
            </a:extLst>
          </p:cNvPr>
          <p:cNvSpPr/>
          <p:nvPr/>
        </p:nvSpPr>
        <p:spPr>
          <a:xfrm>
            <a:off x="9415499" y="1929802"/>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8" name="Shape 2586">
            <a:extLst>
              <a:ext uri="{FF2B5EF4-FFF2-40B4-BE49-F238E27FC236}">
                <a16:creationId xmlns:a16="http://schemas.microsoft.com/office/drawing/2014/main" id="{A7381FE3-69F2-9452-10A7-BB62FD836722}"/>
              </a:ext>
            </a:extLst>
          </p:cNvPr>
          <p:cNvSpPr/>
          <p:nvPr/>
        </p:nvSpPr>
        <p:spPr>
          <a:xfrm>
            <a:off x="10215599" y="1929802"/>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9" name="Shape 2587">
            <a:extLst>
              <a:ext uri="{FF2B5EF4-FFF2-40B4-BE49-F238E27FC236}">
                <a16:creationId xmlns:a16="http://schemas.microsoft.com/office/drawing/2014/main" id="{E62A7865-CE3C-1262-A363-67DE1FDBC4B2}"/>
              </a:ext>
            </a:extLst>
          </p:cNvPr>
          <p:cNvSpPr/>
          <p:nvPr/>
        </p:nvSpPr>
        <p:spPr>
          <a:xfrm>
            <a:off x="10977600" y="192980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0" name="Shape 2588">
            <a:extLst>
              <a:ext uri="{FF2B5EF4-FFF2-40B4-BE49-F238E27FC236}">
                <a16:creationId xmlns:a16="http://schemas.microsoft.com/office/drawing/2014/main" id="{9E3445D1-DC10-068D-10ED-E2FF1F9E0BEC}"/>
              </a:ext>
            </a:extLst>
          </p:cNvPr>
          <p:cNvSpPr/>
          <p:nvPr/>
        </p:nvSpPr>
        <p:spPr>
          <a:xfrm>
            <a:off x="11777700" y="1948849"/>
            <a:ext cx="419100" cy="380975"/>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1" name="Shape 2589">
            <a:extLst>
              <a:ext uri="{FF2B5EF4-FFF2-40B4-BE49-F238E27FC236}">
                <a16:creationId xmlns:a16="http://schemas.microsoft.com/office/drawing/2014/main" id="{59120EC3-8CC4-E755-E297-20B4947342E0}"/>
              </a:ext>
            </a:extLst>
          </p:cNvPr>
          <p:cNvSpPr/>
          <p:nvPr/>
        </p:nvSpPr>
        <p:spPr>
          <a:xfrm>
            <a:off x="12577800" y="1948849"/>
            <a:ext cx="419100" cy="380975"/>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2" name="Shape 2590">
            <a:extLst>
              <a:ext uri="{FF2B5EF4-FFF2-40B4-BE49-F238E27FC236}">
                <a16:creationId xmlns:a16="http://schemas.microsoft.com/office/drawing/2014/main" id="{F0F2A809-2EE6-6ED6-BEEC-BD5934C5F34A}"/>
              </a:ext>
            </a:extLst>
          </p:cNvPr>
          <p:cNvSpPr/>
          <p:nvPr/>
        </p:nvSpPr>
        <p:spPr>
          <a:xfrm>
            <a:off x="13377901" y="192980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6" name="Shape 2594">
            <a:extLst>
              <a:ext uri="{FF2B5EF4-FFF2-40B4-BE49-F238E27FC236}">
                <a16:creationId xmlns:a16="http://schemas.microsoft.com/office/drawing/2014/main" id="{4979A112-30A2-2B35-E2C2-2FCDA7343261}"/>
              </a:ext>
            </a:extLst>
          </p:cNvPr>
          <p:cNvSpPr/>
          <p:nvPr/>
        </p:nvSpPr>
        <p:spPr>
          <a:xfrm>
            <a:off x="17154525" y="1967898"/>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7" name="Shape 2595">
            <a:extLst>
              <a:ext uri="{FF2B5EF4-FFF2-40B4-BE49-F238E27FC236}">
                <a16:creationId xmlns:a16="http://schemas.microsoft.com/office/drawing/2014/main" id="{E5F445F5-4E3F-05B2-3431-A31039388B8A}"/>
              </a:ext>
            </a:extLst>
          </p:cNvPr>
          <p:cNvSpPr/>
          <p:nvPr/>
        </p:nvSpPr>
        <p:spPr>
          <a:xfrm>
            <a:off x="9377401" y="2748865"/>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8" name="Shape 2596">
            <a:extLst>
              <a:ext uri="{FF2B5EF4-FFF2-40B4-BE49-F238E27FC236}">
                <a16:creationId xmlns:a16="http://schemas.microsoft.com/office/drawing/2014/main" id="{A18E1255-10DC-59C2-86F2-7629D8A6DC61}"/>
              </a:ext>
            </a:extLst>
          </p:cNvPr>
          <p:cNvSpPr/>
          <p:nvPr/>
        </p:nvSpPr>
        <p:spPr>
          <a:xfrm>
            <a:off x="10177500" y="2786961"/>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9" name="Shape 2597">
            <a:extLst>
              <a:ext uri="{FF2B5EF4-FFF2-40B4-BE49-F238E27FC236}">
                <a16:creationId xmlns:a16="http://schemas.microsoft.com/office/drawing/2014/main" id="{62F48F6A-F07F-D16E-8E47-35BDAA6E2C9A}"/>
              </a:ext>
            </a:extLst>
          </p:cNvPr>
          <p:cNvSpPr/>
          <p:nvPr/>
        </p:nvSpPr>
        <p:spPr>
          <a:xfrm>
            <a:off x="10977600" y="2767913"/>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0" name="Shape 2598">
            <a:extLst>
              <a:ext uri="{FF2B5EF4-FFF2-40B4-BE49-F238E27FC236}">
                <a16:creationId xmlns:a16="http://schemas.microsoft.com/office/drawing/2014/main" id="{1AE488E3-22B6-D76C-752D-56C16D5C2062}"/>
              </a:ext>
            </a:extLst>
          </p:cNvPr>
          <p:cNvSpPr/>
          <p:nvPr/>
        </p:nvSpPr>
        <p:spPr>
          <a:xfrm>
            <a:off x="11777700" y="2767913"/>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1" name="Shape 2599">
            <a:extLst>
              <a:ext uri="{FF2B5EF4-FFF2-40B4-BE49-F238E27FC236}">
                <a16:creationId xmlns:a16="http://schemas.microsoft.com/office/drawing/2014/main" id="{8C6A9605-0A83-4A48-8A74-7F5B1290AA22}"/>
              </a:ext>
            </a:extLst>
          </p:cNvPr>
          <p:cNvSpPr/>
          <p:nvPr/>
        </p:nvSpPr>
        <p:spPr>
          <a:xfrm>
            <a:off x="12577800" y="27298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2" name="Shape 2600">
            <a:extLst>
              <a:ext uri="{FF2B5EF4-FFF2-40B4-BE49-F238E27FC236}">
                <a16:creationId xmlns:a16="http://schemas.microsoft.com/office/drawing/2014/main" id="{FC420039-59F7-4860-6B07-465A0EA87B81}"/>
              </a:ext>
            </a:extLst>
          </p:cNvPr>
          <p:cNvSpPr/>
          <p:nvPr/>
        </p:nvSpPr>
        <p:spPr>
          <a:xfrm>
            <a:off x="13377901" y="27298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6" name="Shape 2604">
            <a:extLst>
              <a:ext uri="{FF2B5EF4-FFF2-40B4-BE49-F238E27FC236}">
                <a16:creationId xmlns:a16="http://schemas.microsoft.com/office/drawing/2014/main" id="{A2931F88-D736-1035-7B52-1945FAB1A728}"/>
              </a:ext>
            </a:extLst>
          </p:cNvPr>
          <p:cNvSpPr/>
          <p:nvPr/>
        </p:nvSpPr>
        <p:spPr>
          <a:xfrm>
            <a:off x="17154525" y="2767913"/>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7" name="Shape 2605">
            <a:extLst>
              <a:ext uri="{FF2B5EF4-FFF2-40B4-BE49-F238E27FC236}">
                <a16:creationId xmlns:a16="http://schemas.microsoft.com/office/drawing/2014/main" id="{474B2941-F302-8A04-B8BD-E94D127C6286}"/>
              </a:ext>
            </a:extLst>
          </p:cNvPr>
          <p:cNvSpPr/>
          <p:nvPr/>
        </p:nvSpPr>
        <p:spPr>
          <a:xfrm>
            <a:off x="9377399" y="3529833"/>
            <a:ext cx="419299" cy="419243"/>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8" name="Shape 2606">
            <a:extLst>
              <a:ext uri="{FF2B5EF4-FFF2-40B4-BE49-F238E27FC236}">
                <a16:creationId xmlns:a16="http://schemas.microsoft.com/office/drawing/2014/main" id="{B876C3AF-2FBE-0468-B52E-4E37B13159E1}"/>
              </a:ext>
            </a:extLst>
          </p:cNvPr>
          <p:cNvSpPr/>
          <p:nvPr/>
        </p:nvSpPr>
        <p:spPr>
          <a:xfrm>
            <a:off x="10177500" y="35298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9" name="Shape 2607">
            <a:extLst>
              <a:ext uri="{FF2B5EF4-FFF2-40B4-BE49-F238E27FC236}">
                <a16:creationId xmlns:a16="http://schemas.microsoft.com/office/drawing/2014/main" id="{5537CA4C-57C6-BC29-B33A-DE1D021866A3}"/>
              </a:ext>
            </a:extLst>
          </p:cNvPr>
          <p:cNvSpPr/>
          <p:nvPr/>
        </p:nvSpPr>
        <p:spPr>
          <a:xfrm>
            <a:off x="10977600" y="3567928"/>
            <a:ext cx="419100" cy="342850"/>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90" name="Shape 2608">
            <a:extLst>
              <a:ext uri="{FF2B5EF4-FFF2-40B4-BE49-F238E27FC236}">
                <a16:creationId xmlns:a16="http://schemas.microsoft.com/office/drawing/2014/main" id="{93EA31E4-8AE3-6056-299E-8A82848FE58E}"/>
              </a:ext>
            </a:extLst>
          </p:cNvPr>
          <p:cNvSpPr/>
          <p:nvPr/>
        </p:nvSpPr>
        <p:spPr>
          <a:xfrm>
            <a:off x="11777700" y="3567928"/>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91" name="Shape 2609">
            <a:extLst>
              <a:ext uri="{FF2B5EF4-FFF2-40B4-BE49-F238E27FC236}">
                <a16:creationId xmlns:a16="http://schemas.microsoft.com/office/drawing/2014/main" id="{3083BFA8-B855-CEF7-D742-1ABC00E641A8}"/>
              </a:ext>
            </a:extLst>
          </p:cNvPr>
          <p:cNvSpPr/>
          <p:nvPr/>
        </p:nvSpPr>
        <p:spPr>
          <a:xfrm>
            <a:off x="12577800" y="3567928"/>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0" name="Shape 2610">
            <a:extLst>
              <a:ext uri="{FF2B5EF4-FFF2-40B4-BE49-F238E27FC236}">
                <a16:creationId xmlns:a16="http://schemas.microsoft.com/office/drawing/2014/main" id="{D0AB0355-9496-4D54-157F-0FE052F31052}"/>
              </a:ext>
            </a:extLst>
          </p:cNvPr>
          <p:cNvSpPr/>
          <p:nvPr/>
        </p:nvSpPr>
        <p:spPr>
          <a:xfrm>
            <a:off x="13377901" y="3567928"/>
            <a:ext cx="419100" cy="342855"/>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4" name="Shape 2614">
            <a:extLst>
              <a:ext uri="{FF2B5EF4-FFF2-40B4-BE49-F238E27FC236}">
                <a16:creationId xmlns:a16="http://schemas.microsoft.com/office/drawing/2014/main" id="{25B153EA-0D50-6DBF-9C3F-6009DB743BA5}"/>
              </a:ext>
            </a:extLst>
          </p:cNvPr>
          <p:cNvSpPr/>
          <p:nvPr/>
        </p:nvSpPr>
        <p:spPr>
          <a:xfrm>
            <a:off x="17154525" y="35298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5" name="Shape 2615">
            <a:extLst>
              <a:ext uri="{FF2B5EF4-FFF2-40B4-BE49-F238E27FC236}">
                <a16:creationId xmlns:a16="http://schemas.microsoft.com/office/drawing/2014/main" id="{215E39EE-A564-5A56-18A3-E240F8D8E06D}"/>
              </a:ext>
            </a:extLst>
          </p:cNvPr>
          <p:cNvSpPr/>
          <p:nvPr/>
        </p:nvSpPr>
        <p:spPr>
          <a:xfrm>
            <a:off x="9377401" y="432984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6" name="Shape 2616">
            <a:extLst>
              <a:ext uri="{FF2B5EF4-FFF2-40B4-BE49-F238E27FC236}">
                <a16:creationId xmlns:a16="http://schemas.microsoft.com/office/drawing/2014/main" id="{F8F60E39-D4A0-D529-FE3D-9F2E78E85C69}"/>
              </a:ext>
            </a:extLst>
          </p:cNvPr>
          <p:cNvSpPr/>
          <p:nvPr/>
        </p:nvSpPr>
        <p:spPr>
          <a:xfrm>
            <a:off x="10177500" y="4348895"/>
            <a:ext cx="419100" cy="38105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7" name="Shape 2617">
            <a:extLst>
              <a:ext uri="{FF2B5EF4-FFF2-40B4-BE49-F238E27FC236}">
                <a16:creationId xmlns:a16="http://schemas.microsoft.com/office/drawing/2014/main" id="{B6EA65F8-A5C9-6FDB-93FD-128F031991DA}"/>
              </a:ext>
            </a:extLst>
          </p:cNvPr>
          <p:cNvSpPr/>
          <p:nvPr/>
        </p:nvSpPr>
        <p:spPr>
          <a:xfrm>
            <a:off x="10977600" y="4367943"/>
            <a:ext cx="419100" cy="342902"/>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8" name="Shape 2618">
            <a:extLst>
              <a:ext uri="{FF2B5EF4-FFF2-40B4-BE49-F238E27FC236}">
                <a16:creationId xmlns:a16="http://schemas.microsoft.com/office/drawing/2014/main" id="{323F1CBC-A386-5EC3-5E48-1BD81907AA2F}"/>
              </a:ext>
            </a:extLst>
          </p:cNvPr>
          <p:cNvSpPr/>
          <p:nvPr/>
        </p:nvSpPr>
        <p:spPr>
          <a:xfrm>
            <a:off x="11777699" y="4329848"/>
            <a:ext cx="419061" cy="419075"/>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9" name="Shape 2619">
            <a:extLst>
              <a:ext uri="{FF2B5EF4-FFF2-40B4-BE49-F238E27FC236}">
                <a16:creationId xmlns:a16="http://schemas.microsoft.com/office/drawing/2014/main" id="{F2FF9FA1-B338-FDBC-4B61-54E2D651F5B7}"/>
              </a:ext>
            </a:extLst>
          </p:cNvPr>
          <p:cNvSpPr/>
          <p:nvPr/>
        </p:nvSpPr>
        <p:spPr>
          <a:xfrm>
            <a:off x="12577800" y="4329848"/>
            <a:ext cx="419100" cy="419053"/>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0" name="Shape 2620">
            <a:extLst>
              <a:ext uri="{FF2B5EF4-FFF2-40B4-BE49-F238E27FC236}">
                <a16:creationId xmlns:a16="http://schemas.microsoft.com/office/drawing/2014/main" id="{4CA125D9-300A-3CD8-85F9-68F8F9F15B98}"/>
              </a:ext>
            </a:extLst>
          </p:cNvPr>
          <p:cNvSpPr/>
          <p:nvPr/>
        </p:nvSpPr>
        <p:spPr>
          <a:xfrm>
            <a:off x="13377901" y="4348895"/>
            <a:ext cx="419100" cy="381105"/>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4" name="Shape 2624">
            <a:extLst>
              <a:ext uri="{FF2B5EF4-FFF2-40B4-BE49-F238E27FC236}">
                <a16:creationId xmlns:a16="http://schemas.microsoft.com/office/drawing/2014/main" id="{E9C33F7D-330B-D29F-EF6A-BB3D455233C8}"/>
              </a:ext>
            </a:extLst>
          </p:cNvPr>
          <p:cNvSpPr/>
          <p:nvPr/>
        </p:nvSpPr>
        <p:spPr>
          <a:xfrm>
            <a:off x="17154525" y="432984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5" name="Shape 2625">
            <a:extLst>
              <a:ext uri="{FF2B5EF4-FFF2-40B4-BE49-F238E27FC236}">
                <a16:creationId xmlns:a16="http://schemas.microsoft.com/office/drawing/2014/main" id="{7C37DCD7-1477-D8B6-8706-640F5234DD81}"/>
              </a:ext>
            </a:extLst>
          </p:cNvPr>
          <p:cNvSpPr/>
          <p:nvPr/>
        </p:nvSpPr>
        <p:spPr>
          <a:xfrm>
            <a:off x="9377401" y="5167958"/>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6" name="Shape 2626">
            <a:extLst>
              <a:ext uri="{FF2B5EF4-FFF2-40B4-BE49-F238E27FC236}">
                <a16:creationId xmlns:a16="http://schemas.microsoft.com/office/drawing/2014/main" id="{97F437B7-2480-95A2-B0D8-F2A88B5F868F}"/>
              </a:ext>
            </a:extLst>
          </p:cNvPr>
          <p:cNvSpPr/>
          <p:nvPr/>
        </p:nvSpPr>
        <p:spPr>
          <a:xfrm>
            <a:off x="10215599" y="5129863"/>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7" name="Shape 2627">
            <a:extLst>
              <a:ext uri="{FF2B5EF4-FFF2-40B4-BE49-F238E27FC236}">
                <a16:creationId xmlns:a16="http://schemas.microsoft.com/office/drawing/2014/main" id="{37E15335-AC81-B2DE-A13F-DE66365421FF}"/>
              </a:ext>
            </a:extLst>
          </p:cNvPr>
          <p:cNvSpPr/>
          <p:nvPr/>
        </p:nvSpPr>
        <p:spPr>
          <a:xfrm>
            <a:off x="11044275" y="5129863"/>
            <a:ext cx="285751" cy="419056"/>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8" name="Shape 2628">
            <a:extLst>
              <a:ext uri="{FF2B5EF4-FFF2-40B4-BE49-F238E27FC236}">
                <a16:creationId xmlns:a16="http://schemas.microsoft.com/office/drawing/2014/main" id="{A14395E7-DFFB-28CC-66DE-FEF5C0FB7950}"/>
              </a:ext>
            </a:extLst>
          </p:cNvPr>
          <p:cNvSpPr/>
          <p:nvPr/>
        </p:nvSpPr>
        <p:spPr>
          <a:xfrm>
            <a:off x="11777700" y="512986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9" name="Shape 2629">
            <a:extLst>
              <a:ext uri="{FF2B5EF4-FFF2-40B4-BE49-F238E27FC236}">
                <a16:creationId xmlns:a16="http://schemas.microsoft.com/office/drawing/2014/main" id="{EF338814-D680-A0C3-CA97-59B237A0397A}"/>
              </a:ext>
            </a:extLst>
          </p:cNvPr>
          <p:cNvSpPr/>
          <p:nvPr/>
        </p:nvSpPr>
        <p:spPr>
          <a:xfrm>
            <a:off x="12577799" y="5129863"/>
            <a:ext cx="419217" cy="419056"/>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0" name="Shape 2630">
            <a:extLst>
              <a:ext uri="{FF2B5EF4-FFF2-40B4-BE49-F238E27FC236}">
                <a16:creationId xmlns:a16="http://schemas.microsoft.com/office/drawing/2014/main" id="{9FD6493B-B3FC-9AC6-A714-2AB3AECC974E}"/>
              </a:ext>
            </a:extLst>
          </p:cNvPr>
          <p:cNvSpPr/>
          <p:nvPr/>
        </p:nvSpPr>
        <p:spPr>
          <a:xfrm>
            <a:off x="13473150" y="5129863"/>
            <a:ext cx="228611" cy="419056"/>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4" name="Shape 2634">
            <a:extLst>
              <a:ext uri="{FF2B5EF4-FFF2-40B4-BE49-F238E27FC236}">
                <a16:creationId xmlns:a16="http://schemas.microsoft.com/office/drawing/2014/main" id="{29890FA0-83C7-24F7-75E3-670332B612F8}"/>
              </a:ext>
            </a:extLst>
          </p:cNvPr>
          <p:cNvSpPr/>
          <p:nvPr/>
        </p:nvSpPr>
        <p:spPr>
          <a:xfrm>
            <a:off x="17154525" y="512986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5" name="Shape 2831">
            <a:extLst>
              <a:ext uri="{FF2B5EF4-FFF2-40B4-BE49-F238E27FC236}">
                <a16:creationId xmlns:a16="http://schemas.microsoft.com/office/drawing/2014/main" id="{3BDC83D9-4305-F440-631A-72C5215BE989}"/>
              </a:ext>
            </a:extLst>
          </p:cNvPr>
          <p:cNvSpPr/>
          <p:nvPr/>
        </p:nvSpPr>
        <p:spPr>
          <a:xfrm>
            <a:off x="714375" y="6927417"/>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6" name="Shape 2832">
            <a:extLst>
              <a:ext uri="{FF2B5EF4-FFF2-40B4-BE49-F238E27FC236}">
                <a16:creationId xmlns:a16="http://schemas.microsoft.com/office/drawing/2014/main" id="{BCDB4B3A-F3EA-61F6-4E3B-D36083CDE3AC}"/>
              </a:ext>
            </a:extLst>
          </p:cNvPr>
          <p:cNvSpPr/>
          <p:nvPr/>
        </p:nvSpPr>
        <p:spPr>
          <a:xfrm>
            <a:off x="2176500" y="6927417"/>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7" name="Shape 2833">
            <a:extLst>
              <a:ext uri="{FF2B5EF4-FFF2-40B4-BE49-F238E27FC236}">
                <a16:creationId xmlns:a16="http://schemas.microsoft.com/office/drawing/2014/main" id="{1AFE7AF2-38D8-2F2F-F308-DC8C95C14FA1}"/>
              </a:ext>
            </a:extLst>
          </p:cNvPr>
          <p:cNvSpPr/>
          <p:nvPr/>
        </p:nvSpPr>
        <p:spPr>
          <a:xfrm>
            <a:off x="291945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4" name="Shape 2834">
            <a:extLst>
              <a:ext uri="{FF2B5EF4-FFF2-40B4-BE49-F238E27FC236}">
                <a16:creationId xmlns:a16="http://schemas.microsoft.com/office/drawing/2014/main" id="{51EF704E-B8C1-3D83-BE73-919C08C26AE0}"/>
              </a:ext>
            </a:extLst>
          </p:cNvPr>
          <p:cNvSpPr/>
          <p:nvPr/>
        </p:nvSpPr>
        <p:spPr>
          <a:xfrm>
            <a:off x="371955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5" name="Shape 2835">
            <a:extLst>
              <a:ext uri="{FF2B5EF4-FFF2-40B4-BE49-F238E27FC236}">
                <a16:creationId xmlns:a16="http://schemas.microsoft.com/office/drawing/2014/main" id="{A79BA5CD-2CCC-916B-0545-71361B49E359}"/>
              </a:ext>
            </a:extLst>
          </p:cNvPr>
          <p:cNvSpPr/>
          <p:nvPr/>
        </p:nvSpPr>
        <p:spPr>
          <a:xfrm>
            <a:off x="451965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6" name="Shape 2836">
            <a:extLst>
              <a:ext uri="{FF2B5EF4-FFF2-40B4-BE49-F238E27FC236}">
                <a16:creationId xmlns:a16="http://schemas.microsoft.com/office/drawing/2014/main" id="{E329EDD5-2B99-79F3-9CD9-E05D4C15F914}"/>
              </a:ext>
            </a:extLst>
          </p:cNvPr>
          <p:cNvSpPr/>
          <p:nvPr/>
        </p:nvSpPr>
        <p:spPr>
          <a:xfrm>
            <a:off x="5319751" y="6984561"/>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7" name="Shape 2837">
            <a:extLst>
              <a:ext uri="{FF2B5EF4-FFF2-40B4-BE49-F238E27FC236}">
                <a16:creationId xmlns:a16="http://schemas.microsoft.com/office/drawing/2014/main" id="{BBD0CEAC-7DA6-DBFC-8F53-6C8DD7C8B77B}"/>
              </a:ext>
            </a:extLst>
          </p:cNvPr>
          <p:cNvSpPr/>
          <p:nvPr/>
        </p:nvSpPr>
        <p:spPr>
          <a:xfrm>
            <a:off x="6119851" y="6975036"/>
            <a:ext cx="419100" cy="323817"/>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8" name="Shape 2838">
            <a:extLst>
              <a:ext uri="{FF2B5EF4-FFF2-40B4-BE49-F238E27FC236}">
                <a16:creationId xmlns:a16="http://schemas.microsoft.com/office/drawing/2014/main" id="{A8DA4302-A966-4BF1-25E7-B0E3ADFD1280}"/>
              </a:ext>
            </a:extLst>
          </p:cNvPr>
          <p:cNvSpPr/>
          <p:nvPr/>
        </p:nvSpPr>
        <p:spPr>
          <a:xfrm>
            <a:off x="6919950" y="6965512"/>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9" name="Shape 2839">
            <a:extLst>
              <a:ext uri="{FF2B5EF4-FFF2-40B4-BE49-F238E27FC236}">
                <a16:creationId xmlns:a16="http://schemas.microsoft.com/office/drawing/2014/main" id="{A86ADD4E-05BA-9CD1-4E31-7B90FCA9FB4E}"/>
              </a:ext>
            </a:extLst>
          </p:cNvPr>
          <p:cNvSpPr/>
          <p:nvPr/>
        </p:nvSpPr>
        <p:spPr>
          <a:xfrm>
            <a:off x="7720050" y="6946464"/>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0" name="Shape 2840">
            <a:extLst>
              <a:ext uri="{FF2B5EF4-FFF2-40B4-BE49-F238E27FC236}">
                <a16:creationId xmlns:a16="http://schemas.microsoft.com/office/drawing/2014/main" id="{E68B8813-E84C-EF06-BADC-C8517F9B7C1A}"/>
              </a:ext>
            </a:extLst>
          </p:cNvPr>
          <p:cNvSpPr/>
          <p:nvPr/>
        </p:nvSpPr>
        <p:spPr>
          <a:xfrm>
            <a:off x="8520150" y="6946464"/>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1" name="Shape 2841">
            <a:extLst>
              <a:ext uri="{FF2B5EF4-FFF2-40B4-BE49-F238E27FC236}">
                <a16:creationId xmlns:a16="http://schemas.microsoft.com/office/drawing/2014/main" id="{5936B47D-F1B8-26ED-F13C-F2659909C373}"/>
              </a:ext>
            </a:extLst>
          </p:cNvPr>
          <p:cNvSpPr/>
          <p:nvPr/>
        </p:nvSpPr>
        <p:spPr>
          <a:xfrm>
            <a:off x="714375" y="7765527"/>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2" name="Shape 2842">
            <a:extLst>
              <a:ext uri="{FF2B5EF4-FFF2-40B4-BE49-F238E27FC236}">
                <a16:creationId xmlns:a16="http://schemas.microsoft.com/office/drawing/2014/main" id="{B8D6CFF1-75A5-00C1-827C-89E2D28B4ACF}"/>
              </a:ext>
            </a:extLst>
          </p:cNvPr>
          <p:cNvSpPr/>
          <p:nvPr/>
        </p:nvSpPr>
        <p:spPr>
          <a:xfrm>
            <a:off x="211935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3" name="Shape 2843">
            <a:extLst>
              <a:ext uri="{FF2B5EF4-FFF2-40B4-BE49-F238E27FC236}">
                <a16:creationId xmlns:a16="http://schemas.microsoft.com/office/drawing/2014/main" id="{190D163F-F875-A788-06C9-9E8593752678}"/>
              </a:ext>
            </a:extLst>
          </p:cNvPr>
          <p:cNvSpPr/>
          <p:nvPr/>
        </p:nvSpPr>
        <p:spPr>
          <a:xfrm>
            <a:off x="291945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4" name="Shape 2844">
            <a:extLst>
              <a:ext uri="{FF2B5EF4-FFF2-40B4-BE49-F238E27FC236}">
                <a16:creationId xmlns:a16="http://schemas.microsoft.com/office/drawing/2014/main" id="{18AA8A34-9556-A4B3-6FDD-FFBAE4EE358E}"/>
              </a:ext>
            </a:extLst>
          </p:cNvPr>
          <p:cNvSpPr/>
          <p:nvPr/>
        </p:nvSpPr>
        <p:spPr>
          <a:xfrm>
            <a:off x="371955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5" name="Shape 2845">
            <a:extLst>
              <a:ext uri="{FF2B5EF4-FFF2-40B4-BE49-F238E27FC236}">
                <a16:creationId xmlns:a16="http://schemas.microsoft.com/office/drawing/2014/main" id="{143C5872-5ECD-D443-DFE4-8E588B8AD833}"/>
              </a:ext>
            </a:extLst>
          </p:cNvPr>
          <p:cNvSpPr/>
          <p:nvPr/>
        </p:nvSpPr>
        <p:spPr>
          <a:xfrm>
            <a:off x="4557750" y="7727432"/>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6" name="Shape 2846">
            <a:extLst>
              <a:ext uri="{FF2B5EF4-FFF2-40B4-BE49-F238E27FC236}">
                <a16:creationId xmlns:a16="http://schemas.microsoft.com/office/drawing/2014/main" id="{5738F29A-845B-938F-CB9A-E5A79AC3C279}"/>
              </a:ext>
            </a:extLst>
          </p:cNvPr>
          <p:cNvSpPr/>
          <p:nvPr/>
        </p:nvSpPr>
        <p:spPr>
          <a:xfrm>
            <a:off x="5357849" y="7727432"/>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7" name="Shape 2847">
            <a:extLst>
              <a:ext uri="{FF2B5EF4-FFF2-40B4-BE49-F238E27FC236}">
                <a16:creationId xmlns:a16="http://schemas.microsoft.com/office/drawing/2014/main" id="{93B6A957-C9D0-DDAE-C3CD-A79900EC697D}"/>
              </a:ext>
            </a:extLst>
          </p:cNvPr>
          <p:cNvSpPr/>
          <p:nvPr/>
        </p:nvSpPr>
        <p:spPr>
          <a:xfrm>
            <a:off x="6119851" y="7727432"/>
            <a:ext cx="419100" cy="41905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8" name="Shape 2848">
            <a:extLst>
              <a:ext uri="{FF2B5EF4-FFF2-40B4-BE49-F238E27FC236}">
                <a16:creationId xmlns:a16="http://schemas.microsoft.com/office/drawing/2014/main" id="{54ED7C75-3CC6-C2EC-113F-80BCA39A979A}"/>
              </a:ext>
            </a:extLst>
          </p:cNvPr>
          <p:cNvSpPr/>
          <p:nvPr/>
        </p:nvSpPr>
        <p:spPr>
          <a:xfrm>
            <a:off x="6919950" y="7727432"/>
            <a:ext cx="419100" cy="41905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9" name="Shape 2849">
            <a:extLst>
              <a:ext uri="{FF2B5EF4-FFF2-40B4-BE49-F238E27FC236}">
                <a16:creationId xmlns:a16="http://schemas.microsoft.com/office/drawing/2014/main" id="{799E03C6-EA35-423C-C2FF-B74811AFD230}"/>
              </a:ext>
            </a:extLst>
          </p:cNvPr>
          <p:cNvSpPr/>
          <p:nvPr/>
        </p:nvSpPr>
        <p:spPr>
          <a:xfrm>
            <a:off x="7720050" y="7756003"/>
            <a:ext cx="419100" cy="362256"/>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0" name="Shape 2850">
            <a:extLst>
              <a:ext uri="{FF2B5EF4-FFF2-40B4-BE49-F238E27FC236}">
                <a16:creationId xmlns:a16="http://schemas.microsoft.com/office/drawing/2014/main" id="{79A167BB-2E03-591E-4DA9-2A9277E2F66D}"/>
              </a:ext>
            </a:extLst>
          </p:cNvPr>
          <p:cNvSpPr/>
          <p:nvPr/>
        </p:nvSpPr>
        <p:spPr>
          <a:xfrm>
            <a:off x="852015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1" name="Shape 2851">
            <a:extLst>
              <a:ext uri="{FF2B5EF4-FFF2-40B4-BE49-F238E27FC236}">
                <a16:creationId xmlns:a16="http://schemas.microsoft.com/office/drawing/2014/main" id="{1A4988B6-47F3-72F6-7619-257458B36FB6}"/>
              </a:ext>
            </a:extLst>
          </p:cNvPr>
          <p:cNvSpPr/>
          <p:nvPr/>
        </p:nvSpPr>
        <p:spPr>
          <a:xfrm>
            <a:off x="714375"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2" name="Shape 2852">
            <a:extLst>
              <a:ext uri="{FF2B5EF4-FFF2-40B4-BE49-F238E27FC236}">
                <a16:creationId xmlns:a16="http://schemas.microsoft.com/office/drawing/2014/main" id="{AB145239-606C-B186-E434-38A1AAA3E956}"/>
              </a:ext>
            </a:extLst>
          </p:cNvPr>
          <p:cNvSpPr/>
          <p:nvPr/>
        </p:nvSpPr>
        <p:spPr>
          <a:xfrm>
            <a:off x="2138400" y="8527447"/>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3" name="Shape 2853">
            <a:extLst>
              <a:ext uri="{FF2B5EF4-FFF2-40B4-BE49-F238E27FC236}">
                <a16:creationId xmlns:a16="http://schemas.microsoft.com/office/drawing/2014/main" id="{5DA898E2-976E-58FE-3A8B-FEAF214941E6}"/>
              </a:ext>
            </a:extLst>
          </p:cNvPr>
          <p:cNvSpPr/>
          <p:nvPr/>
        </p:nvSpPr>
        <p:spPr>
          <a:xfrm>
            <a:off x="2957550"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4" name="Shape 2854">
            <a:extLst>
              <a:ext uri="{FF2B5EF4-FFF2-40B4-BE49-F238E27FC236}">
                <a16:creationId xmlns:a16="http://schemas.microsoft.com/office/drawing/2014/main" id="{1B0F1ADF-1403-D79F-7C7C-C151DC9634D5}"/>
              </a:ext>
            </a:extLst>
          </p:cNvPr>
          <p:cNvSpPr/>
          <p:nvPr/>
        </p:nvSpPr>
        <p:spPr>
          <a:xfrm>
            <a:off x="3719549" y="8527446"/>
            <a:ext cx="419003" cy="418964"/>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5" name="Shape 2855">
            <a:extLst>
              <a:ext uri="{FF2B5EF4-FFF2-40B4-BE49-F238E27FC236}">
                <a16:creationId xmlns:a16="http://schemas.microsoft.com/office/drawing/2014/main" id="{935D85CA-C8CC-4733-8A56-E303EA1101E4}"/>
              </a:ext>
            </a:extLst>
          </p:cNvPr>
          <p:cNvSpPr/>
          <p:nvPr/>
        </p:nvSpPr>
        <p:spPr>
          <a:xfrm>
            <a:off x="4538699" y="8527446"/>
            <a:ext cx="380903" cy="418964"/>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6" name="Shape 2856">
            <a:extLst>
              <a:ext uri="{FF2B5EF4-FFF2-40B4-BE49-F238E27FC236}">
                <a16:creationId xmlns:a16="http://schemas.microsoft.com/office/drawing/2014/main" id="{C57628B6-CEB9-19C6-EBB6-9C3C692EBE56}"/>
              </a:ext>
            </a:extLst>
          </p:cNvPr>
          <p:cNvSpPr/>
          <p:nvPr/>
        </p:nvSpPr>
        <p:spPr>
          <a:xfrm>
            <a:off x="5319749" y="8527447"/>
            <a:ext cx="419305" cy="419093"/>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7" name="Shape 2857">
            <a:extLst>
              <a:ext uri="{FF2B5EF4-FFF2-40B4-BE49-F238E27FC236}">
                <a16:creationId xmlns:a16="http://schemas.microsoft.com/office/drawing/2014/main" id="{B3BD1617-9A0A-4411-8F6F-45028F1E1D8A}"/>
              </a:ext>
            </a:extLst>
          </p:cNvPr>
          <p:cNvSpPr/>
          <p:nvPr/>
        </p:nvSpPr>
        <p:spPr>
          <a:xfrm>
            <a:off x="6119851"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8" name="Shape 2858">
            <a:extLst>
              <a:ext uri="{FF2B5EF4-FFF2-40B4-BE49-F238E27FC236}">
                <a16:creationId xmlns:a16="http://schemas.microsoft.com/office/drawing/2014/main" id="{65FD4913-8A03-B304-8168-2729B030628B}"/>
              </a:ext>
            </a:extLst>
          </p:cNvPr>
          <p:cNvSpPr/>
          <p:nvPr/>
        </p:nvSpPr>
        <p:spPr>
          <a:xfrm>
            <a:off x="6958049"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9" name="Shape 2859">
            <a:extLst>
              <a:ext uri="{FF2B5EF4-FFF2-40B4-BE49-F238E27FC236}">
                <a16:creationId xmlns:a16="http://schemas.microsoft.com/office/drawing/2014/main" id="{4C84B33A-9B6A-96DF-E554-57C8EA24FED5}"/>
              </a:ext>
            </a:extLst>
          </p:cNvPr>
          <p:cNvSpPr/>
          <p:nvPr/>
        </p:nvSpPr>
        <p:spPr>
          <a:xfrm>
            <a:off x="7720050"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0" name="Shape 2860">
            <a:extLst>
              <a:ext uri="{FF2B5EF4-FFF2-40B4-BE49-F238E27FC236}">
                <a16:creationId xmlns:a16="http://schemas.microsoft.com/office/drawing/2014/main" id="{34C5E968-2080-721E-0E48-D4832915C5A5}"/>
              </a:ext>
            </a:extLst>
          </p:cNvPr>
          <p:cNvSpPr/>
          <p:nvPr/>
        </p:nvSpPr>
        <p:spPr>
          <a:xfrm>
            <a:off x="8520150"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1" name="Shape 2861">
            <a:extLst>
              <a:ext uri="{FF2B5EF4-FFF2-40B4-BE49-F238E27FC236}">
                <a16:creationId xmlns:a16="http://schemas.microsoft.com/office/drawing/2014/main" id="{1A27BA42-AAA2-B809-273D-B2C2D5042CAA}"/>
              </a:ext>
            </a:extLst>
          </p:cNvPr>
          <p:cNvSpPr/>
          <p:nvPr/>
        </p:nvSpPr>
        <p:spPr>
          <a:xfrm>
            <a:off x="9377401"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2" name="Shape 2862">
            <a:extLst>
              <a:ext uri="{FF2B5EF4-FFF2-40B4-BE49-F238E27FC236}">
                <a16:creationId xmlns:a16="http://schemas.microsoft.com/office/drawing/2014/main" id="{9D4BA12F-3D3A-11D6-C2B9-E9E2C657B1AA}"/>
              </a:ext>
            </a:extLst>
          </p:cNvPr>
          <p:cNvSpPr/>
          <p:nvPr/>
        </p:nvSpPr>
        <p:spPr>
          <a:xfrm>
            <a:off x="1017750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3" name="Shape 2863">
            <a:extLst>
              <a:ext uri="{FF2B5EF4-FFF2-40B4-BE49-F238E27FC236}">
                <a16:creationId xmlns:a16="http://schemas.microsoft.com/office/drawing/2014/main" id="{2C178B01-5E19-CBCC-BB2F-81D255BD01AA}"/>
              </a:ext>
            </a:extLst>
          </p:cNvPr>
          <p:cNvSpPr/>
          <p:nvPr/>
        </p:nvSpPr>
        <p:spPr>
          <a:xfrm>
            <a:off x="1097760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4" name="Shape 2864">
            <a:extLst>
              <a:ext uri="{FF2B5EF4-FFF2-40B4-BE49-F238E27FC236}">
                <a16:creationId xmlns:a16="http://schemas.microsoft.com/office/drawing/2014/main" id="{E8C4304B-83F4-3076-9236-AAE8FDD3D9CF}"/>
              </a:ext>
            </a:extLst>
          </p:cNvPr>
          <p:cNvSpPr/>
          <p:nvPr/>
        </p:nvSpPr>
        <p:spPr>
          <a:xfrm>
            <a:off x="1177770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5" name="Shape 2865">
            <a:extLst>
              <a:ext uri="{FF2B5EF4-FFF2-40B4-BE49-F238E27FC236}">
                <a16:creationId xmlns:a16="http://schemas.microsoft.com/office/drawing/2014/main" id="{28C4D53E-7BD4-4AD4-73C4-3BE704B6C07E}"/>
              </a:ext>
            </a:extLst>
          </p:cNvPr>
          <p:cNvSpPr/>
          <p:nvPr/>
        </p:nvSpPr>
        <p:spPr>
          <a:xfrm>
            <a:off x="1257780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6" name="Shape 2866">
            <a:extLst>
              <a:ext uri="{FF2B5EF4-FFF2-40B4-BE49-F238E27FC236}">
                <a16:creationId xmlns:a16="http://schemas.microsoft.com/office/drawing/2014/main" id="{3E1EAD67-E9E9-CA6C-764F-11DFDD7DF13D}"/>
              </a:ext>
            </a:extLst>
          </p:cNvPr>
          <p:cNvSpPr/>
          <p:nvPr/>
        </p:nvSpPr>
        <p:spPr>
          <a:xfrm>
            <a:off x="13377901"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0" name="Shape 2870">
            <a:extLst>
              <a:ext uri="{FF2B5EF4-FFF2-40B4-BE49-F238E27FC236}">
                <a16:creationId xmlns:a16="http://schemas.microsoft.com/office/drawing/2014/main" id="{CD41373A-E0CB-597F-2D8B-6CCE2A0AB8CF}"/>
              </a:ext>
            </a:extLst>
          </p:cNvPr>
          <p:cNvSpPr/>
          <p:nvPr/>
        </p:nvSpPr>
        <p:spPr>
          <a:xfrm>
            <a:off x="17154525"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1" name="Shape 2871">
            <a:extLst>
              <a:ext uri="{FF2B5EF4-FFF2-40B4-BE49-F238E27FC236}">
                <a16:creationId xmlns:a16="http://schemas.microsoft.com/office/drawing/2014/main" id="{26CEE1FB-7788-0C17-9482-4542D8895B1C}"/>
              </a:ext>
            </a:extLst>
          </p:cNvPr>
          <p:cNvSpPr/>
          <p:nvPr/>
        </p:nvSpPr>
        <p:spPr>
          <a:xfrm>
            <a:off x="9377401"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2" name="Shape 2872">
            <a:extLst>
              <a:ext uri="{FF2B5EF4-FFF2-40B4-BE49-F238E27FC236}">
                <a16:creationId xmlns:a16="http://schemas.microsoft.com/office/drawing/2014/main" id="{E5EE3323-94AD-4377-5D83-D4FEB383A89A}"/>
              </a:ext>
            </a:extLst>
          </p:cNvPr>
          <p:cNvSpPr/>
          <p:nvPr/>
        </p:nvSpPr>
        <p:spPr>
          <a:xfrm>
            <a:off x="1017750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3" name="Shape 2873">
            <a:extLst>
              <a:ext uri="{FF2B5EF4-FFF2-40B4-BE49-F238E27FC236}">
                <a16:creationId xmlns:a16="http://schemas.microsoft.com/office/drawing/2014/main" id="{4217BD28-0F8B-7358-BC7E-D5CE54EBB46C}"/>
              </a:ext>
            </a:extLst>
          </p:cNvPr>
          <p:cNvSpPr/>
          <p:nvPr/>
        </p:nvSpPr>
        <p:spPr>
          <a:xfrm>
            <a:off x="1097760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4" name="Shape 2874">
            <a:extLst>
              <a:ext uri="{FF2B5EF4-FFF2-40B4-BE49-F238E27FC236}">
                <a16:creationId xmlns:a16="http://schemas.microsoft.com/office/drawing/2014/main" id="{D2C0A6CE-012D-B16A-8028-11B22C4BA6AB}"/>
              </a:ext>
            </a:extLst>
          </p:cNvPr>
          <p:cNvSpPr/>
          <p:nvPr/>
        </p:nvSpPr>
        <p:spPr>
          <a:xfrm>
            <a:off x="1177770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5" name="Shape 2875">
            <a:extLst>
              <a:ext uri="{FF2B5EF4-FFF2-40B4-BE49-F238E27FC236}">
                <a16:creationId xmlns:a16="http://schemas.microsoft.com/office/drawing/2014/main" id="{775E5DE4-F4D8-2D3B-EA61-F677DD35414C}"/>
              </a:ext>
            </a:extLst>
          </p:cNvPr>
          <p:cNvSpPr/>
          <p:nvPr/>
        </p:nvSpPr>
        <p:spPr>
          <a:xfrm>
            <a:off x="1257780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6" name="Shape 2876">
            <a:extLst>
              <a:ext uri="{FF2B5EF4-FFF2-40B4-BE49-F238E27FC236}">
                <a16:creationId xmlns:a16="http://schemas.microsoft.com/office/drawing/2014/main" id="{0C762E48-D180-577B-8992-611A12F86B15}"/>
              </a:ext>
            </a:extLst>
          </p:cNvPr>
          <p:cNvSpPr/>
          <p:nvPr/>
        </p:nvSpPr>
        <p:spPr>
          <a:xfrm>
            <a:off x="13377901"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0" name="Shape 2880">
            <a:extLst>
              <a:ext uri="{FF2B5EF4-FFF2-40B4-BE49-F238E27FC236}">
                <a16:creationId xmlns:a16="http://schemas.microsoft.com/office/drawing/2014/main" id="{69F003E2-69E0-A221-F975-9751037660EC}"/>
              </a:ext>
            </a:extLst>
          </p:cNvPr>
          <p:cNvSpPr/>
          <p:nvPr/>
        </p:nvSpPr>
        <p:spPr>
          <a:xfrm>
            <a:off x="17154525"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1" name="Shape 2881">
            <a:extLst>
              <a:ext uri="{FF2B5EF4-FFF2-40B4-BE49-F238E27FC236}">
                <a16:creationId xmlns:a16="http://schemas.microsoft.com/office/drawing/2014/main" id="{03814D41-75CA-547A-685A-0A09CE2CC564}"/>
              </a:ext>
            </a:extLst>
          </p:cNvPr>
          <p:cNvSpPr/>
          <p:nvPr/>
        </p:nvSpPr>
        <p:spPr>
          <a:xfrm>
            <a:off x="9377401"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2" name="Shape 2882">
            <a:extLst>
              <a:ext uri="{FF2B5EF4-FFF2-40B4-BE49-F238E27FC236}">
                <a16:creationId xmlns:a16="http://schemas.microsoft.com/office/drawing/2014/main" id="{C623388F-26F8-FBE1-3272-EB16147B47C5}"/>
              </a:ext>
            </a:extLst>
          </p:cNvPr>
          <p:cNvSpPr/>
          <p:nvPr/>
        </p:nvSpPr>
        <p:spPr>
          <a:xfrm>
            <a:off x="10177500"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3" name="Shape 2883">
            <a:extLst>
              <a:ext uri="{FF2B5EF4-FFF2-40B4-BE49-F238E27FC236}">
                <a16:creationId xmlns:a16="http://schemas.microsoft.com/office/drawing/2014/main" id="{CAED80CA-2994-CCCF-F750-AD0222E10E5D}"/>
              </a:ext>
            </a:extLst>
          </p:cNvPr>
          <p:cNvSpPr/>
          <p:nvPr/>
        </p:nvSpPr>
        <p:spPr>
          <a:xfrm>
            <a:off x="10977600"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4" name="Shape 2884">
            <a:extLst>
              <a:ext uri="{FF2B5EF4-FFF2-40B4-BE49-F238E27FC236}">
                <a16:creationId xmlns:a16="http://schemas.microsoft.com/office/drawing/2014/main" id="{49FE4C23-A726-352E-2EE0-B26B3515FC3E}"/>
              </a:ext>
            </a:extLst>
          </p:cNvPr>
          <p:cNvSpPr/>
          <p:nvPr/>
        </p:nvSpPr>
        <p:spPr>
          <a:xfrm>
            <a:off x="11777700" y="85274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5" name="Shape 2885">
            <a:extLst>
              <a:ext uri="{FF2B5EF4-FFF2-40B4-BE49-F238E27FC236}">
                <a16:creationId xmlns:a16="http://schemas.microsoft.com/office/drawing/2014/main" id="{132F45DE-EE64-2796-00F2-D6A5BD1EC5CC}"/>
              </a:ext>
            </a:extLst>
          </p:cNvPr>
          <p:cNvSpPr/>
          <p:nvPr/>
        </p:nvSpPr>
        <p:spPr>
          <a:xfrm>
            <a:off x="12615900"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6" name="Shape 2886">
            <a:extLst>
              <a:ext uri="{FF2B5EF4-FFF2-40B4-BE49-F238E27FC236}">
                <a16:creationId xmlns:a16="http://schemas.microsoft.com/office/drawing/2014/main" id="{7DAB7449-4F1C-3EFB-A8DF-A06A56EA18CA}"/>
              </a:ext>
            </a:extLst>
          </p:cNvPr>
          <p:cNvSpPr/>
          <p:nvPr/>
        </p:nvSpPr>
        <p:spPr>
          <a:xfrm>
            <a:off x="13415999"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grpSp>
        <p:nvGrpSpPr>
          <p:cNvPr id="10" name="Group 9">
            <a:extLst>
              <a:ext uri="{FF2B5EF4-FFF2-40B4-BE49-F238E27FC236}">
                <a16:creationId xmlns:a16="http://schemas.microsoft.com/office/drawing/2014/main" id="{4248EA04-5EE2-2916-E605-8D3CFBAB3EED}"/>
              </a:ext>
            </a:extLst>
          </p:cNvPr>
          <p:cNvGrpSpPr/>
          <p:nvPr/>
        </p:nvGrpSpPr>
        <p:grpSpPr>
          <a:xfrm>
            <a:off x="14178001" y="1929802"/>
            <a:ext cx="419100" cy="7016701"/>
            <a:chOff x="14178001" y="1929802"/>
            <a:chExt cx="419100" cy="7016701"/>
          </a:xfrm>
        </p:grpSpPr>
        <p:sp>
          <p:nvSpPr>
            <p:cNvPr id="173" name="Shape 2591">
              <a:extLst>
                <a:ext uri="{FF2B5EF4-FFF2-40B4-BE49-F238E27FC236}">
                  <a16:creationId xmlns:a16="http://schemas.microsoft.com/office/drawing/2014/main" id="{CE787FA7-C0F8-7504-7A34-D23FAA531059}"/>
                </a:ext>
              </a:extLst>
            </p:cNvPr>
            <p:cNvSpPr/>
            <p:nvPr/>
          </p:nvSpPr>
          <p:spPr>
            <a:xfrm>
              <a:off x="14178001" y="192980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3" name="Shape 2601">
              <a:extLst>
                <a:ext uri="{FF2B5EF4-FFF2-40B4-BE49-F238E27FC236}">
                  <a16:creationId xmlns:a16="http://schemas.microsoft.com/office/drawing/2014/main" id="{8D58890C-29D7-88CC-61A6-51509326587C}"/>
                </a:ext>
              </a:extLst>
            </p:cNvPr>
            <p:cNvSpPr/>
            <p:nvPr/>
          </p:nvSpPr>
          <p:spPr>
            <a:xfrm>
              <a:off x="14178001" y="27298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1" name="Shape 2611">
              <a:extLst>
                <a:ext uri="{FF2B5EF4-FFF2-40B4-BE49-F238E27FC236}">
                  <a16:creationId xmlns:a16="http://schemas.microsoft.com/office/drawing/2014/main" id="{0C7E69CF-0996-0567-ECD3-10F2B6FEE6CD}"/>
                </a:ext>
              </a:extLst>
            </p:cNvPr>
            <p:cNvSpPr/>
            <p:nvPr/>
          </p:nvSpPr>
          <p:spPr>
            <a:xfrm>
              <a:off x="14178001" y="3548880"/>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1" name="Shape 2621">
              <a:extLst>
                <a:ext uri="{FF2B5EF4-FFF2-40B4-BE49-F238E27FC236}">
                  <a16:creationId xmlns:a16="http://schemas.microsoft.com/office/drawing/2014/main" id="{09A68A06-1F11-E0F6-4F1B-176DCDF015DB}"/>
                </a:ext>
              </a:extLst>
            </p:cNvPr>
            <p:cNvSpPr/>
            <p:nvPr/>
          </p:nvSpPr>
          <p:spPr>
            <a:xfrm>
              <a:off x="14178001" y="4406039"/>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1" name="Shape 2631">
              <a:extLst>
                <a:ext uri="{FF2B5EF4-FFF2-40B4-BE49-F238E27FC236}">
                  <a16:creationId xmlns:a16="http://schemas.microsoft.com/office/drawing/2014/main" id="{801A14F6-ABB3-4888-65C3-BCD6D86D3949}"/>
                </a:ext>
              </a:extLst>
            </p:cNvPr>
            <p:cNvSpPr/>
            <p:nvPr/>
          </p:nvSpPr>
          <p:spPr>
            <a:xfrm>
              <a:off x="14178001" y="5167958"/>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7" name="Shape 2867">
              <a:extLst>
                <a:ext uri="{FF2B5EF4-FFF2-40B4-BE49-F238E27FC236}">
                  <a16:creationId xmlns:a16="http://schemas.microsoft.com/office/drawing/2014/main" id="{8851BF4B-C75E-CA3A-04EA-0DE25DA0029C}"/>
                </a:ext>
              </a:extLst>
            </p:cNvPr>
            <p:cNvSpPr/>
            <p:nvPr/>
          </p:nvSpPr>
          <p:spPr>
            <a:xfrm>
              <a:off x="14178001"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7" name="Shape 2877">
              <a:extLst>
                <a:ext uri="{FF2B5EF4-FFF2-40B4-BE49-F238E27FC236}">
                  <a16:creationId xmlns:a16="http://schemas.microsoft.com/office/drawing/2014/main" id="{04907518-A9A3-BF8D-0C1B-171D29DFA8FE}"/>
                </a:ext>
              </a:extLst>
            </p:cNvPr>
            <p:cNvSpPr/>
            <p:nvPr/>
          </p:nvSpPr>
          <p:spPr>
            <a:xfrm>
              <a:off x="14178001"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7" name="Shape 2887">
              <a:extLst>
                <a:ext uri="{FF2B5EF4-FFF2-40B4-BE49-F238E27FC236}">
                  <a16:creationId xmlns:a16="http://schemas.microsoft.com/office/drawing/2014/main" id="{B8510971-3B1E-6251-AF2F-DEFEC6AA8EBB}"/>
                </a:ext>
              </a:extLst>
            </p:cNvPr>
            <p:cNvSpPr/>
            <p:nvPr/>
          </p:nvSpPr>
          <p:spPr>
            <a:xfrm>
              <a:off x="14216099"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grpSp>
      <p:grpSp>
        <p:nvGrpSpPr>
          <p:cNvPr id="9" name="Group 8">
            <a:extLst>
              <a:ext uri="{FF2B5EF4-FFF2-40B4-BE49-F238E27FC236}">
                <a16:creationId xmlns:a16="http://schemas.microsoft.com/office/drawing/2014/main" id="{0667D65F-2BD9-153D-6492-9E1009764727}"/>
              </a:ext>
            </a:extLst>
          </p:cNvPr>
          <p:cNvGrpSpPr/>
          <p:nvPr/>
        </p:nvGrpSpPr>
        <p:grpSpPr>
          <a:xfrm>
            <a:off x="14978100" y="1929802"/>
            <a:ext cx="419100" cy="7016701"/>
            <a:chOff x="14978100" y="1929802"/>
            <a:chExt cx="419100" cy="7016701"/>
          </a:xfrm>
        </p:grpSpPr>
        <p:sp>
          <p:nvSpPr>
            <p:cNvPr id="174" name="Shape 2592">
              <a:extLst>
                <a:ext uri="{FF2B5EF4-FFF2-40B4-BE49-F238E27FC236}">
                  <a16:creationId xmlns:a16="http://schemas.microsoft.com/office/drawing/2014/main" id="{C309EB5E-682B-AF74-DBA3-61E6B85D9E1C}"/>
                </a:ext>
              </a:extLst>
            </p:cNvPr>
            <p:cNvSpPr/>
            <p:nvPr/>
          </p:nvSpPr>
          <p:spPr>
            <a:xfrm>
              <a:off x="14978100" y="192980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4" name="Shape 2602">
              <a:extLst>
                <a:ext uri="{FF2B5EF4-FFF2-40B4-BE49-F238E27FC236}">
                  <a16:creationId xmlns:a16="http://schemas.microsoft.com/office/drawing/2014/main" id="{B62FAA5D-6ED6-F981-D63B-F0649667A70A}"/>
                </a:ext>
              </a:extLst>
            </p:cNvPr>
            <p:cNvSpPr/>
            <p:nvPr/>
          </p:nvSpPr>
          <p:spPr>
            <a:xfrm>
              <a:off x="14978100" y="2767913"/>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2" name="Shape 2612">
              <a:extLst>
                <a:ext uri="{FF2B5EF4-FFF2-40B4-BE49-F238E27FC236}">
                  <a16:creationId xmlns:a16="http://schemas.microsoft.com/office/drawing/2014/main" id="{26110423-DE13-B022-D2E8-91B43A2AC095}"/>
                </a:ext>
              </a:extLst>
            </p:cNvPr>
            <p:cNvSpPr/>
            <p:nvPr/>
          </p:nvSpPr>
          <p:spPr>
            <a:xfrm>
              <a:off x="14978100" y="3567928"/>
              <a:ext cx="419100" cy="342850"/>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2" name="Shape 2622">
              <a:extLst>
                <a:ext uri="{FF2B5EF4-FFF2-40B4-BE49-F238E27FC236}">
                  <a16:creationId xmlns:a16="http://schemas.microsoft.com/office/drawing/2014/main" id="{DE236013-05C5-EE22-4233-D1B8818D4AAF}"/>
                </a:ext>
              </a:extLst>
            </p:cNvPr>
            <p:cNvSpPr/>
            <p:nvPr/>
          </p:nvSpPr>
          <p:spPr>
            <a:xfrm>
              <a:off x="14978100" y="432984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2" name="Shape 2632">
              <a:extLst>
                <a:ext uri="{FF2B5EF4-FFF2-40B4-BE49-F238E27FC236}">
                  <a16:creationId xmlns:a16="http://schemas.microsoft.com/office/drawing/2014/main" id="{FE7DA01A-3583-CDBB-3B55-44594A6CDDE6}"/>
                </a:ext>
              </a:extLst>
            </p:cNvPr>
            <p:cNvSpPr/>
            <p:nvPr/>
          </p:nvSpPr>
          <p:spPr>
            <a:xfrm>
              <a:off x="15016200" y="5129863"/>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8" name="Shape 2868">
              <a:extLst>
                <a:ext uri="{FF2B5EF4-FFF2-40B4-BE49-F238E27FC236}">
                  <a16:creationId xmlns:a16="http://schemas.microsoft.com/office/drawing/2014/main" id="{62B932A3-8F3A-06F1-0C07-1201FF334758}"/>
                </a:ext>
              </a:extLst>
            </p:cNvPr>
            <p:cNvSpPr/>
            <p:nvPr/>
          </p:nvSpPr>
          <p:spPr>
            <a:xfrm>
              <a:off x="1497810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8" name="Shape 2878">
              <a:extLst>
                <a:ext uri="{FF2B5EF4-FFF2-40B4-BE49-F238E27FC236}">
                  <a16:creationId xmlns:a16="http://schemas.microsoft.com/office/drawing/2014/main" id="{FFDE935C-BA29-E9FD-270A-844827A77D66}"/>
                </a:ext>
              </a:extLst>
            </p:cNvPr>
            <p:cNvSpPr/>
            <p:nvPr/>
          </p:nvSpPr>
          <p:spPr>
            <a:xfrm>
              <a:off x="1497810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8" name="Shape 2888">
              <a:extLst>
                <a:ext uri="{FF2B5EF4-FFF2-40B4-BE49-F238E27FC236}">
                  <a16:creationId xmlns:a16="http://schemas.microsoft.com/office/drawing/2014/main" id="{1F40A20F-B411-5598-81AE-87C4138396DF}"/>
                </a:ext>
              </a:extLst>
            </p:cNvPr>
            <p:cNvSpPr/>
            <p:nvPr/>
          </p:nvSpPr>
          <p:spPr>
            <a:xfrm>
              <a:off x="15016200"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grpSp>
      <p:grpSp>
        <p:nvGrpSpPr>
          <p:cNvPr id="8" name="Group 7">
            <a:extLst>
              <a:ext uri="{FF2B5EF4-FFF2-40B4-BE49-F238E27FC236}">
                <a16:creationId xmlns:a16="http://schemas.microsoft.com/office/drawing/2014/main" id="{C0B024B4-0812-26DD-C8F6-64CFA9C58327}"/>
              </a:ext>
            </a:extLst>
          </p:cNvPr>
          <p:cNvGrpSpPr/>
          <p:nvPr/>
        </p:nvGrpSpPr>
        <p:grpSpPr>
          <a:xfrm>
            <a:off x="15778200" y="1929802"/>
            <a:ext cx="419100" cy="7016701"/>
            <a:chOff x="15778200" y="1929802"/>
            <a:chExt cx="419100" cy="7016701"/>
          </a:xfrm>
        </p:grpSpPr>
        <p:sp>
          <p:nvSpPr>
            <p:cNvPr id="175" name="Shape 2593">
              <a:extLst>
                <a:ext uri="{FF2B5EF4-FFF2-40B4-BE49-F238E27FC236}">
                  <a16:creationId xmlns:a16="http://schemas.microsoft.com/office/drawing/2014/main" id="{C3840BBE-9FED-6293-013B-371FFE4334E5}"/>
                </a:ext>
              </a:extLst>
            </p:cNvPr>
            <p:cNvSpPr/>
            <p:nvPr/>
          </p:nvSpPr>
          <p:spPr>
            <a:xfrm>
              <a:off x="15778200" y="192980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5" name="Shape 2603">
              <a:extLst>
                <a:ext uri="{FF2B5EF4-FFF2-40B4-BE49-F238E27FC236}">
                  <a16:creationId xmlns:a16="http://schemas.microsoft.com/office/drawing/2014/main" id="{741EB046-59E0-087A-3027-2BF342A4A143}"/>
                </a:ext>
              </a:extLst>
            </p:cNvPr>
            <p:cNvSpPr/>
            <p:nvPr/>
          </p:nvSpPr>
          <p:spPr>
            <a:xfrm>
              <a:off x="15778200" y="2748865"/>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23" name="Shape 2613">
              <a:extLst>
                <a:ext uri="{FF2B5EF4-FFF2-40B4-BE49-F238E27FC236}">
                  <a16:creationId xmlns:a16="http://schemas.microsoft.com/office/drawing/2014/main" id="{30EE55EC-E1B2-7546-63BA-529937738D41}"/>
                </a:ext>
              </a:extLst>
            </p:cNvPr>
            <p:cNvSpPr/>
            <p:nvPr/>
          </p:nvSpPr>
          <p:spPr>
            <a:xfrm>
              <a:off x="15778200" y="35298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33" name="Shape 2623">
              <a:extLst>
                <a:ext uri="{FF2B5EF4-FFF2-40B4-BE49-F238E27FC236}">
                  <a16:creationId xmlns:a16="http://schemas.microsoft.com/office/drawing/2014/main" id="{5467AABC-7552-D548-073F-EF19C6A4783E}"/>
                </a:ext>
              </a:extLst>
            </p:cNvPr>
            <p:cNvSpPr/>
            <p:nvPr/>
          </p:nvSpPr>
          <p:spPr>
            <a:xfrm>
              <a:off x="15778200" y="432984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3" name="Shape 2633">
              <a:extLst>
                <a:ext uri="{FF2B5EF4-FFF2-40B4-BE49-F238E27FC236}">
                  <a16:creationId xmlns:a16="http://schemas.microsoft.com/office/drawing/2014/main" id="{2C4259C4-30B0-060A-4CE9-4A286A056B80}"/>
                </a:ext>
              </a:extLst>
            </p:cNvPr>
            <p:cNvSpPr/>
            <p:nvPr/>
          </p:nvSpPr>
          <p:spPr>
            <a:xfrm>
              <a:off x="15778200" y="5129863"/>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9" name="Shape 2869">
              <a:extLst>
                <a:ext uri="{FF2B5EF4-FFF2-40B4-BE49-F238E27FC236}">
                  <a16:creationId xmlns:a16="http://schemas.microsoft.com/office/drawing/2014/main" id="{00C18A74-C666-D62E-6A25-A391E04FF1F5}"/>
                </a:ext>
              </a:extLst>
            </p:cNvPr>
            <p:cNvSpPr/>
            <p:nvPr/>
          </p:nvSpPr>
          <p:spPr>
            <a:xfrm>
              <a:off x="15778200" y="692741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9" name="Shape 2879">
              <a:extLst>
                <a:ext uri="{FF2B5EF4-FFF2-40B4-BE49-F238E27FC236}">
                  <a16:creationId xmlns:a16="http://schemas.microsoft.com/office/drawing/2014/main" id="{21D24EB0-D632-43A9-4508-488EA2F805EA}"/>
                </a:ext>
              </a:extLst>
            </p:cNvPr>
            <p:cNvSpPr/>
            <p:nvPr/>
          </p:nvSpPr>
          <p:spPr>
            <a:xfrm>
              <a:off x="15778200" y="77274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9" name="Shape 2889">
              <a:extLst>
                <a:ext uri="{FF2B5EF4-FFF2-40B4-BE49-F238E27FC236}">
                  <a16:creationId xmlns:a16="http://schemas.microsoft.com/office/drawing/2014/main" id="{D28CAB12-123B-E196-EB35-D5F5A21CE1D1}"/>
                </a:ext>
              </a:extLst>
            </p:cNvPr>
            <p:cNvSpPr/>
            <p:nvPr/>
          </p:nvSpPr>
          <p:spPr>
            <a:xfrm>
              <a:off x="15816300"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grpSp>
      <p:sp>
        <p:nvSpPr>
          <p:cNvPr id="410" name="Shape 2890">
            <a:extLst>
              <a:ext uri="{FF2B5EF4-FFF2-40B4-BE49-F238E27FC236}">
                <a16:creationId xmlns:a16="http://schemas.microsoft.com/office/drawing/2014/main" id="{2A37E1A4-9295-AB71-2408-5CAC2589A3B7}"/>
              </a:ext>
            </a:extLst>
          </p:cNvPr>
          <p:cNvSpPr/>
          <p:nvPr/>
        </p:nvSpPr>
        <p:spPr>
          <a:xfrm>
            <a:off x="17230723" y="85274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Tree>
    <p:extLst>
      <p:ext uri="{BB962C8B-B14F-4D97-AF65-F5344CB8AC3E}">
        <p14:creationId xmlns:p14="http://schemas.microsoft.com/office/powerpoint/2010/main" val="184317689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3380-412E-A89C-29A0-36254376E7A6}"/>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3BEE10E4-1079-5C87-4E67-AA823771DDBD}"/>
              </a:ext>
            </a:extLst>
          </p:cNvPr>
          <p:cNvGraphicFramePr>
            <a:graphicFrameLocks noChangeAspect="1"/>
          </p:cNvGraphicFramePr>
          <p:nvPr>
            <p:custDataLst>
              <p:tags r:id="rId1"/>
            </p:custDataLst>
            <p:extLst>
              <p:ext uri="{D42A27DB-BD31-4B8C-83A1-F6EECF244321}">
                <p14:modId xmlns:p14="http://schemas.microsoft.com/office/powerpoint/2010/main" val="52556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think-cell data - do not delete" hidden="1">
                        <a:extLst>
                          <a:ext uri="{FF2B5EF4-FFF2-40B4-BE49-F238E27FC236}">
                            <a16:creationId xmlns:a16="http://schemas.microsoft.com/office/drawing/2014/main" id="{3BEE10E4-1079-5C87-4E67-AA823771D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FCA861-A9A5-FCB3-7C3C-307E2FCD3E66}"/>
              </a:ext>
            </a:extLst>
          </p:cNvPr>
          <p:cNvSpPr>
            <a:spLocks noGrp="1"/>
          </p:cNvSpPr>
          <p:nvPr>
            <p:ph type="title"/>
          </p:nvPr>
        </p:nvSpPr>
        <p:spPr>
          <a:xfrm>
            <a:off x="714375" y="317500"/>
            <a:ext cx="16859250" cy="1266825"/>
          </a:xfrm>
        </p:spPr>
        <p:txBody>
          <a:bodyPr vert="horz"/>
          <a:lstStyle/>
          <a:p>
            <a:r>
              <a:rPr lang="en-US" dirty="0"/>
              <a:t>Icons (2/3) </a:t>
            </a:r>
            <a:endParaRPr lang="en-IN" dirty="0"/>
          </a:p>
        </p:txBody>
      </p:sp>
      <p:sp>
        <p:nvSpPr>
          <p:cNvPr id="33" name="Slide Number Placeholder 32">
            <a:extLst>
              <a:ext uri="{FF2B5EF4-FFF2-40B4-BE49-F238E27FC236}">
                <a16:creationId xmlns:a16="http://schemas.microsoft.com/office/drawing/2014/main" id="{F692D021-070B-1545-B2A5-16A8F2FEC159}"/>
              </a:ext>
            </a:extLst>
          </p:cNvPr>
          <p:cNvSpPr>
            <a:spLocks noGrp="1"/>
          </p:cNvSpPr>
          <p:nvPr>
            <p:ph type="sldNum" sz="quarter" idx="12"/>
          </p:nvPr>
        </p:nvSpPr>
        <p:spPr/>
        <p:txBody>
          <a:bodyPr/>
          <a:lstStyle/>
          <a:p>
            <a:fld id="{E2D680B1-7F17-42D2-83E2-2C9AC13983BB}" type="slidenum">
              <a:rPr lang="en-US" smtClean="0"/>
              <a:t>102</a:t>
            </a:fld>
            <a:endParaRPr lang="en-US" dirty="0"/>
          </a:p>
        </p:txBody>
      </p:sp>
      <p:sp>
        <p:nvSpPr>
          <p:cNvPr id="432" name="Shape 2708">
            <a:extLst>
              <a:ext uri="{FF2B5EF4-FFF2-40B4-BE49-F238E27FC236}">
                <a16:creationId xmlns:a16="http://schemas.microsoft.com/office/drawing/2014/main" id="{6EDF1D18-DDE7-43FB-54CF-CD8ADBA155B7}"/>
              </a:ext>
            </a:extLst>
          </p:cNvPr>
          <p:cNvSpPr/>
          <p:nvPr/>
        </p:nvSpPr>
        <p:spPr>
          <a:xfrm>
            <a:off x="1319251"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3" name="Shape 2709">
            <a:extLst>
              <a:ext uri="{FF2B5EF4-FFF2-40B4-BE49-F238E27FC236}">
                <a16:creationId xmlns:a16="http://schemas.microsoft.com/office/drawing/2014/main" id="{189F1850-1DBE-B7A6-F74D-CF0EC41D3F2F}"/>
              </a:ext>
            </a:extLst>
          </p:cNvPr>
          <p:cNvSpPr/>
          <p:nvPr/>
        </p:nvSpPr>
        <p:spPr>
          <a:xfrm>
            <a:off x="21193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4" name="Shape 2710">
            <a:extLst>
              <a:ext uri="{FF2B5EF4-FFF2-40B4-BE49-F238E27FC236}">
                <a16:creationId xmlns:a16="http://schemas.microsoft.com/office/drawing/2014/main" id="{D6225170-6DD8-D240-48D6-C75992F40C84}"/>
              </a:ext>
            </a:extLst>
          </p:cNvPr>
          <p:cNvSpPr/>
          <p:nvPr/>
        </p:nvSpPr>
        <p:spPr>
          <a:xfrm>
            <a:off x="29194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5" name="Shape 2711">
            <a:extLst>
              <a:ext uri="{FF2B5EF4-FFF2-40B4-BE49-F238E27FC236}">
                <a16:creationId xmlns:a16="http://schemas.microsoft.com/office/drawing/2014/main" id="{93AE8278-1FBF-E294-913C-FFE39D7B7FA9}"/>
              </a:ext>
            </a:extLst>
          </p:cNvPr>
          <p:cNvSpPr/>
          <p:nvPr/>
        </p:nvSpPr>
        <p:spPr>
          <a:xfrm>
            <a:off x="37195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6" name="Shape 2712">
            <a:extLst>
              <a:ext uri="{FF2B5EF4-FFF2-40B4-BE49-F238E27FC236}">
                <a16:creationId xmlns:a16="http://schemas.microsoft.com/office/drawing/2014/main" id="{43499B9A-8F07-1024-91D7-B7FDB1687506}"/>
              </a:ext>
            </a:extLst>
          </p:cNvPr>
          <p:cNvSpPr/>
          <p:nvPr/>
        </p:nvSpPr>
        <p:spPr>
          <a:xfrm>
            <a:off x="45196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7" name="Shape 2713">
            <a:extLst>
              <a:ext uri="{FF2B5EF4-FFF2-40B4-BE49-F238E27FC236}">
                <a16:creationId xmlns:a16="http://schemas.microsoft.com/office/drawing/2014/main" id="{708A05D3-7888-4A2E-5308-2B54F3AF84CA}"/>
              </a:ext>
            </a:extLst>
          </p:cNvPr>
          <p:cNvSpPr/>
          <p:nvPr/>
        </p:nvSpPr>
        <p:spPr>
          <a:xfrm>
            <a:off x="5319751"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8" name="Shape 2714">
            <a:extLst>
              <a:ext uri="{FF2B5EF4-FFF2-40B4-BE49-F238E27FC236}">
                <a16:creationId xmlns:a16="http://schemas.microsoft.com/office/drawing/2014/main" id="{83595C31-49F2-A621-CD16-68C6DFA6990D}"/>
              </a:ext>
            </a:extLst>
          </p:cNvPr>
          <p:cNvSpPr/>
          <p:nvPr/>
        </p:nvSpPr>
        <p:spPr>
          <a:xfrm>
            <a:off x="6119851"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9" name="Shape 2715">
            <a:extLst>
              <a:ext uri="{FF2B5EF4-FFF2-40B4-BE49-F238E27FC236}">
                <a16:creationId xmlns:a16="http://schemas.microsoft.com/office/drawing/2014/main" id="{89C5D336-DBC4-4CDE-0383-9E0995DA0885}"/>
              </a:ext>
            </a:extLst>
          </p:cNvPr>
          <p:cNvSpPr/>
          <p:nvPr/>
        </p:nvSpPr>
        <p:spPr>
          <a:xfrm>
            <a:off x="69199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0" name="Shape 2716">
            <a:extLst>
              <a:ext uri="{FF2B5EF4-FFF2-40B4-BE49-F238E27FC236}">
                <a16:creationId xmlns:a16="http://schemas.microsoft.com/office/drawing/2014/main" id="{1BDE94B1-A7DC-B7BE-2CF4-E03CAB7ED582}"/>
              </a:ext>
            </a:extLst>
          </p:cNvPr>
          <p:cNvSpPr/>
          <p:nvPr/>
        </p:nvSpPr>
        <p:spPr>
          <a:xfrm>
            <a:off x="77200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1" name="Shape 2717">
            <a:extLst>
              <a:ext uri="{FF2B5EF4-FFF2-40B4-BE49-F238E27FC236}">
                <a16:creationId xmlns:a16="http://schemas.microsoft.com/office/drawing/2014/main" id="{64188947-D726-A309-8AB7-B16DDAD8B16B}"/>
              </a:ext>
            </a:extLst>
          </p:cNvPr>
          <p:cNvSpPr/>
          <p:nvPr/>
        </p:nvSpPr>
        <p:spPr>
          <a:xfrm>
            <a:off x="8520150" y="497879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2" name="Shape 2718">
            <a:extLst>
              <a:ext uri="{FF2B5EF4-FFF2-40B4-BE49-F238E27FC236}">
                <a16:creationId xmlns:a16="http://schemas.microsoft.com/office/drawing/2014/main" id="{5E7691A9-E87B-C5E2-5D0B-2C0AA3EF5CB6}"/>
              </a:ext>
            </a:extLst>
          </p:cNvPr>
          <p:cNvSpPr/>
          <p:nvPr/>
        </p:nvSpPr>
        <p:spPr>
          <a:xfrm>
            <a:off x="1319251" y="577881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3" name="Shape 2719">
            <a:extLst>
              <a:ext uri="{FF2B5EF4-FFF2-40B4-BE49-F238E27FC236}">
                <a16:creationId xmlns:a16="http://schemas.microsoft.com/office/drawing/2014/main" id="{0613B068-FEA5-CAED-45A1-3EF3B8436848}"/>
              </a:ext>
            </a:extLst>
          </p:cNvPr>
          <p:cNvSpPr/>
          <p:nvPr/>
        </p:nvSpPr>
        <p:spPr>
          <a:xfrm>
            <a:off x="2119350" y="5778810"/>
            <a:ext cx="417426" cy="418202"/>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4" name="Shape 2720">
            <a:extLst>
              <a:ext uri="{FF2B5EF4-FFF2-40B4-BE49-F238E27FC236}">
                <a16:creationId xmlns:a16="http://schemas.microsoft.com/office/drawing/2014/main" id="{E4789A85-265B-936B-773E-76A0AC999E8E}"/>
              </a:ext>
            </a:extLst>
          </p:cNvPr>
          <p:cNvSpPr/>
          <p:nvPr/>
        </p:nvSpPr>
        <p:spPr>
          <a:xfrm>
            <a:off x="2919449" y="5778810"/>
            <a:ext cx="417426" cy="418202"/>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5" name="Shape 2721">
            <a:extLst>
              <a:ext uri="{FF2B5EF4-FFF2-40B4-BE49-F238E27FC236}">
                <a16:creationId xmlns:a16="http://schemas.microsoft.com/office/drawing/2014/main" id="{872A9FAB-7AA9-E004-1E90-69DE231F1A2C}"/>
              </a:ext>
            </a:extLst>
          </p:cNvPr>
          <p:cNvSpPr/>
          <p:nvPr/>
        </p:nvSpPr>
        <p:spPr>
          <a:xfrm>
            <a:off x="3719550" y="5778810"/>
            <a:ext cx="417426" cy="418202"/>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6" name="Shape 2722">
            <a:extLst>
              <a:ext uri="{FF2B5EF4-FFF2-40B4-BE49-F238E27FC236}">
                <a16:creationId xmlns:a16="http://schemas.microsoft.com/office/drawing/2014/main" id="{DCC2E800-9248-BBB5-5F21-E85C774948EC}"/>
              </a:ext>
            </a:extLst>
          </p:cNvPr>
          <p:cNvSpPr/>
          <p:nvPr/>
        </p:nvSpPr>
        <p:spPr>
          <a:xfrm>
            <a:off x="4519650" y="5778810"/>
            <a:ext cx="417417" cy="418202"/>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7" name="Shape 2723">
            <a:extLst>
              <a:ext uri="{FF2B5EF4-FFF2-40B4-BE49-F238E27FC236}">
                <a16:creationId xmlns:a16="http://schemas.microsoft.com/office/drawing/2014/main" id="{76920E9E-F2CD-A071-F534-8354E7EF6D68}"/>
              </a:ext>
            </a:extLst>
          </p:cNvPr>
          <p:cNvSpPr/>
          <p:nvPr/>
        </p:nvSpPr>
        <p:spPr>
          <a:xfrm>
            <a:off x="5319751" y="577881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8" name="Shape 2724">
            <a:extLst>
              <a:ext uri="{FF2B5EF4-FFF2-40B4-BE49-F238E27FC236}">
                <a16:creationId xmlns:a16="http://schemas.microsoft.com/office/drawing/2014/main" id="{D63C22B4-4934-2211-1C5A-02CA4EA0ABE6}"/>
              </a:ext>
            </a:extLst>
          </p:cNvPr>
          <p:cNvSpPr/>
          <p:nvPr/>
        </p:nvSpPr>
        <p:spPr>
          <a:xfrm>
            <a:off x="6119851" y="577881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9" name="Shape 2725">
            <a:extLst>
              <a:ext uri="{FF2B5EF4-FFF2-40B4-BE49-F238E27FC236}">
                <a16:creationId xmlns:a16="http://schemas.microsoft.com/office/drawing/2014/main" id="{E1086693-352B-EE41-6519-2CF059B4A890}"/>
              </a:ext>
            </a:extLst>
          </p:cNvPr>
          <p:cNvSpPr/>
          <p:nvPr/>
        </p:nvSpPr>
        <p:spPr>
          <a:xfrm>
            <a:off x="6919950" y="577881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0" name="Shape 2726">
            <a:extLst>
              <a:ext uri="{FF2B5EF4-FFF2-40B4-BE49-F238E27FC236}">
                <a16:creationId xmlns:a16="http://schemas.microsoft.com/office/drawing/2014/main" id="{39F91F79-B4E4-169B-FB6F-C3500D6F0C7C}"/>
              </a:ext>
            </a:extLst>
          </p:cNvPr>
          <p:cNvSpPr/>
          <p:nvPr/>
        </p:nvSpPr>
        <p:spPr>
          <a:xfrm>
            <a:off x="7758150" y="5778811"/>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1" name="Shape 2727">
            <a:extLst>
              <a:ext uri="{FF2B5EF4-FFF2-40B4-BE49-F238E27FC236}">
                <a16:creationId xmlns:a16="http://schemas.microsoft.com/office/drawing/2014/main" id="{54D1E0EE-CA16-09F0-5834-57B4B0A22940}"/>
              </a:ext>
            </a:extLst>
          </p:cNvPr>
          <p:cNvSpPr/>
          <p:nvPr/>
        </p:nvSpPr>
        <p:spPr>
          <a:xfrm>
            <a:off x="8520150" y="577881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2" name="Shape 2728">
            <a:extLst>
              <a:ext uri="{FF2B5EF4-FFF2-40B4-BE49-F238E27FC236}">
                <a16:creationId xmlns:a16="http://schemas.microsoft.com/office/drawing/2014/main" id="{4E2458D6-AB02-5AEB-BCAD-AAD224A37FFC}"/>
              </a:ext>
            </a:extLst>
          </p:cNvPr>
          <p:cNvSpPr/>
          <p:nvPr/>
        </p:nvSpPr>
        <p:spPr>
          <a:xfrm>
            <a:off x="1319251" y="657882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3" name="Shape 2729">
            <a:extLst>
              <a:ext uri="{FF2B5EF4-FFF2-40B4-BE49-F238E27FC236}">
                <a16:creationId xmlns:a16="http://schemas.microsoft.com/office/drawing/2014/main" id="{161F79C2-F001-F33B-7B14-DF9D76CD7009}"/>
              </a:ext>
            </a:extLst>
          </p:cNvPr>
          <p:cNvSpPr/>
          <p:nvPr/>
        </p:nvSpPr>
        <p:spPr>
          <a:xfrm>
            <a:off x="2119350" y="657882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4" name="Shape 2730">
            <a:extLst>
              <a:ext uri="{FF2B5EF4-FFF2-40B4-BE49-F238E27FC236}">
                <a16:creationId xmlns:a16="http://schemas.microsoft.com/office/drawing/2014/main" id="{967C668B-ABB4-B3A9-B3F4-373EDF3B3D29}"/>
              </a:ext>
            </a:extLst>
          </p:cNvPr>
          <p:cNvSpPr/>
          <p:nvPr/>
        </p:nvSpPr>
        <p:spPr>
          <a:xfrm>
            <a:off x="2919450" y="657882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5" name="Shape 2731">
            <a:extLst>
              <a:ext uri="{FF2B5EF4-FFF2-40B4-BE49-F238E27FC236}">
                <a16:creationId xmlns:a16="http://schemas.microsoft.com/office/drawing/2014/main" id="{98DD20D4-98E1-316B-2029-3CC20C77ED26}"/>
              </a:ext>
            </a:extLst>
          </p:cNvPr>
          <p:cNvSpPr/>
          <p:nvPr/>
        </p:nvSpPr>
        <p:spPr>
          <a:xfrm>
            <a:off x="3719550" y="6597872"/>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6" name="Shape 2732">
            <a:extLst>
              <a:ext uri="{FF2B5EF4-FFF2-40B4-BE49-F238E27FC236}">
                <a16:creationId xmlns:a16="http://schemas.microsoft.com/office/drawing/2014/main" id="{BC199DF3-62C8-2D9D-69C0-78E3ED72E5AD}"/>
              </a:ext>
            </a:extLst>
          </p:cNvPr>
          <p:cNvSpPr/>
          <p:nvPr/>
        </p:nvSpPr>
        <p:spPr>
          <a:xfrm>
            <a:off x="4519650" y="6693112"/>
            <a:ext cx="419100" cy="190481"/>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7" name="Shape 2733">
            <a:extLst>
              <a:ext uri="{FF2B5EF4-FFF2-40B4-BE49-F238E27FC236}">
                <a16:creationId xmlns:a16="http://schemas.microsoft.com/office/drawing/2014/main" id="{138CDA63-4B2C-C21C-ED17-E81F159FD4D2}"/>
              </a:ext>
            </a:extLst>
          </p:cNvPr>
          <p:cNvSpPr/>
          <p:nvPr/>
        </p:nvSpPr>
        <p:spPr>
          <a:xfrm>
            <a:off x="5453099" y="6578825"/>
            <a:ext cx="1524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8" name="Shape 2734">
            <a:extLst>
              <a:ext uri="{FF2B5EF4-FFF2-40B4-BE49-F238E27FC236}">
                <a16:creationId xmlns:a16="http://schemas.microsoft.com/office/drawing/2014/main" id="{D2070B48-F8F6-1343-8734-93A8A7BF9BB3}"/>
              </a:ext>
            </a:extLst>
          </p:cNvPr>
          <p:cNvSpPr/>
          <p:nvPr/>
        </p:nvSpPr>
        <p:spPr>
          <a:xfrm>
            <a:off x="6119851" y="6635969"/>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9" name="Shape 2735">
            <a:extLst>
              <a:ext uri="{FF2B5EF4-FFF2-40B4-BE49-F238E27FC236}">
                <a16:creationId xmlns:a16="http://schemas.microsoft.com/office/drawing/2014/main" id="{BC0DEBB5-748D-26C6-961B-6AAB6740F6F4}"/>
              </a:ext>
            </a:extLst>
          </p:cNvPr>
          <p:cNvSpPr/>
          <p:nvPr/>
        </p:nvSpPr>
        <p:spPr>
          <a:xfrm>
            <a:off x="6919950" y="6616921"/>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0" name="Shape 2736">
            <a:extLst>
              <a:ext uri="{FF2B5EF4-FFF2-40B4-BE49-F238E27FC236}">
                <a16:creationId xmlns:a16="http://schemas.microsoft.com/office/drawing/2014/main" id="{7428DF1B-F3FE-37CE-20C3-A512F3CF66EF}"/>
              </a:ext>
            </a:extLst>
          </p:cNvPr>
          <p:cNvSpPr/>
          <p:nvPr/>
        </p:nvSpPr>
        <p:spPr>
          <a:xfrm>
            <a:off x="7720050" y="657882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1" name="Shape 2737">
            <a:extLst>
              <a:ext uri="{FF2B5EF4-FFF2-40B4-BE49-F238E27FC236}">
                <a16:creationId xmlns:a16="http://schemas.microsoft.com/office/drawing/2014/main" id="{39A4E02D-06E7-811B-E9BE-F4547F4AA3CA}"/>
              </a:ext>
            </a:extLst>
          </p:cNvPr>
          <p:cNvSpPr/>
          <p:nvPr/>
        </p:nvSpPr>
        <p:spPr>
          <a:xfrm>
            <a:off x="8520150" y="657882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2" name="Shape 2738">
            <a:extLst>
              <a:ext uri="{FF2B5EF4-FFF2-40B4-BE49-F238E27FC236}">
                <a16:creationId xmlns:a16="http://schemas.microsoft.com/office/drawing/2014/main" id="{EE09C6A9-8830-C52A-3ABC-F21A2DD1C5E6}"/>
              </a:ext>
            </a:extLst>
          </p:cNvPr>
          <p:cNvSpPr/>
          <p:nvPr/>
        </p:nvSpPr>
        <p:spPr>
          <a:xfrm>
            <a:off x="1319251"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3" name="Shape 2739">
            <a:extLst>
              <a:ext uri="{FF2B5EF4-FFF2-40B4-BE49-F238E27FC236}">
                <a16:creationId xmlns:a16="http://schemas.microsoft.com/office/drawing/2014/main" id="{170602AE-4BBD-0CB1-62AA-266D7051E969}"/>
              </a:ext>
            </a:extLst>
          </p:cNvPr>
          <p:cNvSpPr/>
          <p:nvPr/>
        </p:nvSpPr>
        <p:spPr>
          <a:xfrm>
            <a:off x="21193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4" name="Shape 2740">
            <a:extLst>
              <a:ext uri="{FF2B5EF4-FFF2-40B4-BE49-F238E27FC236}">
                <a16:creationId xmlns:a16="http://schemas.microsoft.com/office/drawing/2014/main" id="{64B40291-BDC1-734B-C98D-272E53067D6B}"/>
              </a:ext>
            </a:extLst>
          </p:cNvPr>
          <p:cNvSpPr/>
          <p:nvPr/>
        </p:nvSpPr>
        <p:spPr>
          <a:xfrm>
            <a:off x="29194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5" name="Shape 2741">
            <a:extLst>
              <a:ext uri="{FF2B5EF4-FFF2-40B4-BE49-F238E27FC236}">
                <a16:creationId xmlns:a16="http://schemas.microsoft.com/office/drawing/2014/main" id="{3B164AC4-E885-01D5-B41E-6A3C803722EB}"/>
              </a:ext>
            </a:extLst>
          </p:cNvPr>
          <p:cNvSpPr/>
          <p:nvPr/>
        </p:nvSpPr>
        <p:spPr>
          <a:xfrm>
            <a:off x="37195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6" name="Shape 2742">
            <a:extLst>
              <a:ext uri="{FF2B5EF4-FFF2-40B4-BE49-F238E27FC236}">
                <a16:creationId xmlns:a16="http://schemas.microsoft.com/office/drawing/2014/main" id="{C947633D-0AB6-EFB3-A683-E8BB7131E76F}"/>
              </a:ext>
            </a:extLst>
          </p:cNvPr>
          <p:cNvSpPr/>
          <p:nvPr/>
        </p:nvSpPr>
        <p:spPr>
          <a:xfrm>
            <a:off x="45196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7" name="Shape 2743">
            <a:extLst>
              <a:ext uri="{FF2B5EF4-FFF2-40B4-BE49-F238E27FC236}">
                <a16:creationId xmlns:a16="http://schemas.microsoft.com/office/drawing/2014/main" id="{C77D2F17-6870-8DD9-50BF-401D41530E0A}"/>
              </a:ext>
            </a:extLst>
          </p:cNvPr>
          <p:cNvSpPr/>
          <p:nvPr/>
        </p:nvSpPr>
        <p:spPr>
          <a:xfrm>
            <a:off x="5319751"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8" name="Shape 2744">
            <a:extLst>
              <a:ext uri="{FF2B5EF4-FFF2-40B4-BE49-F238E27FC236}">
                <a16:creationId xmlns:a16="http://schemas.microsoft.com/office/drawing/2014/main" id="{2D066695-C487-28C3-79BD-B7EE60CEC47E}"/>
              </a:ext>
            </a:extLst>
          </p:cNvPr>
          <p:cNvSpPr/>
          <p:nvPr/>
        </p:nvSpPr>
        <p:spPr>
          <a:xfrm>
            <a:off x="6119851"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9" name="Shape 2745">
            <a:extLst>
              <a:ext uri="{FF2B5EF4-FFF2-40B4-BE49-F238E27FC236}">
                <a16:creationId xmlns:a16="http://schemas.microsoft.com/office/drawing/2014/main" id="{9A8D08B4-432E-A35A-4470-40615043D13C}"/>
              </a:ext>
            </a:extLst>
          </p:cNvPr>
          <p:cNvSpPr/>
          <p:nvPr/>
        </p:nvSpPr>
        <p:spPr>
          <a:xfrm>
            <a:off x="69199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0" name="Shape 2746">
            <a:extLst>
              <a:ext uri="{FF2B5EF4-FFF2-40B4-BE49-F238E27FC236}">
                <a16:creationId xmlns:a16="http://schemas.microsoft.com/office/drawing/2014/main" id="{FCC7BD4C-3F0E-70EB-3F85-72B1CE6FB7BA}"/>
              </a:ext>
            </a:extLst>
          </p:cNvPr>
          <p:cNvSpPr/>
          <p:nvPr/>
        </p:nvSpPr>
        <p:spPr>
          <a:xfrm>
            <a:off x="77200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1" name="Shape 2747">
            <a:extLst>
              <a:ext uri="{FF2B5EF4-FFF2-40B4-BE49-F238E27FC236}">
                <a16:creationId xmlns:a16="http://schemas.microsoft.com/office/drawing/2014/main" id="{ECFBE00C-5F90-48E9-EC8D-9F57A7213808}"/>
              </a:ext>
            </a:extLst>
          </p:cNvPr>
          <p:cNvSpPr/>
          <p:nvPr/>
        </p:nvSpPr>
        <p:spPr>
          <a:xfrm>
            <a:off x="8520150" y="737884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2" name="Shape 2748">
            <a:extLst>
              <a:ext uri="{FF2B5EF4-FFF2-40B4-BE49-F238E27FC236}">
                <a16:creationId xmlns:a16="http://schemas.microsoft.com/office/drawing/2014/main" id="{DA732342-CB87-039E-482D-D6FE2A1107AD}"/>
              </a:ext>
            </a:extLst>
          </p:cNvPr>
          <p:cNvSpPr/>
          <p:nvPr/>
        </p:nvSpPr>
        <p:spPr>
          <a:xfrm>
            <a:off x="9358350" y="497877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3" name="Shape 2749">
            <a:extLst>
              <a:ext uri="{FF2B5EF4-FFF2-40B4-BE49-F238E27FC236}">
                <a16:creationId xmlns:a16="http://schemas.microsoft.com/office/drawing/2014/main" id="{7C42A60D-3F3F-62C4-D148-57410C718587}"/>
              </a:ext>
            </a:extLst>
          </p:cNvPr>
          <p:cNvSpPr/>
          <p:nvPr/>
        </p:nvSpPr>
        <p:spPr>
          <a:xfrm>
            <a:off x="10234650" y="4978776"/>
            <a:ext cx="2667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4" name="Shape 2750">
            <a:extLst>
              <a:ext uri="{FF2B5EF4-FFF2-40B4-BE49-F238E27FC236}">
                <a16:creationId xmlns:a16="http://schemas.microsoft.com/office/drawing/2014/main" id="{0E9B0312-1030-7085-4E0A-883B98F9937F}"/>
              </a:ext>
            </a:extLst>
          </p:cNvPr>
          <p:cNvSpPr/>
          <p:nvPr/>
        </p:nvSpPr>
        <p:spPr>
          <a:xfrm>
            <a:off x="11072850" y="4978776"/>
            <a:ext cx="190501" cy="419056"/>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5" name="Shape 2751">
            <a:extLst>
              <a:ext uri="{FF2B5EF4-FFF2-40B4-BE49-F238E27FC236}">
                <a16:creationId xmlns:a16="http://schemas.microsoft.com/office/drawing/2014/main" id="{B36EA715-A4FB-0C83-9C31-22D267B1C1EC}"/>
              </a:ext>
            </a:extLst>
          </p:cNvPr>
          <p:cNvSpPr/>
          <p:nvPr/>
        </p:nvSpPr>
        <p:spPr>
          <a:xfrm>
            <a:off x="11834850" y="4978776"/>
            <a:ext cx="2667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6" name="Shape 2752">
            <a:extLst>
              <a:ext uri="{FF2B5EF4-FFF2-40B4-BE49-F238E27FC236}">
                <a16:creationId xmlns:a16="http://schemas.microsoft.com/office/drawing/2014/main" id="{DFEEE367-24A4-5CDD-435A-D0DBCD9A97E6}"/>
              </a:ext>
            </a:extLst>
          </p:cNvPr>
          <p:cNvSpPr/>
          <p:nvPr/>
        </p:nvSpPr>
        <p:spPr>
          <a:xfrm>
            <a:off x="12596850" y="4978776"/>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7" name="Shape 2753">
            <a:extLst>
              <a:ext uri="{FF2B5EF4-FFF2-40B4-BE49-F238E27FC236}">
                <a16:creationId xmlns:a16="http://schemas.microsoft.com/office/drawing/2014/main" id="{041D83E9-4EAC-7840-C723-F4218B23E256}"/>
              </a:ext>
            </a:extLst>
          </p:cNvPr>
          <p:cNvSpPr/>
          <p:nvPr/>
        </p:nvSpPr>
        <p:spPr>
          <a:xfrm>
            <a:off x="13396950" y="4978776"/>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8" name="Shape 2754">
            <a:extLst>
              <a:ext uri="{FF2B5EF4-FFF2-40B4-BE49-F238E27FC236}">
                <a16:creationId xmlns:a16="http://schemas.microsoft.com/office/drawing/2014/main" id="{5C80FEED-B53C-0789-BE9D-087FCF5EEB64}"/>
              </a:ext>
            </a:extLst>
          </p:cNvPr>
          <p:cNvSpPr/>
          <p:nvPr/>
        </p:nvSpPr>
        <p:spPr>
          <a:xfrm>
            <a:off x="14178000" y="4978776"/>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9" name="Shape 2755">
            <a:extLst>
              <a:ext uri="{FF2B5EF4-FFF2-40B4-BE49-F238E27FC236}">
                <a16:creationId xmlns:a16="http://schemas.microsoft.com/office/drawing/2014/main" id="{D9489F70-527C-ED59-A199-4817C13841AB}"/>
              </a:ext>
            </a:extLst>
          </p:cNvPr>
          <p:cNvSpPr/>
          <p:nvPr/>
        </p:nvSpPr>
        <p:spPr>
          <a:xfrm>
            <a:off x="14997149" y="4978776"/>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0" name="Shape 2756">
            <a:extLst>
              <a:ext uri="{FF2B5EF4-FFF2-40B4-BE49-F238E27FC236}">
                <a16:creationId xmlns:a16="http://schemas.microsoft.com/office/drawing/2014/main" id="{00478B62-4D35-2D3A-F38C-A5EAE4E1399E}"/>
              </a:ext>
            </a:extLst>
          </p:cNvPr>
          <p:cNvSpPr/>
          <p:nvPr/>
        </p:nvSpPr>
        <p:spPr>
          <a:xfrm>
            <a:off x="15759151" y="5093064"/>
            <a:ext cx="419100" cy="190481"/>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1" name="Shape 2757">
            <a:extLst>
              <a:ext uri="{FF2B5EF4-FFF2-40B4-BE49-F238E27FC236}">
                <a16:creationId xmlns:a16="http://schemas.microsoft.com/office/drawing/2014/main" id="{3CA59DC9-1136-77DA-2476-46D5DD678FEF}"/>
              </a:ext>
            </a:extLst>
          </p:cNvPr>
          <p:cNvSpPr/>
          <p:nvPr/>
        </p:nvSpPr>
        <p:spPr>
          <a:xfrm>
            <a:off x="16559249" y="4978776"/>
            <a:ext cx="419208" cy="419165"/>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2" name="Shape 2758">
            <a:extLst>
              <a:ext uri="{FF2B5EF4-FFF2-40B4-BE49-F238E27FC236}">
                <a16:creationId xmlns:a16="http://schemas.microsoft.com/office/drawing/2014/main" id="{7B732352-F3AF-F1AB-12F1-D045A43D5896}"/>
              </a:ext>
            </a:extLst>
          </p:cNvPr>
          <p:cNvSpPr/>
          <p:nvPr/>
        </p:nvSpPr>
        <p:spPr>
          <a:xfrm>
            <a:off x="9358350"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3" name="Shape 2759">
            <a:extLst>
              <a:ext uri="{FF2B5EF4-FFF2-40B4-BE49-F238E27FC236}">
                <a16:creationId xmlns:a16="http://schemas.microsoft.com/office/drawing/2014/main" id="{8E1FE606-AD5F-CD3E-667E-FFB437479F8C}"/>
              </a:ext>
            </a:extLst>
          </p:cNvPr>
          <p:cNvSpPr/>
          <p:nvPr/>
        </p:nvSpPr>
        <p:spPr>
          <a:xfrm>
            <a:off x="10158451"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4" name="Shape 2760">
            <a:extLst>
              <a:ext uri="{FF2B5EF4-FFF2-40B4-BE49-F238E27FC236}">
                <a16:creationId xmlns:a16="http://schemas.microsoft.com/office/drawing/2014/main" id="{40BF35CE-485D-7DED-567A-D66E119BFD2B}"/>
              </a:ext>
            </a:extLst>
          </p:cNvPr>
          <p:cNvSpPr/>
          <p:nvPr/>
        </p:nvSpPr>
        <p:spPr>
          <a:xfrm>
            <a:off x="10958551"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5" name="Shape 2761">
            <a:extLst>
              <a:ext uri="{FF2B5EF4-FFF2-40B4-BE49-F238E27FC236}">
                <a16:creationId xmlns:a16="http://schemas.microsoft.com/office/drawing/2014/main" id="{BA552175-2BE9-60BB-2D9E-6715CDA2F03E}"/>
              </a:ext>
            </a:extLst>
          </p:cNvPr>
          <p:cNvSpPr/>
          <p:nvPr/>
        </p:nvSpPr>
        <p:spPr>
          <a:xfrm>
            <a:off x="11758650"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6" name="Shape 2762">
            <a:extLst>
              <a:ext uri="{FF2B5EF4-FFF2-40B4-BE49-F238E27FC236}">
                <a16:creationId xmlns:a16="http://schemas.microsoft.com/office/drawing/2014/main" id="{95A14DC6-283A-27F0-690B-91162B2DCDBE}"/>
              </a:ext>
            </a:extLst>
          </p:cNvPr>
          <p:cNvSpPr/>
          <p:nvPr/>
        </p:nvSpPr>
        <p:spPr>
          <a:xfrm>
            <a:off x="12558750"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7" name="Shape 2763">
            <a:extLst>
              <a:ext uri="{FF2B5EF4-FFF2-40B4-BE49-F238E27FC236}">
                <a16:creationId xmlns:a16="http://schemas.microsoft.com/office/drawing/2014/main" id="{F17B8BF6-FF28-1DFA-8710-742EB31B2E3A}"/>
              </a:ext>
            </a:extLst>
          </p:cNvPr>
          <p:cNvSpPr/>
          <p:nvPr/>
        </p:nvSpPr>
        <p:spPr>
          <a:xfrm>
            <a:off x="13358850"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8" name="Shape 2764">
            <a:extLst>
              <a:ext uri="{FF2B5EF4-FFF2-40B4-BE49-F238E27FC236}">
                <a16:creationId xmlns:a16="http://schemas.microsoft.com/office/drawing/2014/main" id="{C4EDCE74-5997-792C-E914-7D1A481A0D02}"/>
              </a:ext>
            </a:extLst>
          </p:cNvPr>
          <p:cNvSpPr/>
          <p:nvPr/>
        </p:nvSpPr>
        <p:spPr>
          <a:xfrm>
            <a:off x="14158950" y="5797839"/>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9" name="Shape 2765">
            <a:extLst>
              <a:ext uri="{FF2B5EF4-FFF2-40B4-BE49-F238E27FC236}">
                <a16:creationId xmlns:a16="http://schemas.microsoft.com/office/drawing/2014/main" id="{9F5D2C83-FAAB-7973-84B5-05CE618570AA}"/>
              </a:ext>
            </a:extLst>
          </p:cNvPr>
          <p:cNvSpPr/>
          <p:nvPr/>
        </p:nvSpPr>
        <p:spPr>
          <a:xfrm>
            <a:off x="14959051"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0" name="Shape 2766">
            <a:extLst>
              <a:ext uri="{FF2B5EF4-FFF2-40B4-BE49-F238E27FC236}">
                <a16:creationId xmlns:a16="http://schemas.microsoft.com/office/drawing/2014/main" id="{3D82E3D1-4D63-829A-C110-F88E5251C8CA}"/>
              </a:ext>
            </a:extLst>
          </p:cNvPr>
          <p:cNvSpPr/>
          <p:nvPr/>
        </p:nvSpPr>
        <p:spPr>
          <a:xfrm>
            <a:off x="15759151"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1" name="Shape 2767">
            <a:extLst>
              <a:ext uri="{FF2B5EF4-FFF2-40B4-BE49-F238E27FC236}">
                <a16:creationId xmlns:a16="http://schemas.microsoft.com/office/drawing/2014/main" id="{6C22C27D-7F8F-5220-9360-3BA7E70ACAF2}"/>
              </a:ext>
            </a:extLst>
          </p:cNvPr>
          <p:cNvSpPr/>
          <p:nvPr/>
        </p:nvSpPr>
        <p:spPr>
          <a:xfrm>
            <a:off x="16559250" y="577879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2" name="Shape 2768">
            <a:extLst>
              <a:ext uri="{FF2B5EF4-FFF2-40B4-BE49-F238E27FC236}">
                <a16:creationId xmlns:a16="http://schemas.microsoft.com/office/drawing/2014/main" id="{B6F6E9AE-89D5-F3A1-F9A0-AE98B15E3E2C}"/>
              </a:ext>
            </a:extLst>
          </p:cNvPr>
          <p:cNvSpPr/>
          <p:nvPr/>
        </p:nvSpPr>
        <p:spPr>
          <a:xfrm>
            <a:off x="9358350" y="6712142"/>
            <a:ext cx="419100" cy="152385"/>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3" name="Shape 2769">
            <a:extLst>
              <a:ext uri="{FF2B5EF4-FFF2-40B4-BE49-F238E27FC236}">
                <a16:creationId xmlns:a16="http://schemas.microsoft.com/office/drawing/2014/main" id="{B91241E0-BCF5-EC70-12B7-A957C1D9F132}"/>
              </a:ext>
            </a:extLst>
          </p:cNvPr>
          <p:cNvSpPr/>
          <p:nvPr/>
        </p:nvSpPr>
        <p:spPr>
          <a:xfrm>
            <a:off x="10215600" y="6578806"/>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4" name="Shape 2770">
            <a:extLst>
              <a:ext uri="{FF2B5EF4-FFF2-40B4-BE49-F238E27FC236}">
                <a16:creationId xmlns:a16="http://schemas.microsoft.com/office/drawing/2014/main" id="{8DCA8EE3-EA47-59C1-8922-F9F7BD39D476}"/>
              </a:ext>
            </a:extLst>
          </p:cNvPr>
          <p:cNvSpPr/>
          <p:nvPr/>
        </p:nvSpPr>
        <p:spPr>
          <a:xfrm>
            <a:off x="10958551" y="657880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5" name="Shape 2771">
            <a:extLst>
              <a:ext uri="{FF2B5EF4-FFF2-40B4-BE49-F238E27FC236}">
                <a16:creationId xmlns:a16="http://schemas.microsoft.com/office/drawing/2014/main" id="{5741EC14-1EEE-D92E-F57C-0851BCEEB706}"/>
              </a:ext>
            </a:extLst>
          </p:cNvPr>
          <p:cNvSpPr/>
          <p:nvPr/>
        </p:nvSpPr>
        <p:spPr>
          <a:xfrm>
            <a:off x="11758650" y="657880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6" name="Shape 2772">
            <a:extLst>
              <a:ext uri="{FF2B5EF4-FFF2-40B4-BE49-F238E27FC236}">
                <a16:creationId xmlns:a16="http://schemas.microsoft.com/office/drawing/2014/main" id="{015359FF-364A-177B-E87E-519DD73F9F50}"/>
              </a:ext>
            </a:extLst>
          </p:cNvPr>
          <p:cNvSpPr/>
          <p:nvPr/>
        </p:nvSpPr>
        <p:spPr>
          <a:xfrm>
            <a:off x="12558750" y="657880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7" name="Shape 2773">
            <a:extLst>
              <a:ext uri="{FF2B5EF4-FFF2-40B4-BE49-F238E27FC236}">
                <a16:creationId xmlns:a16="http://schemas.microsoft.com/office/drawing/2014/main" id="{160D00F8-7361-4382-72B7-E61416F06A9E}"/>
              </a:ext>
            </a:extLst>
          </p:cNvPr>
          <p:cNvSpPr/>
          <p:nvPr/>
        </p:nvSpPr>
        <p:spPr>
          <a:xfrm>
            <a:off x="13358850" y="657880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8" name="Shape 2774">
            <a:extLst>
              <a:ext uri="{FF2B5EF4-FFF2-40B4-BE49-F238E27FC236}">
                <a16:creationId xmlns:a16="http://schemas.microsoft.com/office/drawing/2014/main" id="{ABDA7C02-1641-36AC-18A5-17E6B5013B70}"/>
              </a:ext>
            </a:extLst>
          </p:cNvPr>
          <p:cNvSpPr/>
          <p:nvPr/>
        </p:nvSpPr>
        <p:spPr>
          <a:xfrm>
            <a:off x="14158950" y="657880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9" name="Shape 2775">
            <a:extLst>
              <a:ext uri="{FF2B5EF4-FFF2-40B4-BE49-F238E27FC236}">
                <a16:creationId xmlns:a16="http://schemas.microsoft.com/office/drawing/2014/main" id="{E60893DC-04BD-AB4F-C4E8-59D6FA885830}"/>
              </a:ext>
            </a:extLst>
          </p:cNvPr>
          <p:cNvSpPr/>
          <p:nvPr/>
        </p:nvSpPr>
        <p:spPr>
          <a:xfrm>
            <a:off x="14959051" y="6645474"/>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0" name="Shape 2776">
            <a:extLst>
              <a:ext uri="{FF2B5EF4-FFF2-40B4-BE49-F238E27FC236}">
                <a16:creationId xmlns:a16="http://schemas.microsoft.com/office/drawing/2014/main" id="{56D215CB-8DA8-128D-64A2-C843F51A6D10}"/>
              </a:ext>
            </a:extLst>
          </p:cNvPr>
          <p:cNvSpPr/>
          <p:nvPr/>
        </p:nvSpPr>
        <p:spPr>
          <a:xfrm>
            <a:off x="15854399" y="6578806"/>
            <a:ext cx="228601" cy="419056"/>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1" name="Shape 2777">
            <a:extLst>
              <a:ext uri="{FF2B5EF4-FFF2-40B4-BE49-F238E27FC236}">
                <a16:creationId xmlns:a16="http://schemas.microsoft.com/office/drawing/2014/main" id="{719773EB-B540-B9D1-3142-3843E6C88C84}"/>
              </a:ext>
            </a:extLst>
          </p:cNvPr>
          <p:cNvSpPr/>
          <p:nvPr/>
        </p:nvSpPr>
        <p:spPr>
          <a:xfrm>
            <a:off x="16616400" y="6578806"/>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2" name="Shape 2778">
            <a:extLst>
              <a:ext uri="{FF2B5EF4-FFF2-40B4-BE49-F238E27FC236}">
                <a16:creationId xmlns:a16="http://schemas.microsoft.com/office/drawing/2014/main" id="{CFF62056-D446-1688-9B37-F701AC53B5CD}"/>
              </a:ext>
            </a:extLst>
          </p:cNvPr>
          <p:cNvSpPr/>
          <p:nvPr/>
        </p:nvSpPr>
        <p:spPr>
          <a:xfrm>
            <a:off x="9358350" y="737882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3" name="Shape 2779">
            <a:extLst>
              <a:ext uri="{FF2B5EF4-FFF2-40B4-BE49-F238E27FC236}">
                <a16:creationId xmlns:a16="http://schemas.microsoft.com/office/drawing/2014/main" id="{AE3BE6CA-54F3-5F0E-8FD7-C073196A18E4}"/>
              </a:ext>
            </a:extLst>
          </p:cNvPr>
          <p:cNvSpPr/>
          <p:nvPr/>
        </p:nvSpPr>
        <p:spPr>
          <a:xfrm>
            <a:off x="10215600" y="7378822"/>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4" name="Shape 2780">
            <a:extLst>
              <a:ext uri="{FF2B5EF4-FFF2-40B4-BE49-F238E27FC236}">
                <a16:creationId xmlns:a16="http://schemas.microsoft.com/office/drawing/2014/main" id="{07B48594-766F-D36C-A6F4-F1D9E96A8835}"/>
              </a:ext>
            </a:extLst>
          </p:cNvPr>
          <p:cNvSpPr/>
          <p:nvPr/>
        </p:nvSpPr>
        <p:spPr>
          <a:xfrm>
            <a:off x="11072850" y="7378822"/>
            <a:ext cx="190501" cy="419056"/>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5" name="Shape 2781">
            <a:extLst>
              <a:ext uri="{FF2B5EF4-FFF2-40B4-BE49-F238E27FC236}">
                <a16:creationId xmlns:a16="http://schemas.microsoft.com/office/drawing/2014/main" id="{AB827CD0-3C5A-EA07-7FE0-04F17F0382B4}"/>
              </a:ext>
            </a:extLst>
          </p:cNvPr>
          <p:cNvSpPr/>
          <p:nvPr/>
        </p:nvSpPr>
        <p:spPr>
          <a:xfrm>
            <a:off x="11758650" y="737882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6" name="Shape 2782">
            <a:extLst>
              <a:ext uri="{FF2B5EF4-FFF2-40B4-BE49-F238E27FC236}">
                <a16:creationId xmlns:a16="http://schemas.microsoft.com/office/drawing/2014/main" id="{805B7CC3-B560-1F15-D719-A67B27F1F695}"/>
              </a:ext>
            </a:extLst>
          </p:cNvPr>
          <p:cNvSpPr/>
          <p:nvPr/>
        </p:nvSpPr>
        <p:spPr>
          <a:xfrm>
            <a:off x="12558750" y="7407394"/>
            <a:ext cx="419504" cy="361995"/>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7" name="Shape 2783">
            <a:extLst>
              <a:ext uri="{FF2B5EF4-FFF2-40B4-BE49-F238E27FC236}">
                <a16:creationId xmlns:a16="http://schemas.microsoft.com/office/drawing/2014/main" id="{89B2C79B-5238-D7E4-1095-7AC8005014BC}"/>
              </a:ext>
            </a:extLst>
          </p:cNvPr>
          <p:cNvSpPr/>
          <p:nvPr/>
        </p:nvSpPr>
        <p:spPr>
          <a:xfrm>
            <a:off x="13358850" y="7407394"/>
            <a:ext cx="419100" cy="361912"/>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8" name="Shape 2784">
            <a:extLst>
              <a:ext uri="{FF2B5EF4-FFF2-40B4-BE49-F238E27FC236}">
                <a16:creationId xmlns:a16="http://schemas.microsoft.com/office/drawing/2014/main" id="{E330F58F-06E5-3B41-A349-F955954BA7FA}"/>
              </a:ext>
            </a:extLst>
          </p:cNvPr>
          <p:cNvSpPr/>
          <p:nvPr/>
        </p:nvSpPr>
        <p:spPr>
          <a:xfrm>
            <a:off x="14158950" y="737882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9" name="Shape 2785">
            <a:extLst>
              <a:ext uri="{FF2B5EF4-FFF2-40B4-BE49-F238E27FC236}">
                <a16:creationId xmlns:a16="http://schemas.microsoft.com/office/drawing/2014/main" id="{6F8B9EE0-C0AC-67AB-0853-8918197ECD8C}"/>
              </a:ext>
            </a:extLst>
          </p:cNvPr>
          <p:cNvSpPr/>
          <p:nvPr/>
        </p:nvSpPr>
        <p:spPr>
          <a:xfrm>
            <a:off x="14959051" y="7416917"/>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0" name="Shape 2786">
            <a:extLst>
              <a:ext uri="{FF2B5EF4-FFF2-40B4-BE49-F238E27FC236}">
                <a16:creationId xmlns:a16="http://schemas.microsoft.com/office/drawing/2014/main" id="{B26CC432-B062-6D7C-4CA5-9E8F1C1D1B63}"/>
              </a:ext>
            </a:extLst>
          </p:cNvPr>
          <p:cNvSpPr/>
          <p:nvPr/>
        </p:nvSpPr>
        <p:spPr>
          <a:xfrm>
            <a:off x="15759149" y="7397870"/>
            <a:ext cx="418799" cy="380983"/>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1" name="Shape 2787">
            <a:extLst>
              <a:ext uri="{FF2B5EF4-FFF2-40B4-BE49-F238E27FC236}">
                <a16:creationId xmlns:a16="http://schemas.microsoft.com/office/drawing/2014/main" id="{15CB4872-2D5A-D488-F41F-C4278890AAA4}"/>
              </a:ext>
            </a:extLst>
          </p:cNvPr>
          <p:cNvSpPr/>
          <p:nvPr/>
        </p:nvSpPr>
        <p:spPr>
          <a:xfrm>
            <a:off x="16559249" y="7378822"/>
            <a:ext cx="418841" cy="419075"/>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2" name="Shape 2934">
            <a:extLst>
              <a:ext uri="{FF2B5EF4-FFF2-40B4-BE49-F238E27FC236}">
                <a16:creationId xmlns:a16="http://schemas.microsoft.com/office/drawing/2014/main" id="{6C849467-8C49-6A48-37AF-F0B2B0632D62}"/>
              </a:ext>
            </a:extLst>
          </p:cNvPr>
          <p:cNvSpPr/>
          <p:nvPr/>
        </p:nvSpPr>
        <p:spPr>
          <a:xfrm>
            <a:off x="1376400" y="8526005"/>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3" name="Shape 2935">
            <a:extLst>
              <a:ext uri="{FF2B5EF4-FFF2-40B4-BE49-F238E27FC236}">
                <a16:creationId xmlns:a16="http://schemas.microsoft.com/office/drawing/2014/main" id="{5B6E2E23-11EB-BDE7-8E9D-AE88B01C0191}"/>
              </a:ext>
            </a:extLst>
          </p:cNvPr>
          <p:cNvSpPr/>
          <p:nvPr/>
        </p:nvSpPr>
        <p:spPr>
          <a:xfrm>
            <a:off x="2119349" y="8526004"/>
            <a:ext cx="418798" cy="418814"/>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4" name="Shape 2936">
            <a:extLst>
              <a:ext uri="{FF2B5EF4-FFF2-40B4-BE49-F238E27FC236}">
                <a16:creationId xmlns:a16="http://schemas.microsoft.com/office/drawing/2014/main" id="{84990129-D1BF-7E10-2B4F-D5F4E566DA26}"/>
              </a:ext>
            </a:extLst>
          </p:cNvPr>
          <p:cNvSpPr/>
          <p:nvPr/>
        </p:nvSpPr>
        <p:spPr>
          <a:xfrm>
            <a:off x="3033750" y="8526005"/>
            <a:ext cx="1905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5" name="Shape 2937">
            <a:extLst>
              <a:ext uri="{FF2B5EF4-FFF2-40B4-BE49-F238E27FC236}">
                <a16:creationId xmlns:a16="http://schemas.microsoft.com/office/drawing/2014/main" id="{04AFCF51-8252-7216-6D33-C9D11315CFB5}"/>
              </a:ext>
            </a:extLst>
          </p:cNvPr>
          <p:cNvSpPr/>
          <p:nvPr/>
        </p:nvSpPr>
        <p:spPr>
          <a:xfrm>
            <a:off x="3719550" y="852600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6" name="Shape 2938">
            <a:extLst>
              <a:ext uri="{FF2B5EF4-FFF2-40B4-BE49-F238E27FC236}">
                <a16:creationId xmlns:a16="http://schemas.microsoft.com/office/drawing/2014/main" id="{D34BDBEF-1EE8-07A0-3EB5-9ECD13D189C1}"/>
              </a:ext>
            </a:extLst>
          </p:cNvPr>
          <p:cNvSpPr/>
          <p:nvPr/>
        </p:nvSpPr>
        <p:spPr>
          <a:xfrm>
            <a:off x="4519650" y="852600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7" name="Shape 2939">
            <a:extLst>
              <a:ext uri="{FF2B5EF4-FFF2-40B4-BE49-F238E27FC236}">
                <a16:creationId xmlns:a16="http://schemas.microsoft.com/office/drawing/2014/main" id="{53EDB11A-6D7F-E266-BD7A-F76237591608}"/>
              </a:ext>
            </a:extLst>
          </p:cNvPr>
          <p:cNvSpPr/>
          <p:nvPr/>
        </p:nvSpPr>
        <p:spPr>
          <a:xfrm>
            <a:off x="5319751" y="852600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8" name="Shape 2940">
            <a:extLst>
              <a:ext uri="{FF2B5EF4-FFF2-40B4-BE49-F238E27FC236}">
                <a16:creationId xmlns:a16="http://schemas.microsoft.com/office/drawing/2014/main" id="{5F2369FD-5152-7436-37B0-4D0C3D8F2AB9}"/>
              </a:ext>
            </a:extLst>
          </p:cNvPr>
          <p:cNvSpPr/>
          <p:nvPr/>
        </p:nvSpPr>
        <p:spPr>
          <a:xfrm>
            <a:off x="6119851" y="852600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9" name="Shape 2941">
            <a:extLst>
              <a:ext uri="{FF2B5EF4-FFF2-40B4-BE49-F238E27FC236}">
                <a16:creationId xmlns:a16="http://schemas.microsoft.com/office/drawing/2014/main" id="{AA2EF9DC-D024-979A-721C-B3B0B8117369}"/>
              </a:ext>
            </a:extLst>
          </p:cNvPr>
          <p:cNvSpPr/>
          <p:nvPr/>
        </p:nvSpPr>
        <p:spPr>
          <a:xfrm>
            <a:off x="6919950" y="852600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0" name="Shape 2942">
            <a:extLst>
              <a:ext uri="{FF2B5EF4-FFF2-40B4-BE49-F238E27FC236}">
                <a16:creationId xmlns:a16="http://schemas.microsoft.com/office/drawing/2014/main" id="{06100631-F019-16B6-1F70-8BDAFFA8425F}"/>
              </a:ext>
            </a:extLst>
          </p:cNvPr>
          <p:cNvSpPr/>
          <p:nvPr/>
        </p:nvSpPr>
        <p:spPr>
          <a:xfrm>
            <a:off x="7758150" y="8526005"/>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1" name="Shape 2943">
            <a:extLst>
              <a:ext uri="{FF2B5EF4-FFF2-40B4-BE49-F238E27FC236}">
                <a16:creationId xmlns:a16="http://schemas.microsoft.com/office/drawing/2014/main" id="{58BDE237-07FA-1D9F-F08C-A02415739C39}"/>
              </a:ext>
            </a:extLst>
          </p:cNvPr>
          <p:cNvSpPr/>
          <p:nvPr/>
        </p:nvSpPr>
        <p:spPr>
          <a:xfrm>
            <a:off x="8558250" y="8526005"/>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2" name="Shape 2944">
            <a:extLst>
              <a:ext uri="{FF2B5EF4-FFF2-40B4-BE49-F238E27FC236}">
                <a16:creationId xmlns:a16="http://schemas.microsoft.com/office/drawing/2014/main" id="{0515464E-A0EA-9A0A-451B-82F613F1572A}"/>
              </a:ext>
            </a:extLst>
          </p:cNvPr>
          <p:cNvSpPr/>
          <p:nvPr/>
        </p:nvSpPr>
        <p:spPr>
          <a:xfrm>
            <a:off x="9377401" y="8516167"/>
            <a:ext cx="419100" cy="419055"/>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3" name="Shape 2945">
            <a:extLst>
              <a:ext uri="{FF2B5EF4-FFF2-40B4-BE49-F238E27FC236}">
                <a16:creationId xmlns:a16="http://schemas.microsoft.com/office/drawing/2014/main" id="{587D4308-D358-8160-B62B-94F0F604FFA7}"/>
              </a:ext>
            </a:extLst>
          </p:cNvPr>
          <p:cNvSpPr/>
          <p:nvPr/>
        </p:nvSpPr>
        <p:spPr>
          <a:xfrm>
            <a:off x="10177500" y="8516167"/>
            <a:ext cx="419100" cy="419055"/>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4" name="Shape 2946">
            <a:extLst>
              <a:ext uri="{FF2B5EF4-FFF2-40B4-BE49-F238E27FC236}">
                <a16:creationId xmlns:a16="http://schemas.microsoft.com/office/drawing/2014/main" id="{43A295DC-B34A-0797-6626-48804A9ADAE4}"/>
              </a:ext>
            </a:extLst>
          </p:cNvPr>
          <p:cNvSpPr/>
          <p:nvPr/>
        </p:nvSpPr>
        <p:spPr>
          <a:xfrm>
            <a:off x="10977600" y="8516167"/>
            <a:ext cx="419100" cy="419055"/>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5" name="Shape 2947">
            <a:extLst>
              <a:ext uri="{FF2B5EF4-FFF2-40B4-BE49-F238E27FC236}">
                <a16:creationId xmlns:a16="http://schemas.microsoft.com/office/drawing/2014/main" id="{F733D4CA-0951-FF37-1654-7D389F71B0C0}"/>
              </a:ext>
            </a:extLst>
          </p:cNvPr>
          <p:cNvSpPr/>
          <p:nvPr/>
        </p:nvSpPr>
        <p:spPr>
          <a:xfrm>
            <a:off x="11777700" y="8516167"/>
            <a:ext cx="419100" cy="419055"/>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6" name="Shape 2948">
            <a:extLst>
              <a:ext uri="{FF2B5EF4-FFF2-40B4-BE49-F238E27FC236}">
                <a16:creationId xmlns:a16="http://schemas.microsoft.com/office/drawing/2014/main" id="{59D98899-7C35-586D-528B-82229320BE8A}"/>
              </a:ext>
            </a:extLst>
          </p:cNvPr>
          <p:cNvSpPr/>
          <p:nvPr/>
        </p:nvSpPr>
        <p:spPr>
          <a:xfrm>
            <a:off x="12634950" y="8516167"/>
            <a:ext cx="304801" cy="419055"/>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7" name="Shape 2949">
            <a:extLst>
              <a:ext uri="{FF2B5EF4-FFF2-40B4-BE49-F238E27FC236}">
                <a16:creationId xmlns:a16="http://schemas.microsoft.com/office/drawing/2014/main" id="{ADB9FBAD-4321-7090-0A56-E89197281DC1}"/>
              </a:ext>
            </a:extLst>
          </p:cNvPr>
          <p:cNvSpPr/>
          <p:nvPr/>
        </p:nvSpPr>
        <p:spPr>
          <a:xfrm>
            <a:off x="13415999" y="8516167"/>
            <a:ext cx="342901" cy="419055"/>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8" name="Shape 2950">
            <a:extLst>
              <a:ext uri="{FF2B5EF4-FFF2-40B4-BE49-F238E27FC236}">
                <a16:creationId xmlns:a16="http://schemas.microsoft.com/office/drawing/2014/main" id="{F010837F-E4B5-CD87-5CD9-E9694A06679B}"/>
              </a:ext>
            </a:extLst>
          </p:cNvPr>
          <p:cNvSpPr/>
          <p:nvPr/>
        </p:nvSpPr>
        <p:spPr>
          <a:xfrm>
            <a:off x="14216099" y="8516167"/>
            <a:ext cx="342901" cy="419055"/>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9" name="Shape 2951">
            <a:extLst>
              <a:ext uri="{FF2B5EF4-FFF2-40B4-BE49-F238E27FC236}">
                <a16:creationId xmlns:a16="http://schemas.microsoft.com/office/drawing/2014/main" id="{26A8ED9E-A3A8-B206-8357-0B153BC88733}"/>
              </a:ext>
            </a:extLst>
          </p:cNvPr>
          <p:cNvSpPr/>
          <p:nvPr/>
        </p:nvSpPr>
        <p:spPr>
          <a:xfrm>
            <a:off x="14978100" y="8554263"/>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0" name="Shape 2952">
            <a:extLst>
              <a:ext uri="{FF2B5EF4-FFF2-40B4-BE49-F238E27FC236}">
                <a16:creationId xmlns:a16="http://schemas.microsoft.com/office/drawing/2014/main" id="{1D20EB28-5E31-B678-456D-AAB104C503E9}"/>
              </a:ext>
            </a:extLst>
          </p:cNvPr>
          <p:cNvSpPr/>
          <p:nvPr/>
        </p:nvSpPr>
        <p:spPr>
          <a:xfrm>
            <a:off x="15778200" y="8516167"/>
            <a:ext cx="419100" cy="41905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1" name="Shape 2953">
            <a:extLst>
              <a:ext uri="{FF2B5EF4-FFF2-40B4-BE49-F238E27FC236}">
                <a16:creationId xmlns:a16="http://schemas.microsoft.com/office/drawing/2014/main" id="{A16B45B9-AED6-3A51-5A0C-B6CC04F06C93}"/>
              </a:ext>
            </a:extLst>
          </p:cNvPr>
          <p:cNvSpPr/>
          <p:nvPr/>
        </p:nvSpPr>
        <p:spPr>
          <a:xfrm>
            <a:off x="16578300" y="8516167"/>
            <a:ext cx="419100" cy="41905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 name="Shape 2637">
            <a:extLst>
              <a:ext uri="{FF2B5EF4-FFF2-40B4-BE49-F238E27FC236}">
                <a16:creationId xmlns:a16="http://schemas.microsoft.com/office/drawing/2014/main" id="{3AE27733-0795-18CC-70A9-3E1D7C971AC6}"/>
              </a:ext>
            </a:extLst>
          </p:cNvPr>
          <p:cNvSpPr/>
          <p:nvPr/>
        </p:nvSpPr>
        <p:spPr>
          <a:xfrm>
            <a:off x="1414499" y="1746032"/>
            <a:ext cx="228601" cy="419056"/>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 name="Shape 2638">
            <a:extLst>
              <a:ext uri="{FF2B5EF4-FFF2-40B4-BE49-F238E27FC236}">
                <a16:creationId xmlns:a16="http://schemas.microsoft.com/office/drawing/2014/main" id="{B41E9FE2-3C41-A949-8CEC-108FD1478A98}"/>
              </a:ext>
            </a:extLst>
          </p:cNvPr>
          <p:cNvSpPr/>
          <p:nvPr/>
        </p:nvSpPr>
        <p:spPr>
          <a:xfrm>
            <a:off x="2119350" y="1746030"/>
            <a:ext cx="418956" cy="419303"/>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 name="Shape 2639">
            <a:extLst>
              <a:ext uri="{FF2B5EF4-FFF2-40B4-BE49-F238E27FC236}">
                <a16:creationId xmlns:a16="http://schemas.microsoft.com/office/drawing/2014/main" id="{2FED0453-E58C-4D7C-8641-76D1747BF667}"/>
              </a:ext>
            </a:extLst>
          </p:cNvPr>
          <p:cNvSpPr/>
          <p:nvPr/>
        </p:nvSpPr>
        <p:spPr>
          <a:xfrm>
            <a:off x="2919450" y="1822223"/>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 name="Shape 2640">
            <a:extLst>
              <a:ext uri="{FF2B5EF4-FFF2-40B4-BE49-F238E27FC236}">
                <a16:creationId xmlns:a16="http://schemas.microsoft.com/office/drawing/2014/main" id="{05ED9FA7-EED5-DAC7-9EB0-E81B59F0D737}"/>
              </a:ext>
            </a:extLst>
          </p:cNvPr>
          <p:cNvSpPr/>
          <p:nvPr/>
        </p:nvSpPr>
        <p:spPr>
          <a:xfrm>
            <a:off x="3719550" y="1822223"/>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7" name="Shape 2641">
            <a:extLst>
              <a:ext uri="{FF2B5EF4-FFF2-40B4-BE49-F238E27FC236}">
                <a16:creationId xmlns:a16="http://schemas.microsoft.com/office/drawing/2014/main" id="{DDD95FBE-B108-A66A-3273-DD6B30174589}"/>
              </a:ext>
            </a:extLst>
          </p:cNvPr>
          <p:cNvSpPr/>
          <p:nvPr/>
        </p:nvSpPr>
        <p:spPr>
          <a:xfrm>
            <a:off x="4519650" y="1822223"/>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8" name="Shape 2642">
            <a:extLst>
              <a:ext uri="{FF2B5EF4-FFF2-40B4-BE49-F238E27FC236}">
                <a16:creationId xmlns:a16="http://schemas.microsoft.com/office/drawing/2014/main" id="{708D0235-DA1E-89B0-442C-7BC3C02B3938}"/>
              </a:ext>
            </a:extLst>
          </p:cNvPr>
          <p:cNvSpPr/>
          <p:nvPr/>
        </p:nvSpPr>
        <p:spPr>
          <a:xfrm>
            <a:off x="5319751" y="1765079"/>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9" name="Shape 2643">
            <a:extLst>
              <a:ext uri="{FF2B5EF4-FFF2-40B4-BE49-F238E27FC236}">
                <a16:creationId xmlns:a16="http://schemas.microsoft.com/office/drawing/2014/main" id="{609CB534-576E-A0A1-D85F-5F8BB9B73E25}"/>
              </a:ext>
            </a:extLst>
          </p:cNvPr>
          <p:cNvSpPr/>
          <p:nvPr/>
        </p:nvSpPr>
        <p:spPr>
          <a:xfrm>
            <a:off x="6215099" y="1746032"/>
            <a:ext cx="228601" cy="419056"/>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0" name="Shape 2644">
            <a:extLst>
              <a:ext uri="{FF2B5EF4-FFF2-40B4-BE49-F238E27FC236}">
                <a16:creationId xmlns:a16="http://schemas.microsoft.com/office/drawing/2014/main" id="{61A2E0AA-409B-DFF0-04D2-998DFAE16D0C}"/>
              </a:ext>
            </a:extLst>
          </p:cNvPr>
          <p:cNvSpPr/>
          <p:nvPr/>
        </p:nvSpPr>
        <p:spPr>
          <a:xfrm>
            <a:off x="6977100" y="1746032"/>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1" name="Shape 2645">
            <a:extLst>
              <a:ext uri="{FF2B5EF4-FFF2-40B4-BE49-F238E27FC236}">
                <a16:creationId xmlns:a16="http://schemas.microsoft.com/office/drawing/2014/main" id="{CBE9191C-537B-6028-2AAD-B1EFB11289D7}"/>
              </a:ext>
            </a:extLst>
          </p:cNvPr>
          <p:cNvSpPr/>
          <p:nvPr/>
        </p:nvSpPr>
        <p:spPr>
          <a:xfrm>
            <a:off x="7720050" y="1803176"/>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2" name="Shape 2646">
            <a:extLst>
              <a:ext uri="{FF2B5EF4-FFF2-40B4-BE49-F238E27FC236}">
                <a16:creationId xmlns:a16="http://schemas.microsoft.com/office/drawing/2014/main" id="{9F1D913D-BE55-0DAA-7A81-3FEF9C7BBCAF}"/>
              </a:ext>
            </a:extLst>
          </p:cNvPr>
          <p:cNvSpPr/>
          <p:nvPr/>
        </p:nvSpPr>
        <p:spPr>
          <a:xfrm>
            <a:off x="8520150"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 name="Shape 2647">
            <a:extLst>
              <a:ext uri="{FF2B5EF4-FFF2-40B4-BE49-F238E27FC236}">
                <a16:creationId xmlns:a16="http://schemas.microsoft.com/office/drawing/2014/main" id="{51BA2619-4AC3-A7EB-59E9-FD9C7969AB36}"/>
              </a:ext>
            </a:extLst>
          </p:cNvPr>
          <p:cNvSpPr/>
          <p:nvPr/>
        </p:nvSpPr>
        <p:spPr>
          <a:xfrm>
            <a:off x="1319251"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 name="Shape 2648">
            <a:extLst>
              <a:ext uri="{FF2B5EF4-FFF2-40B4-BE49-F238E27FC236}">
                <a16:creationId xmlns:a16="http://schemas.microsoft.com/office/drawing/2014/main" id="{AC58C293-BA50-21D4-887F-240FC0AA77B8}"/>
              </a:ext>
            </a:extLst>
          </p:cNvPr>
          <p:cNvSpPr/>
          <p:nvPr/>
        </p:nvSpPr>
        <p:spPr>
          <a:xfrm>
            <a:off x="2119350"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 name="Shape 2649">
            <a:extLst>
              <a:ext uri="{FF2B5EF4-FFF2-40B4-BE49-F238E27FC236}">
                <a16:creationId xmlns:a16="http://schemas.microsoft.com/office/drawing/2014/main" id="{D8ADFC75-968C-0F43-68F7-DACBED06FC31}"/>
              </a:ext>
            </a:extLst>
          </p:cNvPr>
          <p:cNvSpPr/>
          <p:nvPr/>
        </p:nvSpPr>
        <p:spPr>
          <a:xfrm>
            <a:off x="2919450"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 name="Shape 2650">
            <a:extLst>
              <a:ext uri="{FF2B5EF4-FFF2-40B4-BE49-F238E27FC236}">
                <a16:creationId xmlns:a16="http://schemas.microsoft.com/office/drawing/2014/main" id="{5F24CC7E-C5B7-F6DC-0412-D139C6A15DA7}"/>
              </a:ext>
            </a:extLst>
          </p:cNvPr>
          <p:cNvSpPr/>
          <p:nvPr/>
        </p:nvSpPr>
        <p:spPr>
          <a:xfrm>
            <a:off x="3719550"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 name="Shape 2651">
            <a:extLst>
              <a:ext uri="{FF2B5EF4-FFF2-40B4-BE49-F238E27FC236}">
                <a16:creationId xmlns:a16="http://schemas.microsoft.com/office/drawing/2014/main" id="{F11FBA14-26A2-5C52-A1C0-7890ACB23B53}"/>
              </a:ext>
            </a:extLst>
          </p:cNvPr>
          <p:cNvSpPr/>
          <p:nvPr/>
        </p:nvSpPr>
        <p:spPr>
          <a:xfrm>
            <a:off x="4519650"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8" name="Shape 2652">
            <a:extLst>
              <a:ext uri="{FF2B5EF4-FFF2-40B4-BE49-F238E27FC236}">
                <a16:creationId xmlns:a16="http://schemas.microsoft.com/office/drawing/2014/main" id="{CB227988-649A-4226-AA21-64331523BE99}"/>
              </a:ext>
            </a:extLst>
          </p:cNvPr>
          <p:cNvSpPr/>
          <p:nvPr/>
        </p:nvSpPr>
        <p:spPr>
          <a:xfrm>
            <a:off x="5319751"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9" name="Shape 2653">
            <a:extLst>
              <a:ext uri="{FF2B5EF4-FFF2-40B4-BE49-F238E27FC236}">
                <a16:creationId xmlns:a16="http://schemas.microsoft.com/office/drawing/2014/main" id="{57C15C3F-CDEE-2310-3D96-B7E59785D061}"/>
              </a:ext>
            </a:extLst>
          </p:cNvPr>
          <p:cNvSpPr/>
          <p:nvPr/>
        </p:nvSpPr>
        <p:spPr>
          <a:xfrm>
            <a:off x="6119851"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0" name="Shape 2654">
            <a:extLst>
              <a:ext uri="{FF2B5EF4-FFF2-40B4-BE49-F238E27FC236}">
                <a16:creationId xmlns:a16="http://schemas.microsoft.com/office/drawing/2014/main" id="{EC1DD0F4-23A4-424F-739F-6CDD18B7B4A0}"/>
              </a:ext>
            </a:extLst>
          </p:cNvPr>
          <p:cNvSpPr/>
          <p:nvPr/>
        </p:nvSpPr>
        <p:spPr>
          <a:xfrm>
            <a:off x="6919950"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1" name="Shape 2655">
            <a:extLst>
              <a:ext uri="{FF2B5EF4-FFF2-40B4-BE49-F238E27FC236}">
                <a16:creationId xmlns:a16="http://schemas.microsoft.com/office/drawing/2014/main" id="{67BB7D9C-992C-38A8-0C2E-108DA3972F2B}"/>
              </a:ext>
            </a:extLst>
          </p:cNvPr>
          <p:cNvSpPr/>
          <p:nvPr/>
        </p:nvSpPr>
        <p:spPr>
          <a:xfrm>
            <a:off x="7720050" y="2584143"/>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2" name="Shape 2656">
            <a:extLst>
              <a:ext uri="{FF2B5EF4-FFF2-40B4-BE49-F238E27FC236}">
                <a16:creationId xmlns:a16="http://schemas.microsoft.com/office/drawing/2014/main" id="{849369C4-ECCF-3E03-771A-19FD115BEEF2}"/>
              </a:ext>
            </a:extLst>
          </p:cNvPr>
          <p:cNvSpPr/>
          <p:nvPr/>
        </p:nvSpPr>
        <p:spPr>
          <a:xfrm>
            <a:off x="8520150"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3" name="Shape 2657">
            <a:extLst>
              <a:ext uri="{FF2B5EF4-FFF2-40B4-BE49-F238E27FC236}">
                <a16:creationId xmlns:a16="http://schemas.microsoft.com/office/drawing/2014/main" id="{CAAD71AA-0BBE-50D8-1139-859608DE6FDC}"/>
              </a:ext>
            </a:extLst>
          </p:cNvPr>
          <p:cNvSpPr/>
          <p:nvPr/>
        </p:nvSpPr>
        <p:spPr>
          <a:xfrm>
            <a:off x="1319251"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4" name="Shape 2658">
            <a:extLst>
              <a:ext uri="{FF2B5EF4-FFF2-40B4-BE49-F238E27FC236}">
                <a16:creationId xmlns:a16="http://schemas.microsoft.com/office/drawing/2014/main" id="{47CCC5C0-684B-A3B6-ECF8-23FB7FA7BB3F}"/>
              </a:ext>
            </a:extLst>
          </p:cNvPr>
          <p:cNvSpPr/>
          <p:nvPr/>
        </p:nvSpPr>
        <p:spPr>
          <a:xfrm>
            <a:off x="2119350"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5" name="Shape 2659">
            <a:extLst>
              <a:ext uri="{FF2B5EF4-FFF2-40B4-BE49-F238E27FC236}">
                <a16:creationId xmlns:a16="http://schemas.microsoft.com/office/drawing/2014/main" id="{A2CA5E02-57C5-E681-AFD5-EF25B8841529}"/>
              </a:ext>
            </a:extLst>
          </p:cNvPr>
          <p:cNvSpPr/>
          <p:nvPr/>
        </p:nvSpPr>
        <p:spPr>
          <a:xfrm>
            <a:off x="2919450"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6" name="Shape 2660">
            <a:extLst>
              <a:ext uri="{FF2B5EF4-FFF2-40B4-BE49-F238E27FC236}">
                <a16:creationId xmlns:a16="http://schemas.microsoft.com/office/drawing/2014/main" id="{681260FD-B521-CBC1-AABE-718F10494DCA}"/>
              </a:ext>
            </a:extLst>
          </p:cNvPr>
          <p:cNvSpPr/>
          <p:nvPr/>
        </p:nvSpPr>
        <p:spPr>
          <a:xfrm>
            <a:off x="3719550"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7" name="Shape 2661">
            <a:extLst>
              <a:ext uri="{FF2B5EF4-FFF2-40B4-BE49-F238E27FC236}">
                <a16:creationId xmlns:a16="http://schemas.microsoft.com/office/drawing/2014/main" id="{07D79553-A419-5512-1878-9FFEB86027ED}"/>
              </a:ext>
            </a:extLst>
          </p:cNvPr>
          <p:cNvSpPr/>
          <p:nvPr/>
        </p:nvSpPr>
        <p:spPr>
          <a:xfrm>
            <a:off x="4519650"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8" name="Shape 2662">
            <a:extLst>
              <a:ext uri="{FF2B5EF4-FFF2-40B4-BE49-F238E27FC236}">
                <a16:creationId xmlns:a16="http://schemas.microsoft.com/office/drawing/2014/main" id="{64CFCE02-42C9-A6E2-4C60-D0CA155FDCE4}"/>
              </a:ext>
            </a:extLst>
          </p:cNvPr>
          <p:cNvSpPr/>
          <p:nvPr/>
        </p:nvSpPr>
        <p:spPr>
          <a:xfrm>
            <a:off x="5319751"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29" name="Shape 2663">
            <a:extLst>
              <a:ext uri="{FF2B5EF4-FFF2-40B4-BE49-F238E27FC236}">
                <a16:creationId xmlns:a16="http://schemas.microsoft.com/office/drawing/2014/main" id="{C987E826-32B2-A702-50F1-8F38D48227F2}"/>
              </a:ext>
            </a:extLst>
          </p:cNvPr>
          <p:cNvSpPr/>
          <p:nvPr/>
        </p:nvSpPr>
        <p:spPr>
          <a:xfrm>
            <a:off x="6119851" y="3441301"/>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0" name="Shape 2664">
            <a:extLst>
              <a:ext uri="{FF2B5EF4-FFF2-40B4-BE49-F238E27FC236}">
                <a16:creationId xmlns:a16="http://schemas.microsoft.com/office/drawing/2014/main" id="{71968186-EEC0-4D7E-45B9-30A2E894A2D7}"/>
              </a:ext>
            </a:extLst>
          </p:cNvPr>
          <p:cNvSpPr/>
          <p:nvPr/>
        </p:nvSpPr>
        <p:spPr>
          <a:xfrm>
            <a:off x="6919950" y="3441301"/>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 name="Shape 2665">
            <a:extLst>
              <a:ext uri="{FF2B5EF4-FFF2-40B4-BE49-F238E27FC236}">
                <a16:creationId xmlns:a16="http://schemas.microsoft.com/office/drawing/2014/main" id="{EEB0ADD5-38DF-8F1C-9F47-FCA4D2DFE94A}"/>
              </a:ext>
            </a:extLst>
          </p:cNvPr>
          <p:cNvSpPr/>
          <p:nvPr/>
        </p:nvSpPr>
        <p:spPr>
          <a:xfrm>
            <a:off x="7720050" y="3441301"/>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2" name="Shape 2666">
            <a:extLst>
              <a:ext uri="{FF2B5EF4-FFF2-40B4-BE49-F238E27FC236}">
                <a16:creationId xmlns:a16="http://schemas.microsoft.com/office/drawing/2014/main" id="{1C4CC4F5-04E6-DF27-6107-285BACF4BF46}"/>
              </a:ext>
            </a:extLst>
          </p:cNvPr>
          <p:cNvSpPr/>
          <p:nvPr/>
        </p:nvSpPr>
        <p:spPr>
          <a:xfrm>
            <a:off x="8520150" y="3441301"/>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3" name="Shape 2667">
            <a:extLst>
              <a:ext uri="{FF2B5EF4-FFF2-40B4-BE49-F238E27FC236}">
                <a16:creationId xmlns:a16="http://schemas.microsoft.com/office/drawing/2014/main" id="{53390F21-73BC-EB57-C812-19055F7D2F24}"/>
              </a:ext>
            </a:extLst>
          </p:cNvPr>
          <p:cNvSpPr/>
          <p:nvPr/>
        </p:nvSpPr>
        <p:spPr>
          <a:xfrm>
            <a:off x="1319251" y="4241316"/>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4" name="Shape 2668">
            <a:extLst>
              <a:ext uri="{FF2B5EF4-FFF2-40B4-BE49-F238E27FC236}">
                <a16:creationId xmlns:a16="http://schemas.microsoft.com/office/drawing/2014/main" id="{FEA5FB7E-A77A-527D-B8BA-2E5EFCFECFE6}"/>
              </a:ext>
            </a:extLst>
          </p:cNvPr>
          <p:cNvSpPr/>
          <p:nvPr/>
        </p:nvSpPr>
        <p:spPr>
          <a:xfrm>
            <a:off x="2119350" y="4241316"/>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5" name="Shape 2669">
            <a:extLst>
              <a:ext uri="{FF2B5EF4-FFF2-40B4-BE49-F238E27FC236}">
                <a16:creationId xmlns:a16="http://schemas.microsoft.com/office/drawing/2014/main" id="{BF8C41D8-0966-E344-0FDC-681BD64B71DC}"/>
              </a:ext>
            </a:extLst>
          </p:cNvPr>
          <p:cNvSpPr/>
          <p:nvPr/>
        </p:nvSpPr>
        <p:spPr>
          <a:xfrm>
            <a:off x="2938500" y="4146076"/>
            <a:ext cx="381001" cy="419066"/>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7" name="Shape 2670">
            <a:extLst>
              <a:ext uri="{FF2B5EF4-FFF2-40B4-BE49-F238E27FC236}">
                <a16:creationId xmlns:a16="http://schemas.microsoft.com/office/drawing/2014/main" id="{A312BFF0-BB7A-50C2-B988-A7CF59B79839}"/>
              </a:ext>
            </a:extLst>
          </p:cNvPr>
          <p:cNvSpPr/>
          <p:nvPr/>
        </p:nvSpPr>
        <p:spPr>
          <a:xfrm>
            <a:off x="3719550" y="4203221"/>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0" name="Shape 2671">
            <a:extLst>
              <a:ext uri="{FF2B5EF4-FFF2-40B4-BE49-F238E27FC236}">
                <a16:creationId xmlns:a16="http://schemas.microsoft.com/office/drawing/2014/main" id="{BB19E4AE-95FB-F0B2-B19E-59610ECE1B4A}"/>
              </a:ext>
            </a:extLst>
          </p:cNvPr>
          <p:cNvSpPr/>
          <p:nvPr/>
        </p:nvSpPr>
        <p:spPr>
          <a:xfrm>
            <a:off x="4519650" y="4146076"/>
            <a:ext cx="419100" cy="419066"/>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1" name="Shape 2672">
            <a:extLst>
              <a:ext uri="{FF2B5EF4-FFF2-40B4-BE49-F238E27FC236}">
                <a16:creationId xmlns:a16="http://schemas.microsoft.com/office/drawing/2014/main" id="{D0E279E0-1269-6315-90AF-B140D6F5B707}"/>
              </a:ext>
            </a:extLst>
          </p:cNvPr>
          <p:cNvSpPr/>
          <p:nvPr/>
        </p:nvSpPr>
        <p:spPr>
          <a:xfrm>
            <a:off x="5319751" y="4203221"/>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2" name="Shape 2673">
            <a:extLst>
              <a:ext uri="{FF2B5EF4-FFF2-40B4-BE49-F238E27FC236}">
                <a16:creationId xmlns:a16="http://schemas.microsoft.com/office/drawing/2014/main" id="{EA1DA2A7-5956-F490-B932-1DEFBA149C1A}"/>
              </a:ext>
            </a:extLst>
          </p:cNvPr>
          <p:cNvSpPr/>
          <p:nvPr/>
        </p:nvSpPr>
        <p:spPr>
          <a:xfrm>
            <a:off x="6119851" y="414607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3" name="Shape 2674">
            <a:extLst>
              <a:ext uri="{FF2B5EF4-FFF2-40B4-BE49-F238E27FC236}">
                <a16:creationId xmlns:a16="http://schemas.microsoft.com/office/drawing/2014/main" id="{44F08A52-362E-4E15-F175-AE1AD00C93A0}"/>
              </a:ext>
            </a:extLst>
          </p:cNvPr>
          <p:cNvSpPr/>
          <p:nvPr/>
        </p:nvSpPr>
        <p:spPr>
          <a:xfrm>
            <a:off x="6939000" y="4146077"/>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4" name="Shape 2675">
            <a:extLst>
              <a:ext uri="{FF2B5EF4-FFF2-40B4-BE49-F238E27FC236}">
                <a16:creationId xmlns:a16="http://schemas.microsoft.com/office/drawing/2014/main" id="{FE8110EE-A98A-EBCA-BE30-15EC2D8BA82D}"/>
              </a:ext>
            </a:extLst>
          </p:cNvPr>
          <p:cNvSpPr/>
          <p:nvPr/>
        </p:nvSpPr>
        <p:spPr>
          <a:xfrm>
            <a:off x="7815299" y="4146077"/>
            <a:ext cx="228713" cy="419056"/>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8" name="Shape 2676">
            <a:extLst>
              <a:ext uri="{FF2B5EF4-FFF2-40B4-BE49-F238E27FC236}">
                <a16:creationId xmlns:a16="http://schemas.microsoft.com/office/drawing/2014/main" id="{AAA706C2-86FE-3D1B-E992-62A3B47F62CC}"/>
              </a:ext>
            </a:extLst>
          </p:cNvPr>
          <p:cNvSpPr/>
          <p:nvPr/>
        </p:nvSpPr>
        <p:spPr>
          <a:xfrm>
            <a:off x="8577300" y="4146077"/>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49" name="Shape 2677">
            <a:extLst>
              <a:ext uri="{FF2B5EF4-FFF2-40B4-BE49-F238E27FC236}">
                <a16:creationId xmlns:a16="http://schemas.microsoft.com/office/drawing/2014/main" id="{5CF2F026-3D3D-7853-79AD-19623799C3AB}"/>
              </a:ext>
            </a:extLst>
          </p:cNvPr>
          <p:cNvSpPr/>
          <p:nvPr/>
        </p:nvSpPr>
        <p:spPr>
          <a:xfrm>
            <a:off x="9434694" y="1746032"/>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0" name="Shape 2678">
            <a:extLst>
              <a:ext uri="{FF2B5EF4-FFF2-40B4-BE49-F238E27FC236}">
                <a16:creationId xmlns:a16="http://schemas.microsoft.com/office/drawing/2014/main" id="{EF386585-3343-1AF4-E9A0-04A7C0695B58}"/>
              </a:ext>
            </a:extLst>
          </p:cNvPr>
          <p:cNvSpPr/>
          <p:nvPr/>
        </p:nvSpPr>
        <p:spPr>
          <a:xfrm>
            <a:off x="10215746"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1" name="Shape 2679">
            <a:extLst>
              <a:ext uri="{FF2B5EF4-FFF2-40B4-BE49-F238E27FC236}">
                <a16:creationId xmlns:a16="http://schemas.microsoft.com/office/drawing/2014/main" id="{79FA66DC-8069-7695-7390-3E09C8D0364E}"/>
              </a:ext>
            </a:extLst>
          </p:cNvPr>
          <p:cNvSpPr/>
          <p:nvPr/>
        </p:nvSpPr>
        <p:spPr>
          <a:xfrm>
            <a:off x="11015846" y="1765079"/>
            <a:ext cx="419100" cy="380958"/>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2" name="Shape 2680">
            <a:extLst>
              <a:ext uri="{FF2B5EF4-FFF2-40B4-BE49-F238E27FC236}">
                <a16:creationId xmlns:a16="http://schemas.microsoft.com/office/drawing/2014/main" id="{67B52157-FD9C-CCAA-B489-FBAEDFC561A6}"/>
              </a:ext>
            </a:extLst>
          </p:cNvPr>
          <p:cNvSpPr/>
          <p:nvPr/>
        </p:nvSpPr>
        <p:spPr>
          <a:xfrm>
            <a:off x="11815946"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3" name="Shape 2681">
            <a:extLst>
              <a:ext uri="{FF2B5EF4-FFF2-40B4-BE49-F238E27FC236}">
                <a16:creationId xmlns:a16="http://schemas.microsoft.com/office/drawing/2014/main" id="{0D8C498D-4680-9981-9C9E-A259D7A8C765}"/>
              </a:ext>
            </a:extLst>
          </p:cNvPr>
          <p:cNvSpPr/>
          <p:nvPr/>
        </p:nvSpPr>
        <p:spPr>
          <a:xfrm>
            <a:off x="12616046"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1" name="Shape 2682">
            <a:extLst>
              <a:ext uri="{FF2B5EF4-FFF2-40B4-BE49-F238E27FC236}">
                <a16:creationId xmlns:a16="http://schemas.microsoft.com/office/drawing/2014/main" id="{BC0CBD59-19B4-F39A-D5BF-D7977B120EFE}"/>
              </a:ext>
            </a:extLst>
          </p:cNvPr>
          <p:cNvSpPr/>
          <p:nvPr/>
        </p:nvSpPr>
        <p:spPr>
          <a:xfrm>
            <a:off x="13416146"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2" name="Shape 2683">
            <a:extLst>
              <a:ext uri="{FF2B5EF4-FFF2-40B4-BE49-F238E27FC236}">
                <a16:creationId xmlns:a16="http://schemas.microsoft.com/office/drawing/2014/main" id="{B5E1C105-7E87-C53E-056D-D78F492ABB31}"/>
              </a:ext>
            </a:extLst>
          </p:cNvPr>
          <p:cNvSpPr/>
          <p:nvPr/>
        </p:nvSpPr>
        <p:spPr>
          <a:xfrm>
            <a:off x="14273395" y="1746032"/>
            <a:ext cx="304797" cy="419002"/>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3" name="Shape 2684">
            <a:extLst>
              <a:ext uri="{FF2B5EF4-FFF2-40B4-BE49-F238E27FC236}">
                <a16:creationId xmlns:a16="http://schemas.microsoft.com/office/drawing/2014/main" id="{0D7FB9DF-6BEA-E8DA-D0A0-487D54F7FE16}"/>
              </a:ext>
            </a:extLst>
          </p:cNvPr>
          <p:cNvSpPr/>
          <p:nvPr/>
        </p:nvSpPr>
        <p:spPr>
          <a:xfrm>
            <a:off x="15016346" y="1746030"/>
            <a:ext cx="419100" cy="419474"/>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4" name="Shape 2685">
            <a:extLst>
              <a:ext uri="{FF2B5EF4-FFF2-40B4-BE49-F238E27FC236}">
                <a16:creationId xmlns:a16="http://schemas.microsoft.com/office/drawing/2014/main" id="{5E4E0911-77C6-E08D-81D9-BBACA7B03FE2}"/>
              </a:ext>
            </a:extLst>
          </p:cNvPr>
          <p:cNvSpPr/>
          <p:nvPr/>
        </p:nvSpPr>
        <p:spPr>
          <a:xfrm>
            <a:off x="15816446"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5" name="Shape 2686">
            <a:extLst>
              <a:ext uri="{FF2B5EF4-FFF2-40B4-BE49-F238E27FC236}">
                <a16:creationId xmlns:a16="http://schemas.microsoft.com/office/drawing/2014/main" id="{26ADF7AA-827A-3644-8799-ACB498304F04}"/>
              </a:ext>
            </a:extLst>
          </p:cNvPr>
          <p:cNvSpPr/>
          <p:nvPr/>
        </p:nvSpPr>
        <p:spPr>
          <a:xfrm>
            <a:off x="16616546" y="174603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6" name="Shape 2687">
            <a:extLst>
              <a:ext uri="{FF2B5EF4-FFF2-40B4-BE49-F238E27FC236}">
                <a16:creationId xmlns:a16="http://schemas.microsoft.com/office/drawing/2014/main" id="{631716D2-78B0-3407-02F9-8BCAF484F88C}"/>
              </a:ext>
            </a:extLst>
          </p:cNvPr>
          <p:cNvSpPr/>
          <p:nvPr/>
        </p:nvSpPr>
        <p:spPr>
          <a:xfrm>
            <a:off x="9415645"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7" name="Shape 2688">
            <a:extLst>
              <a:ext uri="{FF2B5EF4-FFF2-40B4-BE49-F238E27FC236}">
                <a16:creationId xmlns:a16="http://schemas.microsoft.com/office/drawing/2014/main" id="{C152F039-AFFB-9F8C-3F04-8AFA43A80A22}"/>
              </a:ext>
            </a:extLst>
          </p:cNvPr>
          <p:cNvSpPr/>
          <p:nvPr/>
        </p:nvSpPr>
        <p:spPr>
          <a:xfrm>
            <a:off x="10215746"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8" name="Shape 2689">
            <a:extLst>
              <a:ext uri="{FF2B5EF4-FFF2-40B4-BE49-F238E27FC236}">
                <a16:creationId xmlns:a16="http://schemas.microsoft.com/office/drawing/2014/main" id="{3CBA87D5-0C9D-328B-95E5-AD3A2E987905}"/>
              </a:ext>
            </a:extLst>
          </p:cNvPr>
          <p:cNvSpPr/>
          <p:nvPr/>
        </p:nvSpPr>
        <p:spPr>
          <a:xfrm>
            <a:off x="11015846"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9" name="Shape 2690">
            <a:extLst>
              <a:ext uri="{FF2B5EF4-FFF2-40B4-BE49-F238E27FC236}">
                <a16:creationId xmlns:a16="http://schemas.microsoft.com/office/drawing/2014/main" id="{49DF5122-61B2-DB9C-DA0B-2374890C5FD9}"/>
              </a:ext>
            </a:extLst>
          </p:cNvPr>
          <p:cNvSpPr/>
          <p:nvPr/>
        </p:nvSpPr>
        <p:spPr>
          <a:xfrm>
            <a:off x="11815946" y="2565094"/>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0" name="Shape 2691">
            <a:extLst>
              <a:ext uri="{FF2B5EF4-FFF2-40B4-BE49-F238E27FC236}">
                <a16:creationId xmlns:a16="http://schemas.microsoft.com/office/drawing/2014/main" id="{17F94C47-0C5E-A745-C681-1D46CFB4A39A}"/>
              </a:ext>
            </a:extLst>
          </p:cNvPr>
          <p:cNvSpPr/>
          <p:nvPr/>
        </p:nvSpPr>
        <p:spPr>
          <a:xfrm>
            <a:off x="12711295" y="2546047"/>
            <a:ext cx="228601" cy="419056"/>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1" name="Shape 2692">
            <a:extLst>
              <a:ext uri="{FF2B5EF4-FFF2-40B4-BE49-F238E27FC236}">
                <a16:creationId xmlns:a16="http://schemas.microsoft.com/office/drawing/2014/main" id="{E2669592-8AA6-5634-B3E4-8A9D40CD956F}"/>
              </a:ext>
            </a:extLst>
          </p:cNvPr>
          <p:cNvSpPr/>
          <p:nvPr/>
        </p:nvSpPr>
        <p:spPr>
          <a:xfrm>
            <a:off x="13454245" y="2546047"/>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2" name="Shape 2693">
            <a:extLst>
              <a:ext uri="{FF2B5EF4-FFF2-40B4-BE49-F238E27FC236}">
                <a16:creationId xmlns:a16="http://schemas.microsoft.com/office/drawing/2014/main" id="{81A0B837-855F-02FC-706E-CDB21D337B8F}"/>
              </a:ext>
            </a:extLst>
          </p:cNvPr>
          <p:cNvSpPr/>
          <p:nvPr/>
        </p:nvSpPr>
        <p:spPr>
          <a:xfrm>
            <a:off x="14216246"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3" name="Shape 2694">
            <a:extLst>
              <a:ext uri="{FF2B5EF4-FFF2-40B4-BE49-F238E27FC236}">
                <a16:creationId xmlns:a16="http://schemas.microsoft.com/office/drawing/2014/main" id="{D11142AA-5703-DE6B-534E-9132068C7162}"/>
              </a:ext>
            </a:extLst>
          </p:cNvPr>
          <p:cNvSpPr/>
          <p:nvPr/>
        </p:nvSpPr>
        <p:spPr>
          <a:xfrm>
            <a:off x="15016346"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4" name="Shape 2695">
            <a:extLst>
              <a:ext uri="{FF2B5EF4-FFF2-40B4-BE49-F238E27FC236}">
                <a16:creationId xmlns:a16="http://schemas.microsoft.com/office/drawing/2014/main" id="{6A0913D3-6888-999A-156A-6BEFF12CB021}"/>
              </a:ext>
            </a:extLst>
          </p:cNvPr>
          <p:cNvSpPr/>
          <p:nvPr/>
        </p:nvSpPr>
        <p:spPr>
          <a:xfrm>
            <a:off x="15816446"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5" name="Shape 2696">
            <a:extLst>
              <a:ext uri="{FF2B5EF4-FFF2-40B4-BE49-F238E27FC236}">
                <a16:creationId xmlns:a16="http://schemas.microsoft.com/office/drawing/2014/main" id="{8C784406-8D21-0021-AC5E-F5A9AD2CD3C8}"/>
              </a:ext>
            </a:extLst>
          </p:cNvPr>
          <p:cNvSpPr/>
          <p:nvPr/>
        </p:nvSpPr>
        <p:spPr>
          <a:xfrm>
            <a:off x="16616546" y="2546047"/>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6" name="Shape 2697">
            <a:extLst>
              <a:ext uri="{FF2B5EF4-FFF2-40B4-BE49-F238E27FC236}">
                <a16:creationId xmlns:a16="http://schemas.microsoft.com/office/drawing/2014/main" id="{A9121EBC-6BF5-C47A-093E-69D862D69800}"/>
              </a:ext>
            </a:extLst>
          </p:cNvPr>
          <p:cNvSpPr/>
          <p:nvPr/>
        </p:nvSpPr>
        <p:spPr>
          <a:xfrm>
            <a:off x="9434694" y="3346062"/>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7" name="Shape 2698">
            <a:extLst>
              <a:ext uri="{FF2B5EF4-FFF2-40B4-BE49-F238E27FC236}">
                <a16:creationId xmlns:a16="http://schemas.microsoft.com/office/drawing/2014/main" id="{B70E6E7B-53AE-2380-2413-CBA6CFBA9B91}"/>
              </a:ext>
            </a:extLst>
          </p:cNvPr>
          <p:cNvSpPr/>
          <p:nvPr/>
        </p:nvSpPr>
        <p:spPr>
          <a:xfrm>
            <a:off x="10234796" y="3346062"/>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8" name="Shape 2699">
            <a:extLst>
              <a:ext uri="{FF2B5EF4-FFF2-40B4-BE49-F238E27FC236}">
                <a16:creationId xmlns:a16="http://schemas.microsoft.com/office/drawing/2014/main" id="{513FC6D0-FFED-61E1-F28E-EA39FD47622E}"/>
              </a:ext>
            </a:extLst>
          </p:cNvPr>
          <p:cNvSpPr/>
          <p:nvPr/>
        </p:nvSpPr>
        <p:spPr>
          <a:xfrm>
            <a:off x="11015846" y="3384158"/>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9" name="Shape 2700">
            <a:extLst>
              <a:ext uri="{FF2B5EF4-FFF2-40B4-BE49-F238E27FC236}">
                <a16:creationId xmlns:a16="http://schemas.microsoft.com/office/drawing/2014/main" id="{754D9934-1971-058F-BFC7-635B5DD52838}"/>
              </a:ext>
            </a:extLst>
          </p:cNvPr>
          <p:cNvSpPr/>
          <p:nvPr/>
        </p:nvSpPr>
        <p:spPr>
          <a:xfrm>
            <a:off x="11815946" y="3346062"/>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0" name="Shape 2701">
            <a:extLst>
              <a:ext uri="{FF2B5EF4-FFF2-40B4-BE49-F238E27FC236}">
                <a16:creationId xmlns:a16="http://schemas.microsoft.com/office/drawing/2014/main" id="{C490EFC7-6EDA-F64B-1DAD-A3B0EC070C10}"/>
              </a:ext>
            </a:extLst>
          </p:cNvPr>
          <p:cNvSpPr/>
          <p:nvPr/>
        </p:nvSpPr>
        <p:spPr>
          <a:xfrm>
            <a:off x="12616046" y="3450826"/>
            <a:ext cx="419100" cy="190481"/>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1" name="Shape 2702">
            <a:extLst>
              <a:ext uri="{FF2B5EF4-FFF2-40B4-BE49-F238E27FC236}">
                <a16:creationId xmlns:a16="http://schemas.microsoft.com/office/drawing/2014/main" id="{67D60A02-0EE1-2B9C-DC88-B020F3D05BD2}"/>
              </a:ext>
            </a:extLst>
          </p:cNvPr>
          <p:cNvSpPr/>
          <p:nvPr/>
        </p:nvSpPr>
        <p:spPr>
          <a:xfrm>
            <a:off x="13416146" y="3365109"/>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2" name="Shape 2673">
            <a:extLst>
              <a:ext uri="{FF2B5EF4-FFF2-40B4-BE49-F238E27FC236}">
                <a16:creationId xmlns:a16="http://schemas.microsoft.com/office/drawing/2014/main" id="{0CBDB335-8C69-6F67-B492-28A13482900F}"/>
              </a:ext>
            </a:extLst>
          </p:cNvPr>
          <p:cNvSpPr/>
          <p:nvPr/>
        </p:nvSpPr>
        <p:spPr>
          <a:xfrm>
            <a:off x="14244367" y="337767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3" name="Shape 2674">
            <a:extLst>
              <a:ext uri="{FF2B5EF4-FFF2-40B4-BE49-F238E27FC236}">
                <a16:creationId xmlns:a16="http://schemas.microsoft.com/office/drawing/2014/main" id="{B4F19514-1655-95BF-3477-6A8796C50FFF}"/>
              </a:ext>
            </a:extLst>
          </p:cNvPr>
          <p:cNvSpPr/>
          <p:nvPr/>
        </p:nvSpPr>
        <p:spPr>
          <a:xfrm>
            <a:off x="15063516" y="3377679"/>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4" name="Shape 2675">
            <a:extLst>
              <a:ext uri="{FF2B5EF4-FFF2-40B4-BE49-F238E27FC236}">
                <a16:creationId xmlns:a16="http://schemas.microsoft.com/office/drawing/2014/main" id="{7A6BC2A2-8183-E016-C404-3D6426EF34B1}"/>
              </a:ext>
            </a:extLst>
          </p:cNvPr>
          <p:cNvSpPr/>
          <p:nvPr/>
        </p:nvSpPr>
        <p:spPr>
          <a:xfrm>
            <a:off x="15939815" y="3377679"/>
            <a:ext cx="228713" cy="419056"/>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5" name="Shape 2676">
            <a:extLst>
              <a:ext uri="{FF2B5EF4-FFF2-40B4-BE49-F238E27FC236}">
                <a16:creationId xmlns:a16="http://schemas.microsoft.com/office/drawing/2014/main" id="{ABB7A835-2CC3-B310-B144-FCCD5A8CAEEB}"/>
              </a:ext>
            </a:extLst>
          </p:cNvPr>
          <p:cNvSpPr/>
          <p:nvPr/>
        </p:nvSpPr>
        <p:spPr>
          <a:xfrm>
            <a:off x="16701816" y="3377679"/>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Tree>
    <p:extLst>
      <p:ext uri="{BB962C8B-B14F-4D97-AF65-F5344CB8AC3E}">
        <p14:creationId xmlns:p14="http://schemas.microsoft.com/office/powerpoint/2010/main" val="7611532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799C1-FADD-304B-4688-BFCB405F434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26245F-2DC8-ADA5-0344-BEE607B951EC}"/>
              </a:ext>
            </a:extLst>
          </p:cNvPr>
          <p:cNvGraphicFramePr>
            <a:graphicFrameLocks noChangeAspect="1"/>
          </p:cNvGraphicFramePr>
          <p:nvPr>
            <p:custDataLst>
              <p:tags r:id="rId1"/>
            </p:custDataLst>
            <p:extLst>
              <p:ext uri="{D42A27DB-BD31-4B8C-83A1-F6EECF244321}">
                <p14:modId xmlns:p14="http://schemas.microsoft.com/office/powerpoint/2010/main" val="269234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E726245F-2DC8-ADA5-0344-BEE607B95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67A445-0F41-E102-9819-2C654BEB9B4E}"/>
              </a:ext>
            </a:extLst>
          </p:cNvPr>
          <p:cNvSpPr>
            <a:spLocks noGrp="1"/>
          </p:cNvSpPr>
          <p:nvPr>
            <p:ph type="title"/>
          </p:nvPr>
        </p:nvSpPr>
        <p:spPr>
          <a:xfrm>
            <a:off x="714375" y="317500"/>
            <a:ext cx="16859250" cy="1266825"/>
          </a:xfrm>
        </p:spPr>
        <p:txBody>
          <a:bodyPr vert="horz"/>
          <a:lstStyle/>
          <a:p>
            <a:r>
              <a:rPr lang="en-US" dirty="0"/>
              <a:t>Icons (3/3) </a:t>
            </a:r>
            <a:endParaRPr lang="en-IN" dirty="0"/>
          </a:p>
        </p:txBody>
      </p:sp>
      <p:sp>
        <p:nvSpPr>
          <p:cNvPr id="33" name="Slide Number Placeholder 32">
            <a:extLst>
              <a:ext uri="{FF2B5EF4-FFF2-40B4-BE49-F238E27FC236}">
                <a16:creationId xmlns:a16="http://schemas.microsoft.com/office/drawing/2014/main" id="{947AF057-B7D3-A178-B336-AB74C5666FBE}"/>
              </a:ext>
            </a:extLst>
          </p:cNvPr>
          <p:cNvSpPr>
            <a:spLocks noGrp="1"/>
          </p:cNvSpPr>
          <p:nvPr>
            <p:ph type="sldNum" sz="quarter" idx="12"/>
          </p:nvPr>
        </p:nvSpPr>
        <p:spPr/>
        <p:txBody>
          <a:bodyPr/>
          <a:lstStyle/>
          <a:p>
            <a:fld id="{E2D680B1-7F17-42D2-83E2-2C9AC13983BB}" type="slidenum">
              <a:rPr lang="en-US" smtClean="0"/>
              <a:t>103</a:t>
            </a:fld>
            <a:endParaRPr lang="en-US" dirty="0"/>
          </a:p>
        </p:txBody>
      </p:sp>
      <p:sp>
        <p:nvSpPr>
          <p:cNvPr id="32" name="Shape 2790">
            <a:extLst>
              <a:ext uri="{FF2B5EF4-FFF2-40B4-BE49-F238E27FC236}">
                <a16:creationId xmlns:a16="http://schemas.microsoft.com/office/drawing/2014/main" id="{998A9516-6FF9-2EE8-B873-A144DD4B181B}"/>
              </a:ext>
            </a:extLst>
          </p:cNvPr>
          <p:cNvSpPr/>
          <p:nvPr/>
        </p:nvSpPr>
        <p:spPr>
          <a:xfrm>
            <a:off x="1321762" y="5408833"/>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5" name="Shape 2791">
            <a:extLst>
              <a:ext uri="{FF2B5EF4-FFF2-40B4-BE49-F238E27FC236}">
                <a16:creationId xmlns:a16="http://schemas.microsoft.com/office/drawing/2014/main" id="{9388225E-0473-0688-2BA0-39C9A6AE1193}"/>
              </a:ext>
            </a:extLst>
          </p:cNvPr>
          <p:cNvSpPr/>
          <p:nvPr/>
        </p:nvSpPr>
        <p:spPr>
          <a:xfrm>
            <a:off x="2121861" y="5389784"/>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6" name="Shape 2792">
            <a:extLst>
              <a:ext uri="{FF2B5EF4-FFF2-40B4-BE49-F238E27FC236}">
                <a16:creationId xmlns:a16="http://schemas.microsoft.com/office/drawing/2014/main" id="{527CDE74-8F97-0FBD-5C69-C2C06BB62FB0}"/>
              </a:ext>
            </a:extLst>
          </p:cNvPr>
          <p:cNvSpPr/>
          <p:nvPr/>
        </p:nvSpPr>
        <p:spPr>
          <a:xfrm>
            <a:off x="2921961"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7" name="Shape 2793">
            <a:extLst>
              <a:ext uri="{FF2B5EF4-FFF2-40B4-BE49-F238E27FC236}">
                <a16:creationId xmlns:a16="http://schemas.microsoft.com/office/drawing/2014/main" id="{D9EC4A1D-62F5-1303-43F8-6C201E304112}"/>
              </a:ext>
            </a:extLst>
          </p:cNvPr>
          <p:cNvSpPr/>
          <p:nvPr/>
        </p:nvSpPr>
        <p:spPr>
          <a:xfrm>
            <a:off x="3722061"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8" name="Shape 2794">
            <a:extLst>
              <a:ext uri="{FF2B5EF4-FFF2-40B4-BE49-F238E27FC236}">
                <a16:creationId xmlns:a16="http://schemas.microsoft.com/office/drawing/2014/main" id="{2C35841B-84F9-A010-E6A9-BBE6B3F6E6A2}"/>
              </a:ext>
            </a:extLst>
          </p:cNvPr>
          <p:cNvSpPr/>
          <p:nvPr/>
        </p:nvSpPr>
        <p:spPr>
          <a:xfrm>
            <a:off x="4522161"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39" name="Shape 2795">
            <a:extLst>
              <a:ext uri="{FF2B5EF4-FFF2-40B4-BE49-F238E27FC236}">
                <a16:creationId xmlns:a16="http://schemas.microsoft.com/office/drawing/2014/main" id="{5755070D-9149-C3EB-D98B-C7363D5368B2}"/>
              </a:ext>
            </a:extLst>
          </p:cNvPr>
          <p:cNvSpPr/>
          <p:nvPr/>
        </p:nvSpPr>
        <p:spPr>
          <a:xfrm>
            <a:off x="5322262"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0" name="Shape 2796">
            <a:extLst>
              <a:ext uri="{FF2B5EF4-FFF2-40B4-BE49-F238E27FC236}">
                <a16:creationId xmlns:a16="http://schemas.microsoft.com/office/drawing/2014/main" id="{F1C3092E-81A0-2EE3-1244-79D41E00EF01}"/>
              </a:ext>
            </a:extLst>
          </p:cNvPr>
          <p:cNvSpPr/>
          <p:nvPr/>
        </p:nvSpPr>
        <p:spPr>
          <a:xfrm>
            <a:off x="6122362"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1" name="Shape 2797">
            <a:extLst>
              <a:ext uri="{FF2B5EF4-FFF2-40B4-BE49-F238E27FC236}">
                <a16:creationId xmlns:a16="http://schemas.microsoft.com/office/drawing/2014/main" id="{594D60DD-94F8-9EF8-82DF-EDCF01B7E3F5}"/>
              </a:ext>
            </a:extLst>
          </p:cNvPr>
          <p:cNvSpPr/>
          <p:nvPr/>
        </p:nvSpPr>
        <p:spPr>
          <a:xfrm>
            <a:off x="6922461"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2" name="Shape 2798">
            <a:extLst>
              <a:ext uri="{FF2B5EF4-FFF2-40B4-BE49-F238E27FC236}">
                <a16:creationId xmlns:a16="http://schemas.microsoft.com/office/drawing/2014/main" id="{5599018D-1DAE-1C8B-395F-3DBC6EDF57E8}"/>
              </a:ext>
            </a:extLst>
          </p:cNvPr>
          <p:cNvSpPr/>
          <p:nvPr/>
        </p:nvSpPr>
        <p:spPr>
          <a:xfrm>
            <a:off x="7722561" y="5446927"/>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3" name="Shape 2799">
            <a:extLst>
              <a:ext uri="{FF2B5EF4-FFF2-40B4-BE49-F238E27FC236}">
                <a16:creationId xmlns:a16="http://schemas.microsoft.com/office/drawing/2014/main" id="{750BC1A8-CA0C-EFB4-D42A-CBCB6E7CE119}"/>
              </a:ext>
            </a:extLst>
          </p:cNvPr>
          <p:cNvSpPr/>
          <p:nvPr/>
        </p:nvSpPr>
        <p:spPr>
          <a:xfrm>
            <a:off x="8522661" y="5408833"/>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4" name="Shape 2800">
            <a:extLst>
              <a:ext uri="{FF2B5EF4-FFF2-40B4-BE49-F238E27FC236}">
                <a16:creationId xmlns:a16="http://schemas.microsoft.com/office/drawing/2014/main" id="{61068EEB-1801-F2D9-20E5-3F0C0742EEFA}"/>
              </a:ext>
            </a:extLst>
          </p:cNvPr>
          <p:cNvSpPr/>
          <p:nvPr/>
        </p:nvSpPr>
        <p:spPr>
          <a:xfrm>
            <a:off x="1321762" y="6227896"/>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5" name="Shape 2801">
            <a:extLst>
              <a:ext uri="{FF2B5EF4-FFF2-40B4-BE49-F238E27FC236}">
                <a16:creationId xmlns:a16="http://schemas.microsoft.com/office/drawing/2014/main" id="{F26881E1-9B5B-DFF4-1CA5-901438420C17}"/>
              </a:ext>
            </a:extLst>
          </p:cNvPr>
          <p:cNvSpPr/>
          <p:nvPr/>
        </p:nvSpPr>
        <p:spPr>
          <a:xfrm>
            <a:off x="2121861" y="6246943"/>
            <a:ext cx="419100" cy="228591"/>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6" name="Shape 2802">
            <a:extLst>
              <a:ext uri="{FF2B5EF4-FFF2-40B4-BE49-F238E27FC236}">
                <a16:creationId xmlns:a16="http://schemas.microsoft.com/office/drawing/2014/main" id="{CAFF25C5-2722-3F7E-AA7B-5AC3C58915B1}"/>
              </a:ext>
            </a:extLst>
          </p:cNvPr>
          <p:cNvSpPr/>
          <p:nvPr/>
        </p:nvSpPr>
        <p:spPr>
          <a:xfrm>
            <a:off x="2921961" y="6208848"/>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7" name="Shape 2803">
            <a:extLst>
              <a:ext uri="{FF2B5EF4-FFF2-40B4-BE49-F238E27FC236}">
                <a16:creationId xmlns:a16="http://schemas.microsoft.com/office/drawing/2014/main" id="{099483A1-FB4F-18ED-6A22-19083E1D7457}"/>
              </a:ext>
            </a:extLst>
          </p:cNvPr>
          <p:cNvSpPr/>
          <p:nvPr/>
        </p:nvSpPr>
        <p:spPr>
          <a:xfrm>
            <a:off x="3722061" y="6227896"/>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8" name="Shape 2804">
            <a:extLst>
              <a:ext uri="{FF2B5EF4-FFF2-40B4-BE49-F238E27FC236}">
                <a16:creationId xmlns:a16="http://schemas.microsoft.com/office/drawing/2014/main" id="{BCC457CB-C7D1-A575-F425-AF685FDB2AD8}"/>
              </a:ext>
            </a:extLst>
          </p:cNvPr>
          <p:cNvSpPr/>
          <p:nvPr/>
        </p:nvSpPr>
        <p:spPr>
          <a:xfrm>
            <a:off x="4522161" y="6246943"/>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49" name="Shape 2805">
            <a:extLst>
              <a:ext uri="{FF2B5EF4-FFF2-40B4-BE49-F238E27FC236}">
                <a16:creationId xmlns:a16="http://schemas.microsoft.com/office/drawing/2014/main" id="{6E00DE93-A8C8-C81A-E5B0-3147A1DA1686}"/>
              </a:ext>
            </a:extLst>
          </p:cNvPr>
          <p:cNvSpPr/>
          <p:nvPr/>
        </p:nvSpPr>
        <p:spPr>
          <a:xfrm>
            <a:off x="5322262" y="6208848"/>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0" name="Shape 2806">
            <a:extLst>
              <a:ext uri="{FF2B5EF4-FFF2-40B4-BE49-F238E27FC236}">
                <a16:creationId xmlns:a16="http://schemas.microsoft.com/office/drawing/2014/main" id="{81493760-3FA3-F61B-3E22-8B00A67FB385}"/>
              </a:ext>
            </a:extLst>
          </p:cNvPr>
          <p:cNvSpPr/>
          <p:nvPr/>
        </p:nvSpPr>
        <p:spPr>
          <a:xfrm>
            <a:off x="6122362" y="6227896"/>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1" name="Shape 2807">
            <a:extLst>
              <a:ext uri="{FF2B5EF4-FFF2-40B4-BE49-F238E27FC236}">
                <a16:creationId xmlns:a16="http://schemas.microsoft.com/office/drawing/2014/main" id="{EA1F43E6-192E-B612-241E-B5F1FE9CB253}"/>
              </a:ext>
            </a:extLst>
          </p:cNvPr>
          <p:cNvSpPr/>
          <p:nvPr/>
        </p:nvSpPr>
        <p:spPr>
          <a:xfrm>
            <a:off x="6922461" y="6208848"/>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2" name="Shape 2808">
            <a:extLst>
              <a:ext uri="{FF2B5EF4-FFF2-40B4-BE49-F238E27FC236}">
                <a16:creationId xmlns:a16="http://schemas.microsoft.com/office/drawing/2014/main" id="{BB338114-1CA8-CBA7-3537-07E2C7E68AF0}"/>
              </a:ext>
            </a:extLst>
          </p:cNvPr>
          <p:cNvSpPr/>
          <p:nvPr/>
        </p:nvSpPr>
        <p:spPr>
          <a:xfrm>
            <a:off x="7722561" y="615170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 name="Shape 2809">
            <a:extLst>
              <a:ext uri="{FF2B5EF4-FFF2-40B4-BE49-F238E27FC236}">
                <a16:creationId xmlns:a16="http://schemas.microsoft.com/office/drawing/2014/main" id="{A746D498-44C0-4F1F-6EF6-B5FD8B14A76D}"/>
              </a:ext>
            </a:extLst>
          </p:cNvPr>
          <p:cNvSpPr/>
          <p:nvPr/>
        </p:nvSpPr>
        <p:spPr>
          <a:xfrm>
            <a:off x="8522661" y="615170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 name="Shape 2810">
            <a:extLst>
              <a:ext uri="{FF2B5EF4-FFF2-40B4-BE49-F238E27FC236}">
                <a16:creationId xmlns:a16="http://schemas.microsoft.com/office/drawing/2014/main" id="{CCCCC3E1-6A53-FE3E-06D5-E9229761E864}"/>
              </a:ext>
            </a:extLst>
          </p:cNvPr>
          <p:cNvSpPr/>
          <p:nvPr/>
        </p:nvSpPr>
        <p:spPr>
          <a:xfrm>
            <a:off x="9346239" y="537073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 name="Shape 2811">
            <a:extLst>
              <a:ext uri="{FF2B5EF4-FFF2-40B4-BE49-F238E27FC236}">
                <a16:creationId xmlns:a16="http://schemas.microsoft.com/office/drawing/2014/main" id="{FC61B805-DE46-581B-756C-F5B4D4C04A84}"/>
              </a:ext>
            </a:extLst>
          </p:cNvPr>
          <p:cNvSpPr/>
          <p:nvPr/>
        </p:nvSpPr>
        <p:spPr>
          <a:xfrm>
            <a:off x="10146340" y="537073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 name="Shape 2812">
            <a:extLst>
              <a:ext uri="{FF2B5EF4-FFF2-40B4-BE49-F238E27FC236}">
                <a16:creationId xmlns:a16="http://schemas.microsoft.com/office/drawing/2014/main" id="{DAB7273E-86A4-80E5-C23A-F3A6782DB46E}"/>
              </a:ext>
            </a:extLst>
          </p:cNvPr>
          <p:cNvSpPr/>
          <p:nvPr/>
        </p:nvSpPr>
        <p:spPr>
          <a:xfrm>
            <a:off x="10946440" y="537073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 name="Shape 2813">
            <a:extLst>
              <a:ext uri="{FF2B5EF4-FFF2-40B4-BE49-F238E27FC236}">
                <a16:creationId xmlns:a16="http://schemas.microsoft.com/office/drawing/2014/main" id="{8160CF5C-E40A-1A8F-1F5F-700B13640085}"/>
              </a:ext>
            </a:extLst>
          </p:cNvPr>
          <p:cNvSpPr/>
          <p:nvPr/>
        </p:nvSpPr>
        <p:spPr>
          <a:xfrm>
            <a:off x="11746539" y="5399308"/>
            <a:ext cx="419100" cy="333340"/>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8" name="Shape 2814">
            <a:extLst>
              <a:ext uri="{FF2B5EF4-FFF2-40B4-BE49-F238E27FC236}">
                <a16:creationId xmlns:a16="http://schemas.microsoft.com/office/drawing/2014/main" id="{9F912201-A8DD-8947-8B7A-A118E3BC4CD8}"/>
              </a:ext>
            </a:extLst>
          </p:cNvPr>
          <p:cNvSpPr/>
          <p:nvPr/>
        </p:nvSpPr>
        <p:spPr>
          <a:xfrm>
            <a:off x="12584739" y="5351689"/>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9" name="Shape 2815">
            <a:extLst>
              <a:ext uri="{FF2B5EF4-FFF2-40B4-BE49-F238E27FC236}">
                <a16:creationId xmlns:a16="http://schemas.microsoft.com/office/drawing/2014/main" id="{016DC372-91B4-4824-E4D8-5632EDB90BF3}"/>
              </a:ext>
            </a:extLst>
          </p:cNvPr>
          <p:cNvSpPr/>
          <p:nvPr/>
        </p:nvSpPr>
        <p:spPr>
          <a:xfrm>
            <a:off x="13365789" y="5351689"/>
            <a:ext cx="381001" cy="419056"/>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0" name="Shape 2816">
            <a:extLst>
              <a:ext uri="{FF2B5EF4-FFF2-40B4-BE49-F238E27FC236}">
                <a16:creationId xmlns:a16="http://schemas.microsoft.com/office/drawing/2014/main" id="{3D33F1AD-F70B-AD97-424C-88C00F3342FC}"/>
              </a:ext>
            </a:extLst>
          </p:cNvPr>
          <p:cNvSpPr/>
          <p:nvPr/>
        </p:nvSpPr>
        <p:spPr>
          <a:xfrm>
            <a:off x="14137315" y="5351689"/>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1" name="Shape 2817">
            <a:extLst>
              <a:ext uri="{FF2B5EF4-FFF2-40B4-BE49-F238E27FC236}">
                <a16:creationId xmlns:a16="http://schemas.microsoft.com/office/drawing/2014/main" id="{97D30FD2-B04C-0EE1-59CE-5F4430B4C787}"/>
              </a:ext>
            </a:extLst>
          </p:cNvPr>
          <p:cNvSpPr/>
          <p:nvPr/>
        </p:nvSpPr>
        <p:spPr>
          <a:xfrm>
            <a:off x="14946940" y="5389784"/>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2" name="Shape 2818">
            <a:extLst>
              <a:ext uri="{FF2B5EF4-FFF2-40B4-BE49-F238E27FC236}">
                <a16:creationId xmlns:a16="http://schemas.microsoft.com/office/drawing/2014/main" id="{136EB48D-09AB-B46F-B45D-BF7E1E24DBB7}"/>
              </a:ext>
            </a:extLst>
          </p:cNvPr>
          <p:cNvSpPr/>
          <p:nvPr/>
        </p:nvSpPr>
        <p:spPr>
          <a:xfrm>
            <a:off x="15747039" y="537073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63" name="Shape 2819">
            <a:extLst>
              <a:ext uri="{FF2B5EF4-FFF2-40B4-BE49-F238E27FC236}">
                <a16:creationId xmlns:a16="http://schemas.microsoft.com/office/drawing/2014/main" id="{FA54FB86-9BA5-1629-A7A4-37ECDA559BA6}"/>
              </a:ext>
            </a:extLst>
          </p:cNvPr>
          <p:cNvSpPr/>
          <p:nvPr/>
        </p:nvSpPr>
        <p:spPr>
          <a:xfrm>
            <a:off x="16547139" y="5370736"/>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6" name="Shape 2820">
            <a:extLst>
              <a:ext uri="{FF2B5EF4-FFF2-40B4-BE49-F238E27FC236}">
                <a16:creationId xmlns:a16="http://schemas.microsoft.com/office/drawing/2014/main" id="{C1DF7040-E6AD-4673-BA0D-EF315936776A}"/>
              </a:ext>
            </a:extLst>
          </p:cNvPr>
          <p:cNvSpPr/>
          <p:nvPr/>
        </p:nvSpPr>
        <p:spPr>
          <a:xfrm>
            <a:off x="9346239" y="6170751"/>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7" name="Shape 2821">
            <a:extLst>
              <a:ext uri="{FF2B5EF4-FFF2-40B4-BE49-F238E27FC236}">
                <a16:creationId xmlns:a16="http://schemas.microsoft.com/office/drawing/2014/main" id="{D80E1851-07F9-AEB7-CFD4-1EE217095DDB}"/>
              </a:ext>
            </a:extLst>
          </p:cNvPr>
          <p:cNvSpPr/>
          <p:nvPr/>
        </p:nvSpPr>
        <p:spPr>
          <a:xfrm>
            <a:off x="10146340" y="6170751"/>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8" name="Shape 2822">
            <a:extLst>
              <a:ext uri="{FF2B5EF4-FFF2-40B4-BE49-F238E27FC236}">
                <a16:creationId xmlns:a16="http://schemas.microsoft.com/office/drawing/2014/main" id="{33DA16EC-AC39-03B6-989E-6C6B4767B27C}"/>
              </a:ext>
            </a:extLst>
          </p:cNvPr>
          <p:cNvSpPr/>
          <p:nvPr/>
        </p:nvSpPr>
        <p:spPr>
          <a:xfrm>
            <a:off x="10946440" y="6170751"/>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39" name="Shape 2823">
            <a:extLst>
              <a:ext uri="{FF2B5EF4-FFF2-40B4-BE49-F238E27FC236}">
                <a16:creationId xmlns:a16="http://schemas.microsoft.com/office/drawing/2014/main" id="{7D210D38-C2BC-A918-9CE9-BDFB7F60AD10}"/>
              </a:ext>
            </a:extLst>
          </p:cNvPr>
          <p:cNvSpPr/>
          <p:nvPr/>
        </p:nvSpPr>
        <p:spPr>
          <a:xfrm>
            <a:off x="11746539" y="6199323"/>
            <a:ext cx="419100" cy="333340"/>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0" name="Shape 2824">
            <a:extLst>
              <a:ext uri="{FF2B5EF4-FFF2-40B4-BE49-F238E27FC236}">
                <a16:creationId xmlns:a16="http://schemas.microsoft.com/office/drawing/2014/main" id="{26A69529-84B3-315F-BF62-D114B9747179}"/>
              </a:ext>
            </a:extLst>
          </p:cNvPr>
          <p:cNvSpPr/>
          <p:nvPr/>
        </p:nvSpPr>
        <p:spPr>
          <a:xfrm>
            <a:off x="12546639" y="6151703"/>
            <a:ext cx="419100" cy="418987"/>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1" name="Shape 2825">
            <a:extLst>
              <a:ext uri="{FF2B5EF4-FFF2-40B4-BE49-F238E27FC236}">
                <a16:creationId xmlns:a16="http://schemas.microsoft.com/office/drawing/2014/main" id="{D06A5530-78FE-EB60-F2BB-26B7B41A4BBA}"/>
              </a:ext>
            </a:extLst>
          </p:cNvPr>
          <p:cNvSpPr/>
          <p:nvPr/>
        </p:nvSpPr>
        <p:spPr>
          <a:xfrm>
            <a:off x="13346739" y="6208848"/>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2" name="Shape 2826">
            <a:extLst>
              <a:ext uri="{FF2B5EF4-FFF2-40B4-BE49-F238E27FC236}">
                <a16:creationId xmlns:a16="http://schemas.microsoft.com/office/drawing/2014/main" id="{89BF2F52-723E-EC9E-AF53-1A87E5F1D0B4}"/>
              </a:ext>
            </a:extLst>
          </p:cNvPr>
          <p:cNvSpPr/>
          <p:nvPr/>
        </p:nvSpPr>
        <p:spPr>
          <a:xfrm>
            <a:off x="14146840" y="6189799"/>
            <a:ext cx="419100" cy="343200"/>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3" name="Shape 2827">
            <a:extLst>
              <a:ext uri="{FF2B5EF4-FFF2-40B4-BE49-F238E27FC236}">
                <a16:creationId xmlns:a16="http://schemas.microsoft.com/office/drawing/2014/main" id="{FE7B7FDB-7B86-3BEF-BA9E-6D05BFA1E345}"/>
              </a:ext>
            </a:extLst>
          </p:cNvPr>
          <p:cNvSpPr/>
          <p:nvPr/>
        </p:nvSpPr>
        <p:spPr>
          <a:xfrm>
            <a:off x="15004089" y="6151704"/>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4" name="Shape 2828">
            <a:extLst>
              <a:ext uri="{FF2B5EF4-FFF2-40B4-BE49-F238E27FC236}">
                <a16:creationId xmlns:a16="http://schemas.microsoft.com/office/drawing/2014/main" id="{AD3A87C4-E323-9F74-98C9-7443203E9352}"/>
              </a:ext>
            </a:extLst>
          </p:cNvPr>
          <p:cNvSpPr/>
          <p:nvPr/>
        </p:nvSpPr>
        <p:spPr>
          <a:xfrm>
            <a:off x="15785138" y="6151704"/>
            <a:ext cx="342901" cy="419056"/>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5" name="Shape 2829">
            <a:extLst>
              <a:ext uri="{FF2B5EF4-FFF2-40B4-BE49-F238E27FC236}">
                <a16:creationId xmlns:a16="http://schemas.microsoft.com/office/drawing/2014/main" id="{A9C0E46D-E008-49CA-A72D-19DD5B5FFE68}"/>
              </a:ext>
            </a:extLst>
          </p:cNvPr>
          <p:cNvSpPr/>
          <p:nvPr/>
        </p:nvSpPr>
        <p:spPr>
          <a:xfrm>
            <a:off x="16547139" y="6151704"/>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6" name="Shape 2893">
            <a:extLst>
              <a:ext uri="{FF2B5EF4-FFF2-40B4-BE49-F238E27FC236}">
                <a16:creationId xmlns:a16="http://schemas.microsoft.com/office/drawing/2014/main" id="{21D4E324-22FC-DF32-4E02-DE36B9ECCB93}"/>
              </a:ext>
            </a:extLst>
          </p:cNvPr>
          <p:cNvSpPr/>
          <p:nvPr/>
        </p:nvSpPr>
        <p:spPr>
          <a:xfrm>
            <a:off x="1321762" y="165313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7" name="Shape 2894">
            <a:extLst>
              <a:ext uri="{FF2B5EF4-FFF2-40B4-BE49-F238E27FC236}">
                <a16:creationId xmlns:a16="http://schemas.microsoft.com/office/drawing/2014/main" id="{1A2FBDBB-C0D5-E0C7-17B4-1E670E1BBEFE}"/>
              </a:ext>
            </a:extLst>
          </p:cNvPr>
          <p:cNvSpPr/>
          <p:nvPr/>
        </p:nvSpPr>
        <p:spPr>
          <a:xfrm>
            <a:off x="2121861" y="165313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8" name="Shape 2895">
            <a:extLst>
              <a:ext uri="{FF2B5EF4-FFF2-40B4-BE49-F238E27FC236}">
                <a16:creationId xmlns:a16="http://schemas.microsoft.com/office/drawing/2014/main" id="{2BD05F3B-E9FC-6744-FC67-03C1F25F60E6}"/>
              </a:ext>
            </a:extLst>
          </p:cNvPr>
          <p:cNvSpPr/>
          <p:nvPr/>
        </p:nvSpPr>
        <p:spPr>
          <a:xfrm>
            <a:off x="3026736" y="1653136"/>
            <a:ext cx="209551"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49" name="Shape 2896">
            <a:extLst>
              <a:ext uri="{FF2B5EF4-FFF2-40B4-BE49-F238E27FC236}">
                <a16:creationId xmlns:a16="http://schemas.microsoft.com/office/drawing/2014/main" id="{68DF1A4F-138A-CE3A-A3A3-F9A89F0568D0}"/>
              </a:ext>
            </a:extLst>
          </p:cNvPr>
          <p:cNvSpPr/>
          <p:nvPr/>
        </p:nvSpPr>
        <p:spPr>
          <a:xfrm>
            <a:off x="3826836" y="1653136"/>
            <a:ext cx="209551" cy="419056"/>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0" name="Shape 2897">
            <a:extLst>
              <a:ext uri="{FF2B5EF4-FFF2-40B4-BE49-F238E27FC236}">
                <a16:creationId xmlns:a16="http://schemas.microsoft.com/office/drawing/2014/main" id="{0419E248-5629-A999-D382-5B235B5F77C0}"/>
              </a:ext>
            </a:extLst>
          </p:cNvPr>
          <p:cNvSpPr/>
          <p:nvPr/>
        </p:nvSpPr>
        <p:spPr>
          <a:xfrm>
            <a:off x="4522161" y="1757899"/>
            <a:ext cx="419100" cy="209528"/>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1" name="Shape 2898">
            <a:extLst>
              <a:ext uri="{FF2B5EF4-FFF2-40B4-BE49-F238E27FC236}">
                <a16:creationId xmlns:a16="http://schemas.microsoft.com/office/drawing/2014/main" id="{44DA0FE9-3780-7F1D-029A-2BCEC66C8A37}"/>
              </a:ext>
            </a:extLst>
          </p:cNvPr>
          <p:cNvSpPr/>
          <p:nvPr/>
        </p:nvSpPr>
        <p:spPr>
          <a:xfrm>
            <a:off x="5322262" y="1757899"/>
            <a:ext cx="419100" cy="209528"/>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2" name="Shape 2899">
            <a:extLst>
              <a:ext uri="{FF2B5EF4-FFF2-40B4-BE49-F238E27FC236}">
                <a16:creationId xmlns:a16="http://schemas.microsoft.com/office/drawing/2014/main" id="{12F10E04-EB38-65CF-2B0B-89A93E2B8EF2}"/>
              </a:ext>
            </a:extLst>
          </p:cNvPr>
          <p:cNvSpPr/>
          <p:nvPr/>
        </p:nvSpPr>
        <p:spPr>
          <a:xfrm>
            <a:off x="6141411" y="1767424"/>
            <a:ext cx="381001" cy="190481"/>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3" name="Shape 2900">
            <a:extLst>
              <a:ext uri="{FF2B5EF4-FFF2-40B4-BE49-F238E27FC236}">
                <a16:creationId xmlns:a16="http://schemas.microsoft.com/office/drawing/2014/main" id="{3740E1E5-0A3B-436F-0546-1CAF773AECF9}"/>
              </a:ext>
            </a:extLst>
          </p:cNvPr>
          <p:cNvSpPr/>
          <p:nvPr/>
        </p:nvSpPr>
        <p:spPr>
          <a:xfrm>
            <a:off x="6941511" y="1767424"/>
            <a:ext cx="381001" cy="190481"/>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4" name="Shape 2901">
            <a:extLst>
              <a:ext uri="{FF2B5EF4-FFF2-40B4-BE49-F238E27FC236}">
                <a16:creationId xmlns:a16="http://schemas.microsoft.com/office/drawing/2014/main" id="{F0892635-C6B2-6F16-4DE6-21C905C79EF0}"/>
              </a:ext>
            </a:extLst>
          </p:cNvPr>
          <p:cNvSpPr/>
          <p:nvPr/>
        </p:nvSpPr>
        <p:spPr>
          <a:xfrm>
            <a:off x="7836861" y="1672184"/>
            <a:ext cx="190501" cy="380961"/>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5" name="Shape 2902">
            <a:extLst>
              <a:ext uri="{FF2B5EF4-FFF2-40B4-BE49-F238E27FC236}">
                <a16:creationId xmlns:a16="http://schemas.microsoft.com/office/drawing/2014/main" id="{67AAC36A-3BA6-FE82-7B79-2A30E5644C9E}"/>
              </a:ext>
            </a:extLst>
          </p:cNvPr>
          <p:cNvSpPr/>
          <p:nvPr/>
        </p:nvSpPr>
        <p:spPr>
          <a:xfrm>
            <a:off x="8636961" y="1672184"/>
            <a:ext cx="190501" cy="380961"/>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6" name="Shape 2903">
            <a:extLst>
              <a:ext uri="{FF2B5EF4-FFF2-40B4-BE49-F238E27FC236}">
                <a16:creationId xmlns:a16="http://schemas.microsoft.com/office/drawing/2014/main" id="{7F57416F-E060-8C86-2173-906FE566C201}"/>
              </a:ext>
            </a:extLst>
          </p:cNvPr>
          <p:cNvSpPr/>
          <p:nvPr/>
        </p:nvSpPr>
        <p:spPr>
          <a:xfrm>
            <a:off x="1321762"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7" name="Shape 2904">
            <a:extLst>
              <a:ext uri="{FF2B5EF4-FFF2-40B4-BE49-F238E27FC236}">
                <a16:creationId xmlns:a16="http://schemas.microsoft.com/office/drawing/2014/main" id="{3911CA13-120A-1C60-DE44-C9472BC54F75}"/>
              </a:ext>
            </a:extLst>
          </p:cNvPr>
          <p:cNvSpPr/>
          <p:nvPr/>
        </p:nvSpPr>
        <p:spPr>
          <a:xfrm>
            <a:off x="21218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8" name="Shape 2905">
            <a:extLst>
              <a:ext uri="{FF2B5EF4-FFF2-40B4-BE49-F238E27FC236}">
                <a16:creationId xmlns:a16="http://schemas.microsoft.com/office/drawing/2014/main" id="{20A9F2E7-7273-712F-077B-B6631B4C6AB4}"/>
              </a:ext>
            </a:extLst>
          </p:cNvPr>
          <p:cNvSpPr/>
          <p:nvPr/>
        </p:nvSpPr>
        <p:spPr>
          <a:xfrm>
            <a:off x="29219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59" name="Shape 2906">
            <a:extLst>
              <a:ext uri="{FF2B5EF4-FFF2-40B4-BE49-F238E27FC236}">
                <a16:creationId xmlns:a16="http://schemas.microsoft.com/office/drawing/2014/main" id="{633AA05F-B3D1-7FB6-5F5E-B63F56B6EF51}"/>
              </a:ext>
            </a:extLst>
          </p:cNvPr>
          <p:cNvSpPr/>
          <p:nvPr/>
        </p:nvSpPr>
        <p:spPr>
          <a:xfrm>
            <a:off x="37220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0" name="Shape 2907">
            <a:extLst>
              <a:ext uri="{FF2B5EF4-FFF2-40B4-BE49-F238E27FC236}">
                <a16:creationId xmlns:a16="http://schemas.microsoft.com/office/drawing/2014/main" id="{2A4FE673-50E3-BB0F-F1BA-336AD0F87FCA}"/>
              </a:ext>
            </a:extLst>
          </p:cNvPr>
          <p:cNvSpPr/>
          <p:nvPr/>
        </p:nvSpPr>
        <p:spPr>
          <a:xfrm>
            <a:off x="45221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1" name="Shape 2908">
            <a:extLst>
              <a:ext uri="{FF2B5EF4-FFF2-40B4-BE49-F238E27FC236}">
                <a16:creationId xmlns:a16="http://schemas.microsoft.com/office/drawing/2014/main" id="{9C232035-EA9F-274E-4D9F-B61212138549}"/>
              </a:ext>
            </a:extLst>
          </p:cNvPr>
          <p:cNvSpPr/>
          <p:nvPr/>
        </p:nvSpPr>
        <p:spPr>
          <a:xfrm>
            <a:off x="5322262" y="2548390"/>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2" name="Shape 2909">
            <a:extLst>
              <a:ext uri="{FF2B5EF4-FFF2-40B4-BE49-F238E27FC236}">
                <a16:creationId xmlns:a16="http://schemas.microsoft.com/office/drawing/2014/main" id="{356804CA-33EA-B2EE-A2B4-724B86B4332C}"/>
              </a:ext>
            </a:extLst>
          </p:cNvPr>
          <p:cNvSpPr/>
          <p:nvPr/>
        </p:nvSpPr>
        <p:spPr>
          <a:xfrm>
            <a:off x="6122362" y="2548390"/>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3" name="Shape 2910">
            <a:extLst>
              <a:ext uri="{FF2B5EF4-FFF2-40B4-BE49-F238E27FC236}">
                <a16:creationId xmlns:a16="http://schemas.microsoft.com/office/drawing/2014/main" id="{654DA06D-25BD-2FCE-DE52-84D3893D0E6D}"/>
              </a:ext>
            </a:extLst>
          </p:cNvPr>
          <p:cNvSpPr/>
          <p:nvPr/>
        </p:nvSpPr>
        <p:spPr>
          <a:xfrm>
            <a:off x="7017710" y="2453151"/>
            <a:ext cx="228601" cy="419056"/>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4" name="Shape 2911">
            <a:extLst>
              <a:ext uri="{FF2B5EF4-FFF2-40B4-BE49-F238E27FC236}">
                <a16:creationId xmlns:a16="http://schemas.microsoft.com/office/drawing/2014/main" id="{43BD1DA8-4D12-848A-C629-C4A468F592BA}"/>
              </a:ext>
            </a:extLst>
          </p:cNvPr>
          <p:cNvSpPr/>
          <p:nvPr/>
        </p:nvSpPr>
        <p:spPr>
          <a:xfrm>
            <a:off x="7817811" y="2453151"/>
            <a:ext cx="228601" cy="419056"/>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5" name="Shape 2912">
            <a:extLst>
              <a:ext uri="{FF2B5EF4-FFF2-40B4-BE49-F238E27FC236}">
                <a16:creationId xmlns:a16="http://schemas.microsoft.com/office/drawing/2014/main" id="{AAE79E31-7440-0276-9C7F-8338E9C8D1F7}"/>
              </a:ext>
            </a:extLst>
          </p:cNvPr>
          <p:cNvSpPr/>
          <p:nvPr/>
        </p:nvSpPr>
        <p:spPr>
          <a:xfrm>
            <a:off x="85226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6" name="Shape 2913">
            <a:extLst>
              <a:ext uri="{FF2B5EF4-FFF2-40B4-BE49-F238E27FC236}">
                <a16:creationId xmlns:a16="http://schemas.microsoft.com/office/drawing/2014/main" id="{B5584272-25E9-2790-B4C9-A54B03EFE665}"/>
              </a:ext>
            </a:extLst>
          </p:cNvPr>
          <p:cNvSpPr/>
          <p:nvPr/>
        </p:nvSpPr>
        <p:spPr>
          <a:xfrm>
            <a:off x="9322762" y="165313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7" name="Shape 2914">
            <a:extLst>
              <a:ext uri="{FF2B5EF4-FFF2-40B4-BE49-F238E27FC236}">
                <a16:creationId xmlns:a16="http://schemas.microsoft.com/office/drawing/2014/main" id="{24C04AF5-74EA-B5AF-74EB-0ED4499CEA07}"/>
              </a:ext>
            </a:extLst>
          </p:cNvPr>
          <p:cNvSpPr/>
          <p:nvPr/>
        </p:nvSpPr>
        <p:spPr>
          <a:xfrm>
            <a:off x="10122862" y="165313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8" name="Shape 2915">
            <a:extLst>
              <a:ext uri="{FF2B5EF4-FFF2-40B4-BE49-F238E27FC236}">
                <a16:creationId xmlns:a16="http://schemas.microsoft.com/office/drawing/2014/main" id="{FD0269DA-BAA1-3CEF-7688-2D227C234E88}"/>
              </a:ext>
            </a:extLst>
          </p:cNvPr>
          <p:cNvSpPr/>
          <p:nvPr/>
        </p:nvSpPr>
        <p:spPr>
          <a:xfrm>
            <a:off x="10922961" y="165313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69" name="Shape 2916">
            <a:extLst>
              <a:ext uri="{FF2B5EF4-FFF2-40B4-BE49-F238E27FC236}">
                <a16:creationId xmlns:a16="http://schemas.microsoft.com/office/drawing/2014/main" id="{1720EF3B-8FA4-18F5-247A-CD87B156A5DB}"/>
              </a:ext>
            </a:extLst>
          </p:cNvPr>
          <p:cNvSpPr/>
          <p:nvPr/>
        </p:nvSpPr>
        <p:spPr>
          <a:xfrm>
            <a:off x="11723061" y="1653136"/>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0" name="Shape 2917">
            <a:extLst>
              <a:ext uri="{FF2B5EF4-FFF2-40B4-BE49-F238E27FC236}">
                <a16:creationId xmlns:a16="http://schemas.microsoft.com/office/drawing/2014/main" id="{D0C7A15D-FDA3-2A9D-E5A1-107F1434B7BF}"/>
              </a:ext>
            </a:extLst>
          </p:cNvPr>
          <p:cNvSpPr/>
          <p:nvPr/>
        </p:nvSpPr>
        <p:spPr>
          <a:xfrm>
            <a:off x="12589836" y="1653136"/>
            <a:ext cx="28575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1" name="Shape 2918">
            <a:extLst>
              <a:ext uri="{FF2B5EF4-FFF2-40B4-BE49-F238E27FC236}">
                <a16:creationId xmlns:a16="http://schemas.microsoft.com/office/drawing/2014/main" id="{BF821D7D-58DA-5D3B-8847-DE88523D1B42}"/>
              </a:ext>
            </a:extLst>
          </p:cNvPr>
          <p:cNvSpPr/>
          <p:nvPr/>
        </p:nvSpPr>
        <p:spPr>
          <a:xfrm>
            <a:off x="13389936" y="1653136"/>
            <a:ext cx="285751" cy="419056"/>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2" name="Shape 2919">
            <a:extLst>
              <a:ext uri="{FF2B5EF4-FFF2-40B4-BE49-F238E27FC236}">
                <a16:creationId xmlns:a16="http://schemas.microsoft.com/office/drawing/2014/main" id="{2703B0BA-96C5-C958-AECC-520B58D0F52F}"/>
              </a:ext>
            </a:extLst>
          </p:cNvPr>
          <p:cNvSpPr/>
          <p:nvPr/>
        </p:nvSpPr>
        <p:spPr>
          <a:xfrm>
            <a:off x="14123362" y="1719803"/>
            <a:ext cx="419100" cy="285721"/>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3" name="Shape 2920">
            <a:extLst>
              <a:ext uri="{FF2B5EF4-FFF2-40B4-BE49-F238E27FC236}">
                <a16:creationId xmlns:a16="http://schemas.microsoft.com/office/drawing/2014/main" id="{30525E1E-033A-2CB4-1EB4-ABD407A6DD05}"/>
              </a:ext>
            </a:extLst>
          </p:cNvPr>
          <p:cNvSpPr/>
          <p:nvPr/>
        </p:nvSpPr>
        <p:spPr>
          <a:xfrm>
            <a:off x="14923461" y="1719803"/>
            <a:ext cx="419100" cy="285721"/>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4" name="Shape 2921">
            <a:extLst>
              <a:ext uri="{FF2B5EF4-FFF2-40B4-BE49-F238E27FC236}">
                <a16:creationId xmlns:a16="http://schemas.microsoft.com/office/drawing/2014/main" id="{074D1E85-031D-D68A-6948-81AAE9F0606B}"/>
              </a:ext>
            </a:extLst>
          </p:cNvPr>
          <p:cNvSpPr/>
          <p:nvPr/>
        </p:nvSpPr>
        <p:spPr>
          <a:xfrm>
            <a:off x="15780711" y="1653136"/>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575" name="Shape 2922">
            <a:extLst>
              <a:ext uri="{FF2B5EF4-FFF2-40B4-BE49-F238E27FC236}">
                <a16:creationId xmlns:a16="http://schemas.microsoft.com/office/drawing/2014/main" id="{038A8B2F-50E9-83A6-1196-797E577AA04D}"/>
              </a:ext>
            </a:extLst>
          </p:cNvPr>
          <p:cNvSpPr/>
          <p:nvPr/>
        </p:nvSpPr>
        <p:spPr>
          <a:xfrm>
            <a:off x="16523661" y="1710280"/>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28" name="Shape 2923">
            <a:extLst>
              <a:ext uri="{FF2B5EF4-FFF2-40B4-BE49-F238E27FC236}">
                <a16:creationId xmlns:a16="http://schemas.microsoft.com/office/drawing/2014/main" id="{DED2F85F-CADD-D149-58BF-D11325B2BB9C}"/>
              </a:ext>
            </a:extLst>
          </p:cNvPr>
          <p:cNvSpPr/>
          <p:nvPr/>
        </p:nvSpPr>
        <p:spPr>
          <a:xfrm>
            <a:off x="9322762"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29" name="Shape 2924">
            <a:extLst>
              <a:ext uri="{FF2B5EF4-FFF2-40B4-BE49-F238E27FC236}">
                <a16:creationId xmlns:a16="http://schemas.microsoft.com/office/drawing/2014/main" id="{D1DABEEC-E1F8-9373-7B8E-553D9120EE38}"/>
              </a:ext>
            </a:extLst>
          </p:cNvPr>
          <p:cNvSpPr/>
          <p:nvPr/>
        </p:nvSpPr>
        <p:spPr>
          <a:xfrm>
            <a:off x="10122862"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0" name="Shape 2925">
            <a:extLst>
              <a:ext uri="{FF2B5EF4-FFF2-40B4-BE49-F238E27FC236}">
                <a16:creationId xmlns:a16="http://schemas.microsoft.com/office/drawing/2014/main" id="{584E88F5-FCDA-1EC8-54E6-E44905E0FBA8}"/>
              </a:ext>
            </a:extLst>
          </p:cNvPr>
          <p:cNvSpPr/>
          <p:nvPr/>
        </p:nvSpPr>
        <p:spPr>
          <a:xfrm>
            <a:off x="109229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1" name="Shape 2926">
            <a:extLst>
              <a:ext uri="{FF2B5EF4-FFF2-40B4-BE49-F238E27FC236}">
                <a16:creationId xmlns:a16="http://schemas.microsoft.com/office/drawing/2014/main" id="{64E5C482-7CCB-381F-08C1-77EC98BBA6B3}"/>
              </a:ext>
            </a:extLst>
          </p:cNvPr>
          <p:cNvSpPr/>
          <p:nvPr/>
        </p:nvSpPr>
        <p:spPr>
          <a:xfrm>
            <a:off x="117230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6" name="Shape 2927">
            <a:extLst>
              <a:ext uri="{FF2B5EF4-FFF2-40B4-BE49-F238E27FC236}">
                <a16:creationId xmlns:a16="http://schemas.microsoft.com/office/drawing/2014/main" id="{BB73F56B-F1F6-AF5C-C688-9D5FBC5742AB}"/>
              </a:ext>
            </a:extLst>
          </p:cNvPr>
          <p:cNvSpPr/>
          <p:nvPr/>
        </p:nvSpPr>
        <p:spPr>
          <a:xfrm>
            <a:off x="125231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8" name="Shape 2928">
            <a:extLst>
              <a:ext uri="{FF2B5EF4-FFF2-40B4-BE49-F238E27FC236}">
                <a16:creationId xmlns:a16="http://schemas.microsoft.com/office/drawing/2014/main" id="{BEF244EF-54FE-385D-C1CF-22168407D042}"/>
              </a:ext>
            </a:extLst>
          </p:cNvPr>
          <p:cNvSpPr/>
          <p:nvPr/>
        </p:nvSpPr>
        <p:spPr>
          <a:xfrm>
            <a:off x="13323261"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39" name="Shape 2929">
            <a:extLst>
              <a:ext uri="{FF2B5EF4-FFF2-40B4-BE49-F238E27FC236}">
                <a16:creationId xmlns:a16="http://schemas.microsoft.com/office/drawing/2014/main" id="{190780AB-B974-402A-7ED7-7F3CE3C2FCEF}"/>
              </a:ext>
            </a:extLst>
          </p:cNvPr>
          <p:cNvSpPr/>
          <p:nvPr/>
        </p:nvSpPr>
        <p:spPr>
          <a:xfrm>
            <a:off x="14123362" y="2453151"/>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0" name="Shape 2930">
            <a:extLst>
              <a:ext uri="{FF2B5EF4-FFF2-40B4-BE49-F238E27FC236}">
                <a16:creationId xmlns:a16="http://schemas.microsoft.com/office/drawing/2014/main" id="{83D50619-952A-3928-D232-701976E4F6D3}"/>
              </a:ext>
            </a:extLst>
          </p:cNvPr>
          <p:cNvSpPr/>
          <p:nvPr/>
        </p:nvSpPr>
        <p:spPr>
          <a:xfrm>
            <a:off x="14923461" y="2529342"/>
            <a:ext cx="419100" cy="266672"/>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1" name="Shape 2931">
            <a:extLst>
              <a:ext uri="{FF2B5EF4-FFF2-40B4-BE49-F238E27FC236}">
                <a16:creationId xmlns:a16="http://schemas.microsoft.com/office/drawing/2014/main" id="{969F5DAE-1991-DA3E-2327-D28E7C5AF7EC}"/>
              </a:ext>
            </a:extLst>
          </p:cNvPr>
          <p:cNvSpPr/>
          <p:nvPr/>
        </p:nvSpPr>
        <p:spPr>
          <a:xfrm>
            <a:off x="15723561" y="2510295"/>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2" name="Shape 2932">
            <a:extLst>
              <a:ext uri="{FF2B5EF4-FFF2-40B4-BE49-F238E27FC236}">
                <a16:creationId xmlns:a16="http://schemas.microsoft.com/office/drawing/2014/main" id="{ED016266-8BDC-0015-B2E7-5DEE9BD64382}"/>
              </a:ext>
            </a:extLst>
          </p:cNvPr>
          <p:cNvSpPr/>
          <p:nvPr/>
        </p:nvSpPr>
        <p:spPr>
          <a:xfrm>
            <a:off x="16523661" y="2491246"/>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3" name="Shape 2955">
            <a:extLst>
              <a:ext uri="{FF2B5EF4-FFF2-40B4-BE49-F238E27FC236}">
                <a16:creationId xmlns:a16="http://schemas.microsoft.com/office/drawing/2014/main" id="{80F9322B-D5A1-F7E0-F81C-1DBAB2EE07BE}"/>
              </a:ext>
            </a:extLst>
          </p:cNvPr>
          <p:cNvSpPr/>
          <p:nvPr/>
        </p:nvSpPr>
        <p:spPr>
          <a:xfrm>
            <a:off x="1321762" y="370081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4" name="Shape 2956">
            <a:extLst>
              <a:ext uri="{FF2B5EF4-FFF2-40B4-BE49-F238E27FC236}">
                <a16:creationId xmlns:a16="http://schemas.microsoft.com/office/drawing/2014/main" id="{816CC738-72EE-8362-1F7D-02D201BDDB83}"/>
              </a:ext>
            </a:extLst>
          </p:cNvPr>
          <p:cNvSpPr/>
          <p:nvPr/>
        </p:nvSpPr>
        <p:spPr>
          <a:xfrm>
            <a:off x="2121861" y="370081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5" name="Shape 2957">
            <a:extLst>
              <a:ext uri="{FF2B5EF4-FFF2-40B4-BE49-F238E27FC236}">
                <a16:creationId xmlns:a16="http://schemas.microsoft.com/office/drawing/2014/main" id="{928B64C2-89EA-23E8-5198-18053C563FA9}"/>
              </a:ext>
            </a:extLst>
          </p:cNvPr>
          <p:cNvSpPr/>
          <p:nvPr/>
        </p:nvSpPr>
        <p:spPr>
          <a:xfrm>
            <a:off x="2921961" y="370081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6" name="Shape 2958">
            <a:extLst>
              <a:ext uri="{FF2B5EF4-FFF2-40B4-BE49-F238E27FC236}">
                <a16:creationId xmlns:a16="http://schemas.microsoft.com/office/drawing/2014/main" id="{A0F0D183-2C09-B577-3130-AA392A247CB0}"/>
              </a:ext>
            </a:extLst>
          </p:cNvPr>
          <p:cNvSpPr/>
          <p:nvPr/>
        </p:nvSpPr>
        <p:spPr>
          <a:xfrm>
            <a:off x="3722061" y="370081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7" name="Shape 2959">
            <a:extLst>
              <a:ext uri="{FF2B5EF4-FFF2-40B4-BE49-F238E27FC236}">
                <a16:creationId xmlns:a16="http://schemas.microsoft.com/office/drawing/2014/main" id="{58FB710D-F0C7-FFE1-B0CE-AEA51B7F2C0E}"/>
              </a:ext>
            </a:extLst>
          </p:cNvPr>
          <p:cNvSpPr/>
          <p:nvPr/>
        </p:nvSpPr>
        <p:spPr>
          <a:xfrm>
            <a:off x="4522161" y="370081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8" name="Shape 2960">
            <a:extLst>
              <a:ext uri="{FF2B5EF4-FFF2-40B4-BE49-F238E27FC236}">
                <a16:creationId xmlns:a16="http://schemas.microsoft.com/office/drawing/2014/main" id="{DCF249B6-0047-445C-CD06-F7FB147D19BF}"/>
              </a:ext>
            </a:extLst>
          </p:cNvPr>
          <p:cNvSpPr/>
          <p:nvPr/>
        </p:nvSpPr>
        <p:spPr>
          <a:xfrm>
            <a:off x="5322260" y="3757959"/>
            <a:ext cx="419152" cy="304768"/>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49" name="Shape 2961">
            <a:extLst>
              <a:ext uri="{FF2B5EF4-FFF2-40B4-BE49-F238E27FC236}">
                <a16:creationId xmlns:a16="http://schemas.microsoft.com/office/drawing/2014/main" id="{AB3C71A9-DB6E-A73A-F27B-7A6880FC5F97}"/>
              </a:ext>
            </a:extLst>
          </p:cNvPr>
          <p:cNvSpPr/>
          <p:nvPr/>
        </p:nvSpPr>
        <p:spPr>
          <a:xfrm>
            <a:off x="6179511" y="3700815"/>
            <a:ext cx="3048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5" name="Shape 2962">
            <a:extLst>
              <a:ext uri="{FF2B5EF4-FFF2-40B4-BE49-F238E27FC236}">
                <a16:creationId xmlns:a16="http://schemas.microsoft.com/office/drawing/2014/main" id="{6E169F89-FF2A-4148-6FFD-0203E8BB1E68}"/>
              </a:ext>
            </a:extLst>
          </p:cNvPr>
          <p:cNvSpPr/>
          <p:nvPr/>
        </p:nvSpPr>
        <p:spPr>
          <a:xfrm>
            <a:off x="6922461" y="3700815"/>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6" name="Shape 2963">
            <a:extLst>
              <a:ext uri="{FF2B5EF4-FFF2-40B4-BE49-F238E27FC236}">
                <a16:creationId xmlns:a16="http://schemas.microsoft.com/office/drawing/2014/main" id="{7B8B4F00-E6FA-A3F2-92B2-AE5155F651DF}"/>
              </a:ext>
            </a:extLst>
          </p:cNvPr>
          <p:cNvSpPr/>
          <p:nvPr/>
        </p:nvSpPr>
        <p:spPr>
          <a:xfrm>
            <a:off x="7722561" y="3796054"/>
            <a:ext cx="419100" cy="228577"/>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7" name="Shape 2964">
            <a:extLst>
              <a:ext uri="{FF2B5EF4-FFF2-40B4-BE49-F238E27FC236}">
                <a16:creationId xmlns:a16="http://schemas.microsoft.com/office/drawing/2014/main" id="{F8F7FB22-3482-3398-6068-EB43CD48C19B}"/>
              </a:ext>
            </a:extLst>
          </p:cNvPr>
          <p:cNvSpPr/>
          <p:nvPr/>
        </p:nvSpPr>
        <p:spPr>
          <a:xfrm>
            <a:off x="8522661" y="3757959"/>
            <a:ext cx="419100" cy="304768"/>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8" name="Shape 2965">
            <a:extLst>
              <a:ext uri="{FF2B5EF4-FFF2-40B4-BE49-F238E27FC236}">
                <a16:creationId xmlns:a16="http://schemas.microsoft.com/office/drawing/2014/main" id="{71FE2F78-1000-0E1E-478E-BC22727588A1}"/>
              </a:ext>
            </a:extLst>
          </p:cNvPr>
          <p:cNvSpPr/>
          <p:nvPr/>
        </p:nvSpPr>
        <p:spPr>
          <a:xfrm>
            <a:off x="1321762" y="4596070"/>
            <a:ext cx="419100" cy="247624"/>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59" name="Shape 2966">
            <a:extLst>
              <a:ext uri="{FF2B5EF4-FFF2-40B4-BE49-F238E27FC236}">
                <a16:creationId xmlns:a16="http://schemas.microsoft.com/office/drawing/2014/main" id="{D2982A84-1CD9-FA52-D6D7-F95991467CEE}"/>
              </a:ext>
            </a:extLst>
          </p:cNvPr>
          <p:cNvSpPr/>
          <p:nvPr/>
        </p:nvSpPr>
        <p:spPr>
          <a:xfrm>
            <a:off x="2121861" y="4538926"/>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0" name="Shape 2967">
            <a:extLst>
              <a:ext uri="{FF2B5EF4-FFF2-40B4-BE49-F238E27FC236}">
                <a16:creationId xmlns:a16="http://schemas.microsoft.com/office/drawing/2014/main" id="{977F46C1-340E-5418-24A2-33084F25628A}"/>
              </a:ext>
            </a:extLst>
          </p:cNvPr>
          <p:cNvSpPr/>
          <p:nvPr/>
        </p:nvSpPr>
        <p:spPr>
          <a:xfrm>
            <a:off x="2921961" y="4519877"/>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1" name="Shape 2968">
            <a:extLst>
              <a:ext uri="{FF2B5EF4-FFF2-40B4-BE49-F238E27FC236}">
                <a16:creationId xmlns:a16="http://schemas.microsoft.com/office/drawing/2014/main" id="{6760B3A5-4043-05DD-3969-476041AA22E0}"/>
              </a:ext>
            </a:extLst>
          </p:cNvPr>
          <p:cNvSpPr/>
          <p:nvPr/>
        </p:nvSpPr>
        <p:spPr>
          <a:xfrm>
            <a:off x="3722061" y="4538926"/>
            <a:ext cx="419100" cy="342864"/>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2" name="Shape 2969">
            <a:extLst>
              <a:ext uri="{FF2B5EF4-FFF2-40B4-BE49-F238E27FC236}">
                <a16:creationId xmlns:a16="http://schemas.microsoft.com/office/drawing/2014/main" id="{EC8337A1-484B-E8CB-3085-52C5EB6A8A4F}"/>
              </a:ext>
            </a:extLst>
          </p:cNvPr>
          <p:cNvSpPr/>
          <p:nvPr/>
        </p:nvSpPr>
        <p:spPr>
          <a:xfrm>
            <a:off x="4522161" y="4519877"/>
            <a:ext cx="419100" cy="380961"/>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3" name="Shape 2970">
            <a:extLst>
              <a:ext uri="{FF2B5EF4-FFF2-40B4-BE49-F238E27FC236}">
                <a16:creationId xmlns:a16="http://schemas.microsoft.com/office/drawing/2014/main" id="{B784A004-1359-07D0-620B-3E210805B751}"/>
              </a:ext>
            </a:extLst>
          </p:cNvPr>
          <p:cNvSpPr/>
          <p:nvPr/>
        </p:nvSpPr>
        <p:spPr>
          <a:xfrm>
            <a:off x="5322262" y="4500830"/>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4" name="Shape 2971">
            <a:extLst>
              <a:ext uri="{FF2B5EF4-FFF2-40B4-BE49-F238E27FC236}">
                <a16:creationId xmlns:a16="http://schemas.microsoft.com/office/drawing/2014/main" id="{A09F63E2-FD2B-96F5-DD66-B1473082075C}"/>
              </a:ext>
            </a:extLst>
          </p:cNvPr>
          <p:cNvSpPr/>
          <p:nvPr/>
        </p:nvSpPr>
        <p:spPr>
          <a:xfrm>
            <a:off x="6122362" y="4500830"/>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5" name="Shape 2972">
            <a:extLst>
              <a:ext uri="{FF2B5EF4-FFF2-40B4-BE49-F238E27FC236}">
                <a16:creationId xmlns:a16="http://schemas.microsoft.com/office/drawing/2014/main" id="{86936564-97A3-419C-D3F5-D5FDD21A1980}"/>
              </a:ext>
            </a:extLst>
          </p:cNvPr>
          <p:cNvSpPr/>
          <p:nvPr/>
        </p:nvSpPr>
        <p:spPr>
          <a:xfrm>
            <a:off x="6922461" y="4500830"/>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6" name="Shape 2973">
            <a:extLst>
              <a:ext uri="{FF2B5EF4-FFF2-40B4-BE49-F238E27FC236}">
                <a16:creationId xmlns:a16="http://schemas.microsoft.com/office/drawing/2014/main" id="{0D9F956E-383E-0DB9-FF9A-E4ED5A618F92}"/>
              </a:ext>
            </a:extLst>
          </p:cNvPr>
          <p:cNvSpPr/>
          <p:nvPr/>
        </p:nvSpPr>
        <p:spPr>
          <a:xfrm>
            <a:off x="7722561" y="4529402"/>
            <a:ext cx="419100" cy="361912"/>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7" name="Shape 2974">
            <a:extLst>
              <a:ext uri="{FF2B5EF4-FFF2-40B4-BE49-F238E27FC236}">
                <a16:creationId xmlns:a16="http://schemas.microsoft.com/office/drawing/2014/main" id="{17A4A2E7-6A37-6B40-53BA-FAF9B3852151}"/>
              </a:ext>
            </a:extLst>
          </p:cNvPr>
          <p:cNvSpPr/>
          <p:nvPr/>
        </p:nvSpPr>
        <p:spPr>
          <a:xfrm>
            <a:off x="8522661" y="4500830"/>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8" name="Shape 2975">
            <a:extLst>
              <a:ext uri="{FF2B5EF4-FFF2-40B4-BE49-F238E27FC236}">
                <a16:creationId xmlns:a16="http://schemas.microsoft.com/office/drawing/2014/main" id="{539DBAE6-6537-0474-7928-70DC074A1B10}"/>
              </a:ext>
            </a:extLst>
          </p:cNvPr>
          <p:cNvSpPr/>
          <p:nvPr/>
        </p:nvSpPr>
        <p:spPr>
          <a:xfrm>
            <a:off x="94370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69" name="Shape 2976">
            <a:extLst>
              <a:ext uri="{FF2B5EF4-FFF2-40B4-BE49-F238E27FC236}">
                <a16:creationId xmlns:a16="http://schemas.microsoft.com/office/drawing/2014/main" id="{AA3B1D41-435B-F4BE-E2C6-2887A0B6BB8A}"/>
              </a:ext>
            </a:extLst>
          </p:cNvPr>
          <p:cNvSpPr/>
          <p:nvPr/>
        </p:nvSpPr>
        <p:spPr>
          <a:xfrm>
            <a:off x="102371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0" name="Shape 2977">
            <a:extLst>
              <a:ext uri="{FF2B5EF4-FFF2-40B4-BE49-F238E27FC236}">
                <a16:creationId xmlns:a16="http://schemas.microsoft.com/office/drawing/2014/main" id="{9042106D-0724-56AB-E963-9559CA6CBDF0}"/>
              </a:ext>
            </a:extLst>
          </p:cNvPr>
          <p:cNvSpPr/>
          <p:nvPr/>
        </p:nvSpPr>
        <p:spPr>
          <a:xfrm>
            <a:off x="110372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1" name="Shape 2978">
            <a:extLst>
              <a:ext uri="{FF2B5EF4-FFF2-40B4-BE49-F238E27FC236}">
                <a16:creationId xmlns:a16="http://schemas.microsoft.com/office/drawing/2014/main" id="{BF030CE3-C11F-F675-602B-E83E6FD783F9}"/>
              </a:ext>
            </a:extLst>
          </p:cNvPr>
          <p:cNvSpPr/>
          <p:nvPr/>
        </p:nvSpPr>
        <p:spPr>
          <a:xfrm>
            <a:off x="118373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2" name="Shape 2979">
            <a:extLst>
              <a:ext uri="{FF2B5EF4-FFF2-40B4-BE49-F238E27FC236}">
                <a16:creationId xmlns:a16="http://schemas.microsoft.com/office/drawing/2014/main" id="{65DD2FA8-A0FA-9AC8-B2E2-899FC1BDB799}"/>
              </a:ext>
            </a:extLst>
          </p:cNvPr>
          <p:cNvSpPr/>
          <p:nvPr/>
        </p:nvSpPr>
        <p:spPr>
          <a:xfrm>
            <a:off x="12637462"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3" name="Shape 2980">
            <a:extLst>
              <a:ext uri="{FF2B5EF4-FFF2-40B4-BE49-F238E27FC236}">
                <a16:creationId xmlns:a16="http://schemas.microsoft.com/office/drawing/2014/main" id="{2F6EFFF9-247A-A581-38C7-91F296FCCA33}"/>
              </a:ext>
            </a:extLst>
          </p:cNvPr>
          <p:cNvSpPr/>
          <p:nvPr/>
        </p:nvSpPr>
        <p:spPr>
          <a:xfrm>
            <a:off x="13437562" y="3757958"/>
            <a:ext cx="419100" cy="419056"/>
          </a:xfrm>
          <a:prstGeom prst="ellipse">
            <a:avLst/>
          </a:pr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4" name="Shape 2981">
            <a:extLst>
              <a:ext uri="{FF2B5EF4-FFF2-40B4-BE49-F238E27FC236}">
                <a16:creationId xmlns:a16="http://schemas.microsoft.com/office/drawing/2014/main" id="{DA3C2D7F-8A34-40CC-C081-6205BA8C5FE2}"/>
              </a:ext>
            </a:extLst>
          </p:cNvPr>
          <p:cNvSpPr/>
          <p:nvPr/>
        </p:nvSpPr>
        <p:spPr>
          <a:xfrm>
            <a:off x="142376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5" name="Shape 2982">
            <a:extLst>
              <a:ext uri="{FF2B5EF4-FFF2-40B4-BE49-F238E27FC236}">
                <a16:creationId xmlns:a16="http://schemas.microsoft.com/office/drawing/2014/main" id="{15DA9F55-54C9-51AC-B158-08A2BFD9193F}"/>
              </a:ext>
            </a:extLst>
          </p:cNvPr>
          <p:cNvSpPr/>
          <p:nvPr/>
        </p:nvSpPr>
        <p:spPr>
          <a:xfrm>
            <a:off x="150377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6" name="Shape 2983">
            <a:extLst>
              <a:ext uri="{FF2B5EF4-FFF2-40B4-BE49-F238E27FC236}">
                <a16:creationId xmlns:a16="http://schemas.microsoft.com/office/drawing/2014/main" id="{1AA01C92-BFF7-CDE3-D53D-2189F4601D01}"/>
              </a:ext>
            </a:extLst>
          </p:cNvPr>
          <p:cNvSpPr/>
          <p:nvPr/>
        </p:nvSpPr>
        <p:spPr>
          <a:xfrm>
            <a:off x="15837861" y="3757958"/>
            <a:ext cx="419100"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7" name="Shape 2984">
            <a:extLst>
              <a:ext uri="{FF2B5EF4-FFF2-40B4-BE49-F238E27FC236}">
                <a16:creationId xmlns:a16="http://schemas.microsoft.com/office/drawing/2014/main" id="{D7BFCD4A-DCCA-A4D1-4E8A-DF69F00F3F1E}"/>
              </a:ext>
            </a:extLst>
          </p:cNvPr>
          <p:cNvSpPr/>
          <p:nvPr/>
        </p:nvSpPr>
        <p:spPr>
          <a:xfrm>
            <a:off x="16752261" y="3757958"/>
            <a:ext cx="190501" cy="4190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rgbClr val="000000"/>
          </a:solidFill>
          <a:ln w="12700">
            <a:miter lim="400000"/>
          </a:ln>
        </p:spPr>
        <p:txBody>
          <a:bodyPr lIns="28571" tIns="28571" rIns="28571" bIns="28571" anchor="ctr"/>
          <a:lstStyle/>
          <a:p>
            <a:pPr defTabSz="34284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200"/>
          </a:p>
        </p:txBody>
      </p:sp>
      <p:sp>
        <p:nvSpPr>
          <p:cNvPr id="178" name="Freeform 5">
            <a:extLst>
              <a:ext uri="{FF2B5EF4-FFF2-40B4-BE49-F238E27FC236}">
                <a16:creationId xmlns:a16="http://schemas.microsoft.com/office/drawing/2014/main" id="{D6987953-B62C-5721-E684-399C57E07A75}"/>
              </a:ext>
            </a:extLst>
          </p:cNvPr>
          <p:cNvSpPr>
            <a:spLocks noEditPoints="1"/>
          </p:cNvSpPr>
          <p:nvPr/>
        </p:nvSpPr>
        <p:spPr bwMode="auto">
          <a:xfrm>
            <a:off x="10979150" y="8802646"/>
            <a:ext cx="360363" cy="360363"/>
          </a:xfrm>
          <a:custGeom>
            <a:avLst/>
            <a:gdLst>
              <a:gd name="T0" fmla="*/ 313 w 453"/>
              <a:gd name="T1" fmla="*/ 339 h 454"/>
              <a:gd name="T2" fmla="*/ 334 w 453"/>
              <a:gd name="T3" fmla="*/ 248 h 454"/>
              <a:gd name="T4" fmla="*/ 414 w 453"/>
              <a:gd name="T5" fmla="*/ 289 h 454"/>
              <a:gd name="T6" fmla="*/ 365 w 453"/>
              <a:gd name="T7" fmla="*/ 367 h 454"/>
              <a:gd name="T8" fmla="*/ 121 w 453"/>
              <a:gd name="T9" fmla="*/ 275 h 454"/>
              <a:gd name="T10" fmla="*/ 139 w 453"/>
              <a:gd name="T11" fmla="*/ 339 h 454"/>
              <a:gd name="T12" fmla="*/ 75 w 453"/>
              <a:gd name="T13" fmla="*/ 353 h 454"/>
              <a:gd name="T14" fmla="*/ 34 w 453"/>
              <a:gd name="T15" fmla="*/ 272 h 454"/>
              <a:gd name="T16" fmla="*/ 105 w 453"/>
              <a:gd name="T17" fmla="*/ 112 h 454"/>
              <a:gd name="T18" fmla="*/ 118 w 453"/>
              <a:gd name="T19" fmla="*/ 195 h 454"/>
              <a:gd name="T20" fmla="*/ 38 w 453"/>
              <a:gd name="T21" fmla="*/ 168 h 454"/>
              <a:gd name="T22" fmla="*/ 79 w 453"/>
              <a:gd name="T23" fmla="*/ 95 h 454"/>
              <a:gd name="T24" fmla="*/ 288 w 453"/>
              <a:gd name="T25" fmla="*/ 137 h 454"/>
              <a:gd name="T26" fmla="*/ 321 w 453"/>
              <a:gd name="T27" fmla="*/ 219 h 454"/>
              <a:gd name="T28" fmla="*/ 250 w 453"/>
              <a:gd name="T29" fmla="*/ 324 h 454"/>
              <a:gd name="T30" fmla="*/ 315 w 453"/>
              <a:gd name="T31" fmla="*/ 285 h 454"/>
              <a:gd name="T32" fmla="*/ 332 w 453"/>
              <a:gd name="T33" fmla="*/ 363 h 454"/>
              <a:gd name="T34" fmla="*/ 322 w 453"/>
              <a:gd name="T35" fmla="*/ 399 h 454"/>
              <a:gd name="T36" fmla="*/ 259 w 453"/>
              <a:gd name="T37" fmla="*/ 421 h 454"/>
              <a:gd name="T38" fmla="*/ 233 w 453"/>
              <a:gd name="T39" fmla="*/ 424 h 454"/>
              <a:gd name="T40" fmla="*/ 294 w 453"/>
              <a:gd name="T41" fmla="*/ 347 h 454"/>
              <a:gd name="T42" fmla="*/ 260 w 453"/>
              <a:gd name="T43" fmla="*/ 399 h 454"/>
              <a:gd name="T44" fmla="*/ 233 w 453"/>
              <a:gd name="T45" fmla="*/ 424 h 454"/>
              <a:gd name="T46" fmla="*/ 142 w 453"/>
              <a:gd name="T47" fmla="*/ 405 h 454"/>
              <a:gd name="T48" fmla="*/ 108 w 453"/>
              <a:gd name="T49" fmla="*/ 369 h 454"/>
              <a:gd name="T50" fmla="*/ 166 w 453"/>
              <a:gd name="T51" fmla="*/ 389 h 454"/>
              <a:gd name="T52" fmla="*/ 202 w 453"/>
              <a:gd name="T53" fmla="*/ 324 h 454"/>
              <a:gd name="T54" fmla="*/ 138 w 453"/>
              <a:gd name="T55" fmla="*/ 285 h 454"/>
              <a:gd name="T56" fmla="*/ 164 w 453"/>
              <a:gd name="T57" fmla="*/ 137 h 454"/>
              <a:gd name="T58" fmla="*/ 132 w 453"/>
              <a:gd name="T59" fmla="*/ 219 h 454"/>
              <a:gd name="T60" fmla="*/ 139 w 453"/>
              <a:gd name="T61" fmla="*/ 113 h 454"/>
              <a:gd name="T62" fmla="*/ 100 w 453"/>
              <a:gd name="T63" fmla="*/ 75 h 454"/>
              <a:gd name="T64" fmla="*/ 164 w 453"/>
              <a:gd name="T65" fmla="*/ 39 h 454"/>
              <a:gd name="T66" fmla="*/ 150 w 453"/>
              <a:gd name="T67" fmla="*/ 91 h 454"/>
              <a:gd name="T68" fmla="*/ 185 w 453"/>
              <a:gd name="T69" fmla="*/ 127 h 454"/>
              <a:gd name="T70" fmla="*/ 173 w 453"/>
              <a:gd name="T71" fmla="*/ 80 h 454"/>
              <a:gd name="T72" fmla="*/ 218 w 453"/>
              <a:gd name="T73" fmla="*/ 29 h 454"/>
              <a:gd name="T74" fmla="*/ 288 w 453"/>
              <a:gd name="T75" fmla="*/ 39 h 454"/>
              <a:gd name="T76" fmla="*/ 353 w 453"/>
              <a:gd name="T77" fmla="*/ 75 h 454"/>
              <a:gd name="T78" fmla="*/ 313 w 453"/>
              <a:gd name="T79" fmla="*/ 113 h 454"/>
              <a:gd name="T80" fmla="*/ 234 w 453"/>
              <a:gd name="T81" fmla="*/ 29 h 454"/>
              <a:gd name="T82" fmla="*/ 280 w 453"/>
              <a:gd name="T83" fmla="*/ 80 h 454"/>
              <a:gd name="T84" fmla="*/ 268 w 453"/>
              <a:gd name="T85" fmla="*/ 127 h 454"/>
              <a:gd name="T86" fmla="*/ 234 w 453"/>
              <a:gd name="T87" fmla="*/ 29 h 454"/>
              <a:gd name="T88" fmla="*/ 185 w 453"/>
              <a:gd name="T89" fmla="*/ 389 h 454"/>
              <a:gd name="T90" fmla="*/ 173 w 453"/>
              <a:gd name="T91" fmla="*/ 342 h 454"/>
              <a:gd name="T92" fmla="*/ 218 w 453"/>
              <a:gd name="T93" fmla="*/ 424 h 454"/>
              <a:gd name="T94" fmla="*/ 331 w 453"/>
              <a:gd name="T95" fmla="*/ 172 h 454"/>
              <a:gd name="T96" fmla="*/ 360 w 453"/>
              <a:gd name="T97" fmla="*/ 105 h 454"/>
              <a:gd name="T98" fmla="*/ 409 w 453"/>
              <a:gd name="T99" fmla="*/ 152 h 454"/>
              <a:gd name="T100" fmla="*/ 226 w 453"/>
              <a:gd name="T101" fmla="*/ 0 h 454"/>
              <a:gd name="T102" fmla="*/ 118 w 453"/>
              <a:gd name="T103" fmla="*/ 27 h 454"/>
              <a:gd name="T104" fmla="*/ 38 w 453"/>
              <a:gd name="T105" fmla="*/ 100 h 454"/>
              <a:gd name="T106" fmla="*/ 1 w 453"/>
              <a:gd name="T107" fmla="*/ 204 h 454"/>
              <a:gd name="T108" fmla="*/ 17 w 453"/>
              <a:gd name="T109" fmla="*/ 315 h 454"/>
              <a:gd name="T110" fmla="*/ 81 w 453"/>
              <a:gd name="T111" fmla="*/ 402 h 454"/>
              <a:gd name="T112" fmla="*/ 180 w 453"/>
              <a:gd name="T113" fmla="*/ 449 h 454"/>
              <a:gd name="T114" fmla="*/ 294 w 453"/>
              <a:gd name="T115" fmla="*/ 444 h 454"/>
              <a:gd name="T116" fmla="*/ 386 w 453"/>
              <a:gd name="T117" fmla="*/ 387 h 454"/>
              <a:gd name="T118" fmla="*/ 443 w 453"/>
              <a:gd name="T119" fmla="*/ 294 h 454"/>
              <a:gd name="T120" fmla="*/ 448 w 453"/>
              <a:gd name="T121" fmla="*/ 180 h 454"/>
              <a:gd name="T122" fmla="*/ 401 w 453"/>
              <a:gd name="T123" fmla="*/ 81 h 454"/>
              <a:gd name="T124" fmla="*/ 315 w 453"/>
              <a:gd name="T125" fmla="*/ 1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3" h="454">
                <a:moveTo>
                  <a:pt x="365" y="367"/>
                </a:moveTo>
                <a:lnTo>
                  <a:pt x="353" y="358"/>
                </a:lnTo>
                <a:lnTo>
                  <a:pt x="341" y="351"/>
                </a:lnTo>
                <a:lnTo>
                  <a:pt x="327" y="345"/>
                </a:lnTo>
                <a:lnTo>
                  <a:pt x="313" y="339"/>
                </a:lnTo>
                <a:lnTo>
                  <a:pt x="322" y="314"/>
                </a:lnTo>
                <a:lnTo>
                  <a:pt x="330" y="288"/>
                </a:lnTo>
                <a:lnTo>
                  <a:pt x="332" y="275"/>
                </a:lnTo>
                <a:lnTo>
                  <a:pt x="333" y="262"/>
                </a:lnTo>
                <a:lnTo>
                  <a:pt x="334" y="248"/>
                </a:lnTo>
                <a:lnTo>
                  <a:pt x="336" y="233"/>
                </a:lnTo>
                <a:lnTo>
                  <a:pt x="423" y="233"/>
                </a:lnTo>
                <a:lnTo>
                  <a:pt x="422" y="253"/>
                </a:lnTo>
                <a:lnTo>
                  <a:pt x="419" y="272"/>
                </a:lnTo>
                <a:lnTo>
                  <a:pt x="414" y="289"/>
                </a:lnTo>
                <a:lnTo>
                  <a:pt x="406" y="306"/>
                </a:lnTo>
                <a:lnTo>
                  <a:pt x="399" y="324"/>
                </a:lnTo>
                <a:lnTo>
                  <a:pt x="389" y="339"/>
                </a:lnTo>
                <a:lnTo>
                  <a:pt x="378" y="353"/>
                </a:lnTo>
                <a:lnTo>
                  <a:pt x="365" y="367"/>
                </a:lnTo>
                <a:close/>
                <a:moveTo>
                  <a:pt x="29" y="233"/>
                </a:moveTo>
                <a:lnTo>
                  <a:pt x="117" y="233"/>
                </a:lnTo>
                <a:lnTo>
                  <a:pt x="117" y="248"/>
                </a:lnTo>
                <a:lnTo>
                  <a:pt x="118" y="262"/>
                </a:lnTo>
                <a:lnTo>
                  <a:pt x="121" y="275"/>
                </a:lnTo>
                <a:lnTo>
                  <a:pt x="123" y="288"/>
                </a:lnTo>
                <a:lnTo>
                  <a:pt x="126" y="301"/>
                </a:lnTo>
                <a:lnTo>
                  <a:pt x="129" y="314"/>
                </a:lnTo>
                <a:lnTo>
                  <a:pt x="134" y="326"/>
                </a:lnTo>
                <a:lnTo>
                  <a:pt x="139" y="339"/>
                </a:lnTo>
                <a:lnTo>
                  <a:pt x="124" y="345"/>
                </a:lnTo>
                <a:lnTo>
                  <a:pt x="112" y="351"/>
                </a:lnTo>
                <a:lnTo>
                  <a:pt x="98" y="358"/>
                </a:lnTo>
                <a:lnTo>
                  <a:pt x="87" y="367"/>
                </a:lnTo>
                <a:lnTo>
                  <a:pt x="75" y="353"/>
                </a:lnTo>
                <a:lnTo>
                  <a:pt x="64" y="339"/>
                </a:lnTo>
                <a:lnTo>
                  <a:pt x="54" y="324"/>
                </a:lnTo>
                <a:lnTo>
                  <a:pt x="45" y="306"/>
                </a:lnTo>
                <a:lnTo>
                  <a:pt x="39" y="289"/>
                </a:lnTo>
                <a:lnTo>
                  <a:pt x="34" y="272"/>
                </a:lnTo>
                <a:lnTo>
                  <a:pt x="30" y="253"/>
                </a:lnTo>
                <a:lnTo>
                  <a:pt x="29" y="233"/>
                </a:lnTo>
                <a:close/>
                <a:moveTo>
                  <a:pt x="79" y="95"/>
                </a:moveTo>
                <a:lnTo>
                  <a:pt x="91" y="105"/>
                </a:lnTo>
                <a:lnTo>
                  <a:pt x="105" y="112"/>
                </a:lnTo>
                <a:lnTo>
                  <a:pt x="119" y="121"/>
                </a:lnTo>
                <a:lnTo>
                  <a:pt x="133" y="127"/>
                </a:lnTo>
                <a:lnTo>
                  <a:pt x="127" y="149"/>
                </a:lnTo>
                <a:lnTo>
                  <a:pt x="122" y="172"/>
                </a:lnTo>
                <a:lnTo>
                  <a:pt x="118" y="195"/>
                </a:lnTo>
                <a:lnTo>
                  <a:pt x="117" y="219"/>
                </a:lnTo>
                <a:lnTo>
                  <a:pt x="29" y="219"/>
                </a:lnTo>
                <a:lnTo>
                  <a:pt x="30" y="201"/>
                </a:lnTo>
                <a:lnTo>
                  <a:pt x="33" y="184"/>
                </a:lnTo>
                <a:lnTo>
                  <a:pt x="38" y="168"/>
                </a:lnTo>
                <a:lnTo>
                  <a:pt x="43" y="152"/>
                </a:lnTo>
                <a:lnTo>
                  <a:pt x="50" y="136"/>
                </a:lnTo>
                <a:lnTo>
                  <a:pt x="59" y="122"/>
                </a:lnTo>
                <a:lnTo>
                  <a:pt x="68" y="107"/>
                </a:lnTo>
                <a:lnTo>
                  <a:pt x="79" y="95"/>
                </a:lnTo>
                <a:close/>
                <a:moveTo>
                  <a:pt x="233" y="219"/>
                </a:moveTo>
                <a:lnTo>
                  <a:pt x="233" y="146"/>
                </a:lnTo>
                <a:lnTo>
                  <a:pt x="252" y="144"/>
                </a:lnTo>
                <a:lnTo>
                  <a:pt x="270" y="142"/>
                </a:lnTo>
                <a:lnTo>
                  <a:pt x="288" y="137"/>
                </a:lnTo>
                <a:lnTo>
                  <a:pt x="305" y="132"/>
                </a:lnTo>
                <a:lnTo>
                  <a:pt x="312" y="153"/>
                </a:lnTo>
                <a:lnTo>
                  <a:pt x="316" y="174"/>
                </a:lnTo>
                <a:lnTo>
                  <a:pt x="320" y="196"/>
                </a:lnTo>
                <a:lnTo>
                  <a:pt x="321" y="219"/>
                </a:lnTo>
                <a:lnTo>
                  <a:pt x="233" y="219"/>
                </a:lnTo>
                <a:close/>
                <a:moveTo>
                  <a:pt x="300" y="334"/>
                </a:moveTo>
                <a:lnTo>
                  <a:pt x="284" y="329"/>
                </a:lnTo>
                <a:lnTo>
                  <a:pt x="268" y="325"/>
                </a:lnTo>
                <a:lnTo>
                  <a:pt x="250" y="324"/>
                </a:lnTo>
                <a:lnTo>
                  <a:pt x="233" y="322"/>
                </a:lnTo>
                <a:lnTo>
                  <a:pt x="233" y="233"/>
                </a:lnTo>
                <a:lnTo>
                  <a:pt x="321" y="233"/>
                </a:lnTo>
                <a:lnTo>
                  <a:pt x="320" y="261"/>
                </a:lnTo>
                <a:lnTo>
                  <a:pt x="315" y="285"/>
                </a:lnTo>
                <a:lnTo>
                  <a:pt x="309" y="310"/>
                </a:lnTo>
                <a:lnTo>
                  <a:pt x="300" y="334"/>
                </a:lnTo>
                <a:close/>
                <a:moveTo>
                  <a:pt x="307" y="352"/>
                </a:moveTo>
                <a:lnTo>
                  <a:pt x="320" y="357"/>
                </a:lnTo>
                <a:lnTo>
                  <a:pt x="332" y="363"/>
                </a:lnTo>
                <a:lnTo>
                  <a:pt x="343" y="369"/>
                </a:lnTo>
                <a:lnTo>
                  <a:pt x="354" y="377"/>
                </a:lnTo>
                <a:lnTo>
                  <a:pt x="344" y="384"/>
                </a:lnTo>
                <a:lnTo>
                  <a:pt x="333" y="393"/>
                </a:lnTo>
                <a:lnTo>
                  <a:pt x="322" y="399"/>
                </a:lnTo>
                <a:lnTo>
                  <a:pt x="310" y="405"/>
                </a:lnTo>
                <a:lnTo>
                  <a:pt x="297" y="410"/>
                </a:lnTo>
                <a:lnTo>
                  <a:pt x="285" y="415"/>
                </a:lnTo>
                <a:lnTo>
                  <a:pt x="271" y="419"/>
                </a:lnTo>
                <a:lnTo>
                  <a:pt x="259" y="421"/>
                </a:lnTo>
                <a:lnTo>
                  <a:pt x="273" y="407"/>
                </a:lnTo>
                <a:lnTo>
                  <a:pt x="286" y="389"/>
                </a:lnTo>
                <a:lnTo>
                  <a:pt x="297" y="371"/>
                </a:lnTo>
                <a:lnTo>
                  <a:pt x="307" y="352"/>
                </a:lnTo>
                <a:close/>
                <a:moveTo>
                  <a:pt x="233" y="424"/>
                </a:moveTo>
                <a:lnTo>
                  <a:pt x="233" y="337"/>
                </a:lnTo>
                <a:lnTo>
                  <a:pt x="249" y="337"/>
                </a:lnTo>
                <a:lnTo>
                  <a:pt x="264" y="340"/>
                </a:lnTo>
                <a:lnTo>
                  <a:pt x="279" y="342"/>
                </a:lnTo>
                <a:lnTo>
                  <a:pt x="294" y="347"/>
                </a:lnTo>
                <a:lnTo>
                  <a:pt x="288" y="358"/>
                </a:lnTo>
                <a:lnTo>
                  <a:pt x="281" y="368"/>
                </a:lnTo>
                <a:lnTo>
                  <a:pt x="275" y="379"/>
                </a:lnTo>
                <a:lnTo>
                  <a:pt x="268" y="389"/>
                </a:lnTo>
                <a:lnTo>
                  <a:pt x="260" y="399"/>
                </a:lnTo>
                <a:lnTo>
                  <a:pt x="252" y="408"/>
                </a:lnTo>
                <a:lnTo>
                  <a:pt x="243" y="416"/>
                </a:lnTo>
                <a:lnTo>
                  <a:pt x="234" y="424"/>
                </a:lnTo>
                <a:lnTo>
                  <a:pt x="234" y="424"/>
                </a:lnTo>
                <a:lnTo>
                  <a:pt x="233" y="424"/>
                </a:lnTo>
                <a:close/>
                <a:moveTo>
                  <a:pt x="194" y="421"/>
                </a:moveTo>
                <a:lnTo>
                  <a:pt x="180" y="419"/>
                </a:lnTo>
                <a:lnTo>
                  <a:pt x="168" y="415"/>
                </a:lnTo>
                <a:lnTo>
                  <a:pt x="154" y="410"/>
                </a:lnTo>
                <a:lnTo>
                  <a:pt x="142" y="405"/>
                </a:lnTo>
                <a:lnTo>
                  <a:pt x="131" y="399"/>
                </a:lnTo>
                <a:lnTo>
                  <a:pt x="119" y="393"/>
                </a:lnTo>
                <a:lnTo>
                  <a:pt x="108" y="384"/>
                </a:lnTo>
                <a:lnTo>
                  <a:pt x="98" y="377"/>
                </a:lnTo>
                <a:lnTo>
                  <a:pt x="108" y="369"/>
                </a:lnTo>
                <a:lnTo>
                  <a:pt x="121" y="363"/>
                </a:lnTo>
                <a:lnTo>
                  <a:pt x="132" y="357"/>
                </a:lnTo>
                <a:lnTo>
                  <a:pt x="144" y="352"/>
                </a:lnTo>
                <a:lnTo>
                  <a:pt x="155" y="371"/>
                </a:lnTo>
                <a:lnTo>
                  <a:pt x="166" y="389"/>
                </a:lnTo>
                <a:lnTo>
                  <a:pt x="180" y="407"/>
                </a:lnTo>
                <a:lnTo>
                  <a:pt x="194" y="421"/>
                </a:lnTo>
                <a:close/>
                <a:moveTo>
                  <a:pt x="218" y="233"/>
                </a:moveTo>
                <a:lnTo>
                  <a:pt x="218" y="322"/>
                </a:lnTo>
                <a:lnTo>
                  <a:pt x="202" y="324"/>
                </a:lnTo>
                <a:lnTo>
                  <a:pt x="185" y="325"/>
                </a:lnTo>
                <a:lnTo>
                  <a:pt x="169" y="329"/>
                </a:lnTo>
                <a:lnTo>
                  <a:pt x="153" y="334"/>
                </a:lnTo>
                <a:lnTo>
                  <a:pt x="144" y="310"/>
                </a:lnTo>
                <a:lnTo>
                  <a:pt x="138" y="285"/>
                </a:lnTo>
                <a:lnTo>
                  <a:pt x="133" y="261"/>
                </a:lnTo>
                <a:lnTo>
                  <a:pt x="132" y="233"/>
                </a:lnTo>
                <a:lnTo>
                  <a:pt x="218" y="233"/>
                </a:lnTo>
                <a:close/>
                <a:moveTo>
                  <a:pt x="147" y="132"/>
                </a:moveTo>
                <a:lnTo>
                  <a:pt x="164" y="137"/>
                </a:lnTo>
                <a:lnTo>
                  <a:pt x="182" y="142"/>
                </a:lnTo>
                <a:lnTo>
                  <a:pt x="200" y="144"/>
                </a:lnTo>
                <a:lnTo>
                  <a:pt x="218" y="146"/>
                </a:lnTo>
                <a:lnTo>
                  <a:pt x="218" y="219"/>
                </a:lnTo>
                <a:lnTo>
                  <a:pt x="132" y="219"/>
                </a:lnTo>
                <a:lnTo>
                  <a:pt x="133" y="196"/>
                </a:lnTo>
                <a:lnTo>
                  <a:pt x="136" y="174"/>
                </a:lnTo>
                <a:lnTo>
                  <a:pt x="140" y="153"/>
                </a:lnTo>
                <a:lnTo>
                  <a:pt x="147" y="132"/>
                </a:lnTo>
                <a:close/>
                <a:moveTo>
                  <a:pt x="139" y="113"/>
                </a:moveTo>
                <a:lnTo>
                  <a:pt x="126" y="107"/>
                </a:lnTo>
                <a:lnTo>
                  <a:pt x="113" y="101"/>
                </a:lnTo>
                <a:lnTo>
                  <a:pt x="101" y="92"/>
                </a:lnTo>
                <a:lnTo>
                  <a:pt x="89" y="84"/>
                </a:lnTo>
                <a:lnTo>
                  <a:pt x="100" y="75"/>
                </a:lnTo>
                <a:lnTo>
                  <a:pt x="111" y="65"/>
                </a:lnTo>
                <a:lnTo>
                  <a:pt x="123" y="58"/>
                </a:lnTo>
                <a:lnTo>
                  <a:pt x="137" y="50"/>
                </a:lnTo>
                <a:lnTo>
                  <a:pt x="150" y="44"/>
                </a:lnTo>
                <a:lnTo>
                  <a:pt x="164" y="39"/>
                </a:lnTo>
                <a:lnTo>
                  <a:pt x="179" y="34"/>
                </a:lnTo>
                <a:lnTo>
                  <a:pt x="194" y="32"/>
                </a:lnTo>
                <a:lnTo>
                  <a:pt x="178" y="49"/>
                </a:lnTo>
                <a:lnTo>
                  <a:pt x="163" y="69"/>
                </a:lnTo>
                <a:lnTo>
                  <a:pt x="150" y="91"/>
                </a:lnTo>
                <a:lnTo>
                  <a:pt x="139" y="113"/>
                </a:lnTo>
                <a:close/>
                <a:moveTo>
                  <a:pt x="218" y="29"/>
                </a:moveTo>
                <a:lnTo>
                  <a:pt x="218" y="131"/>
                </a:lnTo>
                <a:lnTo>
                  <a:pt x="202" y="129"/>
                </a:lnTo>
                <a:lnTo>
                  <a:pt x="185" y="127"/>
                </a:lnTo>
                <a:lnTo>
                  <a:pt x="169" y="123"/>
                </a:lnTo>
                <a:lnTo>
                  <a:pt x="153" y="118"/>
                </a:lnTo>
                <a:lnTo>
                  <a:pt x="159" y="106"/>
                </a:lnTo>
                <a:lnTo>
                  <a:pt x="165" y="92"/>
                </a:lnTo>
                <a:lnTo>
                  <a:pt x="173" y="80"/>
                </a:lnTo>
                <a:lnTo>
                  <a:pt x="181" y="69"/>
                </a:lnTo>
                <a:lnTo>
                  <a:pt x="189" y="58"/>
                </a:lnTo>
                <a:lnTo>
                  <a:pt x="199" y="48"/>
                </a:lnTo>
                <a:lnTo>
                  <a:pt x="208" y="38"/>
                </a:lnTo>
                <a:lnTo>
                  <a:pt x="218" y="29"/>
                </a:lnTo>
                <a:lnTo>
                  <a:pt x="218" y="29"/>
                </a:lnTo>
                <a:lnTo>
                  <a:pt x="218" y="29"/>
                </a:lnTo>
                <a:close/>
                <a:moveTo>
                  <a:pt x="259" y="32"/>
                </a:moveTo>
                <a:lnTo>
                  <a:pt x="274" y="34"/>
                </a:lnTo>
                <a:lnTo>
                  <a:pt x="288" y="39"/>
                </a:lnTo>
                <a:lnTo>
                  <a:pt x="302" y="44"/>
                </a:lnTo>
                <a:lnTo>
                  <a:pt x="316" y="50"/>
                </a:lnTo>
                <a:lnTo>
                  <a:pt x="328" y="58"/>
                </a:lnTo>
                <a:lnTo>
                  <a:pt x="341" y="65"/>
                </a:lnTo>
                <a:lnTo>
                  <a:pt x="353" y="75"/>
                </a:lnTo>
                <a:lnTo>
                  <a:pt x="364" y="84"/>
                </a:lnTo>
                <a:lnTo>
                  <a:pt x="352" y="92"/>
                </a:lnTo>
                <a:lnTo>
                  <a:pt x="339" y="101"/>
                </a:lnTo>
                <a:lnTo>
                  <a:pt x="327" y="107"/>
                </a:lnTo>
                <a:lnTo>
                  <a:pt x="313" y="113"/>
                </a:lnTo>
                <a:lnTo>
                  <a:pt x="302" y="91"/>
                </a:lnTo>
                <a:lnTo>
                  <a:pt x="290" y="69"/>
                </a:lnTo>
                <a:lnTo>
                  <a:pt x="275" y="49"/>
                </a:lnTo>
                <a:lnTo>
                  <a:pt x="259" y="32"/>
                </a:lnTo>
                <a:close/>
                <a:moveTo>
                  <a:pt x="234" y="29"/>
                </a:moveTo>
                <a:lnTo>
                  <a:pt x="244" y="38"/>
                </a:lnTo>
                <a:lnTo>
                  <a:pt x="254" y="48"/>
                </a:lnTo>
                <a:lnTo>
                  <a:pt x="263" y="58"/>
                </a:lnTo>
                <a:lnTo>
                  <a:pt x="271" y="69"/>
                </a:lnTo>
                <a:lnTo>
                  <a:pt x="280" y="80"/>
                </a:lnTo>
                <a:lnTo>
                  <a:pt x="286" y="92"/>
                </a:lnTo>
                <a:lnTo>
                  <a:pt x="294" y="106"/>
                </a:lnTo>
                <a:lnTo>
                  <a:pt x="300" y="118"/>
                </a:lnTo>
                <a:lnTo>
                  <a:pt x="284" y="123"/>
                </a:lnTo>
                <a:lnTo>
                  <a:pt x="268" y="127"/>
                </a:lnTo>
                <a:lnTo>
                  <a:pt x="250" y="129"/>
                </a:lnTo>
                <a:lnTo>
                  <a:pt x="233" y="131"/>
                </a:lnTo>
                <a:lnTo>
                  <a:pt x="233" y="29"/>
                </a:lnTo>
                <a:lnTo>
                  <a:pt x="234" y="29"/>
                </a:lnTo>
                <a:lnTo>
                  <a:pt x="234" y="29"/>
                </a:lnTo>
                <a:close/>
                <a:moveTo>
                  <a:pt x="218" y="424"/>
                </a:moveTo>
                <a:lnTo>
                  <a:pt x="210" y="416"/>
                </a:lnTo>
                <a:lnTo>
                  <a:pt x="201" y="408"/>
                </a:lnTo>
                <a:lnTo>
                  <a:pt x="192" y="399"/>
                </a:lnTo>
                <a:lnTo>
                  <a:pt x="185" y="389"/>
                </a:lnTo>
                <a:lnTo>
                  <a:pt x="178" y="379"/>
                </a:lnTo>
                <a:lnTo>
                  <a:pt x="170" y="368"/>
                </a:lnTo>
                <a:lnTo>
                  <a:pt x="164" y="358"/>
                </a:lnTo>
                <a:lnTo>
                  <a:pt x="158" y="347"/>
                </a:lnTo>
                <a:lnTo>
                  <a:pt x="173" y="342"/>
                </a:lnTo>
                <a:lnTo>
                  <a:pt x="187" y="340"/>
                </a:lnTo>
                <a:lnTo>
                  <a:pt x="203" y="337"/>
                </a:lnTo>
                <a:lnTo>
                  <a:pt x="218" y="337"/>
                </a:lnTo>
                <a:lnTo>
                  <a:pt x="218" y="424"/>
                </a:lnTo>
                <a:lnTo>
                  <a:pt x="218" y="424"/>
                </a:lnTo>
                <a:lnTo>
                  <a:pt x="218" y="424"/>
                </a:lnTo>
                <a:close/>
                <a:moveTo>
                  <a:pt x="423" y="219"/>
                </a:moveTo>
                <a:lnTo>
                  <a:pt x="336" y="219"/>
                </a:lnTo>
                <a:lnTo>
                  <a:pt x="334" y="195"/>
                </a:lnTo>
                <a:lnTo>
                  <a:pt x="331" y="172"/>
                </a:lnTo>
                <a:lnTo>
                  <a:pt x="326" y="149"/>
                </a:lnTo>
                <a:lnTo>
                  <a:pt x="318" y="127"/>
                </a:lnTo>
                <a:lnTo>
                  <a:pt x="333" y="121"/>
                </a:lnTo>
                <a:lnTo>
                  <a:pt x="347" y="112"/>
                </a:lnTo>
                <a:lnTo>
                  <a:pt x="360" y="105"/>
                </a:lnTo>
                <a:lnTo>
                  <a:pt x="374" y="95"/>
                </a:lnTo>
                <a:lnTo>
                  <a:pt x="384" y="107"/>
                </a:lnTo>
                <a:lnTo>
                  <a:pt x="394" y="122"/>
                </a:lnTo>
                <a:lnTo>
                  <a:pt x="402" y="136"/>
                </a:lnTo>
                <a:lnTo>
                  <a:pt x="409" y="152"/>
                </a:lnTo>
                <a:lnTo>
                  <a:pt x="415" y="168"/>
                </a:lnTo>
                <a:lnTo>
                  <a:pt x="420" y="184"/>
                </a:lnTo>
                <a:lnTo>
                  <a:pt x="422" y="201"/>
                </a:lnTo>
                <a:lnTo>
                  <a:pt x="423" y="219"/>
                </a:lnTo>
                <a:close/>
                <a:moveTo>
                  <a:pt x="226" y="0"/>
                </a:moveTo>
                <a:lnTo>
                  <a:pt x="203" y="1"/>
                </a:lnTo>
                <a:lnTo>
                  <a:pt x="180" y="3"/>
                </a:lnTo>
                <a:lnTo>
                  <a:pt x="159" y="9"/>
                </a:lnTo>
                <a:lnTo>
                  <a:pt x="138" y="17"/>
                </a:lnTo>
                <a:lnTo>
                  <a:pt x="118" y="27"/>
                </a:lnTo>
                <a:lnTo>
                  <a:pt x="100" y="38"/>
                </a:lnTo>
                <a:lnTo>
                  <a:pt x="81" y="52"/>
                </a:lnTo>
                <a:lnTo>
                  <a:pt x="65" y="65"/>
                </a:lnTo>
                <a:lnTo>
                  <a:pt x="51" y="81"/>
                </a:lnTo>
                <a:lnTo>
                  <a:pt x="38" y="100"/>
                </a:lnTo>
                <a:lnTo>
                  <a:pt x="27" y="118"/>
                </a:lnTo>
                <a:lnTo>
                  <a:pt x="17" y="138"/>
                </a:lnTo>
                <a:lnTo>
                  <a:pt x="9" y="159"/>
                </a:lnTo>
                <a:lnTo>
                  <a:pt x="3" y="180"/>
                </a:lnTo>
                <a:lnTo>
                  <a:pt x="1" y="204"/>
                </a:lnTo>
                <a:lnTo>
                  <a:pt x="0" y="226"/>
                </a:lnTo>
                <a:lnTo>
                  <a:pt x="1" y="249"/>
                </a:lnTo>
                <a:lnTo>
                  <a:pt x="3" y="272"/>
                </a:lnTo>
                <a:lnTo>
                  <a:pt x="9" y="294"/>
                </a:lnTo>
                <a:lnTo>
                  <a:pt x="17" y="315"/>
                </a:lnTo>
                <a:lnTo>
                  <a:pt x="27" y="335"/>
                </a:lnTo>
                <a:lnTo>
                  <a:pt x="38" y="353"/>
                </a:lnTo>
                <a:lnTo>
                  <a:pt x="51" y="371"/>
                </a:lnTo>
                <a:lnTo>
                  <a:pt x="65" y="387"/>
                </a:lnTo>
                <a:lnTo>
                  <a:pt x="81" y="402"/>
                </a:lnTo>
                <a:lnTo>
                  <a:pt x="100" y="415"/>
                </a:lnTo>
                <a:lnTo>
                  <a:pt x="118" y="426"/>
                </a:lnTo>
                <a:lnTo>
                  <a:pt x="138" y="436"/>
                </a:lnTo>
                <a:lnTo>
                  <a:pt x="159" y="444"/>
                </a:lnTo>
                <a:lnTo>
                  <a:pt x="180" y="449"/>
                </a:lnTo>
                <a:lnTo>
                  <a:pt x="203" y="452"/>
                </a:lnTo>
                <a:lnTo>
                  <a:pt x="226" y="454"/>
                </a:lnTo>
                <a:lnTo>
                  <a:pt x="249" y="452"/>
                </a:lnTo>
                <a:lnTo>
                  <a:pt x="271" y="449"/>
                </a:lnTo>
                <a:lnTo>
                  <a:pt x="294" y="444"/>
                </a:lnTo>
                <a:lnTo>
                  <a:pt x="315" y="436"/>
                </a:lnTo>
                <a:lnTo>
                  <a:pt x="334" y="426"/>
                </a:lnTo>
                <a:lnTo>
                  <a:pt x="353" y="415"/>
                </a:lnTo>
                <a:lnTo>
                  <a:pt x="370" y="402"/>
                </a:lnTo>
                <a:lnTo>
                  <a:pt x="386" y="387"/>
                </a:lnTo>
                <a:lnTo>
                  <a:pt x="401" y="371"/>
                </a:lnTo>
                <a:lnTo>
                  <a:pt x="415" y="353"/>
                </a:lnTo>
                <a:lnTo>
                  <a:pt x="426" y="335"/>
                </a:lnTo>
                <a:lnTo>
                  <a:pt x="436" y="315"/>
                </a:lnTo>
                <a:lnTo>
                  <a:pt x="443" y="294"/>
                </a:lnTo>
                <a:lnTo>
                  <a:pt x="448" y="272"/>
                </a:lnTo>
                <a:lnTo>
                  <a:pt x="452" y="249"/>
                </a:lnTo>
                <a:lnTo>
                  <a:pt x="453" y="226"/>
                </a:lnTo>
                <a:lnTo>
                  <a:pt x="452" y="204"/>
                </a:lnTo>
                <a:lnTo>
                  <a:pt x="448" y="180"/>
                </a:lnTo>
                <a:lnTo>
                  <a:pt x="443" y="159"/>
                </a:lnTo>
                <a:lnTo>
                  <a:pt x="436" y="138"/>
                </a:lnTo>
                <a:lnTo>
                  <a:pt x="426" y="118"/>
                </a:lnTo>
                <a:lnTo>
                  <a:pt x="415" y="100"/>
                </a:lnTo>
                <a:lnTo>
                  <a:pt x="401" y="81"/>
                </a:lnTo>
                <a:lnTo>
                  <a:pt x="386" y="65"/>
                </a:lnTo>
                <a:lnTo>
                  <a:pt x="370" y="52"/>
                </a:lnTo>
                <a:lnTo>
                  <a:pt x="353" y="38"/>
                </a:lnTo>
                <a:lnTo>
                  <a:pt x="334" y="27"/>
                </a:lnTo>
                <a:lnTo>
                  <a:pt x="315" y="17"/>
                </a:lnTo>
                <a:lnTo>
                  <a:pt x="294" y="9"/>
                </a:lnTo>
                <a:lnTo>
                  <a:pt x="271" y="3"/>
                </a:lnTo>
                <a:lnTo>
                  <a:pt x="249" y="1"/>
                </a:lnTo>
                <a:lnTo>
                  <a:pt x="226"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79" name="Freeform 6">
            <a:extLst>
              <a:ext uri="{FF2B5EF4-FFF2-40B4-BE49-F238E27FC236}">
                <a16:creationId xmlns:a16="http://schemas.microsoft.com/office/drawing/2014/main" id="{2A40EC5E-4767-9686-4574-3B90B7EC65A2}"/>
              </a:ext>
            </a:extLst>
          </p:cNvPr>
          <p:cNvSpPr>
            <a:spLocks noEditPoints="1"/>
          </p:cNvSpPr>
          <p:nvPr/>
        </p:nvSpPr>
        <p:spPr bwMode="auto">
          <a:xfrm>
            <a:off x="6940550" y="8831221"/>
            <a:ext cx="371475" cy="303213"/>
          </a:xfrm>
          <a:custGeom>
            <a:avLst/>
            <a:gdLst>
              <a:gd name="T0" fmla="*/ 396 w 469"/>
              <a:gd name="T1" fmla="*/ 198 h 381"/>
              <a:gd name="T2" fmla="*/ 431 w 469"/>
              <a:gd name="T3" fmla="*/ 307 h 381"/>
              <a:gd name="T4" fmla="*/ 395 w 469"/>
              <a:gd name="T5" fmla="*/ 284 h 381"/>
              <a:gd name="T6" fmla="*/ 351 w 469"/>
              <a:gd name="T7" fmla="*/ 265 h 381"/>
              <a:gd name="T8" fmla="*/ 309 w 469"/>
              <a:gd name="T9" fmla="*/ 284 h 381"/>
              <a:gd name="T10" fmla="*/ 216 w 469"/>
              <a:gd name="T11" fmla="*/ 300 h 381"/>
              <a:gd name="T12" fmla="*/ 181 w 469"/>
              <a:gd name="T13" fmla="*/ 268 h 381"/>
              <a:gd name="T14" fmla="*/ 134 w 469"/>
              <a:gd name="T15" fmla="*/ 271 h 381"/>
              <a:gd name="T16" fmla="*/ 106 w 469"/>
              <a:gd name="T17" fmla="*/ 308 h 381"/>
              <a:gd name="T18" fmla="*/ 73 w 469"/>
              <a:gd name="T19" fmla="*/ 294 h 381"/>
              <a:gd name="T20" fmla="*/ 288 w 469"/>
              <a:gd name="T21" fmla="*/ 243 h 381"/>
              <a:gd name="T22" fmla="*/ 308 w 469"/>
              <a:gd name="T23" fmla="*/ 206 h 381"/>
              <a:gd name="T24" fmla="*/ 376 w 469"/>
              <a:gd name="T25" fmla="*/ 107 h 381"/>
              <a:gd name="T26" fmla="*/ 440 w 469"/>
              <a:gd name="T27" fmla="*/ 294 h 381"/>
              <a:gd name="T28" fmla="*/ 332 w 469"/>
              <a:gd name="T29" fmla="*/ 344 h 381"/>
              <a:gd name="T30" fmla="*/ 323 w 469"/>
              <a:gd name="T31" fmla="*/ 317 h 381"/>
              <a:gd name="T32" fmla="*/ 340 w 469"/>
              <a:gd name="T33" fmla="*/ 296 h 381"/>
              <a:gd name="T34" fmla="*/ 369 w 469"/>
              <a:gd name="T35" fmla="*/ 299 h 381"/>
              <a:gd name="T36" fmla="*/ 381 w 469"/>
              <a:gd name="T37" fmla="*/ 323 h 381"/>
              <a:gd name="T38" fmla="*/ 369 w 469"/>
              <a:gd name="T39" fmla="*/ 348 h 381"/>
              <a:gd name="T40" fmla="*/ 156 w 469"/>
              <a:gd name="T41" fmla="*/ 352 h 381"/>
              <a:gd name="T42" fmla="*/ 135 w 469"/>
              <a:gd name="T43" fmla="*/ 334 h 381"/>
              <a:gd name="T44" fmla="*/ 138 w 469"/>
              <a:gd name="T45" fmla="*/ 307 h 381"/>
              <a:gd name="T46" fmla="*/ 161 w 469"/>
              <a:gd name="T47" fmla="*/ 294 h 381"/>
              <a:gd name="T48" fmla="*/ 186 w 469"/>
              <a:gd name="T49" fmla="*/ 307 h 381"/>
              <a:gd name="T50" fmla="*/ 188 w 469"/>
              <a:gd name="T51" fmla="*/ 334 h 381"/>
              <a:gd name="T52" fmla="*/ 167 w 469"/>
              <a:gd name="T53" fmla="*/ 352 h 381"/>
              <a:gd name="T54" fmla="*/ 31 w 469"/>
              <a:gd name="T55" fmla="*/ 212 h 381"/>
              <a:gd name="T56" fmla="*/ 39 w 469"/>
              <a:gd name="T57" fmla="*/ 31 h 381"/>
              <a:gd name="T58" fmla="*/ 277 w 469"/>
              <a:gd name="T59" fmla="*/ 39 h 381"/>
              <a:gd name="T60" fmla="*/ 277 w 469"/>
              <a:gd name="T61" fmla="*/ 212 h 381"/>
              <a:gd name="T62" fmla="*/ 461 w 469"/>
              <a:gd name="T63" fmla="*/ 181 h 381"/>
              <a:gd name="T64" fmla="*/ 387 w 469"/>
              <a:gd name="T65" fmla="*/ 80 h 381"/>
              <a:gd name="T66" fmla="*/ 308 w 469"/>
              <a:gd name="T67" fmla="*/ 73 h 381"/>
              <a:gd name="T68" fmla="*/ 295 w 469"/>
              <a:gd name="T69" fmla="*/ 14 h 381"/>
              <a:gd name="T70" fmla="*/ 45 w 469"/>
              <a:gd name="T71" fmla="*/ 0 h 381"/>
              <a:gd name="T72" fmla="*/ 8 w 469"/>
              <a:gd name="T73" fmla="*/ 20 h 381"/>
              <a:gd name="T74" fmla="*/ 2 w 469"/>
              <a:gd name="T75" fmla="*/ 214 h 381"/>
              <a:gd name="T76" fmla="*/ 28 w 469"/>
              <a:gd name="T77" fmla="*/ 247 h 381"/>
              <a:gd name="T78" fmla="*/ 47 w 469"/>
              <a:gd name="T79" fmla="*/ 311 h 381"/>
              <a:gd name="T80" fmla="*/ 80 w 469"/>
              <a:gd name="T81" fmla="*/ 337 h 381"/>
              <a:gd name="T82" fmla="*/ 119 w 469"/>
              <a:gd name="T83" fmla="*/ 363 h 381"/>
              <a:gd name="T84" fmla="*/ 161 w 469"/>
              <a:gd name="T85" fmla="*/ 381 h 381"/>
              <a:gd name="T86" fmla="*/ 204 w 469"/>
              <a:gd name="T87" fmla="*/ 363 h 381"/>
              <a:gd name="T88" fmla="*/ 298 w 469"/>
              <a:gd name="T89" fmla="*/ 347 h 381"/>
              <a:gd name="T90" fmla="*/ 333 w 469"/>
              <a:gd name="T91" fmla="*/ 379 h 381"/>
              <a:gd name="T92" fmla="*/ 380 w 469"/>
              <a:gd name="T93" fmla="*/ 375 h 381"/>
              <a:gd name="T94" fmla="*/ 408 w 469"/>
              <a:gd name="T95" fmla="*/ 338 h 381"/>
              <a:gd name="T96" fmla="*/ 456 w 469"/>
              <a:gd name="T97" fmla="*/ 325 h 381"/>
              <a:gd name="T98" fmla="*/ 469 w 469"/>
              <a:gd name="T99" fmla="*/ 206 h 381"/>
              <a:gd name="T100" fmla="*/ 364 w 469"/>
              <a:gd name="T101" fmla="*/ 124 h 381"/>
              <a:gd name="T102" fmla="*/ 338 w 469"/>
              <a:gd name="T103" fmla="*/ 118 h 381"/>
              <a:gd name="T104" fmla="*/ 323 w 469"/>
              <a:gd name="T105" fmla="*/ 221 h 381"/>
              <a:gd name="T106" fmla="*/ 396 w 469"/>
              <a:gd name="T107" fmla="*/ 235 h 381"/>
              <a:gd name="T108" fmla="*/ 411 w 469"/>
              <a:gd name="T109" fmla="*/ 198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9" h="381">
                <a:moveTo>
                  <a:pt x="396" y="221"/>
                </a:moveTo>
                <a:lnTo>
                  <a:pt x="338" y="221"/>
                </a:lnTo>
                <a:lnTo>
                  <a:pt x="338" y="133"/>
                </a:lnTo>
                <a:lnTo>
                  <a:pt x="351" y="133"/>
                </a:lnTo>
                <a:lnTo>
                  <a:pt x="396" y="198"/>
                </a:lnTo>
                <a:lnTo>
                  <a:pt x="396" y="221"/>
                </a:lnTo>
                <a:close/>
                <a:moveTo>
                  <a:pt x="440" y="294"/>
                </a:moveTo>
                <a:lnTo>
                  <a:pt x="439" y="300"/>
                </a:lnTo>
                <a:lnTo>
                  <a:pt x="435" y="305"/>
                </a:lnTo>
                <a:lnTo>
                  <a:pt x="431" y="307"/>
                </a:lnTo>
                <a:lnTo>
                  <a:pt x="426" y="308"/>
                </a:lnTo>
                <a:lnTo>
                  <a:pt x="408" y="308"/>
                </a:lnTo>
                <a:lnTo>
                  <a:pt x="406" y="300"/>
                </a:lnTo>
                <a:lnTo>
                  <a:pt x="401" y="291"/>
                </a:lnTo>
                <a:lnTo>
                  <a:pt x="395" y="284"/>
                </a:lnTo>
                <a:lnTo>
                  <a:pt x="389" y="278"/>
                </a:lnTo>
                <a:lnTo>
                  <a:pt x="380" y="271"/>
                </a:lnTo>
                <a:lnTo>
                  <a:pt x="371" y="268"/>
                </a:lnTo>
                <a:lnTo>
                  <a:pt x="363" y="265"/>
                </a:lnTo>
                <a:lnTo>
                  <a:pt x="351" y="265"/>
                </a:lnTo>
                <a:lnTo>
                  <a:pt x="342" y="265"/>
                </a:lnTo>
                <a:lnTo>
                  <a:pt x="333" y="268"/>
                </a:lnTo>
                <a:lnTo>
                  <a:pt x="324" y="271"/>
                </a:lnTo>
                <a:lnTo>
                  <a:pt x="316" y="278"/>
                </a:lnTo>
                <a:lnTo>
                  <a:pt x="309" y="284"/>
                </a:lnTo>
                <a:lnTo>
                  <a:pt x="303" y="291"/>
                </a:lnTo>
                <a:lnTo>
                  <a:pt x="298" y="300"/>
                </a:lnTo>
                <a:lnTo>
                  <a:pt x="296" y="308"/>
                </a:lnTo>
                <a:lnTo>
                  <a:pt x="218" y="308"/>
                </a:lnTo>
                <a:lnTo>
                  <a:pt x="216" y="300"/>
                </a:lnTo>
                <a:lnTo>
                  <a:pt x="211" y="291"/>
                </a:lnTo>
                <a:lnTo>
                  <a:pt x="204" y="284"/>
                </a:lnTo>
                <a:lnTo>
                  <a:pt x="198" y="278"/>
                </a:lnTo>
                <a:lnTo>
                  <a:pt x="190" y="271"/>
                </a:lnTo>
                <a:lnTo>
                  <a:pt x="181" y="268"/>
                </a:lnTo>
                <a:lnTo>
                  <a:pt x="171" y="265"/>
                </a:lnTo>
                <a:lnTo>
                  <a:pt x="161" y="265"/>
                </a:lnTo>
                <a:lnTo>
                  <a:pt x="151" y="265"/>
                </a:lnTo>
                <a:lnTo>
                  <a:pt x="143" y="268"/>
                </a:lnTo>
                <a:lnTo>
                  <a:pt x="134" y="271"/>
                </a:lnTo>
                <a:lnTo>
                  <a:pt x="125" y="278"/>
                </a:lnTo>
                <a:lnTo>
                  <a:pt x="119" y="284"/>
                </a:lnTo>
                <a:lnTo>
                  <a:pt x="113" y="291"/>
                </a:lnTo>
                <a:lnTo>
                  <a:pt x="108" y="300"/>
                </a:lnTo>
                <a:lnTo>
                  <a:pt x="106" y="308"/>
                </a:lnTo>
                <a:lnTo>
                  <a:pt x="88" y="308"/>
                </a:lnTo>
                <a:lnTo>
                  <a:pt x="82" y="307"/>
                </a:lnTo>
                <a:lnTo>
                  <a:pt x="78" y="305"/>
                </a:lnTo>
                <a:lnTo>
                  <a:pt x="75" y="300"/>
                </a:lnTo>
                <a:lnTo>
                  <a:pt x="73" y="294"/>
                </a:lnTo>
                <a:lnTo>
                  <a:pt x="73" y="250"/>
                </a:lnTo>
                <a:lnTo>
                  <a:pt x="264" y="250"/>
                </a:lnTo>
                <a:lnTo>
                  <a:pt x="272" y="249"/>
                </a:lnTo>
                <a:lnTo>
                  <a:pt x="281" y="247"/>
                </a:lnTo>
                <a:lnTo>
                  <a:pt x="288" y="243"/>
                </a:lnTo>
                <a:lnTo>
                  <a:pt x="295" y="237"/>
                </a:lnTo>
                <a:lnTo>
                  <a:pt x="301" y="231"/>
                </a:lnTo>
                <a:lnTo>
                  <a:pt x="304" y="223"/>
                </a:lnTo>
                <a:lnTo>
                  <a:pt x="307" y="214"/>
                </a:lnTo>
                <a:lnTo>
                  <a:pt x="308" y="206"/>
                </a:lnTo>
                <a:lnTo>
                  <a:pt x="308" y="103"/>
                </a:lnTo>
                <a:lnTo>
                  <a:pt x="366" y="103"/>
                </a:lnTo>
                <a:lnTo>
                  <a:pt x="370" y="104"/>
                </a:lnTo>
                <a:lnTo>
                  <a:pt x="374" y="106"/>
                </a:lnTo>
                <a:lnTo>
                  <a:pt x="376" y="107"/>
                </a:lnTo>
                <a:lnTo>
                  <a:pt x="379" y="109"/>
                </a:lnTo>
                <a:lnTo>
                  <a:pt x="438" y="198"/>
                </a:lnTo>
                <a:lnTo>
                  <a:pt x="439" y="202"/>
                </a:lnTo>
                <a:lnTo>
                  <a:pt x="440" y="206"/>
                </a:lnTo>
                <a:lnTo>
                  <a:pt x="440" y="294"/>
                </a:lnTo>
                <a:close/>
                <a:moveTo>
                  <a:pt x="351" y="353"/>
                </a:moveTo>
                <a:lnTo>
                  <a:pt x="347" y="352"/>
                </a:lnTo>
                <a:lnTo>
                  <a:pt x="340" y="351"/>
                </a:lnTo>
                <a:lnTo>
                  <a:pt x="335" y="348"/>
                </a:lnTo>
                <a:lnTo>
                  <a:pt x="332" y="344"/>
                </a:lnTo>
                <a:lnTo>
                  <a:pt x="328" y="339"/>
                </a:lnTo>
                <a:lnTo>
                  <a:pt x="325" y="334"/>
                </a:lnTo>
                <a:lnTo>
                  <a:pt x="323" y="330"/>
                </a:lnTo>
                <a:lnTo>
                  <a:pt x="323" y="323"/>
                </a:lnTo>
                <a:lnTo>
                  <a:pt x="323" y="317"/>
                </a:lnTo>
                <a:lnTo>
                  <a:pt x="325" y="312"/>
                </a:lnTo>
                <a:lnTo>
                  <a:pt x="328" y="307"/>
                </a:lnTo>
                <a:lnTo>
                  <a:pt x="332" y="302"/>
                </a:lnTo>
                <a:lnTo>
                  <a:pt x="335" y="299"/>
                </a:lnTo>
                <a:lnTo>
                  <a:pt x="340" y="296"/>
                </a:lnTo>
                <a:lnTo>
                  <a:pt x="347" y="295"/>
                </a:lnTo>
                <a:lnTo>
                  <a:pt x="351" y="294"/>
                </a:lnTo>
                <a:lnTo>
                  <a:pt x="358" y="295"/>
                </a:lnTo>
                <a:lnTo>
                  <a:pt x="364" y="296"/>
                </a:lnTo>
                <a:lnTo>
                  <a:pt x="369" y="299"/>
                </a:lnTo>
                <a:lnTo>
                  <a:pt x="372" y="302"/>
                </a:lnTo>
                <a:lnTo>
                  <a:pt x="376" y="307"/>
                </a:lnTo>
                <a:lnTo>
                  <a:pt x="379" y="312"/>
                </a:lnTo>
                <a:lnTo>
                  <a:pt x="381" y="317"/>
                </a:lnTo>
                <a:lnTo>
                  <a:pt x="381" y="323"/>
                </a:lnTo>
                <a:lnTo>
                  <a:pt x="381" y="330"/>
                </a:lnTo>
                <a:lnTo>
                  <a:pt x="379" y="334"/>
                </a:lnTo>
                <a:lnTo>
                  <a:pt x="376" y="339"/>
                </a:lnTo>
                <a:lnTo>
                  <a:pt x="372" y="344"/>
                </a:lnTo>
                <a:lnTo>
                  <a:pt x="369" y="348"/>
                </a:lnTo>
                <a:lnTo>
                  <a:pt x="364" y="351"/>
                </a:lnTo>
                <a:lnTo>
                  <a:pt x="358" y="352"/>
                </a:lnTo>
                <a:lnTo>
                  <a:pt x="351" y="353"/>
                </a:lnTo>
                <a:close/>
                <a:moveTo>
                  <a:pt x="161" y="353"/>
                </a:moveTo>
                <a:lnTo>
                  <a:pt x="156" y="352"/>
                </a:lnTo>
                <a:lnTo>
                  <a:pt x="150" y="351"/>
                </a:lnTo>
                <a:lnTo>
                  <a:pt x="145" y="348"/>
                </a:lnTo>
                <a:lnTo>
                  <a:pt x="141" y="344"/>
                </a:lnTo>
                <a:lnTo>
                  <a:pt x="138" y="339"/>
                </a:lnTo>
                <a:lnTo>
                  <a:pt x="135" y="334"/>
                </a:lnTo>
                <a:lnTo>
                  <a:pt x="133" y="330"/>
                </a:lnTo>
                <a:lnTo>
                  <a:pt x="133" y="323"/>
                </a:lnTo>
                <a:lnTo>
                  <a:pt x="133" y="317"/>
                </a:lnTo>
                <a:lnTo>
                  <a:pt x="135" y="312"/>
                </a:lnTo>
                <a:lnTo>
                  <a:pt x="138" y="307"/>
                </a:lnTo>
                <a:lnTo>
                  <a:pt x="141" y="302"/>
                </a:lnTo>
                <a:lnTo>
                  <a:pt x="145" y="299"/>
                </a:lnTo>
                <a:lnTo>
                  <a:pt x="150" y="296"/>
                </a:lnTo>
                <a:lnTo>
                  <a:pt x="156" y="295"/>
                </a:lnTo>
                <a:lnTo>
                  <a:pt x="161" y="294"/>
                </a:lnTo>
                <a:lnTo>
                  <a:pt x="167" y="295"/>
                </a:lnTo>
                <a:lnTo>
                  <a:pt x="173" y="296"/>
                </a:lnTo>
                <a:lnTo>
                  <a:pt x="178" y="299"/>
                </a:lnTo>
                <a:lnTo>
                  <a:pt x="182" y="302"/>
                </a:lnTo>
                <a:lnTo>
                  <a:pt x="186" y="307"/>
                </a:lnTo>
                <a:lnTo>
                  <a:pt x="188" y="312"/>
                </a:lnTo>
                <a:lnTo>
                  <a:pt x="191" y="317"/>
                </a:lnTo>
                <a:lnTo>
                  <a:pt x="191" y="323"/>
                </a:lnTo>
                <a:lnTo>
                  <a:pt x="191" y="330"/>
                </a:lnTo>
                <a:lnTo>
                  <a:pt x="188" y="334"/>
                </a:lnTo>
                <a:lnTo>
                  <a:pt x="186" y="339"/>
                </a:lnTo>
                <a:lnTo>
                  <a:pt x="182" y="344"/>
                </a:lnTo>
                <a:lnTo>
                  <a:pt x="178" y="348"/>
                </a:lnTo>
                <a:lnTo>
                  <a:pt x="173" y="351"/>
                </a:lnTo>
                <a:lnTo>
                  <a:pt x="167" y="352"/>
                </a:lnTo>
                <a:lnTo>
                  <a:pt x="161" y="353"/>
                </a:lnTo>
                <a:close/>
                <a:moveTo>
                  <a:pt x="45" y="221"/>
                </a:moveTo>
                <a:lnTo>
                  <a:pt x="39" y="219"/>
                </a:lnTo>
                <a:lnTo>
                  <a:pt x="34" y="217"/>
                </a:lnTo>
                <a:lnTo>
                  <a:pt x="31" y="212"/>
                </a:lnTo>
                <a:lnTo>
                  <a:pt x="30" y="206"/>
                </a:lnTo>
                <a:lnTo>
                  <a:pt x="30" y="45"/>
                </a:lnTo>
                <a:lnTo>
                  <a:pt x="31" y="39"/>
                </a:lnTo>
                <a:lnTo>
                  <a:pt x="34" y="34"/>
                </a:lnTo>
                <a:lnTo>
                  <a:pt x="39" y="31"/>
                </a:lnTo>
                <a:lnTo>
                  <a:pt x="45" y="30"/>
                </a:lnTo>
                <a:lnTo>
                  <a:pt x="264" y="30"/>
                </a:lnTo>
                <a:lnTo>
                  <a:pt x="270" y="31"/>
                </a:lnTo>
                <a:lnTo>
                  <a:pt x="275" y="34"/>
                </a:lnTo>
                <a:lnTo>
                  <a:pt x="277" y="39"/>
                </a:lnTo>
                <a:lnTo>
                  <a:pt x="279" y="45"/>
                </a:lnTo>
                <a:lnTo>
                  <a:pt x="279" y="73"/>
                </a:lnTo>
                <a:lnTo>
                  <a:pt x="279" y="103"/>
                </a:lnTo>
                <a:lnTo>
                  <a:pt x="279" y="206"/>
                </a:lnTo>
                <a:lnTo>
                  <a:pt x="277" y="212"/>
                </a:lnTo>
                <a:lnTo>
                  <a:pt x="275" y="217"/>
                </a:lnTo>
                <a:lnTo>
                  <a:pt x="270" y="219"/>
                </a:lnTo>
                <a:lnTo>
                  <a:pt x="264" y="221"/>
                </a:lnTo>
                <a:lnTo>
                  <a:pt x="45" y="221"/>
                </a:lnTo>
                <a:close/>
                <a:moveTo>
                  <a:pt x="461" y="181"/>
                </a:moveTo>
                <a:lnTo>
                  <a:pt x="403" y="93"/>
                </a:lnTo>
                <a:lnTo>
                  <a:pt x="400" y="89"/>
                </a:lnTo>
                <a:lnTo>
                  <a:pt x="396" y="86"/>
                </a:lnTo>
                <a:lnTo>
                  <a:pt x="392" y="82"/>
                </a:lnTo>
                <a:lnTo>
                  <a:pt x="387" y="80"/>
                </a:lnTo>
                <a:lnTo>
                  <a:pt x="382" y="77"/>
                </a:lnTo>
                <a:lnTo>
                  <a:pt x="377" y="76"/>
                </a:lnTo>
                <a:lnTo>
                  <a:pt x="372" y="75"/>
                </a:lnTo>
                <a:lnTo>
                  <a:pt x="366" y="73"/>
                </a:lnTo>
                <a:lnTo>
                  <a:pt x="308" y="73"/>
                </a:lnTo>
                <a:lnTo>
                  <a:pt x="308" y="45"/>
                </a:lnTo>
                <a:lnTo>
                  <a:pt x="307" y="36"/>
                </a:lnTo>
                <a:lnTo>
                  <a:pt x="304" y="28"/>
                </a:lnTo>
                <a:lnTo>
                  <a:pt x="301" y="20"/>
                </a:lnTo>
                <a:lnTo>
                  <a:pt x="295" y="14"/>
                </a:lnTo>
                <a:lnTo>
                  <a:pt x="288" y="8"/>
                </a:lnTo>
                <a:lnTo>
                  <a:pt x="281" y="4"/>
                </a:lnTo>
                <a:lnTo>
                  <a:pt x="272" y="2"/>
                </a:lnTo>
                <a:lnTo>
                  <a:pt x="264" y="0"/>
                </a:lnTo>
                <a:lnTo>
                  <a:pt x="45" y="0"/>
                </a:lnTo>
                <a:lnTo>
                  <a:pt x="35" y="2"/>
                </a:lnTo>
                <a:lnTo>
                  <a:pt x="28" y="4"/>
                </a:lnTo>
                <a:lnTo>
                  <a:pt x="20" y="8"/>
                </a:lnTo>
                <a:lnTo>
                  <a:pt x="13" y="14"/>
                </a:lnTo>
                <a:lnTo>
                  <a:pt x="8" y="20"/>
                </a:lnTo>
                <a:lnTo>
                  <a:pt x="4" y="28"/>
                </a:lnTo>
                <a:lnTo>
                  <a:pt x="2" y="36"/>
                </a:lnTo>
                <a:lnTo>
                  <a:pt x="0" y="45"/>
                </a:lnTo>
                <a:lnTo>
                  <a:pt x="0" y="206"/>
                </a:lnTo>
                <a:lnTo>
                  <a:pt x="2" y="214"/>
                </a:lnTo>
                <a:lnTo>
                  <a:pt x="4" y="223"/>
                </a:lnTo>
                <a:lnTo>
                  <a:pt x="8" y="231"/>
                </a:lnTo>
                <a:lnTo>
                  <a:pt x="13" y="237"/>
                </a:lnTo>
                <a:lnTo>
                  <a:pt x="20" y="243"/>
                </a:lnTo>
                <a:lnTo>
                  <a:pt x="28" y="247"/>
                </a:lnTo>
                <a:lnTo>
                  <a:pt x="35" y="249"/>
                </a:lnTo>
                <a:lnTo>
                  <a:pt x="45" y="250"/>
                </a:lnTo>
                <a:lnTo>
                  <a:pt x="45" y="294"/>
                </a:lnTo>
                <a:lnTo>
                  <a:pt x="45" y="302"/>
                </a:lnTo>
                <a:lnTo>
                  <a:pt x="47" y="311"/>
                </a:lnTo>
                <a:lnTo>
                  <a:pt x="52" y="318"/>
                </a:lnTo>
                <a:lnTo>
                  <a:pt x="57" y="325"/>
                </a:lnTo>
                <a:lnTo>
                  <a:pt x="63" y="331"/>
                </a:lnTo>
                <a:lnTo>
                  <a:pt x="71" y="334"/>
                </a:lnTo>
                <a:lnTo>
                  <a:pt x="80" y="337"/>
                </a:lnTo>
                <a:lnTo>
                  <a:pt x="88" y="338"/>
                </a:lnTo>
                <a:lnTo>
                  <a:pt x="106" y="338"/>
                </a:lnTo>
                <a:lnTo>
                  <a:pt x="108" y="347"/>
                </a:lnTo>
                <a:lnTo>
                  <a:pt x="113" y="355"/>
                </a:lnTo>
                <a:lnTo>
                  <a:pt x="119" y="363"/>
                </a:lnTo>
                <a:lnTo>
                  <a:pt x="125" y="369"/>
                </a:lnTo>
                <a:lnTo>
                  <a:pt x="134" y="375"/>
                </a:lnTo>
                <a:lnTo>
                  <a:pt x="143" y="379"/>
                </a:lnTo>
                <a:lnTo>
                  <a:pt x="151" y="381"/>
                </a:lnTo>
                <a:lnTo>
                  <a:pt x="161" y="381"/>
                </a:lnTo>
                <a:lnTo>
                  <a:pt x="171" y="381"/>
                </a:lnTo>
                <a:lnTo>
                  <a:pt x="181" y="379"/>
                </a:lnTo>
                <a:lnTo>
                  <a:pt x="190" y="375"/>
                </a:lnTo>
                <a:lnTo>
                  <a:pt x="198" y="369"/>
                </a:lnTo>
                <a:lnTo>
                  <a:pt x="204" y="363"/>
                </a:lnTo>
                <a:lnTo>
                  <a:pt x="211" y="355"/>
                </a:lnTo>
                <a:lnTo>
                  <a:pt x="216" y="347"/>
                </a:lnTo>
                <a:lnTo>
                  <a:pt x="218" y="338"/>
                </a:lnTo>
                <a:lnTo>
                  <a:pt x="296" y="338"/>
                </a:lnTo>
                <a:lnTo>
                  <a:pt x="298" y="347"/>
                </a:lnTo>
                <a:lnTo>
                  <a:pt x="303" y="355"/>
                </a:lnTo>
                <a:lnTo>
                  <a:pt x="309" y="363"/>
                </a:lnTo>
                <a:lnTo>
                  <a:pt x="316" y="369"/>
                </a:lnTo>
                <a:lnTo>
                  <a:pt x="324" y="375"/>
                </a:lnTo>
                <a:lnTo>
                  <a:pt x="333" y="379"/>
                </a:lnTo>
                <a:lnTo>
                  <a:pt x="342" y="381"/>
                </a:lnTo>
                <a:lnTo>
                  <a:pt x="351" y="381"/>
                </a:lnTo>
                <a:lnTo>
                  <a:pt x="363" y="381"/>
                </a:lnTo>
                <a:lnTo>
                  <a:pt x="371" y="379"/>
                </a:lnTo>
                <a:lnTo>
                  <a:pt x="380" y="375"/>
                </a:lnTo>
                <a:lnTo>
                  <a:pt x="389" y="369"/>
                </a:lnTo>
                <a:lnTo>
                  <a:pt x="395" y="363"/>
                </a:lnTo>
                <a:lnTo>
                  <a:pt x="401" y="355"/>
                </a:lnTo>
                <a:lnTo>
                  <a:pt x="406" y="347"/>
                </a:lnTo>
                <a:lnTo>
                  <a:pt x="408" y="338"/>
                </a:lnTo>
                <a:lnTo>
                  <a:pt x="426" y="338"/>
                </a:lnTo>
                <a:lnTo>
                  <a:pt x="434" y="337"/>
                </a:lnTo>
                <a:lnTo>
                  <a:pt x="443" y="334"/>
                </a:lnTo>
                <a:lnTo>
                  <a:pt x="450" y="331"/>
                </a:lnTo>
                <a:lnTo>
                  <a:pt x="456" y="325"/>
                </a:lnTo>
                <a:lnTo>
                  <a:pt x="461" y="318"/>
                </a:lnTo>
                <a:lnTo>
                  <a:pt x="465" y="311"/>
                </a:lnTo>
                <a:lnTo>
                  <a:pt x="469" y="302"/>
                </a:lnTo>
                <a:lnTo>
                  <a:pt x="469" y="294"/>
                </a:lnTo>
                <a:lnTo>
                  <a:pt x="469" y="206"/>
                </a:lnTo>
                <a:lnTo>
                  <a:pt x="469" y="200"/>
                </a:lnTo>
                <a:lnTo>
                  <a:pt x="468" y="193"/>
                </a:lnTo>
                <a:lnTo>
                  <a:pt x="465" y="187"/>
                </a:lnTo>
                <a:lnTo>
                  <a:pt x="461" y="181"/>
                </a:lnTo>
                <a:close/>
                <a:moveTo>
                  <a:pt x="364" y="124"/>
                </a:moveTo>
                <a:lnTo>
                  <a:pt x="361" y="122"/>
                </a:lnTo>
                <a:lnTo>
                  <a:pt x="359" y="119"/>
                </a:lnTo>
                <a:lnTo>
                  <a:pt x="355" y="118"/>
                </a:lnTo>
                <a:lnTo>
                  <a:pt x="351" y="118"/>
                </a:lnTo>
                <a:lnTo>
                  <a:pt x="338" y="118"/>
                </a:lnTo>
                <a:lnTo>
                  <a:pt x="332" y="119"/>
                </a:lnTo>
                <a:lnTo>
                  <a:pt x="327" y="123"/>
                </a:lnTo>
                <a:lnTo>
                  <a:pt x="324" y="127"/>
                </a:lnTo>
                <a:lnTo>
                  <a:pt x="323" y="133"/>
                </a:lnTo>
                <a:lnTo>
                  <a:pt x="323" y="221"/>
                </a:lnTo>
                <a:lnTo>
                  <a:pt x="324" y="227"/>
                </a:lnTo>
                <a:lnTo>
                  <a:pt x="327" y="231"/>
                </a:lnTo>
                <a:lnTo>
                  <a:pt x="332" y="234"/>
                </a:lnTo>
                <a:lnTo>
                  <a:pt x="338" y="235"/>
                </a:lnTo>
                <a:lnTo>
                  <a:pt x="396" y="235"/>
                </a:lnTo>
                <a:lnTo>
                  <a:pt x="402" y="234"/>
                </a:lnTo>
                <a:lnTo>
                  <a:pt x="406" y="231"/>
                </a:lnTo>
                <a:lnTo>
                  <a:pt x="410" y="227"/>
                </a:lnTo>
                <a:lnTo>
                  <a:pt x="411" y="221"/>
                </a:lnTo>
                <a:lnTo>
                  <a:pt x="411" y="198"/>
                </a:lnTo>
                <a:lnTo>
                  <a:pt x="410" y="195"/>
                </a:lnTo>
                <a:lnTo>
                  <a:pt x="408" y="191"/>
                </a:lnTo>
                <a:lnTo>
                  <a:pt x="364" y="12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0" name="Freeform 7">
            <a:extLst>
              <a:ext uri="{FF2B5EF4-FFF2-40B4-BE49-F238E27FC236}">
                <a16:creationId xmlns:a16="http://schemas.microsoft.com/office/drawing/2014/main" id="{9AAD5DA0-9094-5B7F-2419-DE3966356246}"/>
              </a:ext>
            </a:extLst>
          </p:cNvPr>
          <p:cNvSpPr>
            <a:spLocks noEditPoints="1"/>
          </p:cNvSpPr>
          <p:nvPr/>
        </p:nvSpPr>
        <p:spPr bwMode="auto">
          <a:xfrm>
            <a:off x="7747000" y="8797883"/>
            <a:ext cx="371475" cy="371475"/>
          </a:xfrm>
          <a:custGeom>
            <a:avLst/>
            <a:gdLst>
              <a:gd name="T0" fmla="*/ 55 w 469"/>
              <a:gd name="T1" fmla="*/ 333 h 469"/>
              <a:gd name="T2" fmla="*/ 37 w 469"/>
              <a:gd name="T3" fmla="*/ 178 h 469"/>
              <a:gd name="T4" fmla="*/ 136 w 469"/>
              <a:gd name="T5" fmla="*/ 55 h 469"/>
              <a:gd name="T6" fmla="*/ 291 w 469"/>
              <a:gd name="T7" fmla="*/ 37 h 469"/>
              <a:gd name="T8" fmla="*/ 414 w 469"/>
              <a:gd name="T9" fmla="*/ 136 h 469"/>
              <a:gd name="T10" fmla="*/ 432 w 469"/>
              <a:gd name="T11" fmla="*/ 291 h 469"/>
              <a:gd name="T12" fmla="*/ 333 w 469"/>
              <a:gd name="T13" fmla="*/ 415 h 469"/>
              <a:gd name="T14" fmla="*/ 178 w 469"/>
              <a:gd name="T15" fmla="*/ 432 h 469"/>
              <a:gd name="T16" fmla="*/ 183 w 469"/>
              <a:gd name="T17" fmla="*/ 99 h 469"/>
              <a:gd name="T18" fmla="*/ 130 w 469"/>
              <a:gd name="T19" fmla="*/ 131 h 469"/>
              <a:gd name="T20" fmla="*/ 103 w 469"/>
              <a:gd name="T21" fmla="*/ 189 h 469"/>
              <a:gd name="T22" fmla="*/ 141 w 469"/>
              <a:gd name="T23" fmla="*/ 141 h 469"/>
              <a:gd name="T24" fmla="*/ 171 w 469"/>
              <a:gd name="T25" fmla="*/ 72 h 469"/>
              <a:gd name="T26" fmla="*/ 110 w 469"/>
              <a:gd name="T27" fmla="*/ 110 h 469"/>
              <a:gd name="T28" fmla="*/ 76 w 469"/>
              <a:gd name="T29" fmla="*/ 178 h 469"/>
              <a:gd name="T30" fmla="*/ 120 w 469"/>
              <a:gd name="T31" fmla="*/ 121 h 469"/>
              <a:gd name="T32" fmla="*/ 176 w 469"/>
              <a:gd name="T33" fmla="*/ 77 h 469"/>
              <a:gd name="T34" fmla="*/ 178 w 469"/>
              <a:gd name="T35" fmla="*/ 131 h 469"/>
              <a:gd name="T36" fmla="*/ 126 w 469"/>
              <a:gd name="T37" fmla="*/ 191 h 469"/>
              <a:gd name="T38" fmla="*/ 140 w 469"/>
              <a:gd name="T39" fmla="*/ 196 h 469"/>
              <a:gd name="T40" fmla="*/ 186 w 469"/>
              <a:gd name="T41" fmla="*/ 145 h 469"/>
              <a:gd name="T42" fmla="*/ 361 w 469"/>
              <a:gd name="T43" fmla="*/ 280 h 469"/>
              <a:gd name="T44" fmla="*/ 309 w 469"/>
              <a:gd name="T45" fmla="*/ 344 h 469"/>
              <a:gd name="T46" fmla="*/ 285 w 469"/>
              <a:gd name="T47" fmla="*/ 368 h 469"/>
              <a:gd name="T48" fmla="*/ 329 w 469"/>
              <a:gd name="T49" fmla="*/ 347 h 469"/>
              <a:gd name="T50" fmla="*/ 369 w 469"/>
              <a:gd name="T51" fmla="*/ 281 h 469"/>
              <a:gd name="T52" fmla="*/ 370 w 469"/>
              <a:gd name="T53" fmla="*/ 323 h 469"/>
              <a:gd name="T54" fmla="*/ 294 w 469"/>
              <a:gd name="T55" fmla="*/ 386 h 469"/>
              <a:gd name="T56" fmla="*/ 304 w 469"/>
              <a:gd name="T57" fmla="*/ 396 h 469"/>
              <a:gd name="T58" fmla="*/ 398 w 469"/>
              <a:gd name="T59" fmla="*/ 300 h 469"/>
              <a:gd name="T60" fmla="*/ 341 w 469"/>
              <a:gd name="T61" fmla="*/ 270 h 469"/>
              <a:gd name="T62" fmla="*/ 320 w 469"/>
              <a:gd name="T63" fmla="*/ 291 h 469"/>
              <a:gd name="T64" fmla="*/ 271 w 469"/>
              <a:gd name="T65" fmla="*/ 333 h 469"/>
              <a:gd name="T66" fmla="*/ 281 w 469"/>
              <a:gd name="T67" fmla="*/ 342 h 469"/>
              <a:gd name="T68" fmla="*/ 344 w 469"/>
              <a:gd name="T69" fmla="*/ 278 h 469"/>
              <a:gd name="T70" fmla="*/ 176 w 469"/>
              <a:gd name="T71" fmla="*/ 235 h 469"/>
              <a:gd name="T72" fmla="*/ 234 w 469"/>
              <a:gd name="T73" fmla="*/ 176 h 469"/>
              <a:gd name="T74" fmla="*/ 293 w 469"/>
              <a:gd name="T75" fmla="*/ 233 h 469"/>
              <a:gd name="T76" fmla="*/ 236 w 469"/>
              <a:gd name="T77" fmla="*/ 293 h 469"/>
              <a:gd name="T78" fmla="*/ 225 w 469"/>
              <a:gd name="T79" fmla="*/ 147 h 469"/>
              <a:gd name="T80" fmla="*/ 167 w 469"/>
              <a:gd name="T81" fmla="*/ 178 h 469"/>
              <a:gd name="T82" fmla="*/ 147 w 469"/>
              <a:gd name="T83" fmla="*/ 245 h 469"/>
              <a:gd name="T84" fmla="*/ 180 w 469"/>
              <a:gd name="T85" fmla="*/ 303 h 469"/>
              <a:gd name="T86" fmla="*/ 245 w 469"/>
              <a:gd name="T87" fmla="*/ 322 h 469"/>
              <a:gd name="T88" fmla="*/ 303 w 469"/>
              <a:gd name="T89" fmla="*/ 290 h 469"/>
              <a:gd name="T90" fmla="*/ 322 w 469"/>
              <a:gd name="T91" fmla="*/ 224 h 469"/>
              <a:gd name="T92" fmla="*/ 291 w 469"/>
              <a:gd name="T93" fmla="*/ 166 h 469"/>
              <a:gd name="T94" fmla="*/ 222 w 469"/>
              <a:gd name="T95" fmla="*/ 229 h 469"/>
              <a:gd name="T96" fmla="*/ 249 w 469"/>
              <a:gd name="T97" fmla="*/ 240 h 469"/>
              <a:gd name="T98" fmla="*/ 229 w 469"/>
              <a:gd name="T99" fmla="*/ 205 h 469"/>
              <a:gd name="T100" fmla="*/ 207 w 469"/>
              <a:gd name="T101" fmla="*/ 240 h 469"/>
              <a:gd name="T102" fmla="*/ 241 w 469"/>
              <a:gd name="T103" fmla="*/ 264 h 469"/>
              <a:gd name="T104" fmla="*/ 264 w 469"/>
              <a:gd name="T105" fmla="*/ 228 h 469"/>
              <a:gd name="T106" fmla="*/ 276 w 469"/>
              <a:gd name="T107" fmla="*/ 4 h 469"/>
              <a:gd name="T108" fmla="*/ 103 w 469"/>
              <a:gd name="T109" fmla="*/ 40 h 469"/>
              <a:gd name="T110" fmla="*/ 4 w 469"/>
              <a:gd name="T111" fmla="*/ 193 h 469"/>
              <a:gd name="T112" fmla="*/ 41 w 469"/>
              <a:gd name="T113" fmla="*/ 366 h 469"/>
              <a:gd name="T114" fmla="*/ 193 w 469"/>
              <a:gd name="T115" fmla="*/ 465 h 469"/>
              <a:gd name="T116" fmla="*/ 366 w 469"/>
              <a:gd name="T117" fmla="*/ 428 h 469"/>
              <a:gd name="T118" fmla="*/ 465 w 469"/>
              <a:gd name="T119" fmla="*/ 276 h 469"/>
              <a:gd name="T120" fmla="*/ 429 w 469"/>
              <a:gd name="T121" fmla="*/ 103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9" h="469">
                <a:moveTo>
                  <a:pt x="159" y="424"/>
                </a:moveTo>
                <a:lnTo>
                  <a:pt x="140" y="416"/>
                </a:lnTo>
                <a:lnTo>
                  <a:pt x="121" y="406"/>
                </a:lnTo>
                <a:lnTo>
                  <a:pt x="105" y="394"/>
                </a:lnTo>
                <a:lnTo>
                  <a:pt x="91" y="380"/>
                </a:lnTo>
                <a:lnTo>
                  <a:pt x="77" y="365"/>
                </a:lnTo>
                <a:lnTo>
                  <a:pt x="66" y="350"/>
                </a:lnTo>
                <a:lnTo>
                  <a:pt x="55" y="333"/>
                </a:lnTo>
                <a:lnTo>
                  <a:pt x="46" y="316"/>
                </a:lnTo>
                <a:lnTo>
                  <a:pt x="40" y="297"/>
                </a:lnTo>
                <a:lnTo>
                  <a:pt x="35" y="277"/>
                </a:lnTo>
                <a:lnTo>
                  <a:pt x="31" y="257"/>
                </a:lnTo>
                <a:lnTo>
                  <a:pt x="30" y="238"/>
                </a:lnTo>
                <a:lnTo>
                  <a:pt x="30" y="218"/>
                </a:lnTo>
                <a:lnTo>
                  <a:pt x="32" y="198"/>
                </a:lnTo>
                <a:lnTo>
                  <a:pt x="37" y="178"/>
                </a:lnTo>
                <a:lnTo>
                  <a:pt x="45" y="158"/>
                </a:lnTo>
                <a:lnTo>
                  <a:pt x="53" y="139"/>
                </a:lnTo>
                <a:lnTo>
                  <a:pt x="63" y="121"/>
                </a:lnTo>
                <a:lnTo>
                  <a:pt x="76" y="105"/>
                </a:lnTo>
                <a:lnTo>
                  <a:pt x="89" y="90"/>
                </a:lnTo>
                <a:lnTo>
                  <a:pt x="104" y="77"/>
                </a:lnTo>
                <a:lnTo>
                  <a:pt x="120" y="64"/>
                </a:lnTo>
                <a:lnTo>
                  <a:pt x="136" y="55"/>
                </a:lnTo>
                <a:lnTo>
                  <a:pt x="154" y="46"/>
                </a:lnTo>
                <a:lnTo>
                  <a:pt x="172" y="38"/>
                </a:lnTo>
                <a:lnTo>
                  <a:pt x="192" y="34"/>
                </a:lnTo>
                <a:lnTo>
                  <a:pt x="212" y="30"/>
                </a:lnTo>
                <a:lnTo>
                  <a:pt x="231" y="29"/>
                </a:lnTo>
                <a:lnTo>
                  <a:pt x="251" y="30"/>
                </a:lnTo>
                <a:lnTo>
                  <a:pt x="271" y="32"/>
                </a:lnTo>
                <a:lnTo>
                  <a:pt x="291" y="37"/>
                </a:lnTo>
                <a:lnTo>
                  <a:pt x="311" y="43"/>
                </a:lnTo>
                <a:lnTo>
                  <a:pt x="330" y="52"/>
                </a:lnTo>
                <a:lnTo>
                  <a:pt x="348" y="63"/>
                </a:lnTo>
                <a:lnTo>
                  <a:pt x="364" y="76"/>
                </a:lnTo>
                <a:lnTo>
                  <a:pt x="379" y="88"/>
                </a:lnTo>
                <a:lnTo>
                  <a:pt x="392" y="103"/>
                </a:lnTo>
                <a:lnTo>
                  <a:pt x="404" y="119"/>
                </a:lnTo>
                <a:lnTo>
                  <a:pt x="414" y="136"/>
                </a:lnTo>
                <a:lnTo>
                  <a:pt x="423" y="154"/>
                </a:lnTo>
                <a:lnTo>
                  <a:pt x="430" y="172"/>
                </a:lnTo>
                <a:lnTo>
                  <a:pt x="435" y="191"/>
                </a:lnTo>
                <a:lnTo>
                  <a:pt x="439" y="210"/>
                </a:lnTo>
                <a:lnTo>
                  <a:pt x="440" y="230"/>
                </a:lnTo>
                <a:lnTo>
                  <a:pt x="439" y="250"/>
                </a:lnTo>
                <a:lnTo>
                  <a:pt x="437" y="271"/>
                </a:lnTo>
                <a:lnTo>
                  <a:pt x="432" y="291"/>
                </a:lnTo>
                <a:lnTo>
                  <a:pt x="425" y="311"/>
                </a:lnTo>
                <a:lnTo>
                  <a:pt x="417" y="329"/>
                </a:lnTo>
                <a:lnTo>
                  <a:pt x="406" y="348"/>
                </a:lnTo>
                <a:lnTo>
                  <a:pt x="395" y="364"/>
                </a:lnTo>
                <a:lnTo>
                  <a:pt x="381" y="379"/>
                </a:lnTo>
                <a:lnTo>
                  <a:pt x="366" y="392"/>
                </a:lnTo>
                <a:lnTo>
                  <a:pt x="350" y="405"/>
                </a:lnTo>
                <a:lnTo>
                  <a:pt x="333" y="415"/>
                </a:lnTo>
                <a:lnTo>
                  <a:pt x="315" y="423"/>
                </a:lnTo>
                <a:lnTo>
                  <a:pt x="297" y="429"/>
                </a:lnTo>
                <a:lnTo>
                  <a:pt x="278" y="436"/>
                </a:lnTo>
                <a:lnTo>
                  <a:pt x="259" y="438"/>
                </a:lnTo>
                <a:lnTo>
                  <a:pt x="239" y="439"/>
                </a:lnTo>
                <a:lnTo>
                  <a:pt x="219" y="439"/>
                </a:lnTo>
                <a:lnTo>
                  <a:pt x="198" y="437"/>
                </a:lnTo>
                <a:lnTo>
                  <a:pt x="178" y="432"/>
                </a:lnTo>
                <a:lnTo>
                  <a:pt x="159" y="424"/>
                </a:lnTo>
                <a:close/>
                <a:moveTo>
                  <a:pt x="183" y="113"/>
                </a:moveTo>
                <a:lnTo>
                  <a:pt x="186" y="111"/>
                </a:lnTo>
                <a:lnTo>
                  <a:pt x="187" y="109"/>
                </a:lnTo>
                <a:lnTo>
                  <a:pt x="187" y="107"/>
                </a:lnTo>
                <a:lnTo>
                  <a:pt x="187" y="103"/>
                </a:lnTo>
                <a:lnTo>
                  <a:pt x="186" y="102"/>
                </a:lnTo>
                <a:lnTo>
                  <a:pt x="183" y="99"/>
                </a:lnTo>
                <a:lnTo>
                  <a:pt x="180" y="99"/>
                </a:lnTo>
                <a:lnTo>
                  <a:pt x="177" y="99"/>
                </a:lnTo>
                <a:lnTo>
                  <a:pt x="177" y="99"/>
                </a:lnTo>
                <a:lnTo>
                  <a:pt x="177" y="100"/>
                </a:lnTo>
                <a:lnTo>
                  <a:pt x="165" y="107"/>
                </a:lnTo>
                <a:lnTo>
                  <a:pt x="152" y="113"/>
                </a:lnTo>
                <a:lnTo>
                  <a:pt x="141" y="121"/>
                </a:lnTo>
                <a:lnTo>
                  <a:pt x="130" y="131"/>
                </a:lnTo>
                <a:lnTo>
                  <a:pt x="121" y="142"/>
                </a:lnTo>
                <a:lnTo>
                  <a:pt x="113" y="154"/>
                </a:lnTo>
                <a:lnTo>
                  <a:pt x="105" y="166"/>
                </a:lnTo>
                <a:lnTo>
                  <a:pt x="99" y="180"/>
                </a:lnTo>
                <a:lnTo>
                  <a:pt x="98" y="183"/>
                </a:lnTo>
                <a:lnTo>
                  <a:pt x="99" y="186"/>
                </a:lnTo>
                <a:lnTo>
                  <a:pt x="100" y="188"/>
                </a:lnTo>
                <a:lnTo>
                  <a:pt x="103" y="189"/>
                </a:lnTo>
                <a:lnTo>
                  <a:pt x="105" y="189"/>
                </a:lnTo>
                <a:lnTo>
                  <a:pt x="109" y="189"/>
                </a:lnTo>
                <a:lnTo>
                  <a:pt x="110" y="188"/>
                </a:lnTo>
                <a:lnTo>
                  <a:pt x="113" y="186"/>
                </a:lnTo>
                <a:lnTo>
                  <a:pt x="118" y="173"/>
                </a:lnTo>
                <a:lnTo>
                  <a:pt x="125" y="161"/>
                </a:lnTo>
                <a:lnTo>
                  <a:pt x="133" y="151"/>
                </a:lnTo>
                <a:lnTo>
                  <a:pt x="141" y="141"/>
                </a:lnTo>
                <a:lnTo>
                  <a:pt x="151" y="132"/>
                </a:lnTo>
                <a:lnTo>
                  <a:pt x="161" y="125"/>
                </a:lnTo>
                <a:lnTo>
                  <a:pt x="172" y="119"/>
                </a:lnTo>
                <a:lnTo>
                  <a:pt x="183" y="113"/>
                </a:lnTo>
                <a:lnTo>
                  <a:pt x="183" y="113"/>
                </a:lnTo>
                <a:close/>
                <a:moveTo>
                  <a:pt x="176" y="77"/>
                </a:moveTo>
                <a:lnTo>
                  <a:pt x="173" y="74"/>
                </a:lnTo>
                <a:lnTo>
                  <a:pt x="171" y="72"/>
                </a:lnTo>
                <a:lnTo>
                  <a:pt x="168" y="72"/>
                </a:lnTo>
                <a:lnTo>
                  <a:pt x="166" y="73"/>
                </a:lnTo>
                <a:lnTo>
                  <a:pt x="166" y="73"/>
                </a:lnTo>
                <a:lnTo>
                  <a:pt x="165" y="73"/>
                </a:lnTo>
                <a:lnTo>
                  <a:pt x="150" y="81"/>
                </a:lnTo>
                <a:lnTo>
                  <a:pt x="136" y="89"/>
                </a:lnTo>
                <a:lnTo>
                  <a:pt x="123" y="99"/>
                </a:lnTo>
                <a:lnTo>
                  <a:pt x="110" y="110"/>
                </a:lnTo>
                <a:lnTo>
                  <a:pt x="98" y="124"/>
                </a:lnTo>
                <a:lnTo>
                  <a:pt x="88" y="137"/>
                </a:lnTo>
                <a:lnTo>
                  <a:pt x="79" y="152"/>
                </a:lnTo>
                <a:lnTo>
                  <a:pt x="72" y="168"/>
                </a:lnTo>
                <a:lnTo>
                  <a:pt x="71" y="172"/>
                </a:lnTo>
                <a:lnTo>
                  <a:pt x="72" y="175"/>
                </a:lnTo>
                <a:lnTo>
                  <a:pt x="73" y="177"/>
                </a:lnTo>
                <a:lnTo>
                  <a:pt x="76" y="178"/>
                </a:lnTo>
                <a:lnTo>
                  <a:pt x="78" y="180"/>
                </a:lnTo>
                <a:lnTo>
                  <a:pt x="82" y="178"/>
                </a:lnTo>
                <a:lnTo>
                  <a:pt x="83" y="177"/>
                </a:lnTo>
                <a:lnTo>
                  <a:pt x="86" y="175"/>
                </a:lnTo>
                <a:lnTo>
                  <a:pt x="92" y="160"/>
                </a:lnTo>
                <a:lnTo>
                  <a:pt x="100" y="145"/>
                </a:lnTo>
                <a:lnTo>
                  <a:pt x="110" y="132"/>
                </a:lnTo>
                <a:lnTo>
                  <a:pt x="120" y="121"/>
                </a:lnTo>
                <a:lnTo>
                  <a:pt x="131" y="110"/>
                </a:lnTo>
                <a:lnTo>
                  <a:pt x="145" y="100"/>
                </a:lnTo>
                <a:lnTo>
                  <a:pt x="157" y="93"/>
                </a:lnTo>
                <a:lnTo>
                  <a:pt x="171" y="85"/>
                </a:lnTo>
                <a:lnTo>
                  <a:pt x="173" y="84"/>
                </a:lnTo>
                <a:lnTo>
                  <a:pt x="176" y="82"/>
                </a:lnTo>
                <a:lnTo>
                  <a:pt x="176" y="79"/>
                </a:lnTo>
                <a:lnTo>
                  <a:pt x="176" y="77"/>
                </a:lnTo>
                <a:close/>
                <a:moveTo>
                  <a:pt x="198" y="130"/>
                </a:moveTo>
                <a:lnTo>
                  <a:pt x="197" y="128"/>
                </a:lnTo>
                <a:lnTo>
                  <a:pt x="194" y="126"/>
                </a:lnTo>
                <a:lnTo>
                  <a:pt x="192" y="126"/>
                </a:lnTo>
                <a:lnTo>
                  <a:pt x="188" y="126"/>
                </a:lnTo>
                <a:lnTo>
                  <a:pt x="188" y="126"/>
                </a:lnTo>
                <a:lnTo>
                  <a:pt x="188" y="126"/>
                </a:lnTo>
                <a:lnTo>
                  <a:pt x="178" y="131"/>
                </a:lnTo>
                <a:lnTo>
                  <a:pt x="168" y="137"/>
                </a:lnTo>
                <a:lnTo>
                  <a:pt x="160" y="145"/>
                </a:lnTo>
                <a:lnTo>
                  <a:pt x="151" y="152"/>
                </a:lnTo>
                <a:lnTo>
                  <a:pt x="144" y="161"/>
                </a:lnTo>
                <a:lnTo>
                  <a:pt x="138" y="170"/>
                </a:lnTo>
                <a:lnTo>
                  <a:pt x="131" y="180"/>
                </a:lnTo>
                <a:lnTo>
                  <a:pt x="126" y="191"/>
                </a:lnTo>
                <a:lnTo>
                  <a:pt x="126" y="191"/>
                </a:lnTo>
                <a:lnTo>
                  <a:pt x="125" y="193"/>
                </a:lnTo>
                <a:lnTo>
                  <a:pt x="126" y="197"/>
                </a:lnTo>
                <a:lnTo>
                  <a:pt x="128" y="198"/>
                </a:lnTo>
                <a:lnTo>
                  <a:pt x="130" y="201"/>
                </a:lnTo>
                <a:lnTo>
                  <a:pt x="133" y="201"/>
                </a:lnTo>
                <a:lnTo>
                  <a:pt x="136" y="201"/>
                </a:lnTo>
                <a:lnTo>
                  <a:pt x="138" y="198"/>
                </a:lnTo>
                <a:lnTo>
                  <a:pt x="140" y="196"/>
                </a:lnTo>
                <a:lnTo>
                  <a:pt x="140" y="196"/>
                </a:lnTo>
                <a:lnTo>
                  <a:pt x="144" y="187"/>
                </a:lnTo>
                <a:lnTo>
                  <a:pt x="150" y="178"/>
                </a:lnTo>
                <a:lnTo>
                  <a:pt x="155" y="170"/>
                </a:lnTo>
                <a:lnTo>
                  <a:pt x="162" y="162"/>
                </a:lnTo>
                <a:lnTo>
                  <a:pt x="170" y="155"/>
                </a:lnTo>
                <a:lnTo>
                  <a:pt x="177" y="150"/>
                </a:lnTo>
                <a:lnTo>
                  <a:pt x="186" y="145"/>
                </a:lnTo>
                <a:lnTo>
                  <a:pt x="194" y="140"/>
                </a:lnTo>
                <a:lnTo>
                  <a:pt x="197" y="139"/>
                </a:lnTo>
                <a:lnTo>
                  <a:pt x="198" y="136"/>
                </a:lnTo>
                <a:lnTo>
                  <a:pt x="199" y="134"/>
                </a:lnTo>
                <a:lnTo>
                  <a:pt x="198" y="130"/>
                </a:lnTo>
                <a:close/>
                <a:moveTo>
                  <a:pt x="366" y="280"/>
                </a:moveTo>
                <a:lnTo>
                  <a:pt x="364" y="278"/>
                </a:lnTo>
                <a:lnTo>
                  <a:pt x="361" y="280"/>
                </a:lnTo>
                <a:lnTo>
                  <a:pt x="359" y="281"/>
                </a:lnTo>
                <a:lnTo>
                  <a:pt x="358" y="283"/>
                </a:lnTo>
                <a:lnTo>
                  <a:pt x="351" y="296"/>
                </a:lnTo>
                <a:lnTo>
                  <a:pt x="345" y="307"/>
                </a:lnTo>
                <a:lnTo>
                  <a:pt x="338" y="318"/>
                </a:lnTo>
                <a:lnTo>
                  <a:pt x="329" y="327"/>
                </a:lnTo>
                <a:lnTo>
                  <a:pt x="319" y="335"/>
                </a:lnTo>
                <a:lnTo>
                  <a:pt x="309" y="344"/>
                </a:lnTo>
                <a:lnTo>
                  <a:pt x="298" y="350"/>
                </a:lnTo>
                <a:lnTo>
                  <a:pt x="287" y="355"/>
                </a:lnTo>
                <a:lnTo>
                  <a:pt x="287" y="355"/>
                </a:lnTo>
                <a:lnTo>
                  <a:pt x="285" y="358"/>
                </a:lnTo>
                <a:lnTo>
                  <a:pt x="283" y="360"/>
                </a:lnTo>
                <a:lnTo>
                  <a:pt x="282" y="363"/>
                </a:lnTo>
                <a:lnTo>
                  <a:pt x="283" y="365"/>
                </a:lnTo>
                <a:lnTo>
                  <a:pt x="285" y="368"/>
                </a:lnTo>
                <a:lnTo>
                  <a:pt x="287" y="369"/>
                </a:lnTo>
                <a:lnTo>
                  <a:pt x="290" y="370"/>
                </a:lnTo>
                <a:lnTo>
                  <a:pt x="292" y="369"/>
                </a:lnTo>
                <a:lnTo>
                  <a:pt x="293" y="369"/>
                </a:lnTo>
                <a:lnTo>
                  <a:pt x="293" y="369"/>
                </a:lnTo>
                <a:lnTo>
                  <a:pt x="306" y="363"/>
                </a:lnTo>
                <a:lnTo>
                  <a:pt x="318" y="355"/>
                </a:lnTo>
                <a:lnTo>
                  <a:pt x="329" y="347"/>
                </a:lnTo>
                <a:lnTo>
                  <a:pt x="339" y="338"/>
                </a:lnTo>
                <a:lnTo>
                  <a:pt x="349" y="327"/>
                </a:lnTo>
                <a:lnTo>
                  <a:pt x="358" y="316"/>
                </a:lnTo>
                <a:lnTo>
                  <a:pt x="365" y="302"/>
                </a:lnTo>
                <a:lnTo>
                  <a:pt x="371" y="288"/>
                </a:lnTo>
                <a:lnTo>
                  <a:pt x="371" y="286"/>
                </a:lnTo>
                <a:lnTo>
                  <a:pt x="371" y="283"/>
                </a:lnTo>
                <a:lnTo>
                  <a:pt x="369" y="281"/>
                </a:lnTo>
                <a:lnTo>
                  <a:pt x="366" y="280"/>
                </a:lnTo>
                <a:close/>
                <a:moveTo>
                  <a:pt x="395" y="290"/>
                </a:moveTo>
                <a:lnTo>
                  <a:pt x="391" y="290"/>
                </a:lnTo>
                <a:lnTo>
                  <a:pt x="388" y="291"/>
                </a:lnTo>
                <a:lnTo>
                  <a:pt x="386" y="292"/>
                </a:lnTo>
                <a:lnTo>
                  <a:pt x="385" y="295"/>
                </a:lnTo>
                <a:lnTo>
                  <a:pt x="377" y="309"/>
                </a:lnTo>
                <a:lnTo>
                  <a:pt x="370" y="323"/>
                </a:lnTo>
                <a:lnTo>
                  <a:pt x="360" y="337"/>
                </a:lnTo>
                <a:lnTo>
                  <a:pt x="349" y="348"/>
                </a:lnTo>
                <a:lnTo>
                  <a:pt x="338" y="359"/>
                </a:lnTo>
                <a:lnTo>
                  <a:pt x="325" y="368"/>
                </a:lnTo>
                <a:lnTo>
                  <a:pt x="312" y="376"/>
                </a:lnTo>
                <a:lnTo>
                  <a:pt x="298" y="382"/>
                </a:lnTo>
                <a:lnTo>
                  <a:pt x="296" y="385"/>
                </a:lnTo>
                <a:lnTo>
                  <a:pt x="294" y="386"/>
                </a:lnTo>
                <a:lnTo>
                  <a:pt x="293" y="390"/>
                </a:lnTo>
                <a:lnTo>
                  <a:pt x="294" y="392"/>
                </a:lnTo>
                <a:lnTo>
                  <a:pt x="296" y="395"/>
                </a:lnTo>
                <a:lnTo>
                  <a:pt x="298" y="396"/>
                </a:lnTo>
                <a:lnTo>
                  <a:pt x="301" y="397"/>
                </a:lnTo>
                <a:lnTo>
                  <a:pt x="304" y="396"/>
                </a:lnTo>
                <a:lnTo>
                  <a:pt x="304" y="396"/>
                </a:lnTo>
                <a:lnTo>
                  <a:pt x="304" y="396"/>
                </a:lnTo>
                <a:lnTo>
                  <a:pt x="319" y="389"/>
                </a:lnTo>
                <a:lnTo>
                  <a:pt x="334" y="380"/>
                </a:lnTo>
                <a:lnTo>
                  <a:pt x="348" y="370"/>
                </a:lnTo>
                <a:lnTo>
                  <a:pt x="360" y="358"/>
                </a:lnTo>
                <a:lnTo>
                  <a:pt x="371" y="345"/>
                </a:lnTo>
                <a:lnTo>
                  <a:pt x="382" y="332"/>
                </a:lnTo>
                <a:lnTo>
                  <a:pt x="391" y="316"/>
                </a:lnTo>
                <a:lnTo>
                  <a:pt x="398" y="300"/>
                </a:lnTo>
                <a:lnTo>
                  <a:pt x="398" y="297"/>
                </a:lnTo>
                <a:lnTo>
                  <a:pt x="398" y="295"/>
                </a:lnTo>
                <a:lnTo>
                  <a:pt x="396" y="292"/>
                </a:lnTo>
                <a:lnTo>
                  <a:pt x="395" y="290"/>
                </a:lnTo>
                <a:close/>
                <a:moveTo>
                  <a:pt x="344" y="278"/>
                </a:moveTo>
                <a:lnTo>
                  <a:pt x="344" y="275"/>
                </a:lnTo>
                <a:lnTo>
                  <a:pt x="344" y="272"/>
                </a:lnTo>
                <a:lnTo>
                  <a:pt x="341" y="270"/>
                </a:lnTo>
                <a:lnTo>
                  <a:pt x="340" y="269"/>
                </a:lnTo>
                <a:lnTo>
                  <a:pt x="337" y="267"/>
                </a:lnTo>
                <a:lnTo>
                  <a:pt x="334" y="269"/>
                </a:lnTo>
                <a:lnTo>
                  <a:pt x="332" y="270"/>
                </a:lnTo>
                <a:lnTo>
                  <a:pt x="330" y="272"/>
                </a:lnTo>
                <a:lnTo>
                  <a:pt x="330" y="272"/>
                </a:lnTo>
                <a:lnTo>
                  <a:pt x="325" y="282"/>
                </a:lnTo>
                <a:lnTo>
                  <a:pt x="320" y="291"/>
                </a:lnTo>
                <a:lnTo>
                  <a:pt x="314" y="300"/>
                </a:lnTo>
                <a:lnTo>
                  <a:pt x="308" y="307"/>
                </a:lnTo>
                <a:lnTo>
                  <a:pt x="301" y="313"/>
                </a:lnTo>
                <a:lnTo>
                  <a:pt x="292" y="319"/>
                </a:lnTo>
                <a:lnTo>
                  <a:pt x="285" y="324"/>
                </a:lnTo>
                <a:lnTo>
                  <a:pt x="275" y="329"/>
                </a:lnTo>
                <a:lnTo>
                  <a:pt x="272" y="330"/>
                </a:lnTo>
                <a:lnTo>
                  <a:pt x="271" y="333"/>
                </a:lnTo>
                <a:lnTo>
                  <a:pt x="271" y="335"/>
                </a:lnTo>
                <a:lnTo>
                  <a:pt x="271" y="338"/>
                </a:lnTo>
                <a:lnTo>
                  <a:pt x="273" y="340"/>
                </a:lnTo>
                <a:lnTo>
                  <a:pt x="276" y="343"/>
                </a:lnTo>
                <a:lnTo>
                  <a:pt x="278" y="343"/>
                </a:lnTo>
                <a:lnTo>
                  <a:pt x="281" y="342"/>
                </a:lnTo>
                <a:lnTo>
                  <a:pt x="281" y="342"/>
                </a:lnTo>
                <a:lnTo>
                  <a:pt x="281" y="342"/>
                </a:lnTo>
                <a:lnTo>
                  <a:pt x="291" y="337"/>
                </a:lnTo>
                <a:lnTo>
                  <a:pt x="301" y="332"/>
                </a:lnTo>
                <a:lnTo>
                  <a:pt x="311" y="324"/>
                </a:lnTo>
                <a:lnTo>
                  <a:pt x="318" y="317"/>
                </a:lnTo>
                <a:lnTo>
                  <a:pt x="325" y="308"/>
                </a:lnTo>
                <a:lnTo>
                  <a:pt x="333" y="298"/>
                </a:lnTo>
                <a:lnTo>
                  <a:pt x="339" y="288"/>
                </a:lnTo>
                <a:lnTo>
                  <a:pt x="344" y="278"/>
                </a:lnTo>
                <a:lnTo>
                  <a:pt x="344" y="278"/>
                </a:lnTo>
                <a:close/>
                <a:moveTo>
                  <a:pt x="213" y="288"/>
                </a:moveTo>
                <a:lnTo>
                  <a:pt x="203" y="283"/>
                </a:lnTo>
                <a:lnTo>
                  <a:pt x="193" y="276"/>
                </a:lnTo>
                <a:lnTo>
                  <a:pt x="187" y="267"/>
                </a:lnTo>
                <a:lnTo>
                  <a:pt x="181" y="257"/>
                </a:lnTo>
                <a:lnTo>
                  <a:pt x="177" y="246"/>
                </a:lnTo>
                <a:lnTo>
                  <a:pt x="176" y="235"/>
                </a:lnTo>
                <a:lnTo>
                  <a:pt x="177" y="224"/>
                </a:lnTo>
                <a:lnTo>
                  <a:pt x="181" y="213"/>
                </a:lnTo>
                <a:lnTo>
                  <a:pt x="186" y="202"/>
                </a:lnTo>
                <a:lnTo>
                  <a:pt x="193" y="193"/>
                </a:lnTo>
                <a:lnTo>
                  <a:pt x="202" y="186"/>
                </a:lnTo>
                <a:lnTo>
                  <a:pt x="212" y="181"/>
                </a:lnTo>
                <a:lnTo>
                  <a:pt x="223" y="177"/>
                </a:lnTo>
                <a:lnTo>
                  <a:pt x="234" y="176"/>
                </a:lnTo>
                <a:lnTo>
                  <a:pt x="245" y="177"/>
                </a:lnTo>
                <a:lnTo>
                  <a:pt x="256" y="180"/>
                </a:lnTo>
                <a:lnTo>
                  <a:pt x="267" y="186"/>
                </a:lnTo>
                <a:lnTo>
                  <a:pt x="276" y="193"/>
                </a:lnTo>
                <a:lnTo>
                  <a:pt x="283" y="202"/>
                </a:lnTo>
                <a:lnTo>
                  <a:pt x="288" y="212"/>
                </a:lnTo>
                <a:lnTo>
                  <a:pt x="292" y="222"/>
                </a:lnTo>
                <a:lnTo>
                  <a:pt x="293" y="233"/>
                </a:lnTo>
                <a:lnTo>
                  <a:pt x="292" y="245"/>
                </a:lnTo>
                <a:lnTo>
                  <a:pt x="290" y="256"/>
                </a:lnTo>
                <a:lnTo>
                  <a:pt x="283" y="266"/>
                </a:lnTo>
                <a:lnTo>
                  <a:pt x="276" y="276"/>
                </a:lnTo>
                <a:lnTo>
                  <a:pt x="267" y="283"/>
                </a:lnTo>
                <a:lnTo>
                  <a:pt x="257" y="288"/>
                </a:lnTo>
                <a:lnTo>
                  <a:pt x="248" y="292"/>
                </a:lnTo>
                <a:lnTo>
                  <a:pt x="236" y="293"/>
                </a:lnTo>
                <a:lnTo>
                  <a:pt x="224" y="292"/>
                </a:lnTo>
                <a:lnTo>
                  <a:pt x="213" y="288"/>
                </a:lnTo>
                <a:close/>
                <a:moveTo>
                  <a:pt x="267" y="152"/>
                </a:moveTo>
                <a:lnTo>
                  <a:pt x="259" y="150"/>
                </a:lnTo>
                <a:lnTo>
                  <a:pt x="250" y="147"/>
                </a:lnTo>
                <a:lnTo>
                  <a:pt x="241" y="146"/>
                </a:lnTo>
                <a:lnTo>
                  <a:pt x="233" y="146"/>
                </a:lnTo>
                <a:lnTo>
                  <a:pt x="225" y="147"/>
                </a:lnTo>
                <a:lnTo>
                  <a:pt x="217" y="149"/>
                </a:lnTo>
                <a:lnTo>
                  <a:pt x="208" y="151"/>
                </a:lnTo>
                <a:lnTo>
                  <a:pt x="201" y="154"/>
                </a:lnTo>
                <a:lnTo>
                  <a:pt x="193" y="157"/>
                </a:lnTo>
                <a:lnTo>
                  <a:pt x="186" y="161"/>
                </a:lnTo>
                <a:lnTo>
                  <a:pt x="178" y="167"/>
                </a:lnTo>
                <a:lnTo>
                  <a:pt x="172" y="172"/>
                </a:lnTo>
                <a:lnTo>
                  <a:pt x="167" y="178"/>
                </a:lnTo>
                <a:lnTo>
                  <a:pt x="161" y="186"/>
                </a:lnTo>
                <a:lnTo>
                  <a:pt x="157" y="193"/>
                </a:lnTo>
                <a:lnTo>
                  <a:pt x="154" y="202"/>
                </a:lnTo>
                <a:lnTo>
                  <a:pt x="150" y="210"/>
                </a:lnTo>
                <a:lnTo>
                  <a:pt x="149" y="219"/>
                </a:lnTo>
                <a:lnTo>
                  <a:pt x="147" y="228"/>
                </a:lnTo>
                <a:lnTo>
                  <a:pt x="147" y="236"/>
                </a:lnTo>
                <a:lnTo>
                  <a:pt x="147" y="245"/>
                </a:lnTo>
                <a:lnTo>
                  <a:pt x="149" y="252"/>
                </a:lnTo>
                <a:lnTo>
                  <a:pt x="151" y="261"/>
                </a:lnTo>
                <a:lnTo>
                  <a:pt x="154" y="269"/>
                </a:lnTo>
                <a:lnTo>
                  <a:pt x="157" y="276"/>
                </a:lnTo>
                <a:lnTo>
                  <a:pt x="162" y="283"/>
                </a:lnTo>
                <a:lnTo>
                  <a:pt x="167" y="291"/>
                </a:lnTo>
                <a:lnTo>
                  <a:pt x="173" y="297"/>
                </a:lnTo>
                <a:lnTo>
                  <a:pt x="180" y="303"/>
                </a:lnTo>
                <a:lnTo>
                  <a:pt x="187" y="308"/>
                </a:lnTo>
                <a:lnTo>
                  <a:pt x="194" y="312"/>
                </a:lnTo>
                <a:lnTo>
                  <a:pt x="202" y="316"/>
                </a:lnTo>
                <a:lnTo>
                  <a:pt x="210" y="319"/>
                </a:lnTo>
                <a:lnTo>
                  <a:pt x="219" y="321"/>
                </a:lnTo>
                <a:lnTo>
                  <a:pt x="228" y="322"/>
                </a:lnTo>
                <a:lnTo>
                  <a:pt x="236" y="322"/>
                </a:lnTo>
                <a:lnTo>
                  <a:pt x="245" y="322"/>
                </a:lnTo>
                <a:lnTo>
                  <a:pt x="254" y="321"/>
                </a:lnTo>
                <a:lnTo>
                  <a:pt x="261" y="318"/>
                </a:lnTo>
                <a:lnTo>
                  <a:pt x="270" y="316"/>
                </a:lnTo>
                <a:lnTo>
                  <a:pt x="277" y="312"/>
                </a:lnTo>
                <a:lnTo>
                  <a:pt x="285" y="307"/>
                </a:lnTo>
                <a:lnTo>
                  <a:pt x="291" y="302"/>
                </a:lnTo>
                <a:lnTo>
                  <a:pt x="297" y="296"/>
                </a:lnTo>
                <a:lnTo>
                  <a:pt x="303" y="290"/>
                </a:lnTo>
                <a:lnTo>
                  <a:pt x="308" y="283"/>
                </a:lnTo>
                <a:lnTo>
                  <a:pt x="313" y="275"/>
                </a:lnTo>
                <a:lnTo>
                  <a:pt x="317" y="267"/>
                </a:lnTo>
                <a:lnTo>
                  <a:pt x="319" y="259"/>
                </a:lnTo>
                <a:lnTo>
                  <a:pt x="322" y="250"/>
                </a:lnTo>
                <a:lnTo>
                  <a:pt x="323" y="241"/>
                </a:lnTo>
                <a:lnTo>
                  <a:pt x="323" y="233"/>
                </a:lnTo>
                <a:lnTo>
                  <a:pt x="322" y="224"/>
                </a:lnTo>
                <a:lnTo>
                  <a:pt x="320" y="215"/>
                </a:lnTo>
                <a:lnTo>
                  <a:pt x="319" y="208"/>
                </a:lnTo>
                <a:lnTo>
                  <a:pt x="315" y="199"/>
                </a:lnTo>
                <a:lnTo>
                  <a:pt x="312" y="192"/>
                </a:lnTo>
                <a:lnTo>
                  <a:pt x="308" y="184"/>
                </a:lnTo>
                <a:lnTo>
                  <a:pt x="302" y="178"/>
                </a:lnTo>
                <a:lnTo>
                  <a:pt x="297" y="172"/>
                </a:lnTo>
                <a:lnTo>
                  <a:pt x="291" y="166"/>
                </a:lnTo>
                <a:lnTo>
                  <a:pt x="283" y="161"/>
                </a:lnTo>
                <a:lnTo>
                  <a:pt x="276" y="156"/>
                </a:lnTo>
                <a:lnTo>
                  <a:pt x="267" y="152"/>
                </a:lnTo>
                <a:close/>
                <a:moveTo>
                  <a:pt x="229" y="248"/>
                </a:moveTo>
                <a:lnTo>
                  <a:pt x="224" y="245"/>
                </a:lnTo>
                <a:lnTo>
                  <a:pt x="222" y="240"/>
                </a:lnTo>
                <a:lnTo>
                  <a:pt x="220" y="235"/>
                </a:lnTo>
                <a:lnTo>
                  <a:pt x="222" y="229"/>
                </a:lnTo>
                <a:lnTo>
                  <a:pt x="224" y="224"/>
                </a:lnTo>
                <a:lnTo>
                  <a:pt x="229" y="220"/>
                </a:lnTo>
                <a:lnTo>
                  <a:pt x="235" y="219"/>
                </a:lnTo>
                <a:lnTo>
                  <a:pt x="240" y="220"/>
                </a:lnTo>
                <a:lnTo>
                  <a:pt x="245" y="224"/>
                </a:lnTo>
                <a:lnTo>
                  <a:pt x="249" y="229"/>
                </a:lnTo>
                <a:lnTo>
                  <a:pt x="250" y="234"/>
                </a:lnTo>
                <a:lnTo>
                  <a:pt x="249" y="240"/>
                </a:lnTo>
                <a:lnTo>
                  <a:pt x="245" y="245"/>
                </a:lnTo>
                <a:lnTo>
                  <a:pt x="240" y="248"/>
                </a:lnTo>
                <a:lnTo>
                  <a:pt x="235" y="249"/>
                </a:lnTo>
                <a:lnTo>
                  <a:pt x="229" y="248"/>
                </a:lnTo>
                <a:close/>
                <a:moveTo>
                  <a:pt x="246" y="207"/>
                </a:moveTo>
                <a:lnTo>
                  <a:pt x="240" y="205"/>
                </a:lnTo>
                <a:lnTo>
                  <a:pt x="234" y="205"/>
                </a:lnTo>
                <a:lnTo>
                  <a:pt x="229" y="205"/>
                </a:lnTo>
                <a:lnTo>
                  <a:pt x="223" y="208"/>
                </a:lnTo>
                <a:lnTo>
                  <a:pt x="218" y="210"/>
                </a:lnTo>
                <a:lnTo>
                  <a:pt x="214" y="214"/>
                </a:lnTo>
                <a:lnTo>
                  <a:pt x="210" y="218"/>
                </a:lnTo>
                <a:lnTo>
                  <a:pt x="208" y="223"/>
                </a:lnTo>
                <a:lnTo>
                  <a:pt x="206" y="229"/>
                </a:lnTo>
                <a:lnTo>
                  <a:pt x="206" y="235"/>
                </a:lnTo>
                <a:lnTo>
                  <a:pt x="207" y="240"/>
                </a:lnTo>
                <a:lnTo>
                  <a:pt x="208" y="246"/>
                </a:lnTo>
                <a:lnTo>
                  <a:pt x="210" y="251"/>
                </a:lnTo>
                <a:lnTo>
                  <a:pt x="214" y="255"/>
                </a:lnTo>
                <a:lnTo>
                  <a:pt x="219" y="259"/>
                </a:lnTo>
                <a:lnTo>
                  <a:pt x="224" y="261"/>
                </a:lnTo>
                <a:lnTo>
                  <a:pt x="230" y="264"/>
                </a:lnTo>
                <a:lnTo>
                  <a:pt x="235" y="264"/>
                </a:lnTo>
                <a:lnTo>
                  <a:pt x="241" y="264"/>
                </a:lnTo>
                <a:lnTo>
                  <a:pt x="246" y="261"/>
                </a:lnTo>
                <a:lnTo>
                  <a:pt x="251" y="259"/>
                </a:lnTo>
                <a:lnTo>
                  <a:pt x="256" y="255"/>
                </a:lnTo>
                <a:lnTo>
                  <a:pt x="260" y="250"/>
                </a:lnTo>
                <a:lnTo>
                  <a:pt x="262" y="245"/>
                </a:lnTo>
                <a:lnTo>
                  <a:pt x="264" y="240"/>
                </a:lnTo>
                <a:lnTo>
                  <a:pt x="264" y="234"/>
                </a:lnTo>
                <a:lnTo>
                  <a:pt x="264" y="228"/>
                </a:lnTo>
                <a:lnTo>
                  <a:pt x="262" y="223"/>
                </a:lnTo>
                <a:lnTo>
                  <a:pt x="259" y="218"/>
                </a:lnTo>
                <a:lnTo>
                  <a:pt x="255" y="213"/>
                </a:lnTo>
                <a:lnTo>
                  <a:pt x="251" y="210"/>
                </a:lnTo>
                <a:lnTo>
                  <a:pt x="246" y="207"/>
                </a:lnTo>
                <a:close/>
                <a:moveTo>
                  <a:pt x="322" y="16"/>
                </a:moveTo>
                <a:lnTo>
                  <a:pt x="299" y="9"/>
                </a:lnTo>
                <a:lnTo>
                  <a:pt x="276" y="4"/>
                </a:lnTo>
                <a:lnTo>
                  <a:pt x="254" y="0"/>
                </a:lnTo>
                <a:lnTo>
                  <a:pt x="230" y="0"/>
                </a:lnTo>
                <a:lnTo>
                  <a:pt x="208" y="1"/>
                </a:lnTo>
                <a:lnTo>
                  <a:pt x="186" y="5"/>
                </a:lnTo>
                <a:lnTo>
                  <a:pt x="163" y="11"/>
                </a:lnTo>
                <a:lnTo>
                  <a:pt x="142" y="19"/>
                </a:lnTo>
                <a:lnTo>
                  <a:pt x="123" y="29"/>
                </a:lnTo>
                <a:lnTo>
                  <a:pt x="103" y="40"/>
                </a:lnTo>
                <a:lnTo>
                  <a:pt x="86" y="53"/>
                </a:lnTo>
                <a:lnTo>
                  <a:pt x="68" y="69"/>
                </a:lnTo>
                <a:lnTo>
                  <a:pt x="53" y="87"/>
                </a:lnTo>
                <a:lnTo>
                  <a:pt x="40" y="105"/>
                </a:lnTo>
                <a:lnTo>
                  <a:pt x="28" y="125"/>
                </a:lnTo>
                <a:lnTo>
                  <a:pt x="18" y="147"/>
                </a:lnTo>
                <a:lnTo>
                  <a:pt x="9" y="170"/>
                </a:lnTo>
                <a:lnTo>
                  <a:pt x="4" y="193"/>
                </a:lnTo>
                <a:lnTo>
                  <a:pt x="2" y="215"/>
                </a:lnTo>
                <a:lnTo>
                  <a:pt x="0" y="239"/>
                </a:lnTo>
                <a:lnTo>
                  <a:pt x="2" y="261"/>
                </a:lnTo>
                <a:lnTo>
                  <a:pt x="5" y="283"/>
                </a:lnTo>
                <a:lnTo>
                  <a:pt x="11" y="306"/>
                </a:lnTo>
                <a:lnTo>
                  <a:pt x="19" y="327"/>
                </a:lnTo>
                <a:lnTo>
                  <a:pt x="29" y="347"/>
                </a:lnTo>
                <a:lnTo>
                  <a:pt x="41" y="366"/>
                </a:lnTo>
                <a:lnTo>
                  <a:pt x="55" y="385"/>
                </a:lnTo>
                <a:lnTo>
                  <a:pt x="70" y="401"/>
                </a:lnTo>
                <a:lnTo>
                  <a:pt x="87" y="417"/>
                </a:lnTo>
                <a:lnTo>
                  <a:pt x="105" y="431"/>
                </a:lnTo>
                <a:lnTo>
                  <a:pt x="126" y="442"/>
                </a:lnTo>
                <a:lnTo>
                  <a:pt x="147" y="452"/>
                </a:lnTo>
                <a:lnTo>
                  <a:pt x="171" y="460"/>
                </a:lnTo>
                <a:lnTo>
                  <a:pt x="193" y="465"/>
                </a:lnTo>
                <a:lnTo>
                  <a:pt x="217" y="468"/>
                </a:lnTo>
                <a:lnTo>
                  <a:pt x="239" y="469"/>
                </a:lnTo>
                <a:lnTo>
                  <a:pt x="262" y="468"/>
                </a:lnTo>
                <a:lnTo>
                  <a:pt x="285" y="464"/>
                </a:lnTo>
                <a:lnTo>
                  <a:pt x="306" y="458"/>
                </a:lnTo>
                <a:lnTo>
                  <a:pt x="327" y="450"/>
                </a:lnTo>
                <a:lnTo>
                  <a:pt x="348" y="441"/>
                </a:lnTo>
                <a:lnTo>
                  <a:pt x="366" y="428"/>
                </a:lnTo>
                <a:lnTo>
                  <a:pt x="385" y="415"/>
                </a:lnTo>
                <a:lnTo>
                  <a:pt x="402" y="400"/>
                </a:lnTo>
                <a:lnTo>
                  <a:pt x="417" y="382"/>
                </a:lnTo>
                <a:lnTo>
                  <a:pt x="430" y="364"/>
                </a:lnTo>
                <a:lnTo>
                  <a:pt x="443" y="343"/>
                </a:lnTo>
                <a:lnTo>
                  <a:pt x="453" y="322"/>
                </a:lnTo>
                <a:lnTo>
                  <a:pt x="460" y="298"/>
                </a:lnTo>
                <a:lnTo>
                  <a:pt x="465" y="276"/>
                </a:lnTo>
                <a:lnTo>
                  <a:pt x="469" y="252"/>
                </a:lnTo>
                <a:lnTo>
                  <a:pt x="469" y="230"/>
                </a:lnTo>
                <a:lnTo>
                  <a:pt x="468" y="207"/>
                </a:lnTo>
                <a:lnTo>
                  <a:pt x="464" y="184"/>
                </a:lnTo>
                <a:lnTo>
                  <a:pt x="458" y="163"/>
                </a:lnTo>
                <a:lnTo>
                  <a:pt x="450" y="142"/>
                </a:lnTo>
                <a:lnTo>
                  <a:pt x="440" y="121"/>
                </a:lnTo>
                <a:lnTo>
                  <a:pt x="429" y="103"/>
                </a:lnTo>
                <a:lnTo>
                  <a:pt x="416" y="84"/>
                </a:lnTo>
                <a:lnTo>
                  <a:pt x="400" y="68"/>
                </a:lnTo>
                <a:lnTo>
                  <a:pt x="382" y="52"/>
                </a:lnTo>
                <a:lnTo>
                  <a:pt x="364" y="38"/>
                </a:lnTo>
                <a:lnTo>
                  <a:pt x="344" y="26"/>
                </a:lnTo>
                <a:lnTo>
                  <a:pt x="322" y="1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1" name="Freeform 8">
            <a:extLst>
              <a:ext uri="{FF2B5EF4-FFF2-40B4-BE49-F238E27FC236}">
                <a16:creationId xmlns:a16="http://schemas.microsoft.com/office/drawing/2014/main" id="{C835B50F-B82D-2C1D-D2A5-78A94E92415D}"/>
              </a:ext>
            </a:extLst>
          </p:cNvPr>
          <p:cNvSpPr>
            <a:spLocks noEditPoints="1"/>
          </p:cNvSpPr>
          <p:nvPr/>
        </p:nvSpPr>
        <p:spPr bwMode="auto">
          <a:xfrm>
            <a:off x="8553450" y="8802646"/>
            <a:ext cx="373063" cy="360363"/>
          </a:xfrm>
          <a:custGeom>
            <a:avLst/>
            <a:gdLst>
              <a:gd name="T0" fmla="*/ 244 w 470"/>
              <a:gd name="T1" fmla="*/ 257 h 454"/>
              <a:gd name="T2" fmla="*/ 235 w 470"/>
              <a:gd name="T3" fmla="*/ 284 h 454"/>
              <a:gd name="T4" fmla="*/ 252 w 470"/>
              <a:gd name="T5" fmla="*/ 305 h 454"/>
              <a:gd name="T6" fmla="*/ 281 w 470"/>
              <a:gd name="T7" fmla="*/ 301 h 454"/>
              <a:gd name="T8" fmla="*/ 293 w 470"/>
              <a:gd name="T9" fmla="*/ 278 h 454"/>
              <a:gd name="T10" fmla="*/ 281 w 470"/>
              <a:gd name="T11" fmla="*/ 253 h 454"/>
              <a:gd name="T12" fmla="*/ 265 w 470"/>
              <a:gd name="T13" fmla="*/ 321 h 454"/>
              <a:gd name="T14" fmla="*/ 228 w 470"/>
              <a:gd name="T15" fmla="*/ 303 h 454"/>
              <a:gd name="T16" fmla="*/ 224 w 470"/>
              <a:gd name="T17" fmla="*/ 261 h 454"/>
              <a:gd name="T18" fmla="*/ 255 w 470"/>
              <a:gd name="T19" fmla="*/ 235 h 454"/>
              <a:gd name="T20" fmla="*/ 414 w 470"/>
              <a:gd name="T21" fmla="*/ 227 h 454"/>
              <a:gd name="T22" fmla="*/ 424 w 470"/>
              <a:gd name="T23" fmla="*/ 215 h 454"/>
              <a:gd name="T24" fmla="*/ 440 w 470"/>
              <a:gd name="T25" fmla="*/ 272 h 454"/>
              <a:gd name="T26" fmla="*/ 425 w 470"/>
              <a:gd name="T27" fmla="*/ 309 h 454"/>
              <a:gd name="T28" fmla="*/ 392 w 470"/>
              <a:gd name="T29" fmla="*/ 393 h 454"/>
              <a:gd name="T30" fmla="*/ 355 w 470"/>
              <a:gd name="T31" fmla="*/ 424 h 454"/>
              <a:gd name="T32" fmla="*/ 52 w 470"/>
              <a:gd name="T33" fmla="*/ 415 h 454"/>
              <a:gd name="T34" fmla="*/ 30 w 470"/>
              <a:gd name="T35" fmla="*/ 373 h 454"/>
              <a:gd name="T36" fmla="*/ 67 w 470"/>
              <a:gd name="T37" fmla="*/ 159 h 454"/>
              <a:gd name="T38" fmla="*/ 387 w 470"/>
              <a:gd name="T39" fmla="*/ 162 h 454"/>
              <a:gd name="T40" fmla="*/ 265 w 470"/>
              <a:gd name="T41" fmla="*/ 205 h 454"/>
              <a:gd name="T42" fmla="*/ 229 w 470"/>
              <a:gd name="T43" fmla="*/ 214 h 454"/>
              <a:gd name="T44" fmla="*/ 203 w 470"/>
              <a:gd name="T45" fmla="*/ 237 h 454"/>
              <a:gd name="T46" fmla="*/ 192 w 470"/>
              <a:gd name="T47" fmla="*/ 270 h 454"/>
              <a:gd name="T48" fmla="*/ 197 w 470"/>
              <a:gd name="T49" fmla="*/ 306 h 454"/>
              <a:gd name="T50" fmla="*/ 218 w 470"/>
              <a:gd name="T51" fmla="*/ 335 h 454"/>
              <a:gd name="T52" fmla="*/ 250 w 470"/>
              <a:gd name="T53" fmla="*/ 350 h 454"/>
              <a:gd name="T54" fmla="*/ 367 w 470"/>
              <a:gd name="T55" fmla="*/ 116 h 454"/>
              <a:gd name="T56" fmla="*/ 69 w 470"/>
              <a:gd name="T57" fmla="*/ 129 h 454"/>
              <a:gd name="T58" fmla="*/ 367 w 470"/>
              <a:gd name="T59" fmla="*/ 87 h 454"/>
              <a:gd name="T60" fmla="*/ 367 w 470"/>
              <a:gd name="T61" fmla="*/ 73 h 454"/>
              <a:gd name="T62" fmla="*/ 81 w 470"/>
              <a:gd name="T63" fmla="*/ 28 h 454"/>
              <a:gd name="T64" fmla="*/ 394 w 470"/>
              <a:gd name="T65" fmla="*/ 38 h 454"/>
              <a:gd name="T66" fmla="*/ 390 w 470"/>
              <a:gd name="T67" fmla="*/ 132 h 454"/>
              <a:gd name="T68" fmla="*/ 381 w 470"/>
              <a:gd name="T69" fmla="*/ 58 h 454"/>
              <a:gd name="T70" fmla="*/ 60 w 470"/>
              <a:gd name="T71" fmla="*/ 43 h 454"/>
              <a:gd name="T72" fmla="*/ 45 w 470"/>
              <a:gd name="T73" fmla="*/ 87 h 454"/>
              <a:gd name="T74" fmla="*/ 30 w 470"/>
              <a:gd name="T75" fmla="*/ 80 h 454"/>
              <a:gd name="T76" fmla="*/ 52 w 470"/>
              <a:gd name="T77" fmla="*/ 37 h 454"/>
              <a:gd name="T78" fmla="*/ 425 w 470"/>
              <a:gd name="T79" fmla="*/ 175 h 454"/>
              <a:gd name="T80" fmla="*/ 422 w 470"/>
              <a:gd name="T81" fmla="*/ 26 h 454"/>
              <a:gd name="T82" fmla="*/ 391 w 470"/>
              <a:gd name="T83" fmla="*/ 0 h 454"/>
              <a:gd name="T84" fmla="*/ 65 w 470"/>
              <a:gd name="T85" fmla="*/ 1 h 454"/>
              <a:gd name="T86" fmla="*/ 30 w 470"/>
              <a:gd name="T87" fmla="*/ 17 h 454"/>
              <a:gd name="T88" fmla="*/ 6 w 470"/>
              <a:gd name="T89" fmla="*/ 48 h 454"/>
              <a:gd name="T90" fmla="*/ 0 w 470"/>
              <a:gd name="T91" fmla="*/ 373 h 454"/>
              <a:gd name="T92" fmla="*/ 10 w 470"/>
              <a:gd name="T93" fmla="*/ 412 h 454"/>
              <a:gd name="T94" fmla="*/ 36 w 470"/>
              <a:gd name="T95" fmla="*/ 440 h 454"/>
              <a:gd name="T96" fmla="*/ 73 w 470"/>
              <a:gd name="T97" fmla="*/ 454 h 454"/>
              <a:gd name="T98" fmla="*/ 369 w 470"/>
              <a:gd name="T99" fmla="*/ 450 h 454"/>
              <a:gd name="T100" fmla="*/ 402 w 470"/>
              <a:gd name="T101" fmla="*/ 430 h 454"/>
              <a:gd name="T102" fmla="*/ 422 w 470"/>
              <a:gd name="T103" fmla="*/ 397 h 454"/>
              <a:gd name="T104" fmla="*/ 425 w 470"/>
              <a:gd name="T105" fmla="*/ 351 h 454"/>
              <a:gd name="T106" fmla="*/ 464 w 470"/>
              <a:gd name="T107" fmla="*/ 299 h 454"/>
              <a:gd name="T108" fmla="*/ 466 w 470"/>
              <a:gd name="T109" fmla="*/ 238 h 454"/>
              <a:gd name="T110" fmla="*/ 435 w 470"/>
              <a:gd name="T111" fmla="*/ 18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0" h="454">
                <a:moveTo>
                  <a:pt x="265" y="248"/>
                </a:moveTo>
                <a:lnTo>
                  <a:pt x="259" y="249"/>
                </a:lnTo>
                <a:lnTo>
                  <a:pt x="252" y="251"/>
                </a:lnTo>
                <a:lnTo>
                  <a:pt x="247" y="253"/>
                </a:lnTo>
                <a:lnTo>
                  <a:pt x="244" y="257"/>
                </a:lnTo>
                <a:lnTo>
                  <a:pt x="240" y="262"/>
                </a:lnTo>
                <a:lnTo>
                  <a:pt x="238" y="267"/>
                </a:lnTo>
                <a:lnTo>
                  <a:pt x="235" y="272"/>
                </a:lnTo>
                <a:lnTo>
                  <a:pt x="235" y="278"/>
                </a:lnTo>
                <a:lnTo>
                  <a:pt x="235" y="284"/>
                </a:lnTo>
                <a:lnTo>
                  <a:pt x="238" y="289"/>
                </a:lnTo>
                <a:lnTo>
                  <a:pt x="240" y="294"/>
                </a:lnTo>
                <a:lnTo>
                  <a:pt x="244" y="299"/>
                </a:lnTo>
                <a:lnTo>
                  <a:pt x="247" y="301"/>
                </a:lnTo>
                <a:lnTo>
                  <a:pt x="252" y="305"/>
                </a:lnTo>
                <a:lnTo>
                  <a:pt x="259" y="306"/>
                </a:lnTo>
                <a:lnTo>
                  <a:pt x="265" y="308"/>
                </a:lnTo>
                <a:lnTo>
                  <a:pt x="270" y="306"/>
                </a:lnTo>
                <a:lnTo>
                  <a:pt x="276" y="305"/>
                </a:lnTo>
                <a:lnTo>
                  <a:pt x="281" y="301"/>
                </a:lnTo>
                <a:lnTo>
                  <a:pt x="284" y="299"/>
                </a:lnTo>
                <a:lnTo>
                  <a:pt x="288" y="294"/>
                </a:lnTo>
                <a:lnTo>
                  <a:pt x="291" y="289"/>
                </a:lnTo>
                <a:lnTo>
                  <a:pt x="293" y="284"/>
                </a:lnTo>
                <a:lnTo>
                  <a:pt x="293" y="278"/>
                </a:lnTo>
                <a:lnTo>
                  <a:pt x="293" y="272"/>
                </a:lnTo>
                <a:lnTo>
                  <a:pt x="291" y="267"/>
                </a:lnTo>
                <a:lnTo>
                  <a:pt x="288" y="262"/>
                </a:lnTo>
                <a:lnTo>
                  <a:pt x="284" y="257"/>
                </a:lnTo>
                <a:lnTo>
                  <a:pt x="281" y="253"/>
                </a:lnTo>
                <a:lnTo>
                  <a:pt x="276" y="251"/>
                </a:lnTo>
                <a:lnTo>
                  <a:pt x="270" y="249"/>
                </a:lnTo>
                <a:lnTo>
                  <a:pt x="265" y="248"/>
                </a:lnTo>
                <a:close/>
                <a:moveTo>
                  <a:pt x="414" y="321"/>
                </a:moveTo>
                <a:lnTo>
                  <a:pt x="265" y="321"/>
                </a:lnTo>
                <a:lnTo>
                  <a:pt x="255" y="321"/>
                </a:lnTo>
                <a:lnTo>
                  <a:pt x="247" y="319"/>
                </a:lnTo>
                <a:lnTo>
                  <a:pt x="240" y="314"/>
                </a:lnTo>
                <a:lnTo>
                  <a:pt x="233" y="309"/>
                </a:lnTo>
                <a:lnTo>
                  <a:pt x="228" y="303"/>
                </a:lnTo>
                <a:lnTo>
                  <a:pt x="224" y="295"/>
                </a:lnTo>
                <a:lnTo>
                  <a:pt x="221" y="287"/>
                </a:lnTo>
                <a:lnTo>
                  <a:pt x="220" y="278"/>
                </a:lnTo>
                <a:lnTo>
                  <a:pt x="221" y="269"/>
                </a:lnTo>
                <a:lnTo>
                  <a:pt x="224" y="261"/>
                </a:lnTo>
                <a:lnTo>
                  <a:pt x="228" y="253"/>
                </a:lnTo>
                <a:lnTo>
                  <a:pt x="233" y="247"/>
                </a:lnTo>
                <a:lnTo>
                  <a:pt x="240" y="241"/>
                </a:lnTo>
                <a:lnTo>
                  <a:pt x="247" y="237"/>
                </a:lnTo>
                <a:lnTo>
                  <a:pt x="255" y="235"/>
                </a:lnTo>
                <a:lnTo>
                  <a:pt x="265" y="233"/>
                </a:lnTo>
                <a:lnTo>
                  <a:pt x="396" y="233"/>
                </a:lnTo>
                <a:lnTo>
                  <a:pt x="403" y="233"/>
                </a:lnTo>
                <a:lnTo>
                  <a:pt x="409" y="231"/>
                </a:lnTo>
                <a:lnTo>
                  <a:pt x="414" y="227"/>
                </a:lnTo>
                <a:lnTo>
                  <a:pt x="419" y="222"/>
                </a:lnTo>
                <a:lnTo>
                  <a:pt x="422" y="219"/>
                </a:lnTo>
                <a:lnTo>
                  <a:pt x="423" y="215"/>
                </a:lnTo>
                <a:lnTo>
                  <a:pt x="423" y="215"/>
                </a:lnTo>
                <a:lnTo>
                  <a:pt x="424" y="215"/>
                </a:lnTo>
                <a:lnTo>
                  <a:pt x="430" y="225"/>
                </a:lnTo>
                <a:lnTo>
                  <a:pt x="435" y="237"/>
                </a:lnTo>
                <a:lnTo>
                  <a:pt x="439" y="249"/>
                </a:lnTo>
                <a:lnTo>
                  <a:pt x="440" y="263"/>
                </a:lnTo>
                <a:lnTo>
                  <a:pt x="440" y="272"/>
                </a:lnTo>
                <a:lnTo>
                  <a:pt x="438" y="279"/>
                </a:lnTo>
                <a:lnTo>
                  <a:pt x="437" y="288"/>
                </a:lnTo>
                <a:lnTo>
                  <a:pt x="434" y="295"/>
                </a:lnTo>
                <a:lnTo>
                  <a:pt x="430" y="303"/>
                </a:lnTo>
                <a:lnTo>
                  <a:pt x="425" y="309"/>
                </a:lnTo>
                <a:lnTo>
                  <a:pt x="420" y="316"/>
                </a:lnTo>
                <a:lnTo>
                  <a:pt x="414" y="321"/>
                </a:lnTo>
                <a:close/>
                <a:moveTo>
                  <a:pt x="396" y="373"/>
                </a:moveTo>
                <a:lnTo>
                  <a:pt x="394" y="383"/>
                </a:lnTo>
                <a:lnTo>
                  <a:pt x="392" y="393"/>
                </a:lnTo>
                <a:lnTo>
                  <a:pt x="387" y="402"/>
                </a:lnTo>
                <a:lnTo>
                  <a:pt x="381" y="409"/>
                </a:lnTo>
                <a:lnTo>
                  <a:pt x="373" y="415"/>
                </a:lnTo>
                <a:lnTo>
                  <a:pt x="365" y="420"/>
                </a:lnTo>
                <a:lnTo>
                  <a:pt x="355" y="424"/>
                </a:lnTo>
                <a:lnTo>
                  <a:pt x="345" y="424"/>
                </a:lnTo>
                <a:lnTo>
                  <a:pt x="81" y="424"/>
                </a:lnTo>
                <a:lnTo>
                  <a:pt x="71" y="424"/>
                </a:lnTo>
                <a:lnTo>
                  <a:pt x="61" y="420"/>
                </a:lnTo>
                <a:lnTo>
                  <a:pt x="52" y="415"/>
                </a:lnTo>
                <a:lnTo>
                  <a:pt x="45" y="409"/>
                </a:lnTo>
                <a:lnTo>
                  <a:pt x="39" y="402"/>
                </a:lnTo>
                <a:lnTo>
                  <a:pt x="34" y="393"/>
                </a:lnTo>
                <a:lnTo>
                  <a:pt x="31" y="383"/>
                </a:lnTo>
                <a:lnTo>
                  <a:pt x="30" y="373"/>
                </a:lnTo>
                <a:lnTo>
                  <a:pt x="30" y="142"/>
                </a:lnTo>
                <a:lnTo>
                  <a:pt x="41" y="149"/>
                </a:lnTo>
                <a:lnTo>
                  <a:pt x="53" y="155"/>
                </a:lnTo>
                <a:lnTo>
                  <a:pt x="60" y="158"/>
                </a:lnTo>
                <a:lnTo>
                  <a:pt x="67" y="159"/>
                </a:lnTo>
                <a:lnTo>
                  <a:pt x="74" y="160"/>
                </a:lnTo>
                <a:lnTo>
                  <a:pt x="81" y="160"/>
                </a:lnTo>
                <a:lnTo>
                  <a:pt x="323" y="160"/>
                </a:lnTo>
                <a:lnTo>
                  <a:pt x="381" y="160"/>
                </a:lnTo>
                <a:lnTo>
                  <a:pt x="387" y="162"/>
                </a:lnTo>
                <a:lnTo>
                  <a:pt x="392" y="164"/>
                </a:lnTo>
                <a:lnTo>
                  <a:pt x="394" y="169"/>
                </a:lnTo>
                <a:lnTo>
                  <a:pt x="396" y="175"/>
                </a:lnTo>
                <a:lnTo>
                  <a:pt x="396" y="205"/>
                </a:lnTo>
                <a:lnTo>
                  <a:pt x="265" y="205"/>
                </a:lnTo>
                <a:lnTo>
                  <a:pt x="257" y="205"/>
                </a:lnTo>
                <a:lnTo>
                  <a:pt x="250" y="206"/>
                </a:lnTo>
                <a:lnTo>
                  <a:pt x="242" y="207"/>
                </a:lnTo>
                <a:lnTo>
                  <a:pt x="236" y="210"/>
                </a:lnTo>
                <a:lnTo>
                  <a:pt x="229" y="214"/>
                </a:lnTo>
                <a:lnTo>
                  <a:pt x="223" y="217"/>
                </a:lnTo>
                <a:lnTo>
                  <a:pt x="218" y="221"/>
                </a:lnTo>
                <a:lnTo>
                  <a:pt x="213" y="226"/>
                </a:lnTo>
                <a:lnTo>
                  <a:pt x="208" y="231"/>
                </a:lnTo>
                <a:lnTo>
                  <a:pt x="203" y="237"/>
                </a:lnTo>
                <a:lnTo>
                  <a:pt x="200" y="243"/>
                </a:lnTo>
                <a:lnTo>
                  <a:pt x="197" y="249"/>
                </a:lnTo>
                <a:lnTo>
                  <a:pt x="194" y="256"/>
                </a:lnTo>
                <a:lnTo>
                  <a:pt x="193" y="263"/>
                </a:lnTo>
                <a:lnTo>
                  <a:pt x="192" y="270"/>
                </a:lnTo>
                <a:lnTo>
                  <a:pt x="191" y="278"/>
                </a:lnTo>
                <a:lnTo>
                  <a:pt x="192" y="285"/>
                </a:lnTo>
                <a:lnTo>
                  <a:pt x="193" y="293"/>
                </a:lnTo>
                <a:lnTo>
                  <a:pt x="194" y="299"/>
                </a:lnTo>
                <a:lnTo>
                  <a:pt x="197" y="306"/>
                </a:lnTo>
                <a:lnTo>
                  <a:pt x="200" y="313"/>
                </a:lnTo>
                <a:lnTo>
                  <a:pt x="203" y="319"/>
                </a:lnTo>
                <a:lnTo>
                  <a:pt x="208" y="325"/>
                </a:lnTo>
                <a:lnTo>
                  <a:pt x="213" y="330"/>
                </a:lnTo>
                <a:lnTo>
                  <a:pt x="218" y="335"/>
                </a:lnTo>
                <a:lnTo>
                  <a:pt x="223" y="339"/>
                </a:lnTo>
                <a:lnTo>
                  <a:pt x="229" y="342"/>
                </a:lnTo>
                <a:lnTo>
                  <a:pt x="236" y="345"/>
                </a:lnTo>
                <a:lnTo>
                  <a:pt x="242" y="347"/>
                </a:lnTo>
                <a:lnTo>
                  <a:pt x="250" y="350"/>
                </a:lnTo>
                <a:lnTo>
                  <a:pt x="257" y="351"/>
                </a:lnTo>
                <a:lnTo>
                  <a:pt x="265" y="351"/>
                </a:lnTo>
                <a:lnTo>
                  <a:pt x="396" y="351"/>
                </a:lnTo>
                <a:lnTo>
                  <a:pt x="396" y="373"/>
                </a:lnTo>
                <a:close/>
                <a:moveTo>
                  <a:pt x="367" y="116"/>
                </a:moveTo>
                <a:lnTo>
                  <a:pt x="367" y="131"/>
                </a:lnTo>
                <a:lnTo>
                  <a:pt x="323" y="131"/>
                </a:lnTo>
                <a:lnTo>
                  <a:pt x="81" y="131"/>
                </a:lnTo>
                <a:lnTo>
                  <a:pt x="76" y="131"/>
                </a:lnTo>
                <a:lnTo>
                  <a:pt x="69" y="129"/>
                </a:lnTo>
                <a:lnTo>
                  <a:pt x="65" y="128"/>
                </a:lnTo>
                <a:lnTo>
                  <a:pt x="60" y="126"/>
                </a:lnTo>
                <a:lnTo>
                  <a:pt x="60" y="116"/>
                </a:lnTo>
                <a:lnTo>
                  <a:pt x="367" y="116"/>
                </a:lnTo>
                <a:close/>
                <a:moveTo>
                  <a:pt x="367" y="87"/>
                </a:moveTo>
                <a:lnTo>
                  <a:pt x="367" y="102"/>
                </a:lnTo>
                <a:lnTo>
                  <a:pt x="60" y="102"/>
                </a:lnTo>
                <a:lnTo>
                  <a:pt x="60" y="87"/>
                </a:lnTo>
                <a:lnTo>
                  <a:pt x="367" y="87"/>
                </a:lnTo>
                <a:close/>
                <a:moveTo>
                  <a:pt x="367" y="73"/>
                </a:moveTo>
                <a:lnTo>
                  <a:pt x="60" y="73"/>
                </a:lnTo>
                <a:lnTo>
                  <a:pt x="60" y="58"/>
                </a:lnTo>
                <a:lnTo>
                  <a:pt x="367" y="58"/>
                </a:lnTo>
                <a:lnTo>
                  <a:pt x="367" y="73"/>
                </a:lnTo>
                <a:close/>
                <a:moveTo>
                  <a:pt x="81" y="28"/>
                </a:moveTo>
                <a:lnTo>
                  <a:pt x="323" y="28"/>
                </a:lnTo>
                <a:lnTo>
                  <a:pt x="381" y="28"/>
                </a:lnTo>
                <a:lnTo>
                  <a:pt x="387" y="29"/>
                </a:lnTo>
                <a:lnTo>
                  <a:pt x="392" y="33"/>
                </a:lnTo>
                <a:lnTo>
                  <a:pt x="394" y="38"/>
                </a:lnTo>
                <a:lnTo>
                  <a:pt x="396" y="43"/>
                </a:lnTo>
                <a:lnTo>
                  <a:pt x="396" y="80"/>
                </a:lnTo>
                <a:lnTo>
                  <a:pt x="396" y="87"/>
                </a:lnTo>
                <a:lnTo>
                  <a:pt x="396" y="133"/>
                </a:lnTo>
                <a:lnTo>
                  <a:pt x="390" y="132"/>
                </a:lnTo>
                <a:lnTo>
                  <a:pt x="381" y="131"/>
                </a:lnTo>
                <a:lnTo>
                  <a:pt x="381" y="131"/>
                </a:lnTo>
                <a:lnTo>
                  <a:pt x="381" y="116"/>
                </a:lnTo>
                <a:lnTo>
                  <a:pt x="381" y="87"/>
                </a:lnTo>
                <a:lnTo>
                  <a:pt x="381" y="58"/>
                </a:lnTo>
                <a:lnTo>
                  <a:pt x="381" y="52"/>
                </a:lnTo>
                <a:lnTo>
                  <a:pt x="377" y="48"/>
                </a:lnTo>
                <a:lnTo>
                  <a:pt x="372" y="44"/>
                </a:lnTo>
                <a:lnTo>
                  <a:pt x="367" y="43"/>
                </a:lnTo>
                <a:lnTo>
                  <a:pt x="60" y="43"/>
                </a:lnTo>
                <a:lnTo>
                  <a:pt x="53" y="44"/>
                </a:lnTo>
                <a:lnTo>
                  <a:pt x="48" y="48"/>
                </a:lnTo>
                <a:lnTo>
                  <a:pt x="46" y="52"/>
                </a:lnTo>
                <a:lnTo>
                  <a:pt x="45" y="58"/>
                </a:lnTo>
                <a:lnTo>
                  <a:pt x="45" y="87"/>
                </a:lnTo>
                <a:lnTo>
                  <a:pt x="45" y="116"/>
                </a:lnTo>
                <a:lnTo>
                  <a:pt x="39" y="108"/>
                </a:lnTo>
                <a:lnTo>
                  <a:pt x="34" y="100"/>
                </a:lnTo>
                <a:lnTo>
                  <a:pt x="31" y="90"/>
                </a:lnTo>
                <a:lnTo>
                  <a:pt x="30" y="80"/>
                </a:lnTo>
                <a:lnTo>
                  <a:pt x="31" y="69"/>
                </a:lnTo>
                <a:lnTo>
                  <a:pt x="34" y="60"/>
                </a:lnTo>
                <a:lnTo>
                  <a:pt x="39" y="52"/>
                </a:lnTo>
                <a:lnTo>
                  <a:pt x="45" y="43"/>
                </a:lnTo>
                <a:lnTo>
                  <a:pt x="52" y="37"/>
                </a:lnTo>
                <a:lnTo>
                  <a:pt x="61" y="33"/>
                </a:lnTo>
                <a:lnTo>
                  <a:pt x="71" y="29"/>
                </a:lnTo>
                <a:lnTo>
                  <a:pt x="81" y="28"/>
                </a:lnTo>
                <a:close/>
                <a:moveTo>
                  <a:pt x="425" y="175"/>
                </a:moveTo>
                <a:lnTo>
                  <a:pt x="425" y="175"/>
                </a:lnTo>
                <a:lnTo>
                  <a:pt x="425" y="87"/>
                </a:lnTo>
                <a:lnTo>
                  <a:pt x="425" y="80"/>
                </a:lnTo>
                <a:lnTo>
                  <a:pt x="425" y="43"/>
                </a:lnTo>
                <a:lnTo>
                  <a:pt x="424" y="34"/>
                </a:lnTo>
                <a:lnTo>
                  <a:pt x="422" y="26"/>
                </a:lnTo>
                <a:lnTo>
                  <a:pt x="418" y="18"/>
                </a:lnTo>
                <a:lnTo>
                  <a:pt x="413" y="12"/>
                </a:lnTo>
                <a:lnTo>
                  <a:pt x="406" y="7"/>
                </a:lnTo>
                <a:lnTo>
                  <a:pt x="398" y="2"/>
                </a:lnTo>
                <a:lnTo>
                  <a:pt x="391" y="0"/>
                </a:lnTo>
                <a:lnTo>
                  <a:pt x="381" y="0"/>
                </a:lnTo>
                <a:lnTo>
                  <a:pt x="323" y="0"/>
                </a:lnTo>
                <a:lnTo>
                  <a:pt x="81" y="0"/>
                </a:lnTo>
                <a:lnTo>
                  <a:pt x="73" y="0"/>
                </a:lnTo>
                <a:lnTo>
                  <a:pt x="65" y="1"/>
                </a:lnTo>
                <a:lnTo>
                  <a:pt x="57" y="3"/>
                </a:lnTo>
                <a:lnTo>
                  <a:pt x="50" y="6"/>
                </a:lnTo>
                <a:lnTo>
                  <a:pt x="42" y="8"/>
                </a:lnTo>
                <a:lnTo>
                  <a:pt x="36" y="13"/>
                </a:lnTo>
                <a:lnTo>
                  <a:pt x="30" y="17"/>
                </a:lnTo>
                <a:lnTo>
                  <a:pt x="24" y="23"/>
                </a:lnTo>
                <a:lnTo>
                  <a:pt x="19" y="28"/>
                </a:lnTo>
                <a:lnTo>
                  <a:pt x="14" y="34"/>
                </a:lnTo>
                <a:lnTo>
                  <a:pt x="10" y="42"/>
                </a:lnTo>
                <a:lnTo>
                  <a:pt x="6" y="48"/>
                </a:lnTo>
                <a:lnTo>
                  <a:pt x="4" y="55"/>
                </a:lnTo>
                <a:lnTo>
                  <a:pt x="3" y="64"/>
                </a:lnTo>
                <a:lnTo>
                  <a:pt x="1" y="71"/>
                </a:lnTo>
                <a:lnTo>
                  <a:pt x="0" y="80"/>
                </a:lnTo>
                <a:lnTo>
                  <a:pt x="0" y="373"/>
                </a:lnTo>
                <a:lnTo>
                  <a:pt x="1" y="382"/>
                </a:lnTo>
                <a:lnTo>
                  <a:pt x="3" y="389"/>
                </a:lnTo>
                <a:lnTo>
                  <a:pt x="4" y="397"/>
                </a:lnTo>
                <a:lnTo>
                  <a:pt x="6" y="404"/>
                </a:lnTo>
                <a:lnTo>
                  <a:pt x="10" y="412"/>
                </a:lnTo>
                <a:lnTo>
                  <a:pt x="14" y="418"/>
                </a:lnTo>
                <a:lnTo>
                  <a:pt x="19" y="424"/>
                </a:lnTo>
                <a:lnTo>
                  <a:pt x="24" y="430"/>
                </a:lnTo>
                <a:lnTo>
                  <a:pt x="30" y="435"/>
                </a:lnTo>
                <a:lnTo>
                  <a:pt x="36" y="440"/>
                </a:lnTo>
                <a:lnTo>
                  <a:pt x="42" y="444"/>
                </a:lnTo>
                <a:lnTo>
                  <a:pt x="50" y="447"/>
                </a:lnTo>
                <a:lnTo>
                  <a:pt x="57" y="450"/>
                </a:lnTo>
                <a:lnTo>
                  <a:pt x="65" y="452"/>
                </a:lnTo>
                <a:lnTo>
                  <a:pt x="73" y="454"/>
                </a:lnTo>
                <a:lnTo>
                  <a:pt x="81" y="454"/>
                </a:lnTo>
                <a:lnTo>
                  <a:pt x="345" y="454"/>
                </a:lnTo>
                <a:lnTo>
                  <a:pt x="352" y="454"/>
                </a:lnTo>
                <a:lnTo>
                  <a:pt x="361" y="452"/>
                </a:lnTo>
                <a:lnTo>
                  <a:pt x="369" y="450"/>
                </a:lnTo>
                <a:lnTo>
                  <a:pt x="376" y="447"/>
                </a:lnTo>
                <a:lnTo>
                  <a:pt x="383" y="444"/>
                </a:lnTo>
                <a:lnTo>
                  <a:pt x="390" y="440"/>
                </a:lnTo>
                <a:lnTo>
                  <a:pt x="396" y="435"/>
                </a:lnTo>
                <a:lnTo>
                  <a:pt x="402" y="430"/>
                </a:lnTo>
                <a:lnTo>
                  <a:pt x="407" y="424"/>
                </a:lnTo>
                <a:lnTo>
                  <a:pt x="412" y="418"/>
                </a:lnTo>
                <a:lnTo>
                  <a:pt x="415" y="412"/>
                </a:lnTo>
                <a:lnTo>
                  <a:pt x="419" y="404"/>
                </a:lnTo>
                <a:lnTo>
                  <a:pt x="422" y="397"/>
                </a:lnTo>
                <a:lnTo>
                  <a:pt x="424" y="389"/>
                </a:lnTo>
                <a:lnTo>
                  <a:pt x="425" y="382"/>
                </a:lnTo>
                <a:lnTo>
                  <a:pt x="425" y="373"/>
                </a:lnTo>
                <a:lnTo>
                  <a:pt x="425" y="351"/>
                </a:lnTo>
                <a:lnTo>
                  <a:pt x="425" y="351"/>
                </a:lnTo>
                <a:lnTo>
                  <a:pt x="435" y="342"/>
                </a:lnTo>
                <a:lnTo>
                  <a:pt x="445" y="332"/>
                </a:lnTo>
                <a:lnTo>
                  <a:pt x="453" y="322"/>
                </a:lnTo>
                <a:lnTo>
                  <a:pt x="459" y="311"/>
                </a:lnTo>
                <a:lnTo>
                  <a:pt x="464" y="299"/>
                </a:lnTo>
                <a:lnTo>
                  <a:pt x="466" y="288"/>
                </a:lnTo>
                <a:lnTo>
                  <a:pt x="469" y="275"/>
                </a:lnTo>
                <a:lnTo>
                  <a:pt x="470" y="263"/>
                </a:lnTo>
                <a:lnTo>
                  <a:pt x="469" y="251"/>
                </a:lnTo>
                <a:lnTo>
                  <a:pt x="466" y="238"/>
                </a:lnTo>
                <a:lnTo>
                  <a:pt x="464" y="226"/>
                </a:lnTo>
                <a:lnTo>
                  <a:pt x="459" y="215"/>
                </a:lnTo>
                <a:lnTo>
                  <a:pt x="453" y="204"/>
                </a:lnTo>
                <a:lnTo>
                  <a:pt x="445" y="194"/>
                </a:lnTo>
                <a:lnTo>
                  <a:pt x="435" y="184"/>
                </a:lnTo>
                <a:lnTo>
                  <a:pt x="425" y="17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2" name="Freeform 9">
            <a:extLst>
              <a:ext uri="{FF2B5EF4-FFF2-40B4-BE49-F238E27FC236}">
                <a16:creationId xmlns:a16="http://schemas.microsoft.com/office/drawing/2014/main" id="{3CED0CA7-2BF5-15F0-425B-EAD293CC60A4}"/>
              </a:ext>
            </a:extLst>
          </p:cNvPr>
          <p:cNvSpPr>
            <a:spLocks noEditPoints="1"/>
          </p:cNvSpPr>
          <p:nvPr/>
        </p:nvSpPr>
        <p:spPr bwMode="auto">
          <a:xfrm>
            <a:off x="9359900" y="8797883"/>
            <a:ext cx="373063" cy="371475"/>
          </a:xfrm>
          <a:custGeom>
            <a:avLst/>
            <a:gdLst>
              <a:gd name="T0" fmla="*/ 438 w 470"/>
              <a:gd name="T1" fmla="*/ 437 h 469"/>
              <a:gd name="T2" fmla="*/ 40 w 470"/>
              <a:gd name="T3" fmla="*/ 439 h 469"/>
              <a:gd name="T4" fmla="*/ 31 w 470"/>
              <a:gd name="T5" fmla="*/ 433 h 469"/>
              <a:gd name="T6" fmla="*/ 31 w 470"/>
              <a:gd name="T7" fmla="*/ 79 h 469"/>
              <a:gd name="T8" fmla="*/ 40 w 470"/>
              <a:gd name="T9" fmla="*/ 73 h 469"/>
              <a:gd name="T10" fmla="*/ 104 w 470"/>
              <a:gd name="T11" fmla="*/ 108 h 469"/>
              <a:gd name="T12" fmla="*/ 118 w 470"/>
              <a:gd name="T13" fmla="*/ 116 h 469"/>
              <a:gd name="T14" fmla="*/ 131 w 470"/>
              <a:gd name="T15" fmla="*/ 108 h 469"/>
              <a:gd name="T16" fmla="*/ 220 w 470"/>
              <a:gd name="T17" fmla="*/ 73 h 469"/>
              <a:gd name="T18" fmla="*/ 225 w 470"/>
              <a:gd name="T19" fmla="*/ 113 h 469"/>
              <a:gd name="T20" fmla="*/ 241 w 470"/>
              <a:gd name="T21" fmla="*/ 116 h 469"/>
              <a:gd name="T22" fmla="*/ 250 w 470"/>
              <a:gd name="T23" fmla="*/ 103 h 469"/>
              <a:gd name="T24" fmla="*/ 338 w 470"/>
              <a:gd name="T25" fmla="*/ 103 h 469"/>
              <a:gd name="T26" fmla="*/ 346 w 470"/>
              <a:gd name="T27" fmla="*/ 116 h 469"/>
              <a:gd name="T28" fmla="*/ 362 w 470"/>
              <a:gd name="T29" fmla="*/ 113 h 469"/>
              <a:gd name="T30" fmla="*/ 367 w 470"/>
              <a:gd name="T31" fmla="*/ 73 h 469"/>
              <a:gd name="T32" fmla="*/ 438 w 470"/>
              <a:gd name="T33" fmla="*/ 76 h 469"/>
              <a:gd name="T34" fmla="*/ 440 w 470"/>
              <a:gd name="T35" fmla="*/ 429 h 469"/>
              <a:gd name="T36" fmla="*/ 367 w 470"/>
              <a:gd name="T37" fmla="*/ 176 h 469"/>
              <a:gd name="T38" fmla="*/ 308 w 470"/>
              <a:gd name="T39" fmla="*/ 293 h 469"/>
              <a:gd name="T40" fmla="*/ 308 w 470"/>
              <a:gd name="T41" fmla="*/ 249 h 469"/>
              <a:gd name="T42" fmla="*/ 367 w 470"/>
              <a:gd name="T43" fmla="*/ 366 h 469"/>
              <a:gd name="T44" fmla="*/ 308 w 470"/>
              <a:gd name="T45" fmla="*/ 366 h 469"/>
              <a:gd name="T46" fmla="*/ 265 w 470"/>
              <a:gd name="T47" fmla="*/ 176 h 469"/>
              <a:gd name="T48" fmla="*/ 205 w 470"/>
              <a:gd name="T49" fmla="*/ 293 h 469"/>
              <a:gd name="T50" fmla="*/ 205 w 470"/>
              <a:gd name="T51" fmla="*/ 249 h 469"/>
              <a:gd name="T52" fmla="*/ 265 w 470"/>
              <a:gd name="T53" fmla="*/ 366 h 469"/>
              <a:gd name="T54" fmla="*/ 205 w 470"/>
              <a:gd name="T55" fmla="*/ 366 h 469"/>
              <a:gd name="T56" fmla="*/ 162 w 470"/>
              <a:gd name="T57" fmla="*/ 322 h 469"/>
              <a:gd name="T58" fmla="*/ 103 w 470"/>
              <a:gd name="T59" fmla="*/ 293 h 469"/>
              <a:gd name="T60" fmla="*/ 103 w 470"/>
              <a:gd name="T61" fmla="*/ 249 h 469"/>
              <a:gd name="T62" fmla="*/ 162 w 470"/>
              <a:gd name="T63" fmla="*/ 219 h 469"/>
              <a:gd name="T64" fmla="*/ 103 w 470"/>
              <a:gd name="T65" fmla="*/ 219 h 469"/>
              <a:gd name="T66" fmla="*/ 367 w 470"/>
              <a:gd name="T67" fmla="*/ 14 h 469"/>
              <a:gd name="T68" fmla="*/ 357 w 470"/>
              <a:gd name="T69" fmla="*/ 1 h 469"/>
              <a:gd name="T70" fmla="*/ 342 w 470"/>
              <a:gd name="T71" fmla="*/ 4 h 469"/>
              <a:gd name="T72" fmla="*/ 338 w 470"/>
              <a:gd name="T73" fmla="*/ 43 h 469"/>
              <a:gd name="T74" fmla="*/ 249 w 470"/>
              <a:gd name="T75" fmla="*/ 9 h 469"/>
              <a:gd name="T76" fmla="*/ 235 w 470"/>
              <a:gd name="T77" fmla="*/ 0 h 469"/>
              <a:gd name="T78" fmla="*/ 221 w 470"/>
              <a:gd name="T79" fmla="*/ 9 h 469"/>
              <a:gd name="T80" fmla="*/ 132 w 470"/>
              <a:gd name="T81" fmla="*/ 43 h 469"/>
              <a:gd name="T82" fmla="*/ 129 w 470"/>
              <a:gd name="T83" fmla="*/ 4 h 469"/>
              <a:gd name="T84" fmla="*/ 113 w 470"/>
              <a:gd name="T85" fmla="*/ 1 h 469"/>
              <a:gd name="T86" fmla="*/ 103 w 470"/>
              <a:gd name="T87" fmla="*/ 14 h 469"/>
              <a:gd name="T88" fmla="*/ 32 w 470"/>
              <a:gd name="T89" fmla="*/ 45 h 469"/>
              <a:gd name="T90" fmla="*/ 12 w 470"/>
              <a:gd name="T91" fmla="*/ 55 h 469"/>
              <a:gd name="T92" fmla="*/ 1 w 470"/>
              <a:gd name="T93" fmla="*/ 74 h 469"/>
              <a:gd name="T94" fmla="*/ 1 w 470"/>
              <a:gd name="T95" fmla="*/ 438 h 469"/>
              <a:gd name="T96" fmla="*/ 12 w 470"/>
              <a:gd name="T97" fmla="*/ 458 h 469"/>
              <a:gd name="T98" fmla="*/ 32 w 470"/>
              <a:gd name="T99" fmla="*/ 468 h 469"/>
              <a:gd name="T100" fmla="*/ 438 w 470"/>
              <a:gd name="T101" fmla="*/ 468 h 469"/>
              <a:gd name="T102" fmla="*/ 457 w 470"/>
              <a:gd name="T103" fmla="*/ 458 h 469"/>
              <a:gd name="T104" fmla="*/ 469 w 470"/>
              <a:gd name="T105" fmla="*/ 438 h 469"/>
              <a:gd name="T106" fmla="*/ 469 w 470"/>
              <a:gd name="T107" fmla="*/ 74 h 469"/>
              <a:gd name="T108" fmla="*/ 457 w 470"/>
              <a:gd name="T109" fmla="*/ 55 h 469"/>
              <a:gd name="T110" fmla="*/ 438 w 470"/>
              <a:gd name="T111" fmla="*/ 4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0" h="469">
                <a:moveTo>
                  <a:pt x="440" y="429"/>
                </a:moveTo>
                <a:lnTo>
                  <a:pt x="439" y="433"/>
                </a:lnTo>
                <a:lnTo>
                  <a:pt x="438" y="437"/>
                </a:lnTo>
                <a:lnTo>
                  <a:pt x="434" y="439"/>
                </a:lnTo>
                <a:lnTo>
                  <a:pt x="430" y="439"/>
                </a:lnTo>
                <a:lnTo>
                  <a:pt x="40" y="439"/>
                </a:lnTo>
                <a:lnTo>
                  <a:pt x="36" y="439"/>
                </a:lnTo>
                <a:lnTo>
                  <a:pt x="32" y="437"/>
                </a:lnTo>
                <a:lnTo>
                  <a:pt x="31" y="433"/>
                </a:lnTo>
                <a:lnTo>
                  <a:pt x="30" y="429"/>
                </a:lnTo>
                <a:lnTo>
                  <a:pt x="30" y="83"/>
                </a:lnTo>
                <a:lnTo>
                  <a:pt x="31" y="79"/>
                </a:lnTo>
                <a:lnTo>
                  <a:pt x="32" y="76"/>
                </a:lnTo>
                <a:lnTo>
                  <a:pt x="36" y="74"/>
                </a:lnTo>
                <a:lnTo>
                  <a:pt x="40" y="73"/>
                </a:lnTo>
                <a:lnTo>
                  <a:pt x="103" y="73"/>
                </a:lnTo>
                <a:lnTo>
                  <a:pt x="103" y="103"/>
                </a:lnTo>
                <a:lnTo>
                  <a:pt x="104" y="108"/>
                </a:lnTo>
                <a:lnTo>
                  <a:pt x="108" y="113"/>
                </a:lnTo>
                <a:lnTo>
                  <a:pt x="113" y="116"/>
                </a:lnTo>
                <a:lnTo>
                  <a:pt x="118" y="116"/>
                </a:lnTo>
                <a:lnTo>
                  <a:pt x="124" y="116"/>
                </a:lnTo>
                <a:lnTo>
                  <a:pt x="129" y="113"/>
                </a:lnTo>
                <a:lnTo>
                  <a:pt x="131" y="108"/>
                </a:lnTo>
                <a:lnTo>
                  <a:pt x="132" y="103"/>
                </a:lnTo>
                <a:lnTo>
                  <a:pt x="132" y="73"/>
                </a:lnTo>
                <a:lnTo>
                  <a:pt x="220" y="73"/>
                </a:lnTo>
                <a:lnTo>
                  <a:pt x="220" y="103"/>
                </a:lnTo>
                <a:lnTo>
                  <a:pt x="221" y="108"/>
                </a:lnTo>
                <a:lnTo>
                  <a:pt x="225" y="113"/>
                </a:lnTo>
                <a:lnTo>
                  <a:pt x="229" y="116"/>
                </a:lnTo>
                <a:lnTo>
                  <a:pt x="235" y="116"/>
                </a:lnTo>
                <a:lnTo>
                  <a:pt x="241" y="116"/>
                </a:lnTo>
                <a:lnTo>
                  <a:pt x="245" y="113"/>
                </a:lnTo>
                <a:lnTo>
                  <a:pt x="249" y="108"/>
                </a:lnTo>
                <a:lnTo>
                  <a:pt x="250" y="103"/>
                </a:lnTo>
                <a:lnTo>
                  <a:pt x="250" y="73"/>
                </a:lnTo>
                <a:lnTo>
                  <a:pt x="338" y="73"/>
                </a:lnTo>
                <a:lnTo>
                  <a:pt x="338" y="103"/>
                </a:lnTo>
                <a:lnTo>
                  <a:pt x="339" y="108"/>
                </a:lnTo>
                <a:lnTo>
                  <a:pt x="342" y="113"/>
                </a:lnTo>
                <a:lnTo>
                  <a:pt x="346" y="116"/>
                </a:lnTo>
                <a:lnTo>
                  <a:pt x="352" y="116"/>
                </a:lnTo>
                <a:lnTo>
                  <a:pt x="357" y="116"/>
                </a:lnTo>
                <a:lnTo>
                  <a:pt x="362" y="113"/>
                </a:lnTo>
                <a:lnTo>
                  <a:pt x="366" y="108"/>
                </a:lnTo>
                <a:lnTo>
                  <a:pt x="367" y="103"/>
                </a:lnTo>
                <a:lnTo>
                  <a:pt x="367" y="73"/>
                </a:lnTo>
                <a:lnTo>
                  <a:pt x="430" y="73"/>
                </a:lnTo>
                <a:lnTo>
                  <a:pt x="434" y="74"/>
                </a:lnTo>
                <a:lnTo>
                  <a:pt x="438" y="76"/>
                </a:lnTo>
                <a:lnTo>
                  <a:pt x="439" y="79"/>
                </a:lnTo>
                <a:lnTo>
                  <a:pt x="440" y="83"/>
                </a:lnTo>
                <a:lnTo>
                  <a:pt x="440" y="429"/>
                </a:lnTo>
                <a:close/>
                <a:moveTo>
                  <a:pt x="308" y="219"/>
                </a:moveTo>
                <a:lnTo>
                  <a:pt x="367" y="219"/>
                </a:lnTo>
                <a:lnTo>
                  <a:pt x="367" y="176"/>
                </a:lnTo>
                <a:lnTo>
                  <a:pt x="308" y="176"/>
                </a:lnTo>
                <a:lnTo>
                  <a:pt x="308" y="219"/>
                </a:lnTo>
                <a:close/>
                <a:moveTo>
                  <a:pt x="308" y="293"/>
                </a:moveTo>
                <a:lnTo>
                  <a:pt x="367" y="293"/>
                </a:lnTo>
                <a:lnTo>
                  <a:pt x="367" y="249"/>
                </a:lnTo>
                <a:lnTo>
                  <a:pt x="308" y="249"/>
                </a:lnTo>
                <a:lnTo>
                  <a:pt x="308" y="293"/>
                </a:lnTo>
                <a:close/>
                <a:moveTo>
                  <a:pt x="308" y="366"/>
                </a:moveTo>
                <a:lnTo>
                  <a:pt x="367" y="366"/>
                </a:lnTo>
                <a:lnTo>
                  <a:pt x="367" y="322"/>
                </a:lnTo>
                <a:lnTo>
                  <a:pt x="308" y="322"/>
                </a:lnTo>
                <a:lnTo>
                  <a:pt x="308" y="366"/>
                </a:lnTo>
                <a:close/>
                <a:moveTo>
                  <a:pt x="205" y="219"/>
                </a:moveTo>
                <a:lnTo>
                  <a:pt x="265" y="219"/>
                </a:lnTo>
                <a:lnTo>
                  <a:pt x="265" y="176"/>
                </a:lnTo>
                <a:lnTo>
                  <a:pt x="205" y="176"/>
                </a:lnTo>
                <a:lnTo>
                  <a:pt x="205" y="219"/>
                </a:lnTo>
                <a:close/>
                <a:moveTo>
                  <a:pt x="205" y="293"/>
                </a:moveTo>
                <a:lnTo>
                  <a:pt x="265" y="293"/>
                </a:lnTo>
                <a:lnTo>
                  <a:pt x="265" y="249"/>
                </a:lnTo>
                <a:lnTo>
                  <a:pt x="205" y="249"/>
                </a:lnTo>
                <a:lnTo>
                  <a:pt x="205" y="293"/>
                </a:lnTo>
                <a:close/>
                <a:moveTo>
                  <a:pt x="205" y="366"/>
                </a:moveTo>
                <a:lnTo>
                  <a:pt x="265" y="366"/>
                </a:lnTo>
                <a:lnTo>
                  <a:pt x="265" y="322"/>
                </a:lnTo>
                <a:lnTo>
                  <a:pt x="205" y="322"/>
                </a:lnTo>
                <a:lnTo>
                  <a:pt x="205" y="366"/>
                </a:lnTo>
                <a:close/>
                <a:moveTo>
                  <a:pt x="103" y="366"/>
                </a:moveTo>
                <a:lnTo>
                  <a:pt x="162" y="366"/>
                </a:lnTo>
                <a:lnTo>
                  <a:pt x="162" y="322"/>
                </a:lnTo>
                <a:lnTo>
                  <a:pt x="103" y="322"/>
                </a:lnTo>
                <a:lnTo>
                  <a:pt x="103" y="366"/>
                </a:lnTo>
                <a:close/>
                <a:moveTo>
                  <a:pt x="103" y="293"/>
                </a:moveTo>
                <a:lnTo>
                  <a:pt x="162" y="293"/>
                </a:lnTo>
                <a:lnTo>
                  <a:pt x="162" y="249"/>
                </a:lnTo>
                <a:lnTo>
                  <a:pt x="103" y="249"/>
                </a:lnTo>
                <a:lnTo>
                  <a:pt x="103" y="293"/>
                </a:lnTo>
                <a:close/>
                <a:moveTo>
                  <a:pt x="103" y="219"/>
                </a:moveTo>
                <a:lnTo>
                  <a:pt x="162" y="219"/>
                </a:lnTo>
                <a:lnTo>
                  <a:pt x="162" y="176"/>
                </a:lnTo>
                <a:lnTo>
                  <a:pt x="103" y="176"/>
                </a:lnTo>
                <a:lnTo>
                  <a:pt x="103" y="219"/>
                </a:lnTo>
                <a:close/>
                <a:moveTo>
                  <a:pt x="430" y="43"/>
                </a:moveTo>
                <a:lnTo>
                  <a:pt x="367" y="43"/>
                </a:lnTo>
                <a:lnTo>
                  <a:pt x="367" y="14"/>
                </a:lnTo>
                <a:lnTo>
                  <a:pt x="366" y="9"/>
                </a:lnTo>
                <a:lnTo>
                  <a:pt x="362" y="4"/>
                </a:lnTo>
                <a:lnTo>
                  <a:pt x="357" y="1"/>
                </a:lnTo>
                <a:lnTo>
                  <a:pt x="352" y="0"/>
                </a:lnTo>
                <a:lnTo>
                  <a:pt x="346" y="1"/>
                </a:lnTo>
                <a:lnTo>
                  <a:pt x="342" y="4"/>
                </a:lnTo>
                <a:lnTo>
                  <a:pt x="339" y="9"/>
                </a:lnTo>
                <a:lnTo>
                  <a:pt x="338" y="14"/>
                </a:lnTo>
                <a:lnTo>
                  <a:pt x="338" y="43"/>
                </a:lnTo>
                <a:lnTo>
                  <a:pt x="250" y="43"/>
                </a:lnTo>
                <a:lnTo>
                  <a:pt x="250" y="14"/>
                </a:lnTo>
                <a:lnTo>
                  <a:pt x="249" y="9"/>
                </a:lnTo>
                <a:lnTo>
                  <a:pt x="245" y="4"/>
                </a:lnTo>
                <a:lnTo>
                  <a:pt x="241" y="1"/>
                </a:lnTo>
                <a:lnTo>
                  <a:pt x="235" y="0"/>
                </a:lnTo>
                <a:lnTo>
                  <a:pt x="229" y="1"/>
                </a:lnTo>
                <a:lnTo>
                  <a:pt x="225" y="4"/>
                </a:lnTo>
                <a:lnTo>
                  <a:pt x="221" y="9"/>
                </a:lnTo>
                <a:lnTo>
                  <a:pt x="220" y="14"/>
                </a:lnTo>
                <a:lnTo>
                  <a:pt x="220" y="43"/>
                </a:lnTo>
                <a:lnTo>
                  <a:pt x="132" y="43"/>
                </a:lnTo>
                <a:lnTo>
                  <a:pt x="132" y="14"/>
                </a:lnTo>
                <a:lnTo>
                  <a:pt x="131" y="9"/>
                </a:lnTo>
                <a:lnTo>
                  <a:pt x="129" y="4"/>
                </a:lnTo>
                <a:lnTo>
                  <a:pt x="124" y="1"/>
                </a:lnTo>
                <a:lnTo>
                  <a:pt x="118" y="0"/>
                </a:lnTo>
                <a:lnTo>
                  <a:pt x="113" y="1"/>
                </a:lnTo>
                <a:lnTo>
                  <a:pt x="108" y="4"/>
                </a:lnTo>
                <a:lnTo>
                  <a:pt x="104" y="9"/>
                </a:lnTo>
                <a:lnTo>
                  <a:pt x="103" y="14"/>
                </a:lnTo>
                <a:lnTo>
                  <a:pt x="103" y="43"/>
                </a:lnTo>
                <a:lnTo>
                  <a:pt x="40" y="43"/>
                </a:lnTo>
                <a:lnTo>
                  <a:pt x="32" y="45"/>
                </a:lnTo>
                <a:lnTo>
                  <a:pt x="25" y="47"/>
                </a:lnTo>
                <a:lnTo>
                  <a:pt x="17" y="51"/>
                </a:lnTo>
                <a:lnTo>
                  <a:pt x="12" y="55"/>
                </a:lnTo>
                <a:lnTo>
                  <a:pt x="8" y="61"/>
                </a:lnTo>
                <a:lnTo>
                  <a:pt x="4" y="68"/>
                </a:lnTo>
                <a:lnTo>
                  <a:pt x="1" y="74"/>
                </a:lnTo>
                <a:lnTo>
                  <a:pt x="0" y="83"/>
                </a:lnTo>
                <a:lnTo>
                  <a:pt x="0" y="429"/>
                </a:lnTo>
                <a:lnTo>
                  <a:pt x="1" y="438"/>
                </a:lnTo>
                <a:lnTo>
                  <a:pt x="4" y="445"/>
                </a:lnTo>
                <a:lnTo>
                  <a:pt x="8" y="452"/>
                </a:lnTo>
                <a:lnTo>
                  <a:pt x="12" y="458"/>
                </a:lnTo>
                <a:lnTo>
                  <a:pt x="17" y="463"/>
                </a:lnTo>
                <a:lnTo>
                  <a:pt x="25" y="467"/>
                </a:lnTo>
                <a:lnTo>
                  <a:pt x="32" y="468"/>
                </a:lnTo>
                <a:lnTo>
                  <a:pt x="40" y="469"/>
                </a:lnTo>
                <a:lnTo>
                  <a:pt x="430" y="469"/>
                </a:lnTo>
                <a:lnTo>
                  <a:pt x="438" y="468"/>
                </a:lnTo>
                <a:lnTo>
                  <a:pt x="445" y="467"/>
                </a:lnTo>
                <a:lnTo>
                  <a:pt x="452" y="463"/>
                </a:lnTo>
                <a:lnTo>
                  <a:pt x="457" y="458"/>
                </a:lnTo>
                <a:lnTo>
                  <a:pt x="462" y="452"/>
                </a:lnTo>
                <a:lnTo>
                  <a:pt x="466" y="445"/>
                </a:lnTo>
                <a:lnTo>
                  <a:pt x="469" y="438"/>
                </a:lnTo>
                <a:lnTo>
                  <a:pt x="470" y="429"/>
                </a:lnTo>
                <a:lnTo>
                  <a:pt x="470" y="83"/>
                </a:lnTo>
                <a:lnTo>
                  <a:pt x="469" y="74"/>
                </a:lnTo>
                <a:lnTo>
                  <a:pt x="466" y="68"/>
                </a:lnTo>
                <a:lnTo>
                  <a:pt x="462" y="61"/>
                </a:lnTo>
                <a:lnTo>
                  <a:pt x="457" y="55"/>
                </a:lnTo>
                <a:lnTo>
                  <a:pt x="452" y="51"/>
                </a:lnTo>
                <a:lnTo>
                  <a:pt x="445" y="47"/>
                </a:lnTo>
                <a:lnTo>
                  <a:pt x="438" y="45"/>
                </a:lnTo>
                <a:lnTo>
                  <a:pt x="430" y="4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3" name="Freeform 10">
            <a:extLst>
              <a:ext uri="{FF2B5EF4-FFF2-40B4-BE49-F238E27FC236}">
                <a16:creationId xmlns:a16="http://schemas.microsoft.com/office/drawing/2014/main" id="{8CB4C18F-1E9D-4826-AED6-7E55F39F1747}"/>
              </a:ext>
            </a:extLst>
          </p:cNvPr>
          <p:cNvSpPr>
            <a:spLocks noEditPoints="1"/>
          </p:cNvSpPr>
          <p:nvPr/>
        </p:nvSpPr>
        <p:spPr bwMode="auto">
          <a:xfrm>
            <a:off x="10167938" y="8797883"/>
            <a:ext cx="371475" cy="371475"/>
          </a:xfrm>
          <a:custGeom>
            <a:avLst/>
            <a:gdLst>
              <a:gd name="T0" fmla="*/ 435 w 469"/>
              <a:gd name="T1" fmla="*/ 215 h 469"/>
              <a:gd name="T2" fmla="*/ 397 w 469"/>
              <a:gd name="T3" fmla="*/ 219 h 469"/>
              <a:gd name="T4" fmla="*/ 383 w 469"/>
              <a:gd name="T5" fmla="*/ 118 h 469"/>
              <a:gd name="T6" fmla="*/ 392 w 469"/>
              <a:gd name="T7" fmla="*/ 123 h 469"/>
              <a:gd name="T8" fmla="*/ 439 w 469"/>
              <a:gd name="T9" fmla="*/ 191 h 469"/>
              <a:gd name="T10" fmla="*/ 307 w 469"/>
              <a:gd name="T11" fmla="*/ 439 h 469"/>
              <a:gd name="T12" fmla="*/ 303 w 469"/>
              <a:gd name="T13" fmla="*/ 282 h 469"/>
              <a:gd name="T14" fmla="*/ 183 w 469"/>
              <a:gd name="T15" fmla="*/ 278 h 469"/>
              <a:gd name="T16" fmla="*/ 170 w 469"/>
              <a:gd name="T17" fmla="*/ 287 h 469"/>
              <a:gd name="T18" fmla="*/ 73 w 469"/>
              <a:gd name="T19" fmla="*/ 439 h 469"/>
              <a:gd name="T20" fmla="*/ 396 w 469"/>
              <a:gd name="T21" fmla="*/ 439 h 469"/>
              <a:gd name="T22" fmla="*/ 183 w 469"/>
              <a:gd name="T23" fmla="*/ 293 h 469"/>
              <a:gd name="T24" fmla="*/ 29 w 469"/>
              <a:gd name="T25" fmla="*/ 205 h 469"/>
              <a:gd name="T26" fmla="*/ 32 w 469"/>
              <a:gd name="T27" fmla="*/ 182 h 469"/>
              <a:gd name="T28" fmla="*/ 81 w 469"/>
              <a:gd name="T29" fmla="*/ 119 h 469"/>
              <a:gd name="T30" fmla="*/ 129 w 469"/>
              <a:gd name="T31" fmla="*/ 116 h 469"/>
              <a:gd name="T32" fmla="*/ 39 w 469"/>
              <a:gd name="T33" fmla="*/ 219 h 469"/>
              <a:gd name="T34" fmla="*/ 29 w 469"/>
              <a:gd name="T35" fmla="*/ 205 h 469"/>
              <a:gd name="T36" fmla="*/ 381 w 469"/>
              <a:gd name="T37" fmla="*/ 219 h 469"/>
              <a:gd name="T38" fmla="*/ 241 w 469"/>
              <a:gd name="T39" fmla="*/ 116 h 469"/>
              <a:gd name="T40" fmla="*/ 241 w 469"/>
              <a:gd name="T41" fmla="*/ 219 h 469"/>
              <a:gd name="T42" fmla="*/ 226 w 469"/>
              <a:gd name="T43" fmla="*/ 116 h 469"/>
              <a:gd name="T44" fmla="*/ 193 w 469"/>
              <a:gd name="T45" fmla="*/ 116 h 469"/>
              <a:gd name="T46" fmla="*/ 146 w 469"/>
              <a:gd name="T47" fmla="*/ 116 h 469"/>
              <a:gd name="T48" fmla="*/ 381 w 469"/>
              <a:gd name="T49" fmla="*/ 29 h 469"/>
              <a:gd name="T50" fmla="*/ 88 w 469"/>
              <a:gd name="T51" fmla="*/ 29 h 469"/>
              <a:gd name="T52" fmla="*/ 416 w 469"/>
              <a:gd name="T53" fmla="*/ 105 h 469"/>
              <a:gd name="T54" fmla="*/ 409 w 469"/>
              <a:gd name="T55" fmla="*/ 29 h 469"/>
              <a:gd name="T56" fmla="*/ 404 w 469"/>
              <a:gd name="T57" fmla="*/ 12 h 469"/>
              <a:gd name="T58" fmla="*/ 392 w 469"/>
              <a:gd name="T59" fmla="*/ 3 h 469"/>
              <a:gd name="T60" fmla="*/ 88 w 469"/>
              <a:gd name="T61" fmla="*/ 0 h 469"/>
              <a:gd name="T62" fmla="*/ 71 w 469"/>
              <a:gd name="T63" fmla="*/ 5 h 469"/>
              <a:gd name="T64" fmla="*/ 61 w 469"/>
              <a:gd name="T65" fmla="*/ 17 h 469"/>
              <a:gd name="T66" fmla="*/ 58 w 469"/>
              <a:gd name="T67" fmla="*/ 99 h 469"/>
              <a:gd name="T68" fmla="*/ 9 w 469"/>
              <a:gd name="T69" fmla="*/ 163 h 469"/>
              <a:gd name="T70" fmla="*/ 0 w 469"/>
              <a:gd name="T71" fmla="*/ 183 h 469"/>
              <a:gd name="T72" fmla="*/ 0 w 469"/>
              <a:gd name="T73" fmla="*/ 214 h 469"/>
              <a:gd name="T74" fmla="*/ 13 w 469"/>
              <a:gd name="T75" fmla="*/ 236 h 469"/>
              <a:gd name="T76" fmla="*/ 35 w 469"/>
              <a:gd name="T77" fmla="*/ 248 h 469"/>
              <a:gd name="T78" fmla="*/ 45 w 469"/>
              <a:gd name="T79" fmla="*/ 445 h 469"/>
              <a:gd name="T80" fmla="*/ 52 w 469"/>
              <a:gd name="T81" fmla="*/ 460 h 469"/>
              <a:gd name="T82" fmla="*/ 67 w 469"/>
              <a:gd name="T83" fmla="*/ 469 h 469"/>
              <a:gd name="T84" fmla="*/ 401 w 469"/>
              <a:gd name="T85" fmla="*/ 469 h 469"/>
              <a:gd name="T86" fmla="*/ 416 w 469"/>
              <a:gd name="T87" fmla="*/ 460 h 469"/>
              <a:gd name="T88" fmla="*/ 424 w 469"/>
              <a:gd name="T89" fmla="*/ 445 h 469"/>
              <a:gd name="T90" fmla="*/ 424 w 469"/>
              <a:gd name="T91" fmla="*/ 249 h 469"/>
              <a:gd name="T92" fmla="*/ 449 w 469"/>
              <a:gd name="T93" fmla="*/ 241 h 469"/>
              <a:gd name="T94" fmla="*/ 465 w 469"/>
              <a:gd name="T95" fmla="*/ 222 h 469"/>
              <a:gd name="T96" fmla="*/ 469 w 469"/>
              <a:gd name="T97" fmla="*/ 191 h 469"/>
              <a:gd name="T98" fmla="*/ 464 w 469"/>
              <a:gd name="T99" fmla="*/ 17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9" h="469">
                <a:moveTo>
                  <a:pt x="439" y="205"/>
                </a:moveTo>
                <a:lnTo>
                  <a:pt x="438" y="210"/>
                </a:lnTo>
                <a:lnTo>
                  <a:pt x="435" y="215"/>
                </a:lnTo>
                <a:lnTo>
                  <a:pt x="430" y="219"/>
                </a:lnTo>
                <a:lnTo>
                  <a:pt x="424" y="219"/>
                </a:lnTo>
                <a:lnTo>
                  <a:pt x="397" y="219"/>
                </a:lnTo>
                <a:lnTo>
                  <a:pt x="339" y="116"/>
                </a:lnTo>
                <a:lnTo>
                  <a:pt x="381" y="116"/>
                </a:lnTo>
                <a:lnTo>
                  <a:pt x="383" y="118"/>
                </a:lnTo>
                <a:lnTo>
                  <a:pt x="387" y="119"/>
                </a:lnTo>
                <a:lnTo>
                  <a:pt x="390" y="120"/>
                </a:lnTo>
                <a:lnTo>
                  <a:pt x="392" y="123"/>
                </a:lnTo>
                <a:lnTo>
                  <a:pt x="437" y="182"/>
                </a:lnTo>
                <a:lnTo>
                  <a:pt x="439" y="186"/>
                </a:lnTo>
                <a:lnTo>
                  <a:pt x="439" y="191"/>
                </a:lnTo>
                <a:lnTo>
                  <a:pt x="439" y="205"/>
                </a:lnTo>
                <a:close/>
                <a:moveTo>
                  <a:pt x="396" y="439"/>
                </a:moveTo>
                <a:lnTo>
                  <a:pt x="307" y="439"/>
                </a:lnTo>
                <a:lnTo>
                  <a:pt x="307" y="293"/>
                </a:lnTo>
                <a:lnTo>
                  <a:pt x="307" y="287"/>
                </a:lnTo>
                <a:lnTo>
                  <a:pt x="303" y="282"/>
                </a:lnTo>
                <a:lnTo>
                  <a:pt x="298" y="280"/>
                </a:lnTo>
                <a:lnTo>
                  <a:pt x="293" y="278"/>
                </a:lnTo>
                <a:lnTo>
                  <a:pt x="183" y="278"/>
                </a:lnTo>
                <a:lnTo>
                  <a:pt x="177" y="280"/>
                </a:lnTo>
                <a:lnTo>
                  <a:pt x="172" y="282"/>
                </a:lnTo>
                <a:lnTo>
                  <a:pt x="170" y="287"/>
                </a:lnTo>
                <a:lnTo>
                  <a:pt x="168" y="293"/>
                </a:lnTo>
                <a:lnTo>
                  <a:pt x="168" y="439"/>
                </a:lnTo>
                <a:lnTo>
                  <a:pt x="73" y="439"/>
                </a:lnTo>
                <a:lnTo>
                  <a:pt x="73" y="249"/>
                </a:lnTo>
                <a:lnTo>
                  <a:pt x="396" y="249"/>
                </a:lnTo>
                <a:lnTo>
                  <a:pt x="396" y="439"/>
                </a:lnTo>
                <a:close/>
                <a:moveTo>
                  <a:pt x="293" y="439"/>
                </a:moveTo>
                <a:lnTo>
                  <a:pt x="183" y="439"/>
                </a:lnTo>
                <a:lnTo>
                  <a:pt x="183" y="293"/>
                </a:lnTo>
                <a:lnTo>
                  <a:pt x="293" y="293"/>
                </a:lnTo>
                <a:lnTo>
                  <a:pt x="293" y="439"/>
                </a:lnTo>
                <a:close/>
                <a:moveTo>
                  <a:pt x="29" y="205"/>
                </a:moveTo>
                <a:lnTo>
                  <a:pt x="29" y="191"/>
                </a:lnTo>
                <a:lnTo>
                  <a:pt x="30" y="186"/>
                </a:lnTo>
                <a:lnTo>
                  <a:pt x="32" y="182"/>
                </a:lnTo>
                <a:lnTo>
                  <a:pt x="76" y="123"/>
                </a:lnTo>
                <a:lnTo>
                  <a:pt x="78" y="120"/>
                </a:lnTo>
                <a:lnTo>
                  <a:pt x="81" y="119"/>
                </a:lnTo>
                <a:lnTo>
                  <a:pt x="84" y="118"/>
                </a:lnTo>
                <a:lnTo>
                  <a:pt x="88" y="116"/>
                </a:lnTo>
                <a:lnTo>
                  <a:pt x="129" y="116"/>
                </a:lnTo>
                <a:lnTo>
                  <a:pt x="71" y="219"/>
                </a:lnTo>
                <a:lnTo>
                  <a:pt x="44" y="219"/>
                </a:lnTo>
                <a:lnTo>
                  <a:pt x="39" y="219"/>
                </a:lnTo>
                <a:lnTo>
                  <a:pt x="34" y="215"/>
                </a:lnTo>
                <a:lnTo>
                  <a:pt x="30" y="210"/>
                </a:lnTo>
                <a:lnTo>
                  <a:pt x="29" y="205"/>
                </a:lnTo>
                <a:close/>
                <a:moveTo>
                  <a:pt x="289" y="116"/>
                </a:moveTo>
                <a:lnTo>
                  <a:pt x="322" y="116"/>
                </a:lnTo>
                <a:lnTo>
                  <a:pt x="381" y="219"/>
                </a:lnTo>
                <a:lnTo>
                  <a:pt x="319" y="219"/>
                </a:lnTo>
                <a:lnTo>
                  <a:pt x="289" y="116"/>
                </a:lnTo>
                <a:close/>
                <a:moveTo>
                  <a:pt x="241" y="116"/>
                </a:moveTo>
                <a:lnTo>
                  <a:pt x="275" y="116"/>
                </a:lnTo>
                <a:lnTo>
                  <a:pt x="304" y="219"/>
                </a:lnTo>
                <a:lnTo>
                  <a:pt x="241" y="219"/>
                </a:lnTo>
                <a:lnTo>
                  <a:pt x="241" y="116"/>
                </a:lnTo>
                <a:close/>
                <a:moveTo>
                  <a:pt x="193" y="116"/>
                </a:moveTo>
                <a:lnTo>
                  <a:pt x="226" y="116"/>
                </a:lnTo>
                <a:lnTo>
                  <a:pt x="226" y="219"/>
                </a:lnTo>
                <a:lnTo>
                  <a:pt x="165" y="219"/>
                </a:lnTo>
                <a:lnTo>
                  <a:pt x="193" y="116"/>
                </a:lnTo>
                <a:close/>
                <a:moveTo>
                  <a:pt x="149" y="219"/>
                </a:moveTo>
                <a:lnTo>
                  <a:pt x="88" y="219"/>
                </a:lnTo>
                <a:lnTo>
                  <a:pt x="146" y="116"/>
                </a:lnTo>
                <a:lnTo>
                  <a:pt x="178" y="116"/>
                </a:lnTo>
                <a:lnTo>
                  <a:pt x="149" y="219"/>
                </a:lnTo>
                <a:close/>
                <a:moveTo>
                  <a:pt x="381" y="29"/>
                </a:moveTo>
                <a:lnTo>
                  <a:pt x="381" y="88"/>
                </a:lnTo>
                <a:lnTo>
                  <a:pt x="88" y="88"/>
                </a:lnTo>
                <a:lnTo>
                  <a:pt x="88" y="29"/>
                </a:lnTo>
                <a:lnTo>
                  <a:pt x="381" y="29"/>
                </a:lnTo>
                <a:close/>
                <a:moveTo>
                  <a:pt x="460" y="163"/>
                </a:moveTo>
                <a:lnTo>
                  <a:pt x="416" y="105"/>
                </a:lnTo>
                <a:lnTo>
                  <a:pt x="413" y="102"/>
                </a:lnTo>
                <a:lnTo>
                  <a:pt x="409" y="99"/>
                </a:lnTo>
                <a:lnTo>
                  <a:pt x="409" y="29"/>
                </a:lnTo>
                <a:lnTo>
                  <a:pt x="409" y="24"/>
                </a:lnTo>
                <a:lnTo>
                  <a:pt x="408" y="17"/>
                </a:lnTo>
                <a:lnTo>
                  <a:pt x="404" y="12"/>
                </a:lnTo>
                <a:lnTo>
                  <a:pt x="401" y="9"/>
                </a:lnTo>
                <a:lnTo>
                  <a:pt x="397" y="5"/>
                </a:lnTo>
                <a:lnTo>
                  <a:pt x="392" y="3"/>
                </a:lnTo>
                <a:lnTo>
                  <a:pt x="386" y="0"/>
                </a:lnTo>
                <a:lnTo>
                  <a:pt x="381" y="0"/>
                </a:lnTo>
                <a:lnTo>
                  <a:pt x="88" y="0"/>
                </a:lnTo>
                <a:lnTo>
                  <a:pt x="82" y="0"/>
                </a:lnTo>
                <a:lnTo>
                  <a:pt x="76" y="3"/>
                </a:lnTo>
                <a:lnTo>
                  <a:pt x="71" y="5"/>
                </a:lnTo>
                <a:lnTo>
                  <a:pt x="67" y="9"/>
                </a:lnTo>
                <a:lnTo>
                  <a:pt x="63" y="12"/>
                </a:lnTo>
                <a:lnTo>
                  <a:pt x="61" y="17"/>
                </a:lnTo>
                <a:lnTo>
                  <a:pt x="58" y="24"/>
                </a:lnTo>
                <a:lnTo>
                  <a:pt x="58" y="29"/>
                </a:lnTo>
                <a:lnTo>
                  <a:pt x="58" y="99"/>
                </a:lnTo>
                <a:lnTo>
                  <a:pt x="55" y="102"/>
                </a:lnTo>
                <a:lnTo>
                  <a:pt x="52" y="105"/>
                </a:lnTo>
                <a:lnTo>
                  <a:pt x="9" y="163"/>
                </a:lnTo>
                <a:lnTo>
                  <a:pt x="5" y="170"/>
                </a:lnTo>
                <a:lnTo>
                  <a:pt x="1" y="177"/>
                </a:lnTo>
                <a:lnTo>
                  <a:pt x="0" y="183"/>
                </a:lnTo>
                <a:lnTo>
                  <a:pt x="0" y="191"/>
                </a:lnTo>
                <a:lnTo>
                  <a:pt x="0" y="205"/>
                </a:lnTo>
                <a:lnTo>
                  <a:pt x="0" y="214"/>
                </a:lnTo>
                <a:lnTo>
                  <a:pt x="3" y="222"/>
                </a:lnTo>
                <a:lnTo>
                  <a:pt x="8" y="229"/>
                </a:lnTo>
                <a:lnTo>
                  <a:pt x="13" y="236"/>
                </a:lnTo>
                <a:lnTo>
                  <a:pt x="19" y="241"/>
                </a:lnTo>
                <a:lnTo>
                  <a:pt x="26" y="245"/>
                </a:lnTo>
                <a:lnTo>
                  <a:pt x="35" y="248"/>
                </a:lnTo>
                <a:lnTo>
                  <a:pt x="44" y="249"/>
                </a:lnTo>
                <a:lnTo>
                  <a:pt x="44" y="439"/>
                </a:lnTo>
                <a:lnTo>
                  <a:pt x="45" y="445"/>
                </a:lnTo>
                <a:lnTo>
                  <a:pt x="46" y="452"/>
                </a:lnTo>
                <a:lnTo>
                  <a:pt x="48" y="457"/>
                </a:lnTo>
                <a:lnTo>
                  <a:pt x="52" y="460"/>
                </a:lnTo>
                <a:lnTo>
                  <a:pt x="57" y="464"/>
                </a:lnTo>
                <a:lnTo>
                  <a:pt x="62" y="467"/>
                </a:lnTo>
                <a:lnTo>
                  <a:pt x="67" y="469"/>
                </a:lnTo>
                <a:lnTo>
                  <a:pt x="73" y="469"/>
                </a:lnTo>
                <a:lnTo>
                  <a:pt x="396" y="469"/>
                </a:lnTo>
                <a:lnTo>
                  <a:pt x="401" y="469"/>
                </a:lnTo>
                <a:lnTo>
                  <a:pt x="407" y="467"/>
                </a:lnTo>
                <a:lnTo>
                  <a:pt x="412" y="464"/>
                </a:lnTo>
                <a:lnTo>
                  <a:pt x="416" y="460"/>
                </a:lnTo>
                <a:lnTo>
                  <a:pt x="419" y="457"/>
                </a:lnTo>
                <a:lnTo>
                  <a:pt x="422" y="452"/>
                </a:lnTo>
                <a:lnTo>
                  <a:pt x="424" y="445"/>
                </a:lnTo>
                <a:lnTo>
                  <a:pt x="424" y="439"/>
                </a:lnTo>
                <a:lnTo>
                  <a:pt x="424" y="249"/>
                </a:lnTo>
                <a:lnTo>
                  <a:pt x="424" y="249"/>
                </a:lnTo>
                <a:lnTo>
                  <a:pt x="433" y="248"/>
                </a:lnTo>
                <a:lnTo>
                  <a:pt x="441" y="245"/>
                </a:lnTo>
                <a:lnTo>
                  <a:pt x="449" y="241"/>
                </a:lnTo>
                <a:lnTo>
                  <a:pt x="455" y="236"/>
                </a:lnTo>
                <a:lnTo>
                  <a:pt x="461" y="229"/>
                </a:lnTo>
                <a:lnTo>
                  <a:pt x="465" y="222"/>
                </a:lnTo>
                <a:lnTo>
                  <a:pt x="467" y="214"/>
                </a:lnTo>
                <a:lnTo>
                  <a:pt x="469" y="205"/>
                </a:lnTo>
                <a:lnTo>
                  <a:pt x="469" y="191"/>
                </a:lnTo>
                <a:lnTo>
                  <a:pt x="467" y="183"/>
                </a:lnTo>
                <a:lnTo>
                  <a:pt x="466" y="177"/>
                </a:lnTo>
                <a:lnTo>
                  <a:pt x="464" y="170"/>
                </a:lnTo>
                <a:lnTo>
                  <a:pt x="460" y="16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4" name="Freeform 11">
            <a:extLst>
              <a:ext uri="{FF2B5EF4-FFF2-40B4-BE49-F238E27FC236}">
                <a16:creationId xmlns:a16="http://schemas.microsoft.com/office/drawing/2014/main" id="{A83E6BA9-8AAD-3140-B80F-9DB7674F526B}"/>
              </a:ext>
            </a:extLst>
          </p:cNvPr>
          <p:cNvSpPr>
            <a:spLocks/>
          </p:cNvSpPr>
          <p:nvPr/>
        </p:nvSpPr>
        <p:spPr bwMode="auto">
          <a:xfrm>
            <a:off x="11780838" y="8813758"/>
            <a:ext cx="371475" cy="338138"/>
          </a:xfrm>
          <a:custGeom>
            <a:avLst/>
            <a:gdLst>
              <a:gd name="T0" fmla="*/ 398 w 468"/>
              <a:gd name="T1" fmla="*/ 16 h 426"/>
              <a:gd name="T2" fmla="*/ 350 w 468"/>
              <a:gd name="T3" fmla="*/ 1 h 426"/>
              <a:gd name="T4" fmla="*/ 299 w 468"/>
              <a:gd name="T5" fmla="*/ 6 h 426"/>
              <a:gd name="T6" fmla="*/ 253 w 468"/>
              <a:gd name="T7" fmla="*/ 30 h 426"/>
              <a:gd name="T8" fmla="*/ 17 w 468"/>
              <a:gd name="T9" fmla="*/ 267 h 426"/>
              <a:gd name="T10" fmla="*/ 1 w 468"/>
              <a:gd name="T11" fmla="*/ 303 h 426"/>
              <a:gd name="T12" fmla="*/ 1 w 468"/>
              <a:gd name="T13" fmla="*/ 343 h 426"/>
              <a:gd name="T14" fmla="*/ 17 w 468"/>
              <a:gd name="T15" fmla="*/ 380 h 426"/>
              <a:gd name="T16" fmla="*/ 46 w 468"/>
              <a:gd name="T17" fmla="*/ 410 h 426"/>
              <a:gd name="T18" fmla="*/ 83 w 468"/>
              <a:gd name="T19" fmla="*/ 424 h 426"/>
              <a:gd name="T20" fmla="*/ 122 w 468"/>
              <a:gd name="T21" fmla="*/ 424 h 426"/>
              <a:gd name="T22" fmla="*/ 158 w 468"/>
              <a:gd name="T23" fmla="*/ 410 h 426"/>
              <a:gd name="T24" fmla="*/ 393 w 468"/>
              <a:gd name="T25" fmla="*/ 180 h 426"/>
              <a:gd name="T26" fmla="*/ 407 w 468"/>
              <a:gd name="T27" fmla="*/ 154 h 426"/>
              <a:gd name="T28" fmla="*/ 409 w 468"/>
              <a:gd name="T29" fmla="*/ 125 h 426"/>
              <a:gd name="T30" fmla="*/ 402 w 468"/>
              <a:gd name="T31" fmla="*/ 99 h 426"/>
              <a:gd name="T32" fmla="*/ 383 w 468"/>
              <a:gd name="T33" fmla="*/ 76 h 426"/>
              <a:gd name="T34" fmla="*/ 357 w 468"/>
              <a:gd name="T35" fmla="*/ 62 h 426"/>
              <a:gd name="T36" fmla="*/ 330 w 468"/>
              <a:gd name="T37" fmla="*/ 60 h 426"/>
              <a:gd name="T38" fmla="*/ 303 w 468"/>
              <a:gd name="T39" fmla="*/ 68 h 426"/>
              <a:gd name="T40" fmla="*/ 125 w 468"/>
              <a:gd name="T41" fmla="*/ 241 h 426"/>
              <a:gd name="T42" fmla="*/ 125 w 468"/>
              <a:gd name="T43" fmla="*/ 262 h 426"/>
              <a:gd name="T44" fmla="*/ 145 w 468"/>
              <a:gd name="T45" fmla="*/ 262 h 426"/>
              <a:gd name="T46" fmla="*/ 329 w 468"/>
              <a:gd name="T47" fmla="*/ 89 h 426"/>
              <a:gd name="T48" fmla="*/ 361 w 468"/>
              <a:gd name="T49" fmla="*/ 95 h 426"/>
              <a:gd name="T50" fmla="*/ 379 w 468"/>
              <a:gd name="T51" fmla="*/ 124 h 426"/>
              <a:gd name="T52" fmla="*/ 373 w 468"/>
              <a:gd name="T53" fmla="*/ 157 h 426"/>
              <a:gd name="T54" fmla="*/ 142 w 468"/>
              <a:gd name="T55" fmla="*/ 385 h 426"/>
              <a:gd name="T56" fmla="*/ 116 w 468"/>
              <a:gd name="T57" fmla="*/ 395 h 426"/>
              <a:gd name="T58" fmla="*/ 88 w 468"/>
              <a:gd name="T59" fmla="*/ 395 h 426"/>
              <a:gd name="T60" fmla="*/ 62 w 468"/>
              <a:gd name="T61" fmla="*/ 385 h 426"/>
              <a:gd name="T62" fmla="*/ 41 w 468"/>
              <a:gd name="T63" fmla="*/ 364 h 426"/>
              <a:gd name="T64" fmla="*/ 31 w 468"/>
              <a:gd name="T65" fmla="*/ 338 h 426"/>
              <a:gd name="T66" fmla="*/ 31 w 468"/>
              <a:gd name="T67" fmla="*/ 309 h 426"/>
              <a:gd name="T68" fmla="*/ 41 w 468"/>
              <a:gd name="T69" fmla="*/ 283 h 426"/>
              <a:gd name="T70" fmla="*/ 269 w 468"/>
              <a:gd name="T71" fmla="*/ 55 h 426"/>
              <a:gd name="T72" fmla="*/ 305 w 468"/>
              <a:gd name="T73" fmla="*/ 36 h 426"/>
              <a:gd name="T74" fmla="*/ 345 w 468"/>
              <a:gd name="T75" fmla="*/ 32 h 426"/>
              <a:gd name="T76" fmla="*/ 382 w 468"/>
              <a:gd name="T77" fmla="*/ 43 h 426"/>
              <a:gd name="T78" fmla="*/ 414 w 468"/>
              <a:gd name="T79" fmla="*/ 69 h 426"/>
              <a:gd name="T80" fmla="*/ 433 w 468"/>
              <a:gd name="T81" fmla="*/ 105 h 426"/>
              <a:gd name="T82" fmla="*/ 436 w 468"/>
              <a:gd name="T83" fmla="*/ 145 h 426"/>
              <a:gd name="T84" fmla="*/ 425 w 468"/>
              <a:gd name="T85" fmla="*/ 182 h 426"/>
              <a:gd name="T86" fmla="*/ 248 w 468"/>
              <a:gd name="T87" fmla="*/ 366 h 426"/>
              <a:gd name="T88" fmla="*/ 248 w 468"/>
              <a:gd name="T89" fmla="*/ 387 h 426"/>
              <a:gd name="T90" fmla="*/ 269 w 468"/>
              <a:gd name="T91" fmla="*/ 387 h 426"/>
              <a:gd name="T92" fmla="*/ 454 w 468"/>
              <a:gd name="T93" fmla="*/ 194 h 426"/>
              <a:gd name="T94" fmla="*/ 468 w 468"/>
              <a:gd name="T95" fmla="*/ 145 h 426"/>
              <a:gd name="T96" fmla="*/ 463 w 468"/>
              <a:gd name="T97" fmla="*/ 95 h 426"/>
              <a:gd name="T98" fmla="*/ 439 w 468"/>
              <a:gd name="T99" fmla="*/ 5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8" h="426">
                <a:moveTo>
                  <a:pt x="430" y="40"/>
                </a:moveTo>
                <a:lnTo>
                  <a:pt x="420" y="30"/>
                </a:lnTo>
                <a:lnTo>
                  <a:pt x="409" y="22"/>
                </a:lnTo>
                <a:lnTo>
                  <a:pt x="398" y="16"/>
                </a:lnTo>
                <a:lnTo>
                  <a:pt x="387" y="10"/>
                </a:lnTo>
                <a:lnTo>
                  <a:pt x="375" y="6"/>
                </a:lnTo>
                <a:lnTo>
                  <a:pt x="362" y="3"/>
                </a:lnTo>
                <a:lnTo>
                  <a:pt x="350" y="1"/>
                </a:lnTo>
                <a:lnTo>
                  <a:pt x="336" y="0"/>
                </a:lnTo>
                <a:lnTo>
                  <a:pt x="324" y="1"/>
                </a:lnTo>
                <a:lnTo>
                  <a:pt x="311" y="3"/>
                </a:lnTo>
                <a:lnTo>
                  <a:pt x="299" y="6"/>
                </a:lnTo>
                <a:lnTo>
                  <a:pt x="287" y="10"/>
                </a:lnTo>
                <a:lnTo>
                  <a:pt x="276" y="16"/>
                </a:lnTo>
                <a:lnTo>
                  <a:pt x="265" y="22"/>
                </a:lnTo>
                <a:lnTo>
                  <a:pt x="253" y="30"/>
                </a:lnTo>
                <a:lnTo>
                  <a:pt x="243" y="40"/>
                </a:lnTo>
                <a:lnTo>
                  <a:pt x="30" y="251"/>
                </a:lnTo>
                <a:lnTo>
                  <a:pt x="22" y="259"/>
                </a:lnTo>
                <a:lnTo>
                  <a:pt x="17" y="267"/>
                </a:lnTo>
                <a:lnTo>
                  <a:pt x="11" y="276"/>
                </a:lnTo>
                <a:lnTo>
                  <a:pt x="7" y="285"/>
                </a:lnTo>
                <a:lnTo>
                  <a:pt x="4" y="295"/>
                </a:lnTo>
                <a:lnTo>
                  <a:pt x="1" y="303"/>
                </a:lnTo>
                <a:lnTo>
                  <a:pt x="0" y="313"/>
                </a:lnTo>
                <a:lnTo>
                  <a:pt x="0" y="323"/>
                </a:lnTo>
                <a:lnTo>
                  <a:pt x="0" y="333"/>
                </a:lnTo>
                <a:lnTo>
                  <a:pt x="1" y="343"/>
                </a:lnTo>
                <a:lnTo>
                  <a:pt x="4" y="353"/>
                </a:lnTo>
                <a:lnTo>
                  <a:pt x="7" y="363"/>
                </a:lnTo>
                <a:lnTo>
                  <a:pt x="11" y="371"/>
                </a:lnTo>
                <a:lnTo>
                  <a:pt x="17" y="380"/>
                </a:lnTo>
                <a:lnTo>
                  <a:pt x="22" y="389"/>
                </a:lnTo>
                <a:lnTo>
                  <a:pt x="30" y="396"/>
                </a:lnTo>
                <a:lnTo>
                  <a:pt x="37" y="403"/>
                </a:lnTo>
                <a:lnTo>
                  <a:pt x="46" y="410"/>
                </a:lnTo>
                <a:lnTo>
                  <a:pt x="54" y="415"/>
                </a:lnTo>
                <a:lnTo>
                  <a:pt x="64" y="418"/>
                </a:lnTo>
                <a:lnTo>
                  <a:pt x="73" y="422"/>
                </a:lnTo>
                <a:lnTo>
                  <a:pt x="83" y="424"/>
                </a:lnTo>
                <a:lnTo>
                  <a:pt x="93" y="426"/>
                </a:lnTo>
                <a:lnTo>
                  <a:pt x="103" y="426"/>
                </a:lnTo>
                <a:lnTo>
                  <a:pt x="112" y="426"/>
                </a:lnTo>
                <a:lnTo>
                  <a:pt x="122" y="424"/>
                </a:lnTo>
                <a:lnTo>
                  <a:pt x="131" y="422"/>
                </a:lnTo>
                <a:lnTo>
                  <a:pt x="141" y="418"/>
                </a:lnTo>
                <a:lnTo>
                  <a:pt x="150" y="415"/>
                </a:lnTo>
                <a:lnTo>
                  <a:pt x="158" y="410"/>
                </a:lnTo>
                <a:lnTo>
                  <a:pt x="167" y="403"/>
                </a:lnTo>
                <a:lnTo>
                  <a:pt x="174" y="396"/>
                </a:lnTo>
                <a:lnTo>
                  <a:pt x="388" y="184"/>
                </a:lnTo>
                <a:lnTo>
                  <a:pt x="393" y="180"/>
                </a:lnTo>
                <a:lnTo>
                  <a:pt x="398" y="173"/>
                </a:lnTo>
                <a:lnTo>
                  <a:pt x="402" y="167"/>
                </a:lnTo>
                <a:lnTo>
                  <a:pt x="404" y="160"/>
                </a:lnTo>
                <a:lnTo>
                  <a:pt x="407" y="154"/>
                </a:lnTo>
                <a:lnTo>
                  <a:pt x="409" y="146"/>
                </a:lnTo>
                <a:lnTo>
                  <a:pt x="409" y="140"/>
                </a:lnTo>
                <a:lnTo>
                  <a:pt x="410" y="133"/>
                </a:lnTo>
                <a:lnTo>
                  <a:pt x="409" y="125"/>
                </a:lnTo>
                <a:lnTo>
                  <a:pt x="409" y="119"/>
                </a:lnTo>
                <a:lnTo>
                  <a:pt x="407" y="111"/>
                </a:lnTo>
                <a:lnTo>
                  <a:pt x="404" y="105"/>
                </a:lnTo>
                <a:lnTo>
                  <a:pt x="402" y="99"/>
                </a:lnTo>
                <a:lnTo>
                  <a:pt x="398" y="92"/>
                </a:lnTo>
                <a:lnTo>
                  <a:pt x="393" y="87"/>
                </a:lnTo>
                <a:lnTo>
                  <a:pt x="388" y="81"/>
                </a:lnTo>
                <a:lnTo>
                  <a:pt x="383" y="76"/>
                </a:lnTo>
                <a:lnTo>
                  <a:pt x="377" y="72"/>
                </a:lnTo>
                <a:lnTo>
                  <a:pt x="371" y="68"/>
                </a:lnTo>
                <a:lnTo>
                  <a:pt x="365" y="64"/>
                </a:lnTo>
                <a:lnTo>
                  <a:pt x="357" y="62"/>
                </a:lnTo>
                <a:lnTo>
                  <a:pt x="351" y="61"/>
                </a:lnTo>
                <a:lnTo>
                  <a:pt x="344" y="60"/>
                </a:lnTo>
                <a:lnTo>
                  <a:pt x="336" y="60"/>
                </a:lnTo>
                <a:lnTo>
                  <a:pt x="330" y="60"/>
                </a:lnTo>
                <a:lnTo>
                  <a:pt x="323" y="61"/>
                </a:lnTo>
                <a:lnTo>
                  <a:pt x="316" y="62"/>
                </a:lnTo>
                <a:lnTo>
                  <a:pt x="309" y="64"/>
                </a:lnTo>
                <a:lnTo>
                  <a:pt x="303" y="68"/>
                </a:lnTo>
                <a:lnTo>
                  <a:pt x="297" y="72"/>
                </a:lnTo>
                <a:lnTo>
                  <a:pt x="290" y="76"/>
                </a:lnTo>
                <a:lnTo>
                  <a:pt x="286" y="81"/>
                </a:lnTo>
                <a:lnTo>
                  <a:pt x="125" y="241"/>
                </a:lnTo>
                <a:lnTo>
                  <a:pt x="121" y="246"/>
                </a:lnTo>
                <a:lnTo>
                  <a:pt x="120" y="253"/>
                </a:lnTo>
                <a:lnTo>
                  <a:pt x="121" y="257"/>
                </a:lnTo>
                <a:lnTo>
                  <a:pt x="125" y="262"/>
                </a:lnTo>
                <a:lnTo>
                  <a:pt x="129" y="266"/>
                </a:lnTo>
                <a:lnTo>
                  <a:pt x="135" y="266"/>
                </a:lnTo>
                <a:lnTo>
                  <a:pt x="140" y="266"/>
                </a:lnTo>
                <a:lnTo>
                  <a:pt x="145" y="262"/>
                </a:lnTo>
                <a:lnTo>
                  <a:pt x="305" y="102"/>
                </a:lnTo>
                <a:lnTo>
                  <a:pt x="313" y="95"/>
                </a:lnTo>
                <a:lnTo>
                  <a:pt x="320" y="92"/>
                </a:lnTo>
                <a:lnTo>
                  <a:pt x="329" y="89"/>
                </a:lnTo>
                <a:lnTo>
                  <a:pt x="336" y="89"/>
                </a:lnTo>
                <a:lnTo>
                  <a:pt x="345" y="89"/>
                </a:lnTo>
                <a:lnTo>
                  <a:pt x="353" y="92"/>
                </a:lnTo>
                <a:lnTo>
                  <a:pt x="361" y="95"/>
                </a:lnTo>
                <a:lnTo>
                  <a:pt x="368" y="102"/>
                </a:lnTo>
                <a:lnTo>
                  <a:pt x="373" y="109"/>
                </a:lnTo>
                <a:lnTo>
                  <a:pt x="377" y="116"/>
                </a:lnTo>
                <a:lnTo>
                  <a:pt x="379" y="124"/>
                </a:lnTo>
                <a:lnTo>
                  <a:pt x="381" y="133"/>
                </a:lnTo>
                <a:lnTo>
                  <a:pt x="379" y="141"/>
                </a:lnTo>
                <a:lnTo>
                  <a:pt x="377" y="150"/>
                </a:lnTo>
                <a:lnTo>
                  <a:pt x="373" y="157"/>
                </a:lnTo>
                <a:lnTo>
                  <a:pt x="368" y="163"/>
                </a:lnTo>
                <a:lnTo>
                  <a:pt x="155" y="375"/>
                </a:lnTo>
                <a:lnTo>
                  <a:pt x="148" y="380"/>
                </a:lnTo>
                <a:lnTo>
                  <a:pt x="142" y="385"/>
                </a:lnTo>
                <a:lnTo>
                  <a:pt x="136" y="389"/>
                </a:lnTo>
                <a:lnTo>
                  <a:pt x="130" y="391"/>
                </a:lnTo>
                <a:lnTo>
                  <a:pt x="124" y="394"/>
                </a:lnTo>
                <a:lnTo>
                  <a:pt x="116" y="395"/>
                </a:lnTo>
                <a:lnTo>
                  <a:pt x="109" y="396"/>
                </a:lnTo>
                <a:lnTo>
                  <a:pt x="103" y="397"/>
                </a:lnTo>
                <a:lnTo>
                  <a:pt x="95" y="396"/>
                </a:lnTo>
                <a:lnTo>
                  <a:pt x="88" y="395"/>
                </a:lnTo>
                <a:lnTo>
                  <a:pt x="82" y="394"/>
                </a:lnTo>
                <a:lnTo>
                  <a:pt x="74" y="391"/>
                </a:lnTo>
                <a:lnTo>
                  <a:pt x="68" y="389"/>
                </a:lnTo>
                <a:lnTo>
                  <a:pt x="62" y="385"/>
                </a:lnTo>
                <a:lnTo>
                  <a:pt x="56" y="380"/>
                </a:lnTo>
                <a:lnTo>
                  <a:pt x="51" y="375"/>
                </a:lnTo>
                <a:lnTo>
                  <a:pt x="46" y="370"/>
                </a:lnTo>
                <a:lnTo>
                  <a:pt x="41" y="364"/>
                </a:lnTo>
                <a:lnTo>
                  <a:pt x="37" y="358"/>
                </a:lnTo>
                <a:lnTo>
                  <a:pt x="35" y="352"/>
                </a:lnTo>
                <a:lnTo>
                  <a:pt x="32" y="344"/>
                </a:lnTo>
                <a:lnTo>
                  <a:pt x="31" y="338"/>
                </a:lnTo>
                <a:lnTo>
                  <a:pt x="30" y="330"/>
                </a:lnTo>
                <a:lnTo>
                  <a:pt x="30" y="323"/>
                </a:lnTo>
                <a:lnTo>
                  <a:pt x="30" y="317"/>
                </a:lnTo>
                <a:lnTo>
                  <a:pt x="31" y="309"/>
                </a:lnTo>
                <a:lnTo>
                  <a:pt x="32" y="302"/>
                </a:lnTo>
                <a:lnTo>
                  <a:pt x="35" y="296"/>
                </a:lnTo>
                <a:lnTo>
                  <a:pt x="37" y="290"/>
                </a:lnTo>
                <a:lnTo>
                  <a:pt x="41" y="283"/>
                </a:lnTo>
                <a:lnTo>
                  <a:pt x="46" y="277"/>
                </a:lnTo>
                <a:lnTo>
                  <a:pt x="51" y="271"/>
                </a:lnTo>
                <a:lnTo>
                  <a:pt x="262" y="62"/>
                </a:lnTo>
                <a:lnTo>
                  <a:pt x="269" y="55"/>
                </a:lnTo>
                <a:lnTo>
                  <a:pt x="278" y="48"/>
                </a:lnTo>
                <a:lnTo>
                  <a:pt x="287" y="43"/>
                </a:lnTo>
                <a:lnTo>
                  <a:pt x="297" y="40"/>
                </a:lnTo>
                <a:lnTo>
                  <a:pt x="305" y="36"/>
                </a:lnTo>
                <a:lnTo>
                  <a:pt x="315" y="34"/>
                </a:lnTo>
                <a:lnTo>
                  <a:pt x="325" y="32"/>
                </a:lnTo>
                <a:lnTo>
                  <a:pt x="335" y="32"/>
                </a:lnTo>
                <a:lnTo>
                  <a:pt x="345" y="32"/>
                </a:lnTo>
                <a:lnTo>
                  <a:pt x="355" y="34"/>
                </a:lnTo>
                <a:lnTo>
                  <a:pt x="363" y="36"/>
                </a:lnTo>
                <a:lnTo>
                  <a:pt x="373" y="40"/>
                </a:lnTo>
                <a:lnTo>
                  <a:pt x="382" y="43"/>
                </a:lnTo>
                <a:lnTo>
                  <a:pt x="391" y="48"/>
                </a:lnTo>
                <a:lnTo>
                  <a:pt x="399" y="55"/>
                </a:lnTo>
                <a:lnTo>
                  <a:pt x="407" y="62"/>
                </a:lnTo>
                <a:lnTo>
                  <a:pt x="414" y="69"/>
                </a:lnTo>
                <a:lnTo>
                  <a:pt x="420" y="78"/>
                </a:lnTo>
                <a:lnTo>
                  <a:pt x="425" y="87"/>
                </a:lnTo>
                <a:lnTo>
                  <a:pt x="430" y="97"/>
                </a:lnTo>
                <a:lnTo>
                  <a:pt x="433" y="105"/>
                </a:lnTo>
                <a:lnTo>
                  <a:pt x="435" y="115"/>
                </a:lnTo>
                <a:lnTo>
                  <a:pt x="436" y="125"/>
                </a:lnTo>
                <a:lnTo>
                  <a:pt x="438" y="135"/>
                </a:lnTo>
                <a:lnTo>
                  <a:pt x="436" y="145"/>
                </a:lnTo>
                <a:lnTo>
                  <a:pt x="435" y="155"/>
                </a:lnTo>
                <a:lnTo>
                  <a:pt x="433" y="163"/>
                </a:lnTo>
                <a:lnTo>
                  <a:pt x="430" y="173"/>
                </a:lnTo>
                <a:lnTo>
                  <a:pt x="425" y="182"/>
                </a:lnTo>
                <a:lnTo>
                  <a:pt x="420" y="191"/>
                </a:lnTo>
                <a:lnTo>
                  <a:pt x="414" y="199"/>
                </a:lnTo>
                <a:lnTo>
                  <a:pt x="407" y="207"/>
                </a:lnTo>
                <a:lnTo>
                  <a:pt x="248" y="366"/>
                </a:lnTo>
                <a:lnTo>
                  <a:pt x="246" y="371"/>
                </a:lnTo>
                <a:lnTo>
                  <a:pt x="245" y="376"/>
                </a:lnTo>
                <a:lnTo>
                  <a:pt x="246" y="382"/>
                </a:lnTo>
                <a:lnTo>
                  <a:pt x="248" y="387"/>
                </a:lnTo>
                <a:lnTo>
                  <a:pt x="253" y="390"/>
                </a:lnTo>
                <a:lnTo>
                  <a:pt x="260" y="391"/>
                </a:lnTo>
                <a:lnTo>
                  <a:pt x="265" y="390"/>
                </a:lnTo>
                <a:lnTo>
                  <a:pt x="269" y="387"/>
                </a:lnTo>
                <a:lnTo>
                  <a:pt x="430" y="227"/>
                </a:lnTo>
                <a:lnTo>
                  <a:pt x="439" y="215"/>
                </a:lnTo>
                <a:lnTo>
                  <a:pt x="447" y="206"/>
                </a:lnTo>
                <a:lnTo>
                  <a:pt x="454" y="194"/>
                </a:lnTo>
                <a:lnTo>
                  <a:pt x="459" y="182"/>
                </a:lnTo>
                <a:lnTo>
                  <a:pt x="463" y="171"/>
                </a:lnTo>
                <a:lnTo>
                  <a:pt x="466" y="157"/>
                </a:lnTo>
                <a:lnTo>
                  <a:pt x="468" y="145"/>
                </a:lnTo>
                <a:lnTo>
                  <a:pt x="468" y="133"/>
                </a:lnTo>
                <a:lnTo>
                  <a:pt x="468" y="120"/>
                </a:lnTo>
                <a:lnTo>
                  <a:pt x="466" y="108"/>
                </a:lnTo>
                <a:lnTo>
                  <a:pt x="463" y="95"/>
                </a:lnTo>
                <a:lnTo>
                  <a:pt x="459" y="83"/>
                </a:lnTo>
                <a:lnTo>
                  <a:pt x="454" y="72"/>
                </a:lnTo>
                <a:lnTo>
                  <a:pt x="447" y="60"/>
                </a:lnTo>
                <a:lnTo>
                  <a:pt x="439" y="50"/>
                </a:lnTo>
                <a:lnTo>
                  <a:pt x="430" y="4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7" name="Freeform 14">
            <a:extLst>
              <a:ext uri="{FF2B5EF4-FFF2-40B4-BE49-F238E27FC236}">
                <a16:creationId xmlns:a16="http://schemas.microsoft.com/office/drawing/2014/main" id="{32BE053C-120B-B7FB-0071-CA6FA48A0710}"/>
              </a:ext>
            </a:extLst>
          </p:cNvPr>
          <p:cNvSpPr>
            <a:spLocks noEditPoints="1"/>
          </p:cNvSpPr>
          <p:nvPr/>
        </p:nvSpPr>
        <p:spPr bwMode="auto">
          <a:xfrm>
            <a:off x="1295400" y="8012071"/>
            <a:ext cx="371475" cy="327025"/>
          </a:xfrm>
          <a:custGeom>
            <a:avLst/>
            <a:gdLst>
              <a:gd name="T0" fmla="*/ 366 w 468"/>
              <a:gd name="T1" fmla="*/ 147 h 410"/>
              <a:gd name="T2" fmla="*/ 103 w 468"/>
              <a:gd name="T3" fmla="*/ 381 h 410"/>
              <a:gd name="T4" fmla="*/ 58 w 468"/>
              <a:gd name="T5" fmla="*/ 175 h 410"/>
              <a:gd name="T6" fmla="*/ 103 w 468"/>
              <a:gd name="T7" fmla="*/ 29 h 410"/>
              <a:gd name="T8" fmla="*/ 168 w 468"/>
              <a:gd name="T9" fmla="*/ 38 h 410"/>
              <a:gd name="T10" fmla="*/ 180 w 468"/>
              <a:gd name="T11" fmla="*/ 54 h 410"/>
              <a:gd name="T12" fmla="*/ 199 w 468"/>
              <a:gd name="T13" fmla="*/ 65 h 410"/>
              <a:gd name="T14" fmla="*/ 222 w 468"/>
              <a:gd name="T15" fmla="*/ 73 h 410"/>
              <a:gd name="T16" fmla="*/ 247 w 468"/>
              <a:gd name="T17" fmla="*/ 73 h 410"/>
              <a:gd name="T18" fmla="*/ 269 w 468"/>
              <a:gd name="T19" fmla="*/ 65 h 410"/>
              <a:gd name="T20" fmla="*/ 288 w 468"/>
              <a:gd name="T21" fmla="*/ 54 h 410"/>
              <a:gd name="T22" fmla="*/ 302 w 468"/>
              <a:gd name="T23" fmla="*/ 38 h 410"/>
              <a:gd name="T24" fmla="*/ 366 w 468"/>
              <a:gd name="T25" fmla="*/ 29 h 410"/>
              <a:gd name="T26" fmla="*/ 410 w 468"/>
              <a:gd name="T27" fmla="*/ 175 h 410"/>
              <a:gd name="T28" fmla="*/ 285 w 468"/>
              <a:gd name="T29" fmla="*/ 36 h 410"/>
              <a:gd name="T30" fmla="*/ 276 w 468"/>
              <a:gd name="T31" fmla="*/ 45 h 410"/>
              <a:gd name="T32" fmla="*/ 261 w 468"/>
              <a:gd name="T33" fmla="*/ 54 h 410"/>
              <a:gd name="T34" fmla="*/ 243 w 468"/>
              <a:gd name="T35" fmla="*/ 58 h 410"/>
              <a:gd name="T36" fmla="*/ 225 w 468"/>
              <a:gd name="T37" fmla="*/ 58 h 410"/>
              <a:gd name="T38" fmla="*/ 208 w 468"/>
              <a:gd name="T39" fmla="*/ 54 h 410"/>
              <a:gd name="T40" fmla="*/ 194 w 468"/>
              <a:gd name="T41" fmla="*/ 45 h 410"/>
              <a:gd name="T42" fmla="*/ 183 w 468"/>
              <a:gd name="T43" fmla="*/ 36 h 410"/>
              <a:gd name="T44" fmla="*/ 289 w 468"/>
              <a:gd name="T45" fmla="*/ 29 h 410"/>
              <a:gd name="T46" fmla="*/ 384 w 468"/>
              <a:gd name="T47" fmla="*/ 6 h 410"/>
              <a:gd name="T48" fmla="*/ 376 w 468"/>
              <a:gd name="T49" fmla="*/ 1 h 410"/>
              <a:gd name="T50" fmla="*/ 366 w 468"/>
              <a:gd name="T51" fmla="*/ 0 h 410"/>
              <a:gd name="T52" fmla="*/ 98 w 468"/>
              <a:gd name="T53" fmla="*/ 0 h 410"/>
              <a:gd name="T54" fmla="*/ 88 w 468"/>
              <a:gd name="T55" fmla="*/ 3 h 410"/>
              <a:gd name="T56" fmla="*/ 11 w 468"/>
              <a:gd name="T57" fmla="*/ 65 h 410"/>
              <a:gd name="T58" fmla="*/ 5 w 468"/>
              <a:gd name="T59" fmla="*/ 71 h 410"/>
              <a:gd name="T60" fmla="*/ 1 w 468"/>
              <a:gd name="T61" fmla="*/ 79 h 410"/>
              <a:gd name="T62" fmla="*/ 0 w 468"/>
              <a:gd name="T63" fmla="*/ 89 h 410"/>
              <a:gd name="T64" fmla="*/ 1 w 468"/>
              <a:gd name="T65" fmla="*/ 97 h 410"/>
              <a:gd name="T66" fmla="*/ 33 w 468"/>
              <a:gd name="T67" fmla="*/ 191 h 410"/>
              <a:gd name="T68" fmla="*/ 43 w 468"/>
              <a:gd name="T69" fmla="*/ 200 h 410"/>
              <a:gd name="T70" fmla="*/ 54 w 468"/>
              <a:gd name="T71" fmla="*/ 205 h 410"/>
              <a:gd name="T72" fmla="*/ 67 w 468"/>
              <a:gd name="T73" fmla="*/ 204 h 410"/>
              <a:gd name="T74" fmla="*/ 73 w 468"/>
              <a:gd name="T75" fmla="*/ 381 h 410"/>
              <a:gd name="T76" fmla="*/ 75 w 468"/>
              <a:gd name="T77" fmla="*/ 392 h 410"/>
              <a:gd name="T78" fmla="*/ 82 w 468"/>
              <a:gd name="T79" fmla="*/ 402 h 410"/>
              <a:gd name="T80" fmla="*/ 91 w 468"/>
              <a:gd name="T81" fmla="*/ 408 h 410"/>
              <a:gd name="T82" fmla="*/ 103 w 468"/>
              <a:gd name="T83" fmla="*/ 410 h 410"/>
              <a:gd name="T84" fmla="*/ 372 w 468"/>
              <a:gd name="T85" fmla="*/ 409 h 410"/>
              <a:gd name="T86" fmla="*/ 383 w 468"/>
              <a:gd name="T87" fmla="*/ 405 h 410"/>
              <a:gd name="T88" fmla="*/ 391 w 468"/>
              <a:gd name="T89" fmla="*/ 398 h 410"/>
              <a:gd name="T90" fmla="*/ 395 w 468"/>
              <a:gd name="T91" fmla="*/ 387 h 410"/>
              <a:gd name="T92" fmla="*/ 395 w 468"/>
              <a:gd name="T93" fmla="*/ 201 h 410"/>
              <a:gd name="T94" fmla="*/ 410 w 468"/>
              <a:gd name="T95" fmla="*/ 205 h 410"/>
              <a:gd name="T96" fmla="*/ 420 w 468"/>
              <a:gd name="T97" fmla="*/ 204 h 410"/>
              <a:gd name="T98" fmla="*/ 431 w 468"/>
              <a:gd name="T99" fmla="*/ 196 h 410"/>
              <a:gd name="T100" fmla="*/ 437 w 468"/>
              <a:gd name="T101" fmla="*/ 185 h 410"/>
              <a:gd name="T102" fmla="*/ 468 w 468"/>
              <a:gd name="T103" fmla="*/ 92 h 410"/>
              <a:gd name="T104" fmla="*/ 468 w 468"/>
              <a:gd name="T105" fmla="*/ 84 h 410"/>
              <a:gd name="T106" fmla="*/ 466 w 468"/>
              <a:gd name="T107" fmla="*/ 75 h 410"/>
              <a:gd name="T108" fmla="*/ 461 w 468"/>
              <a:gd name="T109" fmla="*/ 68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8" h="410">
                <a:moveTo>
                  <a:pt x="410" y="175"/>
                </a:moveTo>
                <a:lnTo>
                  <a:pt x="366" y="147"/>
                </a:lnTo>
                <a:lnTo>
                  <a:pt x="366" y="381"/>
                </a:lnTo>
                <a:lnTo>
                  <a:pt x="103" y="381"/>
                </a:lnTo>
                <a:lnTo>
                  <a:pt x="103" y="147"/>
                </a:lnTo>
                <a:lnTo>
                  <a:pt x="58" y="175"/>
                </a:lnTo>
                <a:lnTo>
                  <a:pt x="30" y="87"/>
                </a:lnTo>
                <a:lnTo>
                  <a:pt x="103" y="29"/>
                </a:lnTo>
                <a:lnTo>
                  <a:pt x="163" y="29"/>
                </a:lnTo>
                <a:lnTo>
                  <a:pt x="168" y="38"/>
                </a:lnTo>
                <a:lnTo>
                  <a:pt x="173" y="47"/>
                </a:lnTo>
                <a:lnTo>
                  <a:pt x="180" y="54"/>
                </a:lnTo>
                <a:lnTo>
                  <a:pt x="189" y="60"/>
                </a:lnTo>
                <a:lnTo>
                  <a:pt x="199" y="65"/>
                </a:lnTo>
                <a:lnTo>
                  <a:pt x="210" y="70"/>
                </a:lnTo>
                <a:lnTo>
                  <a:pt x="222" y="73"/>
                </a:lnTo>
                <a:lnTo>
                  <a:pt x="235" y="73"/>
                </a:lnTo>
                <a:lnTo>
                  <a:pt x="247" y="73"/>
                </a:lnTo>
                <a:lnTo>
                  <a:pt x="258" y="70"/>
                </a:lnTo>
                <a:lnTo>
                  <a:pt x="269" y="65"/>
                </a:lnTo>
                <a:lnTo>
                  <a:pt x="279" y="60"/>
                </a:lnTo>
                <a:lnTo>
                  <a:pt x="288" y="54"/>
                </a:lnTo>
                <a:lnTo>
                  <a:pt x="295" y="47"/>
                </a:lnTo>
                <a:lnTo>
                  <a:pt x="302" y="38"/>
                </a:lnTo>
                <a:lnTo>
                  <a:pt x="305" y="29"/>
                </a:lnTo>
                <a:lnTo>
                  <a:pt x="366" y="29"/>
                </a:lnTo>
                <a:lnTo>
                  <a:pt x="440" y="87"/>
                </a:lnTo>
                <a:lnTo>
                  <a:pt x="410" y="175"/>
                </a:lnTo>
                <a:close/>
                <a:moveTo>
                  <a:pt x="289" y="29"/>
                </a:moveTo>
                <a:lnTo>
                  <a:pt x="285" y="36"/>
                </a:lnTo>
                <a:lnTo>
                  <a:pt x="281" y="40"/>
                </a:lnTo>
                <a:lnTo>
                  <a:pt x="276" y="45"/>
                </a:lnTo>
                <a:lnTo>
                  <a:pt x="268" y="50"/>
                </a:lnTo>
                <a:lnTo>
                  <a:pt x="261" y="54"/>
                </a:lnTo>
                <a:lnTo>
                  <a:pt x="252" y="57"/>
                </a:lnTo>
                <a:lnTo>
                  <a:pt x="243" y="58"/>
                </a:lnTo>
                <a:lnTo>
                  <a:pt x="235" y="58"/>
                </a:lnTo>
                <a:lnTo>
                  <a:pt x="225" y="58"/>
                </a:lnTo>
                <a:lnTo>
                  <a:pt x="216" y="57"/>
                </a:lnTo>
                <a:lnTo>
                  <a:pt x="208" y="54"/>
                </a:lnTo>
                <a:lnTo>
                  <a:pt x="200" y="50"/>
                </a:lnTo>
                <a:lnTo>
                  <a:pt x="194" y="45"/>
                </a:lnTo>
                <a:lnTo>
                  <a:pt x="188" y="40"/>
                </a:lnTo>
                <a:lnTo>
                  <a:pt x="183" y="36"/>
                </a:lnTo>
                <a:lnTo>
                  <a:pt x="179" y="29"/>
                </a:lnTo>
                <a:lnTo>
                  <a:pt x="289" y="29"/>
                </a:lnTo>
                <a:close/>
                <a:moveTo>
                  <a:pt x="457" y="65"/>
                </a:moveTo>
                <a:lnTo>
                  <a:pt x="384" y="6"/>
                </a:lnTo>
                <a:lnTo>
                  <a:pt x="381" y="3"/>
                </a:lnTo>
                <a:lnTo>
                  <a:pt x="376" y="1"/>
                </a:lnTo>
                <a:lnTo>
                  <a:pt x="371" y="0"/>
                </a:lnTo>
                <a:lnTo>
                  <a:pt x="366" y="0"/>
                </a:lnTo>
                <a:lnTo>
                  <a:pt x="103" y="0"/>
                </a:lnTo>
                <a:lnTo>
                  <a:pt x="98" y="0"/>
                </a:lnTo>
                <a:lnTo>
                  <a:pt x="93" y="1"/>
                </a:lnTo>
                <a:lnTo>
                  <a:pt x="88" y="3"/>
                </a:lnTo>
                <a:lnTo>
                  <a:pt x="84" y="6"/>
                </a:lnTo>
                <a:lnTo>
                  <a:pt x="11" y="65"/>
                </a:lnTo>
                <a:lnTo>
                  <a:pt x="7" y="68"/>
                </a:lnTo>
                <a:lnTo>
                  <a:pt x="5" y="71"/>
                </a:lnTo>
                <a:lnTo>
                  <a:pt x="2" y="75"/>
                </a:lnTo>
                <a:lnTo>
                  <a:pt x="1" y="79"/>
                </a:lnTo>
                <a:lnTo>
                  <a:pt x="0" y="84"/>
                </a:lnTo>
                <a:lnTo>
                  <a:pt x="0" y="89"/>
                </a:lnTo>
                <a:lnTo>
                  <a:pt x="0" y="92"/>
                </a:lnTo>
                <a:lnTo>
                  <a:pt x="1" y="97"/>
                </a:lnTo>
                <a:lnTo>
                  <a:pt x="31" y="185"/>
                </a:lnTo>
                <a:lnTo>
                  <a:pt x="33" y="191"/>
                </a:lnTo>
                <a:lnTo>
                  <a:pt x="38" y="196"/>
                </a:lnTo>
                <a:lnTo>
                  <a:pt x="43" y="200"/>
                </a:lnTo>
                <a:lnTo>
                  <a:pt x="49" y="204"/>
                </a:lnTo>
                <a:lnTo>
                  <a:pt x="54" y="205"/>
                </a:lnTo>
                <a:lnTo>
                  <a:pt x="58" y="205"/>
                </a:lnTo>
                <a:lnTo>
                  <a:pt x="67" y="204"/>
                </a:lnTo>
                <a:lnTo>
                  <a:pt x="73" y="201"/>
                </a:lnTo>
                <a:lnTo>
                  <a:pt x="73" y="381"/>
                </a:lnTo>
                <a:lnTo>
                  <a:pt x="74" y="387"/>
                </a:lnTo>
                <a:lnTo>
                  <a:pt x="75" y="392"/>
                </a:lnTo>
                <a:lnTo>
                  <a:pt x="78" y="398"/>
                </a:lnTo>
                <a:lnTo>
                  <a:pt x="82" y="402"/>
                </a:lnTo>
                <a:lnTo>
                  <a:pt x="87" y="405"/>
                </a:lnTo>
                <a:lnTo>
                  <a:pt x="91" y="408"/>
                </a:lnTo>
                <a:lnTo>
                  <a:pt x="96" y="409"/>
                </a:lnTo>
                <a:lnTo>
                  <a:pt x="103" y="410"/>
                </a:lnTo>
                <a:lnTo>
                  <a:pt x="366" y="410"/>
                </a:lnTo>
                <a:lnTo>
                  <a:pt x="372" y="409"/>
                </a:lnTo>
                <a:lnTo>
                  <a:pt x="378" y="408"/>
                </a:lnTo>
                <a:lnTo>
                  <a:pt x="383" y="405"/>
                </a:lnTo>
                <a:lnTo>
                  <a:pt x="387" y="402"/>
                </a:lnTo>
                <a:lnTo>
                  <a:pt x="391" y="398"/>
                </a:lnTo>
                <a:lnTo>
                  <a:pt x="393" y="392"/>
                </a:lnTo>
                <a:lnTo>
                  <a:pt x="395" y="387"/>
                </a:lnTo>
                <a:lnTo>
                  <a:pt x="395" y="381"/>
                </a:lnTo>
                <a:lnTo>
                  <a:pt x="395" y="201"/>
                </a:lnTo>
                <a:lnTo>
                  <a:pt x="403" y="204"/>
                </a:lnTo>
                <a:lnTo>
                  <a:pt x="410" y="205"/>
                </a:lnTo>
                <a:lnTo>
                  <a:pt x="415" y="205"/>
                </a:lnTo>
                <a:lnTo>
                  <a:pt x="420" y="204"/>
                </a:lnTo>
                <a:lnTo>
                  <a:pt x="425" y="200"/>
                </a:lnTo>
                <a:lnTo>
                  <a:pt x="431" y="196"/>
                </a:lnTo>
                <a:lnTo>
                  <a:pt x="435" y="191"/>
                </a:lnTo>
                <a:lnTo>
                  <a:pt x="437" y="185"/>
                </a:lnTo>
                <a:lnTo>
                  <a:pt x="467" y="97"/>
                </a:lnTo>
                <a:lnTo>
                  <a:pt x="468" y="92"/>
                </a:lnTo>
                <a:lnTo>
                  <a:pt x="468" y="89"/>
                </a:lnTo>
                <a:lnTo>
                  <a:pt x="468" y="84"/>
                </a:lnTo>
                <a:lnTo>
                  <a:pt x="467" y="79"/>
                </a:lnTo>
                <a:lnTo>
                  <a:pt x="466" y="75"/>
                </a:lnTo>
                <a:lnTo>
                  <a:pt x="463" y="71"/>
                </a:lnTo>
                <a:lnTo>
                  <a:pt x="461" y="68"/>
                </a:lnTo>
                <a:lnTo>
                  <a:pt x="457" y="6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8" name="Freeform 15">
            <a:extLst>
              <a:ext uri="{FF2B5EF4-FFF2-40B4-BE49-F238E27FC236}">
                <a16:creationId xmlns:a16="http://schemas.microsoft.com/office/drawing/2014/main" id="{5A733956-7FD8-61EE-65C5-A7CA4E757BAB}"/>
              </a:ext>
            </a:extLst>
          </p:cNvPr>
          <p:cNvSpPr>
            <a:spLocks noEditPoints="1"/>
          </p:cNvSpPr>
          <p:nvPr/>
        </p:nvSpPr>
        <p:spPr bwMode="auto">
          <a:xfrm>
            <a:off x="2101850" y="7989846"/>
            <a:ext cx="371475" cy="371475"/>
          </a:xfrm>
          <a:custGeom>
            <a:avLst/>
            <a:gdLst>
              <a:gd name="T0" fmla="*/ 93 w 468"/>
              <a:gd name="T1" fmla="*/ 438 h 468"/>
              <a:gd name="T2" fmla="*/ 33 w 468"/>
              <a:gd name="T3" fmla="*/ 337 h 468"/>
              <a:gd name="T4" fmla="*/ 162 w 468"/>
              <a:gd name="T5" fmla="*/ 337 h 468"/>
              <a:gd name="T6" fmla="*/ 352 w 468"/>
              <a:gd name="T7" fmla="*/ 337 h 468"/>
              <a:gd name="T8" fmla="*/ 440 w 468"/>
              <a:gd name="T9" fmla="*/ 344 h 468"/>
              <a:gd name="T10" fmla="*/ 230 w 468"/>
              <a:gd name="T11" fmla="*/ 109 h 468"/>
              <a:gd name="T12" fmla="*/ 232 w 468"/>
              <a:gd name="T13" fmla="*/ 95 h 468"/>
              <a:gd name="T14" fmla="*/ 250 w 468"/>
              <a:gd name="T15" fmla="*/ 25 h 468"/>
              <a:gd name="T16" fmla="*/ 237 w 468"/>
              <a:gd name="T17" fmla="*/ 0 h 468"/>
              <a:gd name="T18" fmla="*/ 232 w 468"/>
              <a:gd name="T19" fmla="*/ 9 h 468"/>
              <a:gd name="T20" fmla="*/ 231 w 468"/>
              <a:gd name="T21" fmla="*/ 41 h 468"/>
              <a:gd name="T22" fmla="*/ 220 w 468"/>
              <a:gd name="T23" fmla="*/ 105 h 468"/>
              <a:gd name="T24" fmla="*/ 305 w 468"/>
              <a:gd name="T25" fmla="*/ 172 h 468"/>
              <a:gd name="T26" fmla="*/ 308 w 468"/>
              <a:gd name="T27" fmla="*/ 159 h 468"/>
              <a:gd name="T28" fmla="*/ 325 w 468"/>
              <a:gd name="T29" fmla="*/ 88 h 468"/>
              <a:gd name="T30" fmla="*/ 311 w 468"/>
              <a:gd name="T31" fmla="*/ 63 h 468"/>
              <a:gd name="T32" fmla="*/ 308 w 468"/>
              <a:gd name="T33" fmla="*/ 73 h 468"/>
              <a:gd name="T34" fmla="*/ 306 w 468"/>
              <a:gd name="T35" fmla="*/ 104 h 468"/>
              <a:gd name="T36" fmla="*/ 295 w 468"/>
              <a:gd name="T37" fmla="*/ 168 h 468"/>
              <a:gd name="T38" fmla="*/ 126 w 468"/>
              <a:gd name="T39" fmla="*/ 175 h 468"/>
              <a:gd name="T40" fmla="*/ 130 w 468"/>
              <a:gd name="T41" fmla="*/ 161 h 468"/>
              <a:gd name="T42" fmla="*/ 147 w 468"/>
              <a:gd name="T43" fmla="*/ 90 h 468"/>
              <a:gd name="T44" fmla="*/ 133 w 468"/>
              <a:gd name="T45" fmla="*/ 66 h 468"/>
              <a:gd name="T46" fmla="*/ 130 w 468"/>
              <a:gd name="T47" fmla="*/ 74 h 468"/>
              <a:gd name="T48" fmla="*/ 128 w 468"/>
              <a:gd name="T49" fmla="*/ 107 h 468"/>
              <a:gd name="T50" fmla="*/ 117 w 468"/>
              <a:gd name="T51" fmla="*/ 171 h 468"/>
              <a:gd name="T52" fmla="*/ 187 w 468"/>
              <a:gd name="T53" fmla="*/ 246 h 468"/>
              <a:gd name="T54" fmla="*/ 142 w 468"/>
              <a:gd name="T55" fmla="*/ 292 h 468"/>
              <a:gd name="T56" fmla="*/ 142 w 468"/>
              <a:gd name="T57" fmla="*/ 264 h 468"/>
              <a:gd name="T58" fmla="*/ 205 w 468"/>
              <a:gd name="T59" fmla="*/ 223 h 468"/>
              <a:gd name="T60" fmla="*/ 284 w 468"/>
              <a:gd name="T61" fmla="*/ 230 h 468"/>
              <a:gd name="T62" fmla="*/ 313 w 468"/>
              <a:gd name="T63" fmla="*/ 270 h 468"/>
              <a:gd name="T64" fmla="*/ 225 w 468"/>
              <a:gd name="T65" fmla="*/ 293 h 468"/>
              <a:gd name="T66" fmla="*/ 205 w 468"/>
              <a:gd name="T67" fmla="*/ 286 h 468"/>
              <a:gd name="T68" fmla="*/ 264 w 468"/>
              <a:gd name="T69" fmla="*/ 286 h 468"/>
              <a:gd name="T70" fmla="*/ 243 w 468"/>
              <a:gd name="T71" fmla="*/ 293 h 468"/>
              <a:gd name="T72" fmla="*/ 256 w 468"/>
              <a:gd name="T73" fmla="*/ 266 h 468"/>
              <a:gd name="T74" fmla="*/ 178 w 468"/>
              <a:gd name="T75" fmla="*/ 290 h 468"/>
              <a:gd name="T76" fmla="*/ 195 w 468"/>
              <a:gd name="T77" fmla="*/ 258 h 468"/>
              <a:gd name="T78" fmla="*/ 293 w 468"/>
              <a:gd name="T79" fmla="*/ 271 h 468"/>
              <a:gd name="T80" fmla="*/ 256 w 468"/>
              <a:gd name="T81" fmla="*/ 192 h 468"/>
              <a:gd name="T82" fmla="*/ 331 w 468"/>
              <a:gd name="T83" fmla="*/ 227 h 468"/>
              <a:gd name="T84" fmla="*/ 350 w 468"/>
              <a:gd name="T85" fmla="*/ 274 h 468"/>
              <a:gd name="T86" fmla="*/ 299 w 468"/>
              <a:gd name="T87" fmla="*/ 222 h 468"/>
              <a:gd name="T88" fmla="*/ 222 w 468"/>
              <a:gd name="T89" fmla="*/ 204 h 468"/>
              <a:gd name="T90" fmla="*/ 143 w 468"/>
              <a:gd name="T91" fmla="*/ 241 h 468"/>
              <a:gd name="T92" fmla="*/ 91 w 468"/>
              <a:gd name="T93" fmla="*/ 307 h 468"/>
              <a:gd name="T94" fmla="*/ 141 w 468"/>
              <a:gd name="T95" fmla="*/ 223 h 468"/>
              <a:gd name="T96" fmla="*/ 235 w 468"/>
              <a:gd name="T97" fmla="*/ 189 h 468"/>
              <a:gd name="T98" fmla="*/ 392 w 468"/>
              <a:gd name="T99" fmla="*/ 302 h 468"/>
              <a:gd name="T100" fmla="*/ 458 w 468"/>
              <a:gd name="T101" fmla="*/ 234 h 468"/>
              <a:gd name="T102" fmla="*/ 348 w 468"/>
              <a:gd name="T103" fmla="*/ 223 h 468"/>
              <a:gd name="T104" fmla="*/ 269 w 468"/>
              <a:gd name="T105" fmla="*/ 180 h 468"/>
              <a:gd name="T106" fmla="*/ 165 w 468"/>
              <a:gd name="T107" fmla="*/ 191 h 468"/>
              <a:gd name="T108" fmla="*/ 89 w 468"/>
              <a:gd name="T109" fmla="*/ 267 h 468"/>
              <a:gd name="T110" fmla="*/ 11 w 468"/>
              <a:gd name="T111" fmla="*/ 318 h 468"/>
              <a:gd name="T112" fmla="*/ 7 w 468"/>
              <a:gd name="T113" fmla="*/ 363 h 468"/>
              <a:gd name="T114" fmla="*/ 81 w 468"/>
              <a:gd name="T115" fmla="*/ 465 h 468"/>
              <a:gd name="T116" fmla="*/ 404 w 468"/>
              <a:gd name="T117" fmla="*/ 452 h 468"/>
              <a:gd name="T118" fmla="*/ 468 w 468"/>
              <a:gd name="T119" fmla="*/ 349 h 468"/>
              <a:gd name="T120" fmla="*/ 440 w 468"/>
              <a:gd name="T121" fmla="*/ 30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8" h="468">
                <a:moveTo>
                  <a:pt x="381" y="410"/>
                </a:moveTo>
                <a:lnTo>
                  <a:pt x="381" y="432"/>
                </a:lnTo>
                <a:lnTo>
                  <a:pt x="381" y="434"/>
                </a:lnTo>
                <a:lnTo>
                  <a:pt x="379" y="437"/>
                </a:lnTo>
                <a:lnTo>
                  <a:pt x="377" y="438"/>
                </a:lnTo>
                <a:lnTo>
                  <a:pt x="373" y="439"/>
                </a:lnTo>
                <a:lnTo>
                  <a:pt x="95" y="439"/>
                </a:lnTo>
                <a:lnTo>
                  <a:pt x="93" y="438"/>
                </a:lnTo>
                <a:lnTo>
                  <a:pt x="90" y="437"/>
                </a:lnTo>
                <a:lnTo>
                  <a:pt x="89" y="434"/>
                </a:lnTo>
                <a:lnTo>
                  <a:pt x="88" y="432"/>
                </a:lnTo>
                <a:lnTo>
                  <a:pt x="88" y="410"/>
                </a:lnTo>
                <a:lnTo>
                  <a:pt x="30" y="344"/>
                </a:lnTo>
                <a:lnTo>
                  <a:pt x="30" y="340"/>
                </a:lnTo>
                <a:lnTo>
                  <a:pt x="32" y="338"/>
                </a:lnTo>
                <a:lnTo>
                  <a:pt x="33" y="337"/>
                </a:lnTo>
                <a:lnTo>
                  <a:pt x="37" y="337"/>
                </a:lnTo>
                <a:lnTo>
                  <a:pt x="73" y="337"/>
                </a:lnTo>
                <a:lnTo>
                  <a:pt x="88" y="337"/>
                </a:lnTo>
                <a:lnTo>
                  <a:pt x="102" y="337"/>
                </a:lnTo>
                <a:lnTo>
                  <a:pt x="117" y="337"/>
                </a:lnTo>
                <a:lnTo>
                  <a:pt x="132" y="337"/>
                </a:lnTo>
                <a:lnTo>
                  <a:pt x="147" y="337"/>
                </a:lnTo>
                <a:lnTo>
                  <a:pt x="162" y="337"/>
                </a:lnTo>
                <a:lnTo>
                  <a:pt x="175" y="337"/>
                </a:lnTo>
                <a:lnTo>
                  <a:pt x="190" y="337"/>
                </a:lnTo>
                <a:lnTo>
                  <a:pt x="278" y="337"/>
                </a:lnTo>
                <a:lnTo>
                  <a:pt x="293" y="337"/>
                </a:lnTo>
                <a:lnTo>
                  <a:pt x="308" y="337"/>
                </a:lnTo>
                <a:lnTo>
                  <a:pt x="322" y="337"/>
                </a:lnTo>
                <a:lnTo>
                  <a:pt x="337" y="337"/>
                </a:lnTo>
                <a:lnTo>
                  <a:pt x="352" y="337"/>
                </a:lnTo>
                <a:lnTo>
                  <a:pt x="366" y="337"/>
                </a:lnTo>
                <a:lnTo>
                  <a:pt x="381" y="337"/>
                </a:lnTo>
                <a:lnTo>
                  <a:pt x="395" y="337"/>
                </a:lnTo>
                <a:lnTo>
                  <a:pt x="432" y="337"/>
                </a:lnTo>
                <a:lnTo>
                  <a:pt x="435" y="337"/>
                </a:lnTo>
                <a:lnTo>
                  <a:pt x="437" y="338"/>
                </a:lnTo>
                <a:lnTo>
                  <a:pt x="439" y="340"/>
                </a:lnTo>
                <a:lnTo>
                  <a:pt x="440" y="344"/>
                </a:lnTo>
                <a:lnTo>
                  <a:pt x="381" y="410"/>
                </a:lnTo>
                <a:close/>
                <a:moveTo>
                  <a:pt x="220" y="105"/>
                </a:moveTo>
                <a:lnTo>
                  <a:pt x="220" y="105"/>
                </a:lnTo>
                <a:lnTo>
                  <a:pt x="220" y="105"/>
                </a:lnTo>
                <a:lnTo>
                  <a:pt x="220" y="105"/>
                </a:lnTo>
                <a:lnTo>
                  <a:pt x="222" y="109"/>
                </a:lnTo>
                <a:lnTo>
                  <a:pt x="227" y="109"/>
                </a:lnTo>
                <a:lnTo>
                  <a:pt x="230" y="109"/>
                </a:lnTo>
                <a:lnTo>
                  <a:pt x="232" y="108"/>
                </a:lnTo>
                <a:lnTo>
                  <a:pt x="233" y="105"/>
                </a:lnTo>
                <a:lnTo>
                  <a:pt x="233" y="102"/>
                </a:lnTo>
                <a:lnTo>
                  <a:pt x="233" y="102"/>
                </a:lnTo>
                <a:lnTo>
                  <a:pt x="233" y="100"/>
                </a:lnTo>
                <a:lnTo>
                  <a:pt x="233" y="100"/>
                </a:lnTo>
                <a:lnTo>
                  <a:pt x="233" y="100"/>
                </a:lnTo>
                <a:lnTo>
                  <a:pt x="232" y="95"/>
                </a:lnTo>
                <a:lnTo>
                  <a:pt x="231" y="90"/>
                </a:lnTo>
                <a:lnTo>
                  <a:pt x="231" y="86"/>
                </a:lnTo>
                <a:lnTo>
                  <a:pt x="232" y="79"/>
                </a:lnTo>
                <a:lnTo>
                  <a:pt x="236" y="69"/>
                </a:lnTo>
                <a:lnTo>
                  <a:pt x="240" y="57"/>
                </a:lnTo>
                <a:lnTo>
                  <a:pt x="245" y="45"/>
                </a:lnTo>
                <a:lnTo>
                  <a:pt x="248" y="32"/>
                </a:lnTo>
                <a:lnTo>
                  <a:pt x="250" y="25"/>
                </a:lnTo>
                <a:lnTo>
                  <a:pt x="250" y="19"/>
                </a:lnTo>
                <a:lnTo>
                  <a:pt x="248" y="11"/>
                </a:lnTo>
                <a:lnTo>
                  <a:pt x="246" y="4"/>
                </a:lnTo>
                <a:lnTo>
                  <a:pt x="245" y="3"/>
                </a:lnTo>
                <a:lnTo>
                  <a:pt x="243" y="1"/>
                </a:lnTo>
                <a:lnTo>
                  <a:pt x="242" y="0"/>
                </a:lnTo>
                <a:lnTo>
                  <a:pt x="240" y="0"/>
                </a:lnTo>
                <a:lnTo>
                  <a:pt x="237" y="0"/>
                </a:lnTo>
                <a:lnTo>
                  <a:pt x="235" y="1"/>
                </a:lnTo>
                <a:lnTo>
                  <a:pt x="232" y="4"/>
                </a:lnTo>
                <a:lnTo>
                  <a:pt x="232" y="6"/>
                </a:lnTo>
                <a:lnTo>
                  <a:pt x="232" y="8"/>
                </a:lnTo>
                <a:lnTo>
                  <a:pt x="232" y="9"/>
                </a:lnTo>
                <a:lnTo>
                  <a:pt x="232" y="9"/>
                </a:lnTo>
                <a:lnTo>
                  <a:pt x="232" y="9"/>
                </a:lnTo>
                <a:lnTo>
                  <a:pt x="232" y="9"/>
                </a:lnTo>
                <a:lnTo>
                  <a:pt x="232" y="10"/>
                </a:lnTo>
                <a:lnTo>
                  <a:pt x="232" y="10"/>
                </a:lnTo>
                <a:lnTo>
                  <a:pt x="232" y="10"/>
                </a:lnTo>
                <a:lnTo>
                  <a:pt x="235" y="15"/>
                </a:lnTo>
                <a:lnTo>
                  <a:pt x="235" y="20"/>
                </a:lnTo>
                <a:lnTo>
                  <a:pt x="235" y="25"/>
                </a:lnTo>
                <a:lnTo>
                  <a:pt x="235" y="30"/>
                </a:lnTo>
                <a:lnTo>
                  <a:pt x="231" y="41"/>
                </a:lnTo>
                <a:lnTo>
                  <a:pt x="226" y="52"/>
                </a:lnTo>
                <a:lnTo>
                  <a:pt x="221" y="65"/>
                </a:lnTo>
                <a:lnTo>
                  <a:pt x="217" y="78"/>
                </a:lnTo>
                <a:lnTo>
                  <a:pt x="216" y="84"/>
                </a:lnTo>
                <a:lnTo>
                  <a:pt x="216" y="90"/>
                </a:lnTo>
                <a:lnTo>
                  <a:pt x="217" y="98"/>
                </a:lnTo>
                <a:lnTo>
                  <a:pt x="220" y="105"/>
                </a:lnTo>
                <a:lnTo>
                  <a:pt x="220" y="105"/>
                </a:lnTo>
                <a:lnTo>
                  <a:pt x="220" y="105"/>
                </a:lnTo>
                <a:close/>
                <a:moveTo>
                  <a:pt x="295" y="168"/>
                </a:moveTo>
                <a:lnTo>
                  <a:pt x="295" y="168"/>
                </a:lnTo>
                <a:lnTo>
                  <a:pt x="295" y="168"/>
                </a:lnTo>
                <a:lnTo>
                  <a:pt x="295" y="168"/>
                </a:lnTo>
                <a:lnTo>
                  <a:pt x="298" y="172"/>
                </a:lnTo>
                <a:lnTo>
                  <a:pt x="301" y="173"/>
                </a:lnTo>
                <a:lnTo>
                  <a:pt x="305" y="172"/>
                </a:lnTo>
                <a:lnTo>
                  <a:pt x="308" y="171"/>
                </a:lnTo>
                <a:lnTo>
                  <a:pt x="309" y="168"/>
                </a:lnTo>
                <a:lnTo>
                  <a:pt x="309" y="166"/>
                </a:lnTo>
                <a:lnTo>
                  <a:pt x="309" y="165"/>
                </a:lnTo>
                <a:lnTo>
                  <a:pt x="309" y="163"/>
                </a:lnTo>
                <a:lnTo>
                  <a:pt x="309" y="163"/>
                </a:lnTo>
                <a:lnTo>
                  <a:pt x="309" y="163"/>
                </a:lnTo>
                <a:lnTo>
                  <a:pt x="308" y="159"/>
                </a:lnTo>
                <a:lnTo>
                  <a:pt x="306" y="154"/>
                </a:lnTo>
                <a:lnTo>
                  <a:pt x="306" y="149"/>
                </a:lnTo>
                <a:lnTo>
                  <a:pt x="308" y="144"/>
                </a:lnTo>
                <a:lnTo>
                  <a:pt x="311" y="133"/>
                </a:lnTo>
                <a:lnTo>
                  <a:pt x="315" y="121"/>
                </a:lnTo>
                <a:lnTo>
                  <a:pt x="320" y="108"/>
                </a:lnTo>
                <a:lnTo>
                  <a:pt x="324" y="95"/>
                </a:lnTo>
                <a:lnTo>
                  <a:pt x="325" y="88"/>
                </a:lnTo>
                <a:lnTo>
                  <a:pt x="325" y="82"/>
                </a:lnTo>
                <a:lnTo>
                  <a:pt x="324" y="74"/>
                </a:lnTo>
                <a:lnTo>
                  <a:pt x="321" y="67"/>
                </a:lnTo>
                <a:lnTo>
                  <a:pt x="320" y="66"/>
                </a:lnTo>
                <a:lnTo>
                  <a:pt x="319" y="65"/>
                </a:lnTo>
                <a:lnTo>
                  <a:pt x="316" y="63"/>
                </a:lnTo>
                <a:lnTo>
                  <a:pt x="315" y="63"/>
                </a:lnTo>
                <a:lnTo>
                  <a:pt x="311" y="63"/>
                </a:lnTo>
                <a:lnTo>
                  <a:pt x="310" y="65"/>
                </a:lnTo>
                <a:lnTo>
                  <a:pt x="308" y="67"/>
                </a:lnTo>
                <a:lnTo>
                  <a:pt x="308" y="71"/>
                </a:lnTo>
                <a:lnTo>
                  <a:pt x="308" y="72"/>
                </a:lnTo>
                <a:lnTo>
                  <a:pt x="308" y="73"/>
                </a:lnTo>
                <a:lnTo>
                  <a:pt x="308" y="73"/>
                </a:lnTo>
                <a:lnTo>
                  <a:pt x="308" y="73"/>
                </a:lnTo>
                <a:lnTo>
                  <a:pt x="308" y="73"/>
                </a:lnTo>
                <a:lnTo>
                  <a:pt x="308" y="73"/>
                </a:lnTo>
                <a:lnTo>
                  <a:pt x="308" y="73"/>
                </a:lnTo>
                <a:lnTo>
                  <a:pt x="308" y="73"/>
                </a:lnTo>
                <a:lnTo>
                  <a:pt x="310" y="78"/>
                </a:lnTo>
                <a:lnTo>
                  <a:pt x="310" y="83"/>
                </a:lnTo>
                <a:lnTo>
                  <a:pt x="310" y="88"/>
                </a:lnTo>
                <a:lnTo>
                  <a:pt x="310" y="93"/>
                </a:lnTo>
                <a:lnTo>
                  <a:pt x="306" y="104"/>
                </a:lnTo>
                <a:lnTo>
                  <a:pt x="301" y="115"/>
                </a:lnTo>
                <a:lnTo>
                  <a:pt x="296" y="128"/>
                </a:lnTo>
                <a:lnTo>
                  <a:pt x="293" y="141"/>
                </a:lnTo>
                <a:lnTo>
                  <a:pt x="292" y="147"/>
                </a:lnTo>
                <a:lnTo>
                  <a:pt x="292" y="155"/>
                </a:lnTo>
                <a:lnTo>
                  <a:pt x="293" y="161"/>
                </a:lnTo>
                <a:lnTo>
                  <a:pt x="295" y="168"/>
                </a:lnTo>
                <a:lnTo>
                  <a:pt x="295" y="168"/>
                </a:lnTo>
                <a:lnTo>
                  <a:pt x="295" y="168"/>
                </a:lnTo>
                <a:close/>
                <a:moveTo>
                  <a:pt x="117" y="171"/>
                </a:moveTo>
                <a:lnTo>
                  <a:pt x="117" y="171"/>
                </a:lnTo>
                <a:lnTo>
                  <a:pt x="117" y="171"/>
                </a:lnTo>
                <a:lnTo>
                  <a:pt x="117" y="171"/>
                </a:lnTo>
                <a:lnTo>
                  <a:pt x="120" y="173"/>
                </a:lnTo>
                <a:lnTo>
                  <a:pt x="123" y="175"/>
                </a:lnTo>
                <a:lnTo>
                  <a:pt x="126" y="175"/>
                </a:lnTo>
                <a:lnTo>
                  <a:pt x="128" y="173"/>
                </a:lnTo>
                <a:lnTo>
                  <a:pt x="131" y="171"/>
                </a:lnTo>
                <a:lnTo>
                  <a:pt x="131" y="167"/>
                </a:lnTo>
                <a:lnTo>
                  <a:pt x="131" y="167"/>
                </a:lnTo>
                <a:lnTo>
                  <a:pt x="131" y="166"/>
                </a:lnTo>
                <a:lnTo>
                  <a:pt x="131" y="166"/>
                </a:lnTo>
                <a:lnTo>
                  <a:pt x="131" y="166"/>
                </a:lnTo>
                <a:lnTo>
                  <a:pt x="130" y="161"/>
                </a:lnTo>
                <a:lnTo>
                  <a:pt x="128" y="156"/>
                </a:lnTo>
                <a:lnTo>
                  <a:pt x="128" y="151"/>
                </a:lnTo>
                <a:lnTo>
                  <a:pt x="130" y="145"/>
                </a:lnTo>
                <a:lnTo>
                  <a:pt x="132" y="134"/>
                </a:lnTo>
                <a:lnTo>
                  <a:pt x="137" y="123"/>
                </a:lnTo>
                <a:lnTo>
                  <a:pt x="142" y="110"/>
                </a:lnTo>
                <a:lnTo>
                  <a:pt x="146" y="97"/>
                </a:lnTo>
                <a:lnTo>
                  <a:pt x="147" y="90"/>
                </a:lnTo>
                <a:lnTo>
                  <a:pt x="147" y="83"/>
                </a:lnTo>
                <a:lnTo>
                  <a:pt x="146" y="77"/>
                </a:lnTo>
                <a:lnTo>
                  <a:pt x="143" y="69"/>
                </a:lnTo>
                <a:lnTo>
                  <a:pt x="142" y="68"/>
                </a:lnTo>
                <a:lnTo>
                  <a:pt x="141" y="66"/>
                </a:lnTo>
                <a:lnTo>
                  <a:pt x="138" y="66"/>
                </a:lnTo>
                <a:lnTo>
                  <a:pt x="136" y="65"/>
                </a:lnTo>
                <a:lnTo>
                  <a:pt x="133" y="66"/>
                </a:lnTo>
                <a:lnTo>
                  <a:pt x="131" y="67"/>
                </a:lnTo>
                <a:lnTo>
                  <a:pt x="130" y="69"/>
                </a:lnTo>
                <a:lnTo>
                  <a:pt x="130" y="72"/>
                </a:lnTo>
                <a:lnTo>
                  <a:pt x="130" y="73"/>
                </a:lnTo>
                <a:lnTo>
                  <a:pt x="130" y="74"/>
                </a:lnTo>
                <a:lnTo>
                  <a:pt x="130" y="74"/>
                </a:lnTo>
                <a:lnTo>
                  <a:pt x="130" y="74"/>
                </a:lnTo>
                <a:lnTo>
                  <a:pt x="130" y="74"/>
                </a:lnTo>
                <a:lnTo>
                  <a:pt x="130" y="74"/>
                </a:lnTo>
                <a:lnTo>
                  <a:pt x="130" y="74"/>
                </a:lnTo>
                <a:lnTo>
                  <a:pt x="130" y="76"/>
                </a:lnTo>
                <a:lnTo>
                  <a:pt x="131" y="81"/>
                </a:lnTo>
                <a:lnTo>
                  <a:pt x="132" y="86"/>
                </a:lnTo>
                <a:lnTo>
                  <a:pt x="132" y="90"/>
                </a:lnTo>
                <a:lnTo>
                  <a:pt x="131" y="95"/>
                </a:lnTo>
                <a:lnTo>
                  <a:pt x="128" y="107"/>
                </a:lnTo>
                <a:lnTo>
                  <a:pt x="123" y="118"/>
                </a:lnTo>
                <a:lnTo>
                  <a:pt x="119" y="130"/>
                </a:lnTo>
                <a:lnTo>
                  <a:pt x="115" y="144"/>
                </a:lnTo>
                <a:lnTo>
                  <a:pt x="114" y="150"/>
                </a:lnTo>
                <a:lnTo>
                  <a:pt x="114" y="156"/>
                </a:lnTo>
                <a:lnTo>
                  <a:pt x="115" y="163"/>
                </a:lnTo>
                <a:lnTo>
                  <a:pt x="116" y="170"/>
                </a:lnTo>
                <a:lnTo>
                  <a:pt x="117" y="171"/>
                </a:lnTo>
                <a:lnTo>
                  <a:pt x="117" y="171"/>
                </a:lnTo>
                <a:close/>
                <a:moveTo>
                  <a:pt x="235" y="234"/>
                </a:moveTo>
                <a:lnTo>
                  <a:pt x="226" y="234"/>
                </a:lnTo>
                <a:lnTo>
                  <a:pt x="217" y="235"/>
                </a:lnTo>
                <a:lnTo>
                  <a:pt x="209" y="236"/>
                </a:lnTo>
                <a:lnTo>
                  <a:pt x="201" y="239"/>
                </a:lnTo>
                <a:lnTo>
                  <a:pt x="194" y="243"/>
                </a:lnTo>
                <a:lnTo>
                  <a:pt x="187" y="246"/>
                </a:lnTo>
                <a:lnTo>
                  <a:pt x="179" y="250"/>
                </a:lnTo>
                <a:lnTo>
                  <a:pt x="173" y="255"/>
                </a:lnTo>
                <a:lnTo>
                  <a:pt x="167" y="260"/>
                </a:lnTo>
                <a:lnTo>
                  <a:pt x="161" y="265"/>
                </a:lnTo>
                <a:lnTo>
                  <a:pt x="156" y="271"/>
                </a:lnTo>
                <a:lnTo>
                  <a:pt x="151" y="277"/>
                </a:lnTo>
                <a:lnTo>
                  <a:pt x="146" y="285"/>
                </a:lnTo>
                <a:lnTo>
                  <a:pt x="142" y="292"/>
                </a:lnTo>
                <a:lnTo>
                  <a:pt x="138" y="300"/>
                </a:lnTo>
                <a:lnTo>
                  <a:pt x="136" y="307"/>
                </a:lnTo>
                <a:lnTo>
                  <a:pt x="121" y="307"/>
                </a:lnTo>
                <a:lnTo>
                  <a:pt x="123" y="298"/>
                </a:lnTo>
                <a:lnTo>
                  <a:pt x="127" y="288"/>
                </a:lnTo>
                <a:lnTo>
                  <a:pt x="132" y="280"/>
                </a:lnTo>
                <a:lnTo>
                  <a:pt x="137" y="272"/>
                </a:lnTo>
                <a:lnTo>
                  <a:pt x="142" y="264"/>
                </a:lnTo>
                <a:lnTo>
                  <a:pt x="148" y="258"/>
                </a:lnTo>
                <a:lnTo>
                  <a:pt x="156" y="250"/>
                </a:lnTo>
                <a:lnTo>
                  <a:pt x="162" y="244"/>
                </a:lnTo>
                <a:lnTo>
                  <a:pt x="170" y="239"/>
                </a:lnTo>
                <a:lnTo>
                  <a:pt x="178" y="234"/>
                </a:lnTo>
                <a:lnTo>
                  <a:pt x="187" y="229"/>
                </a:lnTo>
                <a:lnTo>
                  <a:pt x="195" y="225"/>
                </a:lnTo>
                <a:lnTo>
                  <a:pt x="205" y="223"/>
                </a:lnTo>
                <a:lnTo>
                  <a:pt x="215" y="220"/>
                </a:lnTo>
                <a:lnTo>
                  <a:pt x="225" y="219"/>
                </a:lnTo>
                <a:lnTo>
                  <a:pt x="235" y="219"/>
                </a:lnTo>
                <a:lnTo>
                  <a:pt x="243" y="219"/>
                </a:lnTo>
                <a:lnTo>
                  <a:pt x="252" y="220"/>
                </a:lnTo>
                <a:lnTo>
                  <a:pt x="261" y="222"/>
                </a:lnTo>
                <a:lnTo>
                  <a:pt x="268" y="224"/>
                </a:lnTo>
                <a:lnTo>
                  <a:pt x="284" y="230"/>
                </a:lnTo>
                <a:lnTo>
                  <a:pt x="299" y="239"/>
                </a:lnTo>
                <a:lnTo>
                  <a:pt x="311" y="249"/>
                </a:lnTo>
                <a:lnTo>
                  <a:pt x="324" y="260"/>
                </a:lnTo>
                <a:lnTo>
                  <a:pt x="334" y="274"/>
                </a:lnTo>
                <a:lnTo>
                  <a:pt x="341" y="288"/>
                </a:lnTo>
                <a:lnTo>
                  <a:pt x="329" y="295"/>
                </a:lnTo>
                <a:lnTo>
                  <a:pt x="321" y="282"/>
                </a:lnTo>
                <a:lnTo>
                  <a:pt x="313" y="270"/>
                </a:lnTo>
                <a:lnTo>
                  <a:pt x="303" y="260"/>
                </a:lnTo>
                <a:lnTo>
                  <a:pt x="292" y="251"/>
                </a:lnTo>
                <a:lnTo>
                  <a:pt x="278" y="244"/>
                </a:lnTo>
                <a:lnTo>
                  <a:pt x="264" y="238"/>
                </a:lnTo>
                <a:lnTo>
                  <a:pt x="250" y="235"/>
                </a:lnTo>
                <a:lnTo>
                  <a:pt x="235" y="234"/>
                </a:lnTo>
                <a:close/>
                <a:moveTo>
                  <a:pt x="235" y="292"/>
                </a:moveTo>
                <a:lnTo>
                  <a:pt x="225" y="293"/>
                </a:lnTo>
                <a:lnTo>
                  <a:pt x="216" y="296"/>
                </a:lnTo>
                <a:lnTo>
                  <a:pt x="209" y="301"/>
                </a:lnTo>
                <a:lnTo>
                  <a:pt x="201" y="307"/>
                </a:lnTo>
                <a:lnTo>
                  <a:pt x="184" y="307"/>
                </a:lnTo>
                <a:lnTo>
                  <a:pt x="188" y="301"/>
                </a:lnTo>
                <a:lnTo>
                  <a:pt x="193" y="295"/>
                </a:lnTo>
                <a:lnTo>
                  <a:pt x="199" y="290"/>
                </a:lnTo>
                <a:lnTo>
                  <a:pt x="205" y="286"/>
                </a:lnTo>
                <a:lnTo>
                  <a:pt x="211" y="282"/>
                </a:lnTo>
                <a:lnTo>
                  <a:pt x="219" y="280"/>
                </a:lnTo>
                <a:lnTo>
                  <a:pt x="226" y="279"/>
                </a:lnTo>
                <a:lnTo>
                  <a:pt x="235" y="277"/>
                </a:lnTo>
                <a:lnTo>
                  <a:pt x="242" y="279"/>
                </a:lnTo>
                <a:lnTo>
                  <a:pt x="250" y="280"/>
                </a:lnTo>
                <a:lnTo>
                  <a:pt x="257" y="282"/>
                </a:lnTo>
                <a:lnTo>
                  <a:pt x="264" y="286"/>
                </a:lnTo>
                <a:lnTo>
                  <a:pt x="271" y="290"/>
                </a:lnTo>
                <a:lnTo>
                  <a:pt x="275" y="295"/>
                </a:lnTo>
                <a:lnTo>
                  <a:pt x="280" y="301"/>
                </a:lnTo>
                <a:lnTo>
                  <a:pt x="285" y="307"/>
                </a:lnTo>
                <a:lnTo>
                  <a:pt x="267" y="307"/>
                </a:lnTo>
                <a:lnTo>
                  <a:pt x="261" y="301"/>
                </a:lnTo>
                <a:lnTo>
                  <a:pt x="252" y="296"/>
                </a:lnTo>
                <a:lnTo>
                  <a:pt x="243" y="293"/>
                </a:lnTo>
                <a:lnTo>
                  <a:pt x="235" y="292"/>
                </a:lnTo>
                <a:close/>
                <a:moveTo>
                  <a:pt x="301" y="307"/>
                </a:moveTo>
                <a:lnTo>
                  <a:pt x="296" y="298"/>
                </a:lnTo>
                <a:lnTo>
                  <a:pt x="290" y="290"/>
                </a:lnTo>
                <a:lnTo>
                  <a:pt x="283" y="282"/>
                </a:lnTo>
                <a:lnTo>
                  <a:pt x="275" y="275"/>
                </a:lnTo>
                <a:lnTo>
                  <a:pt x="266" y="270"/>
                </a:lnTo>
                <a:lnTo>
                  <a:pt x="256" y="266"/>
                </a:lnTo>
                <a:lnTo>
                  <a:pt x="246" y="264"/>
                </a:lnTo>
                <a:lnTo>
                  <a:pt x="235" y="262"/>
                </a:lnTo>
                <a:lnTo>
                  <a:pt x="224" y="264"/>
                </a:lnTo>
                <a:lnTo>
                  <a:pt x="212" y="266"/>
                </a:lnTo>
                <a:lnTo>
                  <a:pt x="203" y="270"/>
                </a:lnTo>
                <a:lnTo>
                  <a:pt x="194" y="275"/>
                </a:lnTo>
                <a:lnTo>
                  <a:pt x="185" y="282"/>
                </a:lnTo>
                <a:lnTo>
                  <a:pt x="178" y="290"/>
                </a:lnTo>
                <a:lnTo>
                  <a:pt x="173" y="298"/>
                </a:lnTo>
                <a:lnTo>
                  <a:pt x="168" y="307"/>
                </a:lnTo>
                <a:lnTo>
                  <a:pt x="152" y="307"/>
                </a:lnTo>
                <a:lnTo>
                  <a:pt x="157" y="295"/>
                </a:lnTo>
                <a:lnTo>
                  <a:pt x="164" y="283"/>
                </a:lnTo>
                <a:lnTo>
                  <a:pt x="173" y="274"/>
                </a:lnTo>
                <a:lnTo>
                  <a:pt x="183" y="265"/>
                </a:lnTo>
                <a:lnTo>
                  <a:pt x="195" y="258"/>
                </a:lnTo>
                <a:lnTo>
                  <a:pt x="208" y="253"/>
                </a:lnTo>
                <a:lnTo>
                  <a:pt x="220" y="250"/>
                </a:lnTo>
                <a:lnTo>
                  <a:pt x="235" y="249"/>
                </a:lnTo>
                <a:lnTo>
                  <a:pt x="248" y="249"/>
                </a:lnTo>
                <a:lnTo>
                  <a:pt x="261" y="253"/>
                </a:lnTo>
                <a:lnTo>
                  <a:pt x="272" y="258"/>
                </a:lnTo>
                <a:lnTo>
                  <a:pt x="283" y="264"/>
                </a:lnTo>
                <a:lnTo>
                  <a:pt x="293" y="271"/>
                </a:lnTo>
                <a:lnTo>
                  <a:pt x="301" y="280"/>
                </a:lnTo>
                <a:lnTo>
                  <a:pt x="309" y="291"/>
                </a:lnTo>
                <a:lnTo>
                  <a:pt x="315" y="302"/>
                </a:lnTo>
                <a:lnTo>
                  <a:pt x="304" y="307"/>
                </a:lnTo>
                <a:lnTo>
                  <a:pt x="301" y="307"/>
                </a:lnTo>
                <a:close/>
                <a:moveTo>
                  <a:pt x="235" y="189"/>
                </a:moveTo>
                <a:lnTo>
                  <a:pt x="246" y="191"/>
                </a:lnTo>
                <a:lnTo>
                  <a:pt x="256" y="192"/>
                </a:lnTo>
                <a:lnTo>
                  <a:pt x="267" y="193"/>
                </a:lnTo>
                <a:lnTo>
                  <a:pt x="277" y="196"/>
                </a:lnTo>
                <a:lnTo>
                  <a:pt x="287" y="199"/>
                </a:lnTo>
                <a:lnTo>
                  <a:pt x="296" y="203"/>
                </a:lnTo>
                <a:lnTo>
                  <a:pt x="305" y="208"/>
                </a:lnTo>
                <a:lnTo>
                  <a:pt x="314" y="214"/>
                </a:lnTo>
                <a:lnTo>
                  <a:pt x="322" y="219"/>
                </a:lnTo>
                <a:lnTo>
                  <a:pt x="331" y="227"/>
                </a:lnTo>
                <a:lnTo>
                  <a:pt x="339" y="233"/>
                </a:lnTo>
                <a:lnTo>
                  <a:pt x="345" y="240"/>
                </a:lnTo>
                <a:lnTo>
                  <a:pt x="352" y="249"/>
                </a:lnTo>
                <a:lnTo>
                  <a:pt x="357" y="258"/>
                </a:lnTo>
                <a:lnTo>
                  <a:pt x="363" y="266"/>
                </a:lnTo>
                <a:lnTo>
                  <a:pt x="367" y="275"/>
                </a:lnTo>
                <a:lnTo>
                  <a:pt x="355" y="282"/>
                </a:lnTo>
                <a:lnTo>
                  <a:pt x="350" y="274"/>
                </a:lnTo>
                <a:lnTo>
                  <a:pt x="346" y="265"/>
                </a:lnTo>
                <a:lnTo>
                  <a:pt x="340" y="258"/>
                </a:lnTo>
                <a:lnTo>
                  <a:pt x="335" y="250"/>
                </a:lnTo>
                <a:lnTo>
                  <a:pt x="329" y="244"/>
                </a:lnTo>
                <a:lnTo>
                  <a:pt x="321" y="238"/>
                </a:lnTo>
                <a:lnTo>
                  <a:pt x="314" y="232"/>
                </a:lnTo>
                <a:lnTo>
                  <a:pt x="306" y="227"/>
                </a:lnTo>
                <a:lnTo>
                  <a:pt x="299" y="222"/>
                </a:lnTo>
                <a:lnTo>
                  <a:pt x="290" y="217"/>
                </a:lnTo>
                <a:lnTo>
                  <a:pt x="282" y="213"/>
                </a:lnTo>
                <a:lnTo>
                  <a:pt x="273" y="210"/>
                </a:lnTo>
                <a:lnTo>
                  <a:pt x="263" y="208"/>
                </a:lnTo>
                <a:lnTo>
                  <a:pt x="254" y="206"/>
                </a:lnTo>
                <a:lnTo>
                  <a:pt x="245" y="204"/>
                </a:lnTo>
                <a:lnTo>
                  <a:pt x="235" y="204"/>
                </a:lnTo>
                <a:lnTo>
                  <a:pt x="222" y="204"/>
                </a:lnTo>
                <a:lnTo>
                  <a:pt x="211" y="207"/>
                </a:lnTo>
                <a:lnTo>
                  <a:pt x="200" y="209"/>
                </a:lnTo>
                <a:lnTo>
                  <a:pt x="190" y="212"/>
                </a:lnTo>
                <a:lnTo>
                  <a:pt x="179" y="217"/>
                </a:lnTo>
                <a:lnTo>
                  <a:pt x="169" y="222"/>
                </a:lnTo>
                <a:lnTo>
                  <a:pt x="161" y="227"/>
                </a:lnTo>
                <a:lnTo>
                  <a:pt x="152" y="234"/>
                </a:lnTo>
                <a:lnTo>
                  <a:pt x="143" y="241"/>
                </a:lnTo>
                <a:lnTo>
                  <a:pt x="136" y="249"/>
                </a:lnTo>
                <a:lnTo>
                  <a:pt x="128" y="258"/>
                </a:lnTo>
                <a:lnTo>
                  <a:pt x="122" y="266"/>
                </a:lnTo>
                <a:lnTo>
                  <a:pt x="117" y="276"/>
                </a:lnTo>
                <a:lnTo>
                  <a:pt x="112" y="286"/>
                </a:lnTo>
                <a:lnTo>
                  <a:pt x="109" y="296"/>
                </a:lnTo>
                <a:lnTo>
                  <a:pt x="106" y="307"/>
                </a:lnTo>
                <a:lnTo>
                  <a:pt x="91" y="307"/>
                </a:lnTo>
                <a:lnTo>
                  <a:pt x="94" y="295"/>
                </a:lnTo>
                <a:lnTo>
                  <a:pt x="98" y="282"/>
                </a:lnTo>
                <a:lnTo>
                  <a:pt x="104" y="271"/>
                </a:lnTo>
                <a:lnTo>
                  <a:pt x="109" y="260"/>
                </a:lnTo>
                <a:lnTo>
                  <a:pt x="116" y="250"/>
                </a:lnTo>
                <a:lnTo>
                  <a:pt x="123" y="240"/>
                </a:lnTo>
                <a:lnTo>
                  <a:pt x="132" y="232"/>
                </a:lnTo>
                <a:lnTo>
                  <a:pt x="141" y="223"/>
                </a:lnTo>
                <a:lnTo>
                  <a:pt x="151" y="215"/>
                </a:lnTo>
                <a:lnTo>
                  <a:pt x="162" y="209"/>
                </a:lnTo>
                <a:lnTo>
                  <a:pt x="173" y="203"/>
                </a:lnTo>
                <a:lnTo>
                  <a:pt x="184" y="198"/>
                </a:lnTo>
                <a:lnTo>
                  <a:pt x="196" y="194"/>
                </a:lnTo>
                <a:lnTo>
                  <a:pt x="209" y="192"/>
                </a:lnTo>
                <a:lnTo>
                  <a:pt x="221" y="191"/>
                </a:lnTo>
                <a:lnTo>
                  <a:pt x="235" y="189"/>
                </a:lnTo>
                <a:close/>
                <a:moveTo>
                  <a:pt x="378" y="307"/>
                </a:moveTo>
                <a:lnTo>
                  <a:pt x="369" y="307"/>
                </a:lnTo>
                <a:lnTo>
                  <a:pt x="377" y="303"/>
                </a:lnTo>
                <a:lnTo>
                  <a:pt x="378" y="306"/>
                </a:lnTo>
                <a:lnTo>
                  <a:pt x="378" y="307"/>
                </a:lnTo>
                <a:close/>
                <a:moveTo>
                  <a:pt x="432" y="307"/>
                </a:moveTo>
                <a:lnTo>
                  <a:pt x="393" y="307"/>
                </a:lnTo>
                <a:lnTo>
                  <a:pt x="392" y="302"/>
                </a:lnTo>
                <a:lnTo>
                  <a:pt x="390" y="297"/>
                </a:lnTo>
                <a:lnTo>
                  <a:pt x="461" y="261"/>
                </a:lnTo>
                <a:lnTo>
                  <a:pt x="466" y="258"/>
                </a:lnTo>
                <a:lnTo>
                  <a:pt x="468" y="253"/>
                </a:lnTo>
                <a:lnTo>
                  <a:pt x="468" y="248"/>
                </a:lnTo>
                <a:lnTo>
                  <a:pt x="467" y="241"/>
                </a:lnTo>
                <a:lnTo>
                  <a:pt x="463" y="238"/>
                </a:lnTo>
                <a:lnTo>
                  <a:pt x="458" y="234"/>
                </a:lnTo>
                <a:lnTo>
                  <a:pt x="453" y="234"/>
                </a:lnTo>
                <a:lnTo>
                  <a:pt x="447" y="235"/>
                </a:lnTo>
                <a:lnTo>
                  <a:pt x="381" y="269"/>
                </a:lnTo>
                <a:lnTo>
                  <a:pt x="376" y="259"/>
                </a:lnTo>
                <a:lnTo>
                  <a:pt x="369" y="249"/>
                </a:lnTo>
                <a:lnTo>
                  <a:pt x="363" y="240"/>
                </a:lnTo>
                <a:lnTo>
                  <a:pt x="356" y="230"/>
                </a:lnTo>
                <a:lnTo>
                  <a:pt x="348" y="223"/>
                </a:lnTo>
                <a:lnTo>
                  <a:pt x="340" y="215"/>
                </a:lnTo>
                <a:lnTo>
                  <a:pt x="331" y="208"/>
                </a:lnTo>
                <a:lnTo>
                  <a:pt x="322" y="201"/>
                </a:lnTo>
                <a:lnTo>
                  <a:pt x="313" y="196"/>
                </a:lnTo>
                <a:lnTo>
                  <a:pt x="303" y="191"/>
                </a:lnTo>
                <a:lnTo>
                  <a:pt x="292" y="186"/>
                </a:lnTo>
                <a:lnTo>
                  <a:pt x="280" y="182"/>
                </a:lnTo>
                <a:lnTo>
                  <a:pt x="269" y="180"/>
                </a:lnTo>
                <a:lnTo>
                  <a:pt x="258" y="177"/>
                </a:lnTo>
                <a:lnTo>
                  <a:pt x="246" y="176"/>
                </a:lnTo>
                <a:lnTo>
                  <a:pt x="235" y="175"/>
                </a:lnTo>
                <a:lnTo>
                  <a:pt x="220" y="176"/>
                </a:lnTo>
                <a:lnTo>
                  <a:pt x="205" y="177"/>
                </a:lnTo>
                <a:lnTo>
                  <a:pt x="191" y="181"/>
                </a:lnTo>
                <a:lnTo>
                  <a:pt x="178" y="185"/>
                </a:lnTo>
                <a:lnTo>
                  <a:pt x="165" y="191"/>
                </a:lnTo>
                <a:lnTo>
                  <a:pt x="153" y="197"/>
                </a:lnTo>
                <a:lnTo>
                  <a:pt x="142" y="204"/>
                </a:lnTo>
                <a:lnTo>
                  <a:pt x="131" y="213"/>
                </a:lnTo>
                <a:lnTo>
                  <a:pt x="121" y="222"/>
                </a:lnTo>
                <a:lnTo>
                  <a:pt x="111" y="233"/>
                </a:lnTo>
                <a:lnTo>
                  <a:pt x="102" y="243"/>
                </a:lnTo>
                <a:lnTo>
                  <a:pt x="95" y="255"/>
                </a:lnTo>
                <a:lnTo>
                  <a:pt x="89" y="267"/>
                </a:lnTo>
                <a:lnTo>
                  <a:pt x="84" y="280"/>
                </a:lnTo>
                <a:lnTo>
                  <a:pt x="79" y="293"/>
                </a:lnTo>
                <a:lnTo>
                  <a:pt x="77" y="307"/>
                </a:lnTo>
                <a:lnTo>
                  <a:pt x="37" y="307"/>
                </a:lnTo>
                <a:lnTo>
                  <a:pt x="30" y="308"/>
                </a:lnTo>
                <a:lnTo>
                  <a:pt x="22" y="309"/>
                </a:lnTo>
                <a:lnTo>
                  <a:pt x="16" y="313"/>
                </a:lnTo>
                <a:lnTo>
                  <a:pt x="11" y="318"/>
                </a:lnTo>
                <a:lnTo>
                  <a:pt x="6" y="323"/>
                </a:lnTo>
                <a:lnTo>
                  <a:pt x="2" y="329"/>
                </a:lnTo>
                <a:lnTo>
                  <a:pt x="1" y="337"/>
                </a:lnTo>
                <a:lnTo>
                  <a:pt x="0" y="344"/>
                </a:lnTo>
                <a:lnTo>
                  <a:pt x="1" y="349"/>
                </a:lnTo>
                <a:lnTo>
                  <a:pt x="2" y="354"/>
                </a:lnTo>
                <a:lnTo>
                  <a:pt x="5" y="359"/>
                </a:lnTo>
                <a:lnTo>
                  <a:pt x="7" y="363"/>
                </a:lnTo>
                <a:lnTo>
                  <a:pt x="59" y="421"/>
                </a:lnTo>
                <a:lnTo>
                  <a:pt x="59" y="432"/>
                </a:lnTo>
                <a:lnTo>
                  <a:pt x="59" y="439"/>
                </a:lnTo>
                <a:lnTo>
                  <a:pt x="62" y="446"/>
                </a:lnTo>
                <a:lnTo>
                  <a:pt x="65" y="452"/>
                </a:lnTo>
                <a:lnTo>
                  <a:pt x="69" y="458"/>
                </a:lnTo>
                <a:lnTo>
                  <a:pt x="75" y="462"/>
                </a:lnTo>
                <a:lnTo>
                  <a:pt x="81" y="465"/>
                </a:lnTo>
                <a:lnTo>
                  <a:pt x="88" y="468"/>
                </a:lnTo>
                <a:lnTo>
                  <a:pt x="95" y="468"/>
                </a:lnTo>
                <a:lnTo>
                  <a:pt x="373" y="468"/>
                </a:lnTo>
                <a:lnTo>
                  <a:pt x="381" y="468"/>
                </a:lnTo>
                <a:lnTo>
                  <a:pt x="388" y="465"/>
                </a:lnTo>
                <a:lnTo>
                  <a:pt x="394" y="462"/>
                </a:lnTo>
                <a:lnTo>
                  <a:pt x="399" y="458"/>
                </a:lnTo>
                <a:lnTo>
                  <a:pt x="404" y="452"/>
                </a:lnTo>
                <a:lnTo>
                  <a:pt x="408" y="446"/>
                </a:lnTo>
                <a:lnTo>
                  <a:pt x="409" y="439"/>
                </a:lnTo>
                <a:lnTo>
                  <a:pt x="410" y="432"/>
                </a:lnTo>
                <a:lnTo>
                  <a:pt x="410" y="421"/>
                </a:lnTo>
                <a:lnTo>
                  <a:pt x="461" y="363"/>
                </a:lnTo>
                <a:lnTo>
                  <a:pt x="465" y="359"/>
                </a:lnTo>
                <a:lnTo>
                  <a:pt x="467" y="354"/>
                </a:lnTo>
                <a:lnTo>
                  <a:pt x="468" y="349"/>
                </a:lnTo>
                <a:lnTo>
                  <a:pt x="468" y="344"/>
                </a:lnTo>
                <a:lnTo>
                  <a:pt x="468" y="337"/>
                </a:lnTo>
                <a:lnTo>
                  <a:pt x="466" y="329"/>
                </a:lnTo>
                <a:lnTo>
                  <a:pt x="462" y="323"/>
                </a:lnTo>
                <a:lnTo>
                  <a:pt x="458" y="318"/>
                </a:lnTo>
                <a:lnTo>
                  <a:pt x="452" y="313"/>
                </a:lnTo>
                <a:lnTo>
                  <a:pt x="446" y="309"/>
                </a:lnTo>
                <a:lnTo>
                  <a:pt x="440" y="308"/>
                </a:lnTo>
                <a:lnTo>
                  <a:pt x="432" y="30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89" name="Freeform 16">
            <a:extLst>
              <a:ext uri="{FF2B5EF4-FFF2-40B4-BE49-F238E27FC236}">
                <a16:creationId xmlns:a16="http://schemas.microsoft.com/office/drawing/2014/main" id="{11E86F2B-C63B-F22D-4C18-886015D2625E}"/>
              </a:ext>
            </a:extLst>
          </p:cNvPr>
          <p:cNvSpPr>
            <a:spLocks noEditPoints="1"/>
          </p:cNvSpPr>
          <p:nvPr/>
        </p:nvSpPr>
        <p:spPr bwMode="auto">
          <a:xfrm>
            <a:off x="2908300" y="7988258"/>
            <a:ext cx="373063" cy="374650"/>
          </a:xfrm>
          <a:custGeom>
            <a:avLst/>
            <a:gdLst>
              <a:gd name="T0" fmla="*/ 364 w 469"/>
              <a:gd name="T1" fmla="*/ 220 h 470"/>
              <a:gd name="T2" fmla="*/ 294 w 469"/>
              <a:gd name="T3" fmla="*/ 221 h 470"/>
              <a:gd name="T4" fmla="*/ 205 w 469"/>
              <a:gd name="T5" fmla="*/ 190 h 470"/>
              <a:gd name="T6" fmla="*/ 277 w 469"/>
              <a:gd name="T7" fmla="*/ 132 h 470"/>
              <a:gd name="T8" fmla="*/ 272 w 469"/>
              <a:gd name="T9" fmla="*/ 75 h 470"/>
              <a:gd name="T10" fmla="*/ 396 w 469"/>
              <a:gd name="T11" fmla="*/ 192 h 470"/>
              <a:gd name="T12" fmla="*/ 415 w 469"/>
              <a:gd name="T13" fmla="*/ 108 h 470"/>
              <a:gd name="T14" fmla="*/ 425 w 469"/>
              <a:gd name="T15" fmla="*/ 132 h 470"/>
              <a:gd name="T16" fmla="*/ 435 w 469"/>
              <a:gd name="T17" fmla="*/ 108 h 470"/>
              <a:gd name="T18" fmla="*/ 204 w 469"/>
              <a:gd name="T19" fmla="*/ 344 h 470"/>
              <a:gd name="T20" fmla="*/ 185 w 469"/>
              <a:gd name="T21" fmla="*/ 324 h 470"/>
              <a:gd name="T22" fmla="*/ 185 w 469"/>
              <a:gd name="T23" fmla="*/ 351 h 470"/>
              <a:gd name="T24" fmla="*/ 162 w 469"/>
              <a:gd name="T25" fmla="*/ 250 h 470"/>
              <a:gd name="T26" fmla="*/ 136 w 469"/>
              <a:gd name="T27" fmla="*/ 260 h 470"/>
              <a:gd name="T28" fmla="*/ 147 w 469"/>
              <a:gd name="T29" fmla="*/ 235 h 470"/>
              <a:gd name="T30" fmla="*/ 131 w 469"/>
              <a:gd name="T31" fmla="*/ 275 h 470"/>
              <a:gd name="T32" fmla="*/ 163 w 469"/>
              <a:gd name="T33" fmla="*/ 275 h 470"/>
              <a:gd name="T34" fmla="*/ 175 w 469"/>
              <a:gd name="T35" fmla="*/ 244 h 470"/>
              <a:gd name="T36" fmla="*/ 153 w 469"/>
              <a:gd name="T37" fmla="*/ 221 h 470"/>
              <a:gd name="T38" fmla="*/ 122 w 469"/>
              <a:gd name="T39" fmla="*/ 234 h 470"/>
              <a:gd name="T40" fmla="*/ 424 w 469"/>
              <a:gd name="T41" fmla="*/ 57 h 470"/>
              <a:gd name="T42" fmla="*/ 410 w 469"/>
              <a:gd name="T43" fmla="*/ 37 h 470"/>
              <a:gd name="T44" fmla="*/ 424 w 469"/>
              <a:gd name="T45" fmla="*/ 17 h 470"/>
              <a:gd name="T46" fmla="*/ 447 w 469"/>
              <a:gd name="T47" fmla="*/ 21 h 470"/>
              <a:gd name="T48" fmla="*/ 452 w 469"/>
              <a:gd name="T49" fmla="*/ 46 h 470"/>
              <a:gd name="T50" fmla="*/ 432 w 469"/>
              <a:gd name="T51" fmla="*/ 59 h 470"/>
              <a:gd name="T52" fmla="*/ 401 w 469"/>
              <a:gd name="T53" fmla="*/ 16 h 470"/>
              <a:gd name="T54" fmla="*/ 401 w 469"/>
              <a:gd name="T55" fmla="*/ 58 h 470"/>
              <a:gd name="T56" fmla="*/ 440 w 469"/>
              <a:gd name="T57" fmla="*/ 73 h 470"/>
              <a:gd name="T58" fmla="*/ 468 w 469"/>
              <a:gd name="T59" fmla="*/ 44 h 470"/>
              <a:gd name="T60" fmla="*/ 452 w 469"/>
              <a:gd name="T61" fmla="*/ 6 h 470"/>
              <a:gd name="T62" fmla="*/ 251 w 469"/>
              <a:gd name="T63" fmla="*/ 251 h 470"/>
              <a:gd name="T64" fmla="*/ 264 w 469"/>
              <a:gd name="T65" fmla="*/ 272 h 470"/>
              <a:gd name="T66" fmla="*/ 251 w 469"/>
              <a:gd name="T67" fmla="*/ 292 h 470"/>
              <a:gd name="T68" fmla="*/ 226 w 469"/>
              <a:gd name="T69" fmla="*/ 287 h 470"/>
              <a:gd name="T70" fmla="*/ 221 w 469"/>
              <a:gd name="T71" fmla="*/ 263 h 470"/>
              <a:gd name="T72" fmla="*/ 242 w 469"/>
              <a:gd name="T73" fmla="*/ 250 h 470"/>
              <a:gd name="T74" fmla="*/ 272 w 469"/>
              <a:gd name="T75" fmla="*/ 292 h 470"/>
              <a:gd name="T76" fmla="*/ 272 w 469"/>
              <a:gd name="T77" fmla="*/ 251 h 470"/>
              <a:gd name="T78" fmla="*/ 235 w 469"/>
              <a:gd name="T79" fmla="*/ 236 h 470"/>
              <a:gd name="T80" fmla="*/ 206 w 469"/>
              <a:gd name="T81" fmla="*/ 265 h 470"/>
              <a:gd name="T82" fmla="*/ 221 w 469"/>
              <a:gd name="T83" fmla="*/ 302 h 470"/>
              <a:gd name="T84" fmla="*/ 240 w 469"/>
              <a:gd name="T85" fmla="*/ 437 h 470"/>
              <a:gd name="T86" fmla="*/ 220 w 469"/>
              <a:gd name="T87" fmla="*/ 435 h 470"/>
              <a:gd name="T88" fmla="*/ 31 w 469"/>
              <a:gd name="T89" fmla="*/ 235 h 470"/>
              <a:gd name="T90" fmla="*/ 175 w 469"/>
              <a:gd name="T91" fmla="*/ 200 h 470"/>
              <a:gd name="T92" fmla="*/ 267 w 469"/>
              <a:gd name="T93" fmla="*/ 223 h 470"/>
              <a:gd name="T94" fmla="*/ 303 w 469"/>
              <a:gd name="T95" fmla="*/ 56 h 470"/>
              <a:gd name="T96" fmla="*/ 263 w 469"/>
              <a:gd name="T97" fmla="*/ 47 h 470"/>
              <a:gd name="T98" fmla="*/ 221 w 469"/>
              <a:gd name="T99" fmla="*/ 94 h 470"/>
              <a:gd name="T100" fmla="*/ 27 w 469"/>
              <a:gd name="T101" fmla="*/ 200 h 470"/>
              <a:gd name="T102" fmla="*/ 5 w 469"/>
              <a:gd name="T103" fmla="*/ 223 h 470"/>
              <a:gd name="T104" fmla="*/ 2 w 469"/>
              <a:gd name="T105" fmla="*/ 254 h 470"/>
              <a:gd name="T106" fmla="*/ 206 w 469"/>
              <a:gd name="T107" fmla="*/ 463 h 470"/>
              <a:gd name="T108" fmla="*/ 235 w 469"/>
              <a:gd name="T109" fmla="*/ 469 h 470"/>
              <a:gd name="T110" fmla="*/ 263 w 469"/>
              <a:gd name="T111" fmla="*/ 455 h 470"/>
              <a:gd name="T112" fmla="*/ 359 w 469"/>
              <a:gd name="T113" fmla="*/ 250 h 470"/>
              <a:gd name="T114" fmla="*/ 395 w 469"/>
              <a:gd name="T115" fmla="*/ 241 h 470"/>
              <a:gd name="T116" fmla="*/ 426 w 469"/>
              <a:gd name="T117" fmla="*/ 18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9" h="470">
                <a:moveTo>
                  <a:pt x="395" y="199"/>
                </a:moveTo>
                <a:lnTo>
                  <a:pt x="374" y="220"/>
                </a:lnTo>
                <a:lnTo>
                  <a:pt x="372" y="221"/>
                </a:lnTo>
                <a:lnTo>
                  <a:pt x="369" y="223"/>
                </a:lnTo>
                <a:lnTo>
                  <a:pt x="367" y="221"/>
                </a:lnTo>
                <a:lnTo>
                  <a:pt x="364" y="220"/>
                </a:lnTo>
                <a:lnTo>
                  <a:pt x="338" y="194"/>
                </a:lnTo>
                <a:lnTo>
                  <a:pt x="317" y="247"/>
                </a:lnTo>
                <a:lnTo>
                  <a:pt x="320" y="242"/>
                </a:lnTo>
                <a:lnTo>
                  <a:pt x="311" y="235"/>
                </a:lnTo>
                <a:lnTo>
                  <a:pt x="303" y="228"/>
                </a:lnTo>
                <a:lnTo>
                  <a:pt x="294" y="221"/>
                </a:lnTo>
                <a:lnTo>
                  <a:pt x="287" y="216"/>
                </a:lnTo>
                <a:lnTo>
                  <a:pt x="269" y="208"/>
                </a:lnTo>
                <a:lnTo>
                  <a:pt x="253" y="200"/>
                </a:lnTo>
                <a:lnTo>
                  <a:pt x="237" y="195"/>
                </a:lnTo>
                <a:lnTo>
                  <a:pt x="221" y="193"/>
                </a:lnTo>
                <a:lnTo>
                  <a:pt x="205" y="190"/>
                </a:lnTo>
                <a:lnTo>
                  <a:pt x="190" y="188"/>
                </a:lnTo>
                <a:lnTo>
                  <a:pt x="180" y="187"/>
                </a:lnTo>
                <a:lnTo>
                  <a:pt x="170" y="186"/>
                </a:lnTo>
                <a:lnTo>
                  <a:pt x="162" y="184"/>
                </a:lnTo>
                <a:lnTo>
                  <a:pt x="152" y="182"/>
                </a:lnTo>
                <a:lnTo>
                  <a:pt x="277" y="132"/>
                </a:lnTo>
                <a:lnTo>
                  <a:pt x="252" y="106"/>
                </a:lnTo>
                <a:lnTo>
                  <a:pt x="249" y="105"/>
                </a:lnTo>
                <a:lnTo>
                  <a:pt x="249" y="101"/>
                </a:lnTo>
                <a:lnTo>
                  <a:pt x="249" y="99"/>
                </a:lnTo>
                <a:lnTo>
                  <a:pt x="252" y="96"/>
                </a:lnTo>
                <a:lnTo>
                  <a:pt x="272" y="75"/>
                </a:lnTo>
                <a:lnTo>
                  <a:pt x="274" y="74"/>
                </a:lnTo>
                <a:lnTo>
                  <a:pt x="277" y="74"/>
                </a:lnTo>
                <a:lnTo>
                  <a:pt x="280" y="74"/>
                </a:lnTo>
                <a:lnTo>
                  <a:pt x="283" y="75"/>
                </a:lnTo>
                <a:lnTo>
                  <a:pt x="395" y="189"/>
                </a:lnTo>
                <a:lnTo>
                  <a:pt x="396" y="192"/>
                </a:lnTo>
                <a:lnTo>
                  <a:pt x="398" y="194"/>
                </a:lnTo>
                <a:lnTo>
                  <a:pt x="396" y="197"/>
                </a:lnTo>
                <a:lnTo>
                  <a:pt x="395" y="199"/>
                </a:lnTo>
                <a:close/>
                <a:moveTo>
                  <a:pt x="425" y="103"/>
                </a:moveTo>
                <a:lnTo>
                  <a:pt x="419" y="104"/>
                </a:lnTo>
                <a:lnTo>
                  <a:pt x="415" y="108"/>
                </a:lnTo>
                <a:lnTo>
                  <a:pt x="411" y="113"/>
                </a:lnTo>
                <a:lnTo>
                  <a:pt x="410" y="117"/>
                </a:lnTo>
                <a:lnTo>
                  <a:pt x="411" y="124"/>
                </a:lnTo>
                <a:lnTo>
                  <a:pt x="415" y="129"/>
                </a:lnTo>
                <a:lnTo>
                  <a:pt x="419" y="131"/>
                </a:lnTo>
                <a:lnTo>
                  <a:pt x="425" y="132"/>
                </a:lnTo>
                <a:lnTo>
                  <a:pt x="431" y="131"/>
                </a:lnTo>
                <a:lnTo>
                  <a:pt x="435" y="129"/>
                </a:lnTo>
                <a:lnTo>
                  <a:pt x="439" y="124"/>
                </a:lnTo>
                <a:lnTo>
                  <a:pt x="440" y="117"/>
                </a:lnTo>
                <a:lnTo>
                  <a:pt x="439" y="113"/>
                </a:lnTo>
                <a:lnTo>
                  <a:pt x="435" y="108"/>
                </a:lnTo>
                <a:lnTo>
                  <a:pt x="431" y="104"/>
                </a:lnTo>
                <a:lnTo>
                  <a:pt x="425" y="103"/>
                </a:lnTo>
                <a:close/>
                <a:moveTo>
                  <a:pt x="190" y="353"/>
                </a:moveTo>
                <a:lnTo>
                  <a:pt x="196" y="351"/>
                </a:lnTo>
                <a:lnTo>
                  <a:pt x="201" y="348"/>
                </a:lnTo>
                <a:lnTo>
                  <a:pt x="204" y="344"/>
                </a:lnTo>
                <a:lnTo>
                  <a:pt x="205" y="338"/>
                </a:lnTo>
                <a:lnTo>
                  <a:pt x="204" y="331"/>
                </a:lnTo>
                <a:lnTo>
                  <a:pt x="201" y="328"/>
                </a:lnTo>
                <a:lnTo>
                  <a:pt x="196" y="324"/>
                </a:lnTo>
                <a:lnTo>
                  <a:pt x="190" y="323"/>
                </a:lnTo>
                <a:lnTo>
                  <a:pt x="185" y="324"/>
                </a:lnTo>
                <a:lnTo>
                  <a:pt x="180" y="328"/>
                </a:lnTo>
                <a:lnTo>
                  <a:pt x="177" y="331"/>
                </a:lnTo>
                <a:lnTo>
                  <a:pt x="177" y="338"/>
                </a:lnTo>
                <a:lnTo>
                  <a:pt x="177" y="344"/>
                </a:lnTo>
                <a:lnTo>
                  <a:pt x="180" y="348"/>
                </a:lnTo>
                <a:lnTo>
                  <a:pt x="185" y="351"/>
                </a:lnTo>
                <a:lnTo>
                  <a:pt x="190" y="353"/>
                </a:lnTo>
                <a:close/>
                <a:moveTo>
                  <a:pt x="147" y="235"/>
                </a:moveTo>
                <a:lnTo>
                  <a:pt x="152" y="236"/>
                </a:lnTo>
                <a:lnTo>
                  <a:pt x="157" y="239"/>
                </a:lnTo>
                <a:lnTo>
                  <a:pt x="160" y="244"/>
                </a:lnTo>
                <a:lnTo>
                  <a:pt x="162" y="250"/>
                </a:lnTo>
                <a:lnTo>
                  <a:pt x="160" y="255"/>
                </a:lnTo>
                <a:lnTo>
                  <a:pt x="157" y="260"/>
                </a:lnTo>
                <a:lnTo>
                  <a:pt x="152" y="263"/>
                </a:lnTo>
                <a:lnTo>
                  <a:pt x="147" y="265"/>
                </a:lnTo>
                <a:lnTo>
                  <a:pt x="141" y="263"/>
                </a:lnTo>
                <a:lnTo>
                  <a:pt x="136" y="260"/>
                </a:lnTo>
                <a:lnTo>
                  <a:pt x="133" y="255"/>
                </a:lnTo>
                <a:lnTo>
                  <a:pt x="132" y="250"/>
                </a:lnTo>
                <a:lnTo>
                  <a:pt x="133" y="244"/>
                </a:lnTo>
                <a:lnTo>
                  <a:pt x="136" y="239"/>
                </a:lnTo>
                <a:lnTo>
                  <a:pt x="141" y="236"/>
                </a:lnTo>
                <a:lnTo>
                  <a:pt x="147" y="235"/>
                </a:lnTo>
                <a:close/>
                <a:moveTo>
                  <a:pt x="117" y="250"/>
                </a:moveTo>
                <a:lnTo>
                  <a:pt x="118" y="256"/>
                </a:lnTo>
                <a:lnTo>
                  <a:pt x="120" y="261"/>
                </a:lnTo>
                <a:lnTo>
                  <a:pt x="122" y="266"/>
                </a:lnTo>
                <a:lnTo>
                  <a:pt x="126" y="271"/>
                </a:lnTo>
                <a:lnTo>
                  <a:pt x="131" y="275"/>
                </a:lnTo>
                <a:lnTo>
                  <a:pt x="136" y="277"/>
                </a:lnTo>
                <a:lnTo>
                  <a:pt x="141" y="278"/>
                </a:lnTo>
                <a:lnTo>
                  <a:pt x="147" y="280"/>
                </a:lnTo>
                <a:lnTo>
                  <a:pt x="153" y="278"/>
                </a:lnTo>
                <a:lnTo>
                  <a:pt x="158" y="277"/>
                </a:lnTo>
                <a:lnTo>
                  <a:pt x="163" y="275"/>
                </a:lnTo>
                <a:lnTo>
                  <a:pt x="168" y="271"/>
                </a:lnTo>
                <a:lnTo>
                  <a:pt x="170" y="266"/>
                </a:lnTo>
                <a:lnTo>
                  <a:pt x="174" y="261"/>
                </a:lnTo>
                <a:lnTo>
                  <a:pt x="175" y="256"/>
                </a:lnTo>
                <a:lnTo>
                  <a:pt x="177" y="250"/>
                </a:lnTo>
                <a:lnTo>
                  <a:pt x="175" y="244"/>
                </a:lnTo>
                <a:lnTo>
                  <a:pt x="174" y="239"/>
                </a:lnTo>
                <a:lnTo>
                  <a:pt x="170" y="234"/>
                </a:lnTo>
                <a:lnTo>
                  <a:pt x="168" y="229"/>
                </a:lnTo>
                <a:lnTo>
                  <a:pt x="163" y="225"/>
                </a:lnTo>
                <a:lnTo>
                  <a:pt x="158" y="223"/>
                </a:lnTo>
                <a:lnTo>
                  <a:pt x="153" y="221"/>
                </a:lnTo>
                <a:lnTo>
                  <a:pt x="147" y="220"/>
                </a:lnTo>
                <a:lnTo>
                  <a:pt x="141" y="221"/>
                </a:lnTo>
                <a:lnTo>
                  <a:pt x="136" y="223"/>
                </a:lnTo>
                <a:lnTo>
                  <a:pt x="131" y="225"/>
                </a:lnTo>
                <a:lnTo>
                  <a:pt x="126" y="229"/>
                </a:lnTo>
                <a:lnTo>
                  <a:pt x="122" y="234"/>
                </a:lnTo>
                <a:lnTo>
                  <a:pt x="120" y="239"/>
                </a:lnTo>
                <a:lnTo>
                  <a:pt x="118" y="244"/>
                </a:lnTo>
                <a:lnTo>
                  <a:pt x="117" y="250"/>
                </a:lnTo>
                <a:close/>
                <a:moveTo>
                  <a:pt x="432" y="59"/>
                </a:moveTo>
                <a:lnTo>
                  <a:pt x="427" y="58"/>
                </a:lnTo>
                <a:lnTo>
                  <a:pt x="424" y="57"/>
                </a:lnTo>
                <a:lnTo>
                  <a:pt x="420" y="56"/>
                </a:lnTo>
                <a:lnTo>
                  <a:pt x="416" y="53"/>
                </a:lnTo>
                <a:lnTo>
                  <a:pt x="414" y="49"/>
                </a:lnTo>
                <a:lnTo>
                  <a:pt x="413" y="46"/>
                </a:lnTo>
                <a:lnTo>
                  <a:pt x="410" y="42"/>
                </a:lnTo>
                <a:lnTo>
                  <a:pt x="410" y="37"/>
                </a:lnTo>
                <a:lnTo>
                  <a:pt x="410" y="32"/>
                </a:lnTo>
                <a:lnTo>
                  <a:pt x="413" y="28"/>
                </a:lnTo>
                <a:lnTo>
                  <a:pt x="414" y="25"/>
                </a:lnTo>
                <a:lnTo>
                  <a:pt x="416" y="21"/>
                </a:lnTo>
                <a:lnTo>
                  <a:pt x="420" y="18"/>
                </a:lnTo>
                <a:lnTo>
                  <a:pt x="424" y="17"/>
                </a:lnTo>
                <a:lnTo>
                  <a:pt x="427" y="16"/>
                </a:lnTo>
                <a:lnTo>
                  <a:pt x="432" y="15"/>
                </a:lnTo>
                <a:lnTo>
                  <a:pt x="436" y="16"/>
                </a:lnTo>
                <a:lnTo>
                  <a:pt x="441" y="17"/>
                </a:lnTo>
                <a:lnTo>
                  <a:pt x="445" y="18"/>
                </a:lnTo>
                <a:lnTo>
                  <a:pt x="447" y="21"/>
                </a:lnTo>
                <a:lnTo>
                  <a:pt x="451" y="25"/>
                </a:lnTo>
                <a:lnTo>
                  <a:pt x="452" y="28"/>
                </a:lnTo>
                <a:lnTo>
                  <a:pt x="453" y="32"/>
                </a:lnTo>
                <a:lnTo>
                  <a:pt x="455" y="37"/>
                </a:lnTo>
                <a:lnTo>
                  <a:pt x="453" y="42"/>
                </a:lnTo>
                <a:lnTo>
                  <a:pt x="452" y="46"/>
                </a:lnTo>
                <a:lnTo>
                  <a:pt x="451" y="49"/>
                </a:lnTo>
                <a:lnTo>
                  <a:pt x="447" y="53"/>
                </a:lnTo>
                <a:lnTo>
                  <a:pt x="445" y="56"/>
                </a:lnTo>
                <a:lnTo>
                  <a:pt x="441" y="57"/>
                </a:lnTo>
                <a:lnTo>
                  <a:pt x="436" y="58"/>
                </a:lnTo>
                <a:lnTo>
                  <a:pt x="432" y="59"/>
                </a:lnTo>
                <a:close/>
                <a:moveTo>
                  <a:pt x="432" y="0"/>
                </a:moveTo>
                <a:lnTo>
                  <a:pt x="425" y="1"/>
                </a:lnTo>
                <a:lnTo>
                  <a:pt x="418" y="4"/>
                </a:lnTo>
                <a:lnTo>
                  <a:pt x="411" y="6"/>
                </a:lnTo>
                <a:lnTo>
                  <a:pt x="406" y="11"/>
                </a:lnTo>
                <a:lnTo>
                  <a:pt x="401" y="16"/>
                </a:lnTo>
                <a:lnTo>
                  <a:pt x="399" y="22"/>
                </a:lnTo>
                <a:lnTo>
                  <a:pt x="396" y="30"/>
                </a:lnTo>
                <a:lnTo>
                  <a:pt x="395" y="37"/>
                </a:lnTo>
                <a:lnTo>
                  <a:pt x="396" y="44"/>
                </a:lnTo>
                <a:lnTo>
                  <a:pt x="399" y="51"/>
                </a:lnTo>
                <a:lnTo>
                  <a:pt x="401" y="58"/>
                </a:lnTo>
                <a:lnTo>
                  <a:pt x="406" y="63"/>
                </a:lnTo>
                <a:lnTo>
                  <a:pt x="411" y="68"/>
                </a:lnTo>
                <a:lnTo>
                  <a:pt x="418" y="70"/>
                </a:lnTo>
                <a:lnTo>
                  <a:pt x="425" y="73"/>
                </a:lnTo>
                <a:lnTo>
                  <a:pt x="432" y="74"/>
                </a:lnTo>
                <a:lnTo>
                  <a:pt x="440" y="73"/>
                </a:lnTo>
                <a:lnTo>
                  <a:pt x="446" y="70"/>
                </a:lnTo>
                <a:lnTo>
                  <a:pt x="452" y="68"/>
                </a:lnTo>
                <a:lnTo>
                  <a:pt x="458" y="63"/>
                </a:lnTo>
                <a:lnTo>
                  <a:pt x="462" y="58"/>
                </a:lnTo>
                <a:lnTo>
                  <a:pt x="466" y="51"/>
                </a:lnTo>
                <a:lnTo>
                  <a:pt x="468" y="44"/>
                </a:lnTo>
                <a:lnTo>
                  <a:pt x="469" y="37"/>
                </a:lnTo>
                <a:lnTo>
                  <a:pt x="468" y="30"/>
                </a:lnTo>
                <a:lnTo>
                  <a:pt x="466" y="22"/>
                </a:lnTo>
                <a:lnTo>
                  <a:pt x="462" y="16"/>
                </a:lnTo>
                <a:lnTo>
                  <a:pt x="458" y="11"/>
                </a:lnTo>
                <a:lnTo>
                  <a:pt x="452" y="6"/>
                </a:lnTo>
                <a:lnTo>
                  <a:pt x="446" y="4"/>
                </a:lnTo>
                <a:lnTo>
                  <a:pt x="440" y="1"/>
                </a:lnTo>
                <a:lnTo>
                  <a:pt x="432" y="0"/>
                </a:lnTo>
                <a:close/>
                <a:moveTo>
                  <a:pt x="242" y="250"/>
                </a:moveTo>
                <a:lnTo>
                  <a:pt x="246" y="250"/>
                </a:lnTo>
                <a:lnTo>
                  <a:pt x="251" y="251"/>
                </a:lnTo>
                <a:lnTo>
                  <a:pt x="254" y="254"/>
                </a:lnTo>
                <a:lnTo>
                  <a:pt x="257" y="256"/>
                </a:lnTo>
                <a:lnTo>
                  <a:pt x="261" y="260"/>
                </a:lnTo>
                <a:lnTo>
                  <a:pt x="262" y="263"/>
                </a:lnTo>
                <a:lnTo>
                  <a:pt x="263" y="267"/>
                </a:lnTo>
                <a:lnTo>
                  <a:pt x="264" y="272"/>
                </a:lnTo>
                <a:lnTo>
                  <a:pt x="263" y="276"/>
                </a:lnTo>
                <a:lnTo>
                  <a:pt x="262" y="281"/>
                </a:lnTo>
                <a:lnTo>
                  <a:pt x="261" y="284"/>
                </a:lnTo>
                <a:lnTo>
                  <a:pt x="257" y="287"/>
                </a:lnTo>
                <a:lnTo>
                  <a:pt x="254" y="289"/>
                </a:lnTo>
                <a:lnTo>
                  <a:pt x="251" y="292"/>
                </a:lnTo>
                <a:lnTo>
                  <a:pt x="246" y="293"/>
                </a:lnTo>
                <a:lnTo>
                  <a:pt x="242" y="293"/>
                </a:lnTo>
                <a:lnTo>
                  <a:pt x="237" y="293"/>
                </a:lnTo>
                <a:lnTo>
                  <a:pt x="233" y="292"/>
                </a:lnTo>
                <a:lnTo>
                  <a:pt x="230" y="289"/>
                </a:lnTo>
                <a:lnTo>
                  <a:pt x="226" y="287"/>
                </a:lnTo>
                <a:lnTo>
                  <a:pt x="223" y="284"/>
                </a:lnTo>
                <a:lnTo>
                  <a:pt x="221" y="281"/>
                </a:lnTo>
                <a:lnTo>
                  <a:pt x="220" y="276"/>
                </a:lnTo>
                <a:lnTo>
                  <a:pt x="220" y="272"/>
                </a:lnTo>
                <a:lnTo>
                  <a:pt x="220" y="267"/>
                </a:lnTo>
                <a:lnTo>
                  <a:pt x="221" y="263"/>
                </a:lnTo>
                <a:lnTo>
                  <a:pt x="223" y="260"/>
                </a:lnTo>
                <a:lnTo>
                  <a:pt x="226" y="256"/>
                </a:lnTo>
                <a:lnTo>
                  <a:pt x="230" y="254"/>
                </a:lnTo>
                <a:lnTo>
                  <a:pt x="233" y="251"/>
                </a:lnTo>
                <a:lnTo>
                  <a:pt x="237" y="250"/>
                </a:lnTo>
                <a:lnTo>
                  <a:pt x="242" y="250"/>
                </a:lnTo>
                <a:close/>
                <a:moveTo>
                  <a:pt x="242" y="308"/>
                </a:moveTo>
                <a:lnTo>
                  <a:pt x="249" y="308"/>
                </a:lnTo>
                <a:lnTo>
                  <a:pt x="256" y="306"/>
                </a:lnTo>
                <a:lnTo>
                  <a:pt x="262" y="302"/>
                </a:lnTo>
                <a:lnTo>
                  <a:pt x="268" y="298"/>
                </a:lnTo>
                <a:lnTo>
                  <a:pt x="272" y="292"/>
                </a:lnTo>
                <a:lnTo>
                  <a:pt x="275" y="286"/>
                </a:lnTo>
                <a:lnTo>
                  <a:pt x="278" y="280"/>
                </a:lnTo>
                <a:lnTo>
                  <a:pt x="278" y="272"/>
                </a:lnTo>
                <a:lnTo>
                  <a:pt x="278" y="265"/>
                </a:lnTo>
                <a:lnTo>
                  <a:pt x="275" y="257"/>
                </a:lnTo>
                <a:lnTo>
                  <a:pt x="272" y="251"/>
                </a:lnTo>
                <a:lnTo>
                  <a:pt x="268" y="246"/>
                </a:lnTo>
                <a:lnTo>
                  <a:pt x="262" y="241"/>
                </a:lnTo>
                <a:lnTo>
                  <a:pt x="256" y="237"/>
                </a:lnTo>
                <a:lnTo>
                  <a:pt x="249" y="236"/>
                </a:lnTo>
                <a:lnTo>
                  <a:pt x="242" y="235"/>
                </a:lnTo>
                <a:lnTo>
                  <a:pt x="235" y="236"/>
                </a:lnTo>
                <a:lnTo>
                  <a:pt x="227" y="237"/>
                </a:lnTo>
                <a:lnTo>
                  <a:pt x="221" y="241"/>
                </a:lnTo>
                <a:lnTo>
                  <a:pt x="216" y="246"/>
                </a:lnTo>
                <a:lnTo>
                  <a:pt x="211" y="251"/>
                </a:lnTo>
                <a:lnTo>
                  <a:pt x="209" y="257"/>
                </a:lnTo>
                <a:lnTo>
                  <a:pt x="206" y="265"/>
                </a:lnTo>
                <a:lnTo>
                  <a:pt x="205" y="272"/>
                </a:lnTo>
                <a:lnTo>
                  <a:pt x="206" y="280"/>
                </a:lnTo>
                <a:lnTo>
                  <a:pt x="209" y="286"/>
                </a:lnTo>
                <a:lnTo>
                  <a:pt x="211" y="292"/>
                </a:lnTo>
                <a:lnTo>
                  <a:pt x="216" y="298"/>
                </a:lnTo>
                <a:lnTo>
                  <a:pt x="221" y="302"/>
                </a:lnTo>
                <a:lnTo>
                  <a:pt x="227" y="306"/>
                </a:lnTo>
                <a:lnTo>
                  <a:pt x="235" y="308"/>
                </a:lnTo>
                <a:lnTo>
                  <a:pt x="242" y="308"/>
                </a:lnTo>
                <a:close/>
                <a:moveTo>
                  <a:pt x="244" y="430"/>
                </a:moveTo>
                <a:lnTo>
                  <a:pt x="242" y="434"/>
                </a:lnTo>
                <a:lnTo>
                  <a:pt x="240" y="437"/>
                </a:lnTo>
                <a:lnTo>
                  <a:pt x="237" y="439"/>
                </a:lnTo>
                <a:lnTo>
                  <a:pt x="233" y="440"/>
                </a:lnTo>
                <a:lnTo>
                  <a:pt x="232" y="440"/>
                </a:lnTo>
                <a:lnTo>
                  <a:pt x="230" y="440"/>
                </a:lnTo>
                <a:lnTo>
                  <a:pt x="225" y="439"/>
                </a:lnTo>
                <a:lnTo>
                  <a:pt x="220" y="435"/>
                </a:lnTo>
                <a:lnTo>
                  <a:pt x="33" y="251"/>
                </a:lnTo>
                <a:lnTo>
                  <a:pt x="32" y="249"/>
                </a:lnTo>
                <a:lnTo>
                  <a:pt x="31" y="245"/>
                </a:lnTo>
                <a:lnTo>
                  <a:pt x="29" y="242"/>
                </a:lnTo>
                <a:lnTo>
                  <a:pt x="29" y="239"/>
                </a:lnTo>
                <a:lnTo>
                  <a:pt x="31" y="235"/>
                </a:lnTo>
                <a:lnTo>
                  <a:pt x="33" y="233"/>
                </a:lnTo>
                <a:lnTo>
                  <a:pt x="36" y="230"/>
                </a:lnTo>
                <a:lnTo>
                  <a:pt x="38" y="228"/>
                </a:lnTo>
                <a:lnTo>
                  <a:pt x="130" y="192"/>
                </a:lnTo>
                <a:lnTo>
                  <a:pt x="152" y="197"/>
                </a:lnTo>
                <a:lnTo>
                  <a:pt x="175" y="200"/>
                </a:lnTo>
                <a:lnTo>
                  <a:pt x="199" y="204"/>
                </a:lnTo>
                <a:lnTo>
                  <a:pt x="221" y="208"/>
                </a:lnTo>
                <a:lnTo>
                  <a:pt x="233" y="210"/>
                </a:lnTo>
                <a:lnTo>
                  <a:pt x="244" y="213"/>
                </a:lnTo>
                <a:lnTo>
                  <a:pt x="256" y="218"/>
                </a:lnTo>
                <a:lnTo>
                  <a:pt x="267" y="223"/>
                </a:lnTo>
                <a:lnTo>
                  <a:pt x="279" y="229"/>
                </a:lnTo>
                <a:lnTo>
                  <a:pt x="290" y="236"/>
                </a:lnTo>
                <a:lnTo>
                  <a:pt x="301" y="246"/>
                </a:lnTo>
                <a:lnTo>
                  <a:pt x="314" y="257"/>
                </a:lnTo>
                <a:lnTo>
                  <a:pt x="244" y="430"/>
                </a:lnTo>
                <a:close/>
                <a:moveTo>
                  <a:pt x="303" y="56"/>
                </a:moveTo>
                <a:lnTo>
                  <a:pt x="298" y="51"/>
                </a:lnTo>
                <a:lnTo>
                  <a:pt x="291" y="47"/>
                </a:lnTo>
                <a:lnTo>
                  <a:pt x="284" y="44"/>
                </a:lnTo>
                <a:lnTo>
                  <a:pt x="277" y="44"/>
                </a:lnTo>
                <a:lnTo>
                  <a:pt x="270" y="44"/>
                </a:lnTo>
                <a:lnTo>
                  <a:pt x="263" y="47"/>
                </a:lnTo>
                <a:lnTo>
                  <a:pt x="257" y="51"/>
                </a:lnTo>
                <a:lnTo>
                  <a:pt x="252" y="56"/>
                </a:lnTo>
                <a:lnTo>
                  <a:pt x="231" y="75"/>
                </a:lnTo>
                <a:lnTo>
                  <a:pt x="226" y="82"/>
                </a:lnTo>
                <a:lnTo>
                  <a:pt x="222" y="88"/>
                </a:lnTo>
                <a:lnTo>
                  <a:pt x="221" y="94"/>
                </a:lnTo>
                <a:lnTo>
                  <a:pt x="220" y="101"/>
                </a:lnTo>
                <a:lnTo>
                  <a:pt x="220" y="106"/>
                </a:lnTo>
                <a:lnTo>
                  <a:pt x="221" y="111"/>
                </a:lnTo>
                <a:lnTo>
                  <a:pt x="223" y="116"/>
                </a:lnTo>
                <a:lnTo>
                  <a:pt x="225" y="121"/>
                </a:lnTo>
                <a:lnTo>
                  <a:pt x="27" y="200"/>
                </a:lnTo>
                <a:lnTo>
                  <a:pt x="22" y="203"/>
                </a:lnTo>
                <a:lnTo>
                  <a:pt x="17" y="207"/>
                </a:lnTo>
                <a:lnTo>
                  <a:pt x="13" y="210"/>
                </a:lnTo>
                <a:lnTo>
                  <a:pt x="10" y="214"/>
                </a:lnTo>
                <a:lnTo>
                  <a:pt x="7" y="218"/>
                </a:lnTo>
                <a:lnTo>
                  <a:pt x="5" y="223"/>
                </a:lnTo>
                <a:lnTo>
                  <a:pt x="2" y="228"/>
                </a:lnTo>
                <a:lnTo>
                  <a:pt x="1" y="233"/>
                </a:lnTo>
                <a:lnTo>
                  <a:pt x="0" y="239"/>
                </a:lnTo>
                <a:lnTo>
                  <a:pt x="0" y="244"/>
                </a:lnTo>
                <a:lnTo>
                  <a:pt x="1" y="249"/>
                </a:lnTo>
                <a:lnTo>
                  <a:pt x="2" y="254"/>
                </a:lnTo>
                <a:lnTo>
                  <a:pt x="3" y="259"/>
                </a:lnTo>
                <a:lnTo>
                  <a:pt x="6" y="263"/>
                </a:lnTo>
                <a:lnTo>
                  <a:pt x="10" y="268"/>
                </a:lnTo>
                <a:lnTo>
                  <a:pt x="13" y="272"/>
                </a:lnTo>
                <a:lnTo>
                  <a:pt x="200" y="456"/>
                </a:lnTo>
                <a:lnTo>
                  <a:pt x="206" y="463"/>
                </a:lnTo>
                <a:lnTo>
                  <a:pt x="214" y="466"/>
                </a:lnTo>
                <a:lnTo>
                  <a:pt x="221" y="469"/>
                </a:lnTo>
                <a:lnTo>
                  <a:pt x="230" y="470"/>
                </a:lnTo>
                <a:lnTo>
                  <a:pt x="230" y="470"/>
                </a:lnTo>
                <a:lnTo>
                  <a:pt x="231" y="470"/>
                </a:lnTo>
                <a:lnTo>
                  <a:pt x="235" y="469"/>
                </a:lnTo>
                <a:lnTo>
                  <a:pt x="240" y="469"/>
                </a:lnTo>
                <a:lnTo>
                  <a:pt x="244" y="468"/>
                </a:lnTo>
                <a:lnTo>
                  <a:pt x="249" y="465"/>
                </a:lnTo>
                <a:lnTo>
                  <a:pt x="254" y="463"/>
                </a:lnTo>
                <a:lnTo>
                  <a:pt x="259" y="459"/>
                </a:lnTo>
                <a:lnTo>
                  <a:pt x="263" y="455"/>
                </a:lnTo>
                <a:lnTo>
                  <a:pt x="267" y="452"/>
                </a:lnTo>
                <a:lnTo>
                  <a:pt x="269" y="447"/>
                </a:lnTo>
                <a:lnTo>
                  <a:pt x="272" y="442"/>
                </a:lnTo>
                <a:lnTo>
                  <a:pt x="350" y="246"/>
                </a:lnTo>
                <a:lnTo>
                  <a:pt x="354" y="249"/>
                </a:lnTo>
                <a:lnTo>
                  <a:pt x="359" y="250"/>
                </a:lnTo>
                <a:lnTo>
                  <a:pt x="364" y="251"/>
                </a:lnTo>
                <a:lnTo>
                  <a:pt x="369" y="252"/>
                </a:lnTo>
                <a:lnTo>
                  <a:pt x="377" y="251"/>
                </a:lnTo>
                <a:lnTo>
                  <a:pt x="384" y="249"/>
                </a:lnTo>
                <a:lnTo>
                  <a:pt x="390" y="246"/>
                </a:lnTo>
                <a:lnTo>
                  <a:pt x="395" y="241"/>
                </a:lnTo>
                <a:lnTo>
                  <a:pt x="416" y="220"/>
                </a:lnTo>
                <a:lnTo>
                  <a:pt x="421" y="215"/>
                </a:lnTo>
                <a:lnTo>
                  <a:pt x="424" y="209"/>
                </a:lnTo>
                <a:lnTo>
                  <a:pt x="426" y="202"/>
                </a:lnTo>
                <a:lnTo>
                  <a:pt x="427" y="194"/>
                </a:lnTo>
                <a:lnTo>
                  <a:pt x="426" y="187"/>
                </a:lnTo>
                <a:lnTo>
                  <a:pt x="424" y="181"/>
                </a:lnTo>
                <a:lnTo>
                  <a:pt x="421" y="174"/>
                </a:lnTo>
                <a:lnTo>
                  <a:pt x="416" y="168"/>
                </a:lnTo>
                <a:lnTo>
                  <a:pt x="303" y="5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90" name="Freeform 17">
            <a:extLst>
              <a:ext uri="{FF2B5EF4-FFF2-40B4-BE49-F238E27FC236}">
                <a16:creationId xmlns:a16="http://schemas.microsoft.com/office/drawing/2014/main" id="{E0E97D45-69ED-1493-30EF-4CD2858BED25}"/>
              </a:ext>
            </a:extLst>
          </p:cNvPr>
          <p:cNvSpPr>
            <a:spLocks noEditPoints="1"/>
          </p:cNvSpPr>
          <p:nvPr/>
        </p:nvSpPr>
        <p:spPr bwMode="auto">
          <a:xfrm>
            <a:off x="3714750" y="8012071"/>
            <a:ext cx="373063" cy="327025"/>
          </a:xfrm>
          <a:custGeom>
            <a:avLst/>
            <a:gdLst>
              <a:gd name="T0" fmla="*/ 233 w 469"/>
              <a:gd name="T1" fmla="*/ 147 h 410"/>
              <a:gd name="T2" fmla="*/ 33 w 469"/>
              <a:gd name="T3" fmla="*/ 97 h 410"/>
              <a:gd name="T4" fmla="*/ 33 w 469"/>
              <a:gd name="T5" fmla="*/ 79 h 410"/>
              <a:gd name="T6" fmla="*/ 233 w 469"/>
              <a:gd name="T7" fmla="*/ 29 h 410"/>
              <a:gd name="T8" fmla="*/ 429 w 469"/>
              <a:gd name="T9" fmla="*/ 74 h 410"/>
              <a:gd name="T10" fmla="*/ 440 w 469"/>
              <a:gd name="T11" fmla="*/ 87 h 410"/>
              <a:gd name="T12" fmla="*/ 429 w 469"/>
              <a:gd name="T13" fmla="*/ 102 h 410"/>
              <a:gd name="T14" fmla="*/ 433 w 469"/>
              <a:gd name="T15" fmla="*/ 324 h 410"/>
              <a:gd name="T16" fmla="*/ 419 w 469"/>
              <a:gd name="T17" fmla="*/ 346 h 410"/>
              <a:gd name="T18" fmla="*/ 410 w 469"/>
              <a:gd name="T19" fmla="*/ 381 h 410"/>
              <a:gd name="T20" fmla="*/ 419 w 469"/>
              <a:gd name="T21" fmla="*/ 402 h 410"/>
              <a:gd name="T22" fmla="*/ 440 w 469"/>
              <a:gd name="T23" fmla="*/ 410 h 410"/>
              <a:gd name="T24" fmla="*/ 461 w 469"/>
              <a:gd name="T25" fmla="*/ 402 h 410"/>
              <a:gd name="T26" fmla="*/ 469 w 469"/>
              <a:gd name="T27" fmla="*/ 381 h 410"/>
              <a:gd name="T28" fmla="*/ 461 w 469"/>
              <a:gd name="T29" fmla="*/ 346 h 410"/>
              <a:gd name="T30" fmla="*/ 446 w 469"/>
              <a:gd name="T31" fmla="*/ 324 h 410"/>
              <a:gd name="T32" fmla="*/ 425 w 469"/>
              <a:gd name="T33" fmla="*/ 293 h 410"/>
              <a:gd name="T34" fmla="*/ 440 w 469"/>
              <a:gd name="T35" fmla="*/ 308 h 410"/>
              <a:gd name="T36" fmla="*/ 454 w 469"/>
              <a:gd name="T37" fmla="*/ 293 h 410"/>
              <a:gd name="T38" fmla="*/ 446 w 469"/>
              <a:gd name="T39" fmla="*/ 148 h 410"/>
              <a:gd name="T40" fmla="*/ 426 w 469"/>
              <a:gd name="T41" fmla="*/ 156 h 410"/>
              <a:gd name="T42" fmla="*/ 364 w 469"/>
              <a:gd name="T43" fmla="*/ 271 h 410"/>
              <a:gd name="T44" fmla="*/ 333 w 469"/>
              <a:gd name="T45" fmla="*/ 292 h 410"/>
              <a:gd name="T46" fmla="*/ 265 w 469"/>
              <a:gd name="T47" fmla="*/ 306 h 410"/>
              <a:gd name="T48" fmla="*/ 204 w 469"/>
              <a:gd name="T49" fmla="*/ 306 h 410"/>
              <a:gd name="T50" fmla="*/ 136 w 469"/>
              <a:gd name="T51" fmla="*/ 292 h 410"/>
              <a:gd name="T52" fmla="*/ 105 w 469"/>
              <a:gd name="T53" fmla="*/ 271 h 410"/>
              <a:gd name="T54" fmla="*/ 225 w 469"/>
              <a:gd name="T55" fmla="*/ 174 h 410"/>
              <a:gd name="T56" fmla="*/ 244 w 469"/>
              <a:gd name="T57" fmla="*/ 174 h 410"/>
              <a:gd name="T58" fmla="*/ 468 w 469"/>
              <a:gd name="T59" fmla="*/ 80 h 410"/>
              <a:gd name="T60" fmla="*/ 454 w 469"/>
              <a:gd name="T61" fmla="*/ 55 h 410"/>
              <a:gd name="T62" fmla="*/ 244 w 469"/>
              <a:gd name="T63" fmla="*/ 1 h 410"/>
              <a:gd name="T64" fmla="*/ 225 w 469"/>
              <a:gd name="T65" fmla="*/ 1 h 410"/>
              <a:gd name="T66" fmla="*/ 14 w 469"/>
              <a:gd name="T67" fmla="*/ 55 h 410"/>
              <a:gd name="T68" fmla="*/ 1 w 469"/>
              <a:gd name="T69" fmla="*/ 80 h 410"/>
              <a:gd name="T70" fmla="*/ 6 w 469"/>
              <a:gd name="T71" fmla="*/ 109 h 410"/>
              <a:gd name="T72" fmla="*/ 27 w 469"/>
              <a:gd name="T73" fmla="*/ 128 h 410"/>
              <a:gd name="T74" fmla="*/ 74 w 469"/>
              <a:gd name="T75" fmla="*/ 271 h 410"/>
              <a:gd name="T76" fmla="*/ 87 w 469"/>
              <a:gd name="T77" fmla="*/ 298 h 410"/>
              <a:gd name="T78" fmla="*/ 121 w 469"/>
              <a:gd name="T79" fmla="*/ 320 h 410"/>
              <a:gd name="T80" fmla="*/ 176 w 469"/>
              <a:gd name="T81" fmla="*/ 334 h 410"/>
              <a:gd name="T82" fmla="*/ 255 w 469"/>
              <a:gd name="T83" fmla="*/ 336 h 410"/>
              <a:gd name="T84" fmla="*/ 323 w 469"/>
              <a:gd name="T85" fmla="*/ 327 h 410"/>
              <a:gd name="T86" fmla="*/ 368 w 469"/>
              <a:gd name="T87" fmla="*/ 310 h 410"/>
              <a:gd name="T88" fmla="*/ 390 w 469"/>
              <a:gd name="T89" fmla="*/ 285 h 410"/>
              <a:gd name="T90" fmla="*/ 395 w 469"/>
              <a:gd name="T91" fmla="*/ 139 h 410"/>
              <a:gd name="T92" fmla="*/ 454 w 469"/>
              <a:gd name="T93" fmla="*/ 121 h 410"/>
              <a:gd name="T94" fmla="*/ 468 w 469"/>
              <a:gd name="T95" fmla="*/ 95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9" h="410">
                <a:moveTo>
                  <a:pt x="238" y="146"/>
                </a:moveTo>
                <a:lnTo>
                  <a:pt x="236" y="147"/>
                </a:lnTo>
                <a:lnTo>
                  <a:pt x="234" y="147"/>
                </a:lnTo>
                <a:lnTo>
                  <a:pt x="233" y="147"/>
                </a:lnTo>
                <a:lnTo>
                  <a:pt x="231" y="146"/>
                </a:lnTo>
                <a:lnTo>
                  <a:pt x="40" y="102"/>
                </a:lnTo>
                <a:lnTo>
                  <a:pt x="37" y="100"/>
                </a:lnTo>
                <a:lnTo>
                  <a:pt x="33" y="97"/>
                </a:lnTo>
                <a:lnTo>
                  <a:pt x="31" y="92"/>
                </a:lnTo>
                <a:lnTo>
                  <a:pt x="29" y="87"/>
                </a:lnTo>
                <a:lnTo>
                  <a:pt x="31" y="83"/>
                </a:lnTo>
                <a:lnTo>
                  <a:pt x="33" y="79"/>
                </a:lnTo>
                <a:lnTo>
                  <a:pt x="37" y="75"/>
                </a:lnTo>
                <a:lnTo>
                  <a:pt x="40" y="74"/>
                </a:lnTo>
                <a:lnTo>
                  <a:pt x="231" y="29"/>
                </a:lnTo>
                <a:lnTo>
                  <a:pt x="233" y="29"/>
                </a:lnTo>
                <a:lnTo>
                  <a:pt x="234" y="29"/>
                </a:lnTo>
                <a:lnTo>
                  <a:pt x="236" y="29"/>
                </a:lnTo>
                <a:lnTo>
                  <a:pt x="238" y="29"/>
                </a:lnTo>
                <a:lnTo>
                  <a:pt x="429" y="74"/>
                </a:lnTo>
                <a:lnTo>
                  <a:pt x="433" y="75"/>
                </a:lnTo>
                <a:lnTo>
                  <a:pt x="436" y="79"/>
                </a:lnTo>
                <a:lnTo>
                  <a:pt x="438" y="83"/>
                </a:lnTo>
                <a:lnTo>
                  <a:pt x="440" y="87"/>
                </a:lnTo>
                <a:lnTo>
                  <a:pt x="438" y="92"/>
                </a:lnTo>
                <a:lnTo>
                  <a:pt x="436" y="97"/>
                </a:lnTo>
                <a:lnTo>
                  <a:pt x="433" y="100"/>
                </a:lnTo>
                <a:lnTo>
                  <a:pt x="429" y="102"/>
                </a:lnTo>
                <a:lnTo>
                  <a:pt x="238" y="146"/>
                </a:lnTo>
                <a:close/>
                <a:moveTo>
                  <a:pt x="440" y="323"/>
                </a:moveTo>
                <a:lnTo>
                  <a:pt x="437" y="323"/>
                </a:lnTo>
                <a:lnTo>
                  <a:pt x="433" y="324"/>
                </a:lnTo>
                <a:lnTo>
                  <a:pt x="431" y="326"/>
                </a:lnTo>
                <a:lnTo>
                  <a:pt x="429" y="329"/>
                </a:lnTo>
                <a:lnTo>
                  <a:pt x="424" y="336"/>
                </a:lnTo>
                <a:lnTo>
                  <a:pt x="419" y="346"/>
                </a:lnTo>
                <a:lnTo>
                  <a:pt x="415" y="356"/>
                </a:lnTo>
                <a:lnTo>
                  <a:pt x="412" y="365"/>
                </a:lnTo>
                <a:lnTo>
                  <a:pt x="411" y="373"/>
                </a:lnTo>
                <a:lnTo>
                  <a:pt x="410" y="381"/>
                </a:lnTo>
                <a:lnTo>
                  <a:pt x="411" y="387"/>
                </a:lnTo>
                <a:lnTo>
                  <a:pt x="412" y="392"/>
                </a:lnTo>
                <a:lnTo>
                  <a:pt x="415" y="398"/>
                </a:lnTo>
                <a:lnTo>
                  <a:pt x="419" y="402"/>
                </a:lnTo>
                <a:lnTo>
                  <a:pt x="424" y="405"/>
                </a:lnTo>
                <a:lnTo>
                  <a:pt x="429" y="408"/>
                </a:lnTo>
                <a:lnTo>
                  <a:pt x="433" y="409"/>
                </a:lnTo>
                <a:lnTo>
                  <a:pt x="440" y="410"/>
                </a:lnTo>
                <a:lnTo>
                  <a:pt x="446" y="409"/>
                </a:lnTo>
                <a:lnTo>
                  <a:pt x="451" y="408"/>
                </a:lnTo>
                <a:lnTo>
                  <a:pt x="456" y="405"/>
                </a:lnTo>
                <a:lnTo>
                  <a:pt x="461" y="402"/>
                </a:lnTo>
                <a:lnTo>
                  <a:pt x="464" y="398"/>
                </a:lnTo>
                <a:lnTo>
                  <a:pt x="467" y="392"/>
                </a:lnTo>
                <a:lnTo>
                  <a:pt x="468" y="387"/>
                </a:lnTo>
                <a:lnTo>
                  <a:pt x="469" y="381"/>
                </a:lnTo>
                <a:lnTo>
                  <a:pt x="468" y="373"/>
                </a:lnTo>
                <a:lnTo>
                  <a:pt x="467" y="365"/>
                </a:lnTo>
                <a:lnTo>
                  <a:pt x="464" y="356"/>
                </a:lnTo>
                <a:lnTo>
                  <a:pt x="461" y="346"/>
                </a:lnTo>
                <a:lnTo>
                  <a:pt x="456" y="336"/>
                </a:lnTo>
                <a:lnTo>
                  <a:pt x="451" y="329"/>
                </a:lnTo>
                <a:lnTo>
                  <a:pt x="448" y="326"/>
                </a:lnTo>
                <a:lnTo>
                  <a:pt x="446" y="324"/>
                </a:lnTo>
                <a:lnTo>
                  <a:pt x="442" y="323"/>
                </a:lnTo>
                <a:lnTo>
                  <a:pt x="440" y="323"/>
                </a:lnTo>
                <a:close/>
                <a:moveTo>
                  <a:pt x="425" y="160"/>
                </a:moveTo>
                <a:lnTo>
                  <a:pt x="425" y="293"/>
                </a:lnTo>
                <a:lnTo>
                  <a:pt x="426" y="299"/>
                </a:lnTo>
                <a:lnTo>
                  <a:pt x="430" y="304"/>
                </a:lnTo>
                <a:lnTo>
                  <a:pt x="433" y="306"/>
                </a:lnTo>
                <a:lnTo>
                  <a:pt x="440" y="308"/>
                </a:lnTo>
                <a:lnTo>
                  <a:pt x="446" y="306"/>
                </a:lnTo>
                <a:lnTo>
                  <a:pt x="450" y="304"/>
                </a:lnTo>
                <a:lnTo>
                  <a:pt x="453" y="299"/>
                </a:lnTo>
                <a:lnTo>
                  <a:pt x="454" y="293"/>
                </a:lnTo>
                <a:lnTo>
                  <a:pt x="454" y="160"/>
                </a:lnTo>
                <a:lnTo>
                  <a:pt x="453" y="156"/>
                </a:lnTo>
                <a:lnTo>
                  <a:pt x="450" y="151"/>
                </a:lnTo>
                <a:lnTo>
                  <a:pt x="446" y="148"/>
                </a:lnTo>
                <a:lnTo>
                  <a:pt x="440" y="147"/>
                </a:lnTo>
                <a:lnTo>
                  <a:pt x="433" y="148"/>
                </a:lnTo>
                <a:lnTo>
                  <a:pt x="430" y="151"/>
                </a:lnTo>
                <a:lnTo>
                  <a:pt x="426" y="156"/>
                </a:lnTo>
                <a:lnTo>
                  <a:pt x="425" y="160"/>
                </a:lnTo>
                <a:close/>
                <a:moveTo>
                  <a:pt x="367" y="263"/>
                </a:moveTo>
                <a:lnTo>
                  <a:pt x="365" y="267"/>
                </a:lnTo>
                <a:lnTo>
                  <a:pt x="364" y="271"/>
                </a:lnTo>
                <a:lnTo>
                  <a:pt x="362" y="274"/>
                </a:lnTo>
                <a:lnTo>
                  <a:pt x="358" y="278"/>
                </a:lnTo>
                <a:lnTo>
                  <a:pt x="348" y="284"/>
                </a:lnTo>
                <a:lnTo>
                  <a:pt x="333" y="292"/>
                </a:lnTo>
                <a:lnTo>
                  <a:pt x="315" y="298"/>
                </a:lnTo>
                <a:lnTo>
                  <a:pt x="293" y="303"/>
                </a:lnTo>
                <a:lnTo>
                  <a:pt x="279" y="305"/>
                </a:lnTo>
                <a:lnTo>
                  <a:pt x="265" y="306"/>
                </a:lnTo>
                <a:lnTo>
                  <a:pt x="251" y="308"/>
                </a:lnTo>
                <a:lnTo>
                  <a:pt x="234" y="308"/>
                </a:lnTo>
                <a:lnTo>
                  <a:pt x="218" y="308"/>
                </a:lnTo>
                <a:lnTo>
                  <a:pt x="204" y="306"/>
                </a:lnTo>
                <a:lnTo>
                  <a:pt x="190" y="305"/>
                </a:lnTo>
                <a:lnTo>
                  <a:pt x="176" y="303"/>
                </a:lnTo>
                <a:lnTo>
                  <a:pt x="154" y="298"/>
                </a:lnTo>
                <a:lnTo>
                  <a:pt x="136" y="292"/>
                </a:lnTo>
                <a:lnTo>
                  <a:pt x="121" y="284"/>
                </a:lnTo>
                <a:lnTo>
                  <a:pt x="111" y="278"/>
                </a:lnTo>
                <a:lnTo>
                  <a:pt x="107" y="274"/>
                </a:lnTo>
                <a:lnTo>
                  <a:pt x="105" y="271"/>
                </a:lnTo>
                <a:lnTo>
                  <a:pt x="103" y="267"/>
                </a:lnTo>
                <a:lnTo>
                  <a:pt x="102" y="263"/>
                </a:lnTo>
                <a:lnTo>
                  <a:pt x="102" y="147"/>
                </a:lnTo>
                <a:lnTo>
                  <a:pt x="225" y="174"/>
                </a:lnTo>
                <a:lnTo>
                  <a:pt x="230" y="175"/>
                </a:lnTo>
                <a:lnTo>
                  <a:pt x="234" y="175"/>
                </a:lnTo>
                <a:lnTo>
                  <a:pt x="239" y="175"/>
                </a:lnTo>
                <a:lnTo>
                  <a:pt x="244" y="174"/>
                </a:lnTo>
                <a:lnTo>
                  <a:pt x="367" y="147"/>
                </a:lnTo>
                <a:lnTo>
                  <a:pt x="367" y="263"/>
                </a:lnTo>
                <a:close/>
                <a:moveTo>
                  <a:pt x="469" y="87"/>
                </a:moveTo>
                <a:lnTo>
                  <a:pt x="468" y="80"/>
                </a:lnTo>
                <a:lnTo>
                  <a:pt x="467" y="73"/>
                </a:lnTo>
                <a:lnTo>
                  <a:pt x="463" y="66"/>
                </a:lnTo>
                <a:lnTo>
                  <a:pt x="459" y="60"/>
                </a:lnTo>
                <a:lnTo>
                  <a:pt x="454" y="55"/>
                </a:lnTo>
                <a:lnTo>
                  <a:pt x="448" y="50"/>
                </a:lnTo>
                <a:lnTo>
                  <a:pt x="442" y="47"/>
                </a:lnTo>
                <a:lnTo>
                  <a:pt x="435" y="44"/>
                </a:lnTo>
                <a:lnTo>
                  <a:pt x="244" y="1"/>
                </a:lnTo>
                <a:lnTo>
                  <a:pt x="239" y="0"/>
                </a:lnTo>
                <a:lnTo>
                  <a:pt x="234" y="0"/>
                </a:lnTo>
                <a:lnTo>
                  <a:pt x="230" y="0"/>
                </a:lnTo>
                <a:lnTo>
                  <a:pt x="225" y="1"/>
                </a:lnTo>
                <a:lnTo>
                  <a:pt x="34" y="44"/>
                </a:lnTo>
                <a:lnTo>
                  <a:pt x="27" y="47"/>
                </a:lnTo>
                <a:lnTo>
                  <a:pt x="21" y="50"/>
                </a:lnTo>
                <a:lnTo>
                  <a:pt x="14" y="55"/>
                </a:lnTo>
                <a:lnTo>
                  <a:pt x="10" y="60"/>
                </a:lnTo>
                <a:lnTo>
                  <a:pt x="6" y="66"/>
                </a:lnTo>
                <a:lnTo>
                  <a:pt x="2" y="73"/>
                </a:lnTo>
                <a:lnTo>
                  <a:pt x="1" y="80"/>
                </a:lnTo>
                <a:lnTo>
                  <a:pt x="0" y="87"/>
                </a:lnTo>
                <a:lnTo>
                  <a:pt x="1" y="95"/>
                </a:lnTo>
                <a:lnTo>
                  <a:pt x="2" y="102"/>
                </a:lnTo>
                <a:lnTo>
                  <a:pt x="6" y="109"/>
                </a:lnTo>
                <a:lnTo>
                  <a:pt x="10" y="115"/>
                </a:lnTo>
                <a:lnTo>
                  <a:pt x="14" y="121"/>
                </a:lnTo>
                <a:lnTo>
                  <a:pt x="21" y="125"/>
                </a:lnTo>
                <a:lnTo>
                  <a:pt x="27" y="128"/>
                </a:lnTo>
                <a:lnTo>
                  <a:pt x="34" y="131"/>
                </a:lnTo>
                <a:lnTo>
                  <a:pt x="74" y="139"/>
                </a:lnTo>
                <a:lnTo>
                  <a:pt x="74" y="263"/>
                </a:lnTo>
                <a:lnTo>
                  <a:pt x="74" y="271"/>
                </a:lnTo>
                <a:lnTo>
                  <a:pt x="75" y="278"/>
                </a:lnTo>
                <a:lnTo>
                  <a:pt x="79" y="285"/>
                </a:lnTo>
                <a:lnTo>
                  <a:pt x="82" y="292"/>
                </a:lnTo>
                <a:lnTo>
                  <a:pt x="87" y="298"/>
                </a:lnTo>
                <a:lnTo>
                  <a:pt x="94" y="304"/>
                </a:lnTo>
                <a:lnTo>
                  <a:pt x="101" y="310"/>
                </a:lnTo>
                <a:lnTo>
                  <a:pt x="110" y="315"/>
                </a:lnTo>
                <a:lnTo>
                  <a:pt x="121" y="320"/>
                </a:lnTo>
                <a:lnTo>
                  <a:pt x="132" y="324"/>
                </a:lnTo>
                <a:lnTo>
                  <a:pt x="146" y="327"/>
                </a:lnTo>
                <a:lnTo>
                  <a:pt x="160" y="331"/>
                </a:lnTo>
                <a:lnTo>
                  <a:pt x="176" y="334"/>
                </a:lnTo>
                <a:lnTo>
                  <a:pt x="194" y="335"/>
                </a:lnTo>
                <a:lnTo>
                  <a:pt x="213" y="336"/>
                </a:lnTo>
                <a:lnTo>
                  <a:pt x="234" y="337"/>
                </a:lnTo>
                <a:lnTo>
                  <a:pt x="255" y="336"/>
                </a:lnTo>
                <a:lnTo>
                  <a:pt x="275" y="335"/>
                </a:lnTo>
                <a:lnTo>
                  <a:pt x="293" y="334"/>
                </a:lnTo>
                <a:lnTo>
                  <a:pt x="309" y="331"/>
                </a:lnTo>
                <a:lnTo>
                  <a:pt x="323" y="327"/>
                </a:lnTo>
                <a:lnTo>
                  <a:pt x="337" y="324"/>
                </a:lnTo>
                <a:lnTo>
                  <a:pt x="348" y="320"/>
                </a:lnTo>
                <a:lnTo>
                  <a:pt x="359" y="315"/>
                </a:lnTo>
                <a:lnTo>
                  <a:pt x="368" y="310"/>
                </a:lnTo>
                <a:lnTo>
                  <a:pt x="375" y="304"/>
                </a:lnTo>
                <a:lnTo>
                  <a:pt x="382" y="298"/>
                </a:lnTo>
                <a:lnTo>
                  <a:pt x="386" y="292"/>
                </a:lnTo>
                <a:lnTo>
                  <a:pt x="390" y="285"/>
                </a:lnTo>
                <a:lnTo>
                  <a:pt x="394" y="278"/>
                </a:lnTo>
                <a:lnTo>
                  <a:pt x="395" y="271"/>
                </a:lnTo>
                <a:lnTo>
                  <a:pt x="395" y="263"/>
                </a:lnTo>
                <a:lnTo>
                  <a:pt x="395" y="139"/>
                </a:lnTo>
                <a:lnTo>
                  <a:pt x="435" y="131"/>
                </a:lnTo>
                <a:lnTo>
                  <a:pt x="442" y="128"/>
                </a:lnTo>
                <a:lnTo>
                  <a:pt x="448" y="125"/>
                </a:lnTo>
                <a:lnTo>
                  <a:pt x="454" y="121"/>
                </a:lnTo>
                <a:lnTo>
                  <a:pt x="459" y="115"/>
                </a:lnTo>
                <a:lnTo>
                  <a:pt x="463" y="109"/>
                </a:lnTo>
                <a:lnTo>
                  <a:pt x="467" y="102"/>
                </a:lnTo>
                <a:lnTo>
                  <a:pt x="468" y="95"/>
                </a:lnTo>
                <a:lnTo>
                  <a:pt x="469" y="8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191" name="Freeform 18">
            <a:extLst>
              <a:ext uri="{FF2B5EF4-FFF2-40B4-BE49-F238E27FC236}">
                <a16:creationId xmlns:a16="http://schemas.microsoft.com/office/drawing/2014/main" id="{415EBAA5-F9AD-F90A-BFFA-7160FB78DF63}"/>
              </a:ext>
            </a:extLst>
          </p:cNvPr>
          <p:cNvSpPr>
            <a:spLocks noEditPoints="1"/>
          </p:cNvSpPr>
          <p:nvPr/>
        </p:nvSpPr>
        <p:spPr bwMode="auto">
          <a:xfrm>
            <a:off x="8553450" y="7988258"/>
            <a:ext cx="373063" cy="374650"/>
          </a:xfrm>
          <a:custGeom>
            <a:avLst/>
            <a:gdLst>
              <a:gd name="T0" fmla="*/ 340 w 470"/>
              <a:gd name="T1" fmla="*/ 370 h 470"/>
              <a:gd name="T2" fmla="*/ 306 w 470"/>
              <a:gd name="T3" fmla="*/ 301 h 470"/>
              <a:gd name="T4" fmla="*/ 361 w 470"/>
              <a:gd name="T5" fmla="*/ 273 h 470"/>
              <a:gd name="T6" fmla="*/ 392 w 470"/>
              <a:gd name="T7" fmla="*/ 235 h 470"/>
              <a:gd name="T8" fmla="*/ 380 w 470"/>
              <a:gd name="T9" fmla="*/ 153 h 470"/>
              <a:gd name="T10" fmla="*/ 350 w 470"/>
              <a:gd name="T11" fmla="*/ 134 h 470"/>
              <a:gd name="T12" fmla="*/ 319 w 470"/>
              <a:gd name="T13" fmla="*/ 73 h 470"/>
              <a:gd name="T14" fmla="*/ 351 w 470"/>
              <a:gd name="T15" fmla="*/ 35 h 470"/>
              <a:gd name="T16" fmla="*/ 388 w 470"/>
              <a:gd name="T17" fmla="*/ 37 h 470"/>
              <a:gd name="T18" fmla="*/ 423 w 470"/>
              <a:gd name="T19" fmla="*/ 94 h 470"/>
              <a:gd name="T20" fmla="*/ 440 w 470"/>
              <a:gd name="T21" fmla="*/ 188 h 470"/>
              <a:gd name="T22" fmla="*/ 432 w 470"/>
              <a:gd name="T23" fmla="*/ 289 h 470"/>
              <a:gd name="T24" fmla="*/ 402 w 470"/>
              <a:gd name="T25" fmla="*/ 360 h 470"/>
              <a:gd name="T26" fmla="*/ 194 w 470"/>
              <a:gd name="T27" fmla="*/ 250 h 470"/>
              <a:gd name="T28" fmla="*/ 171 w 470"/>
              <a:gd name="T29" fmla="*/ 236 h 470"/>
              <a:gd name="T30" fmla="*/ 165 w 470"/>
              <a:gd name="T31" fmla="*/ 188 h 470"/>
              <a:gd name="T32" fmla="*/ 191 w 470"/>
              <a:gd name="T33" fmla="*/ 162 h 470"/>
              <a:gd name="T34" fmla="*/ 244 w 470"/>
              <a:gd name="T35" fmla="*/ 150 h 470"/>
              <a:gd name="T36" fmla="*/ 265 w 470"/>
              <a:gd name="T37" fmla="*/ 187 h 470"/>
              <a:gd name="T38" fmla="*/ 262 w 470"/>
              <a:gd name="T39" fmla="*/ 273 h 470"/>
              <a:gd name="T40" fmla="*/ 204 w 470"/>
              <a:gd name="T41" fmla="*/ 250 h 470"/>
              <a:gd name="T42" fmla="*/ 115 w 470"/>
              <a:gd name="T43" fmla="*/ 293 h 470"/>
              <a:gd name="T44" fmla="*/ 162 w 470"/>
              <a:gd name="T45" fmla="*/ 286 h 470"/>
              <a:gd name="T46" fmla="*/ 174 w 470"/>
              <a:gd name="T47" fmla="*/ 426 h 470"/>
              <a:gd name="T48" fmla="*/ 32 w 470"/>
              <a:gd name="T49" fmla="*/ 188 h 470"/>
              <a:gd name="T50" fmla="*/ 60 w 470"/>
              <a:gd name="T51" fmla="*/ 162 h 470"/>
              <a:gd name="T52" fmla="*/ 149 w 470"/>
              <a:gd name="T53" fmla="*/ 219 h 470"/>
              <a:gd name="T54" fmla="*/ 47 w 470"/>
              <a:gd name="T55" fmla="*/ 246 h 470"/>
              <a:gd name="T56" fmla="*/ 30 w 470"/>
              <a:gd name="T57" fmla="*/ 205 h 470"/>
              <a:gd name="T58" fmla="*/ 338 w 470"/>
              <a:gd name="T59" fmla="*/ 162 h 470"/>
              <a:gd name="T60" fmla="*/ 365 w 470"/>
              <a:gd name="T61" fmla="*/ 188 h 470"/>
              <a:gd name="T62" fmla="*/ 359 w 470"/>
              <a:gd name="T63" fmla="*/ 236 h 470"/>
              <a:gd name="T64" fmla="*/ 294 w 470"/>
              <a:gd name="T65" fmla="*/ 239 h 470"/>
              <a:gd name="T66" fmla="*/ 345 w 470"/>
              <a:gd name="T67" fmla="*/ 4 h 470"/>
              <a:gd name="T68" fmla="*/ 296 w 470"/>
              <a:gd name="T69" fmla="*/ 53 h 470"/>
              <a:gd name="T70" fmla="*/ 238 w 470"/>
              <a:gd name="T71" fmla="*/ 120 h 470"/>
              <a:gd name="T72" fmla="*/ 184 w 470"/>
              <a:gd name="T73" fmla="*/ 132 h 470"/>
              <a:gd name="T74" fmla="*/ 36 w 470"/>
              <a:gd name="T75" fmla="*/ 139 h 470"/>
              <a:gd name="T76" fmla="*/ 5 w 470"/>
              <a:gd name="T77" fmla="*/ 177 h 470"/>
              <a:gd name="T78" fmla="*/ 18 w 470"/>
              <a:gd name="T79" fmla="*/ 257 h 470"/>
              <a:gd name="T80" fmla="*/ 47 w 470"/>
              <a:gd name="T81" fmla="*/ 277 h 470"/>
              <a:gd name="T82" fmla="*/ 79 w 470"/>
              <a:gd name="T83" fmla="*/ 288 h 470"/>
              <a:gd name="T84" fmla="*/ 89 w 470"/>
              <a:gd name="T85" fmla="*/ 447 h 470"/>
              <a:gd name="T86" fmla="*/ 111 w 470"/>
              <a:gd name="T87" fmla="*/ 469 h 470"/>
              <a:gd name="T88" fmla="*/ 197 w 470"/>
              <a:gd name="T89" fmla="*/ 461 h 470"/>
              <a:gd name="T90" fmla="*/ 198 w 470"/>
              <a:gd name="T91" fmla="*/ 408 h 470"/>
              <a:gd name="T92" fmla="*/ 193 w 470"/>
              <a:gd name="T93" fmla="*/ 287 h 470"/>
              <a:gd name="T94" fmla="*/ 198 w 470"/>
              <a:gd name="T95" fmla="*/ 281 h 470"/>
              <a:gd name="T96" fmla="*/ 229 w 470"/>
              <a:gd name="T97" fmla="*/ 288 h 470"/>
              <a:gd name="T98" fmla="*/ 296 w 470"/>
              <a:gd name="T99" fmla="*/ 359 h 470"/>
              <a:gd name="T100" fmla="*/ 335 w 470"/>
              <a:gd name="T101" fmla="*/ 403 h 470"/>
              <a:gd name="T102" fmla="*/ 401 w 470"/>
              <a:gd name="T103" fmla="*/ 401 h 470"/>
              <a:gd name="T104" fmla="*/ 449 w 470"/>
              <a:gd name="T105" fmla="*/ 331 h 470"/>
              <a:gd name="T106" fmla="*/ 469 w 470"/>
              <a:gd name="T107" fmla="*/ 225 h 470"/>
              <a:gd name="T108" fmla="*/ 459 w 470"/>
              <a:gd name="T109" fmla="*/ 113 h 470"/>
              <a:gd name="T110" fmla="*/ 420 w 470"/>
              <a:gd name="T111" fmla="*/ 2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0" h="470">
                <a:moveTo>
                  <a:pt x="367" y="382"/>
                </a:moveTo>
                <a:lnTo>
                  <a:pt x="361" y="381"/>
                </a:lnTo>
                <a:lnTo>
                  <a:pt x="356" y="380"/>
                </a:lnTo>
                <a:lnTo>
                  <a:pt x="351" y="377"/>
                </a:lnTo>
                <a:lnTo>
                  <a:pt x="345" y="374"/>
                </a:lnTo>
                <a:lnTo>
                  <a:pt x="340" y="370"/>
                </a:lnTo>
                <a:lnTo>
                  <a:pt x="336" y="365"/>
                </a:lnTo>
                <a:lnTo>
                  <a:pt x="331" y="360"/>
                </a:lnTo>
                <a:lnTo>
                  <a:pt x="327" y="353"/>
                </a:lnTo>
                <a:lnTo>
                  <a:pt x="319" y="338"/>
                </a:lnTo>
                <a:lnTo>
                  <a:pt x="312" y="320"/>
                </a:lnTo>
                <a:lnTo>
                  <a:pt x="306" y="301"/>
                </a:lnTo>
                <a:lnTo>
                  <a:pt x="301" y="280"/>
                </a:lnTo>
                <a:lnTo>
                  <a:pt x="338" y="280"/>
                </a:lnTo>
                <a:lnTo>
                  <a:pt x="344" y="278"/>
                </a:lnTo>
                <a:lnTo>
                  <a:pt x="350" y="277"/>
                </a:lnTo>
                <a:lnTo>
                  <a:pt x="355" y="276"/>
                </a:lnTo>
                <a:lnTo>
                  <a:pt x="361" y="273"/>
                </a:lnTo>
                <a:lnTo>
                  <a:pt x="366" y="271"/>
                </a:lnTo>
                <a:lnTo>
                  <a:pt x="371" y="267"/>
                </a:lnTo>
                <a:lnTo>
                  <a:pt x="375" y="262"/>
                </a:lnTo>
                <a:lnTo>
                  <a:pt x="380" y="257"/>
                </a:lnTo>
                <a:lnTo>
                  <a:pt x="386" y="247"/>
                </a:lnTo>
                <a:lnTo>
                  <a:pt x="392" y="235"/>
                </a:lnTo>
                <a:lnTo>
                  <a:pt x="394" y="220"/>
                </a:lnTo>
                <a:lnTo>
                  <a:pt x="396" y="205"/>
                </a:lnTo>
                <a:lnTo>
                  <a:pt x="394" y="190"/>
                </a:lnTo>
                <a:lnTo>
                  <a:pt x="392" y="177"/>
                </a:lnTo>
                <a:lnTo>
                  <a:pt x="386" y="164"/>
                </a:lnTo>
                <a:lnTo>
                  <a:pt x="380" y="153"/>
                </a:lnTo>
                <a:lnTo>
                  <a:pt x="375" y="148"/>
                </a:lnTo>
                <a:lnTo>
                  <a:pt x="371" y="145"/>
                </a:lnTo>
                <a:lnTo>
                  <a:pt x="366" y="141"/>
                </a:lnTo>
                <a:lnTo>
                  <a:pt x="361" y="139"/>
                </a:lnTo>
                <a:lnTo>
                  <a:pt x="355" y="136"/>
                </a:lnTo>
                <a:lnTo>
                  <a:pt x="350" y="134"/>
                </a:lnTo>
                <a:lnTo>
                  <a:pt x="344" y="132"/>
                </a:lnTo>
                <a:lnTo>
                  <a:pt x="338" y="132"/>
                </a:lnTo>
                <a:lnTo>
                  <a:pt x="301" y="132"/>
                </a:lnTo>
                <a:lnTo>
                  <a:pt x="306" y="110"/>
                </a:lnTo>
                <a:lnTo>
                  <a:pt x="312" y="90"/>
                </a:lnTo>
                <a:lnTo>
                  <a:pt x="319" y="73"/>
                </a:lnTo>
                <a:lnTo>
                  <a:pt x="327" y="58"/>
                </a:lnTo>
                <a:lnTo>
                  <a:pt x="331" y="52"/>
                </a:lnTo>
                <a:lnTo>
                  <a:pt x="336" y="46"/>
                </a:lnTo>
                <a:lnTo>
                  <a:pt x="340" y="41"/>
                </a:lnTo>
                <a:lnTo>
                  <a:pt x="345" y="37"/>
                </a:lnTo>
                <a:lnTo>
                  <a:pt x="351" y="35"/>
                </a:lnTo>
                <a:lnTo>
                  <a:pt x="356" y="32"/>
                </a:lnTo>
                <a:lnTo>
                  <a:pt x="361" y="30"/>
                </a:lnTo>
                <a:lnTo>
                  <a:pt x="367" y="30"/>
                </a:lnTo>
                <a:lnTo>
                  <a:pt x="375" y="31"/>
                </a:lnTo>
                <a:lnTo>
                  <a:pt x="382" y="33"/>
                </a:lnTo>
                <a:lnTo>
                  <a:pt x="388" y="37"/>
                </a:lnTo>
                <a:lnTo>
                  <a:pt x="396" y="43"/>
                </a:lnTo>
                <a:lnTo>
                  <a:pt x="402" y="51"/>
                </a:lnTo>
                <a:lnTo>
                  <a:pt x="408" y="59"/>
                </a:lnTo>
                <a:lnTo>
                  <a:pt x="413" y="70"/>
                </a:lnTo>
                <a:lnTo>
                  <a:pt x="419" y="82"/>
                </a:lnTo>
                <a:lnTo>
                  <a:pt x="423" y="94"/>
                </a:lnTo>
                <a:lnTo>
                  <a:pt x="428" y="108"/>
                </a:lnTo>
                <a:lnTo>
                  <a:pt x="432" y="122"/>
                </a:lnTo>
                <a:lnTo>
                  <a:pt x="434" y="137"/>
                </a:lnTo>
                <a:lnTo>
                  <a:pt x="437" y="153"/>
                </a:lnTo>
                <a:lnTo>
                  <a:pt x="439" y="171"/>
                </a:lnTo>
                <a:lnTo>
                  <a:pt x="440" y="188"/>
                </a:lnTo>
                <a:lnTo>
                  <a:pt x="440" y="205"/>
                </a:lnTo>
                <a:lnTo>
                  <a:pt x="440" y="224"/>
                </a:lnTo>
                <a:lnTo>
                  <a:pt x="439" y="241"/>
                </a:lnTo>
                <a:lnTo>
                  <a:pt x="437" y="259"/>
                </a:lnTo>
                <a:lnTo>
                  <a:pt x="434" y="275"/>
                </a:lnTo>
                <a:lnTo>
                  <a:pt x="432" y="289"/>
                </a:lnTo>
                <a:lnTo>
                  <a:pt x="428" y="304"/>
                </a:lnTo>
                <a:lnTo>
                  <a:pt x="423" y="318"/>
                </a:lnTo>
                <a:lnTo>
                  <a:pt x="419" y="330"/>
                </a:lnTo>
                <a:lnTo>
                  <a:pt x="413" y="341"/>
                </a:lnTo>
                <a:lnTo>
                  <a:pt x="408" y="351"/>
                </a:lnTo>
                <a:lnTo>
                  <a:pt x="402" y="360"/>
                </a:lnTo>
                <a:lnTo>
                  <a:pt x="396" y="367"/>
                </a:lnTo>
                <a:lnTo>
                  <a:pt x="388" y="374"/>
                </a:lnTo>
                <a:lnTo>
                  <a:pt x="382" y="379"/>
                </a:lnTo>
                <a:lnTo>
                  <a:pt x="375" y="381"/>
                </a:lnTo>
                <a:lnTo>
                  <a:pt x="367" y="382"/>
                </a:lnTo>
                <a:close/>
                <a:moveTo>
                  <a:pt x="194" y="250"/>
                </a:moveTo>
                <a:lnTo>
                  <a:pt x="191" y="250"/>
                </a:lnTo>
                <a:lnTo>
                  <a:pt x="191" y="250"/>
                </a:lnTo>
                <a:lnTo>
                  <a:pt x="186" y="249"/>
                </a:lnTo>
                <a:lnTo>
                  <a:pt x="179" y="246"/>
                </a:lnTo>
                <a:lnTo>
                  <a:pt x="174" y="242"/>
                </a:lnTo>
                <a:lnTo>
                  <a:pt x="171" y="236"/>
                </a:lnTo>
                <a:lnTo>
                  <a:pt x="167" y="230"/>
                </a:lnTo>
                <a:lnTo>
                  <a:pt x="165" y="223"/>
                </a:lnTo>
                <a:lnTo>
                  <a:pt x="162" y="214"/>
                </a:lnTo>
                <a:lnTo>
                  <a:pt x="162" y="205"/>
                </a:lnTo>
                <a:lnTo>
                  <a:pt x="162" y="197"/>
                </a:lnTo>
                <a:lnTo>
                  <a:pt x="165" y="188"/>
                </a:lnTo>
                <a:lnTo>
                  <a:pt x="167" y="181"/>
                </a:lnTo>
                <a:lnTo>
                  <a:pt x="171" y="174"/>
                </a:lnTo>
                <a:lnTo>
                  <a:pt x="174" y="169"/>
                </a:lnTo>
                <a:lnTo>
                  <a:pt x="179" y="166"/>
                </a:lnTo>
                <a:lnTo>
                  <a:pt x="186" y="162"/>
                </a:lnTo>
                <a:lnTo>
                  <a:pt x="191" y="162"/>
                </a:lnTo>
                <a:lnTo>
                  <a:pt x="194" y="162"/>
                </a:lnTo>
                <a:lnTo>
                  <a:pt x="204" y="161"/>
                </a:lnTo>
                <a:lnTo>
                  <a:pt x="215" y="160"/>
                </a:lnTo>
                <a:lnTo>
                  <a:pt x="225" y="157"/>
                </a:lnTo>
                <a:lnTo>
                  <a:pt x="234" y="153"/>
                </a:lnTo>
                <a:lnTo>
                  <a:pt x="244" y="150"/>
                </a:lnTo>
                <a:lnTo>
                  <a:pt x="252" y="145"/>
                </a:lnTo>
                <a:lnTo>
                  <a:pt x="262" y="139"/>
                </a:lnTo>
                <a:lnTo>
                  <a:pt x="271" y="132"/>
                </a:lnTo>
                <a:lnTo>
                  <a:pt x="268" y="150"/>
                </a:lnTo>
                <a:lnTo>
                  <a:pt x="266" y="168"/>
                </a:lnTo>
                <a:lnTo>
                  <a:pt x="265" y="187"/>
                </a:lnTo>
                <a:lnTo>
                  <a:pt x="265" y="205"/>
                </a:lnTo>
                <a:lnTo>
                  <a:pt x="265" y="224"/>
                </a:lnTo>
                <a:lnTo>
                  <a:pt x="266" y="244"/>
                </a:lnTo>
                <a:lnTo>
                  <a:pt x="268" y="261"/>
                </a:lnTo>
                <a:lnTo>
                  <a:pt x="271" y="280"/>
                </a:lnTo>
                <a:lnTo>
                  <a:pt x="262" y="273"/>
                </a:lnTo>
                <a:lnTo>
                  <a:pt x="252" y="267"/>
                </a:lnTo>
                <a:lnTo>
                  <a:pt x="244" y="262"/>
                </a:lnTo>
                <a:lnTo>
                  <a:pt x="234" y="257"/>
                </a:lnTo>
                <a:lnTo>
                  <a:pt x="225" y="255"/>
                </a:lnTo>
                <a:lnTo>
                  <a:pt x="215" y="252"/>
                </a:lnTo>
                <a:lnTo>
                  <a:pt x="204" y="250"/>
                </a:lnTo>
                <a:lnTo>
                  <a:pt x="194" y="250"/>
                </a:lnTo>
                <a:close/>
                <a:moveTo>
                  <a:pt x="176" y="440"/>
                </a:moveTo>
                <a:lnTo>
                  <a:pt x="118" y="440"/>
                </a:lnTo>
                <a:lnTo>
                  <a:pt x="118" y="308"/>
                </a:lnTo>
                <a:lnTo>
                  <a:pt x="118" y="301"/>
                </a:lnTo>
                <a:lnTo>
                  <a:pt x="115" y="293"/>
                </a:lnTo>
                <a:lnTo>
                  <a:pt x="113" y="286"/>
                </a:lnTo>
                <a:lnTo>
                  <a:pt x="110" y="280"/>
                </a:lnTo>
                <a:lnTo>
                  <a:pt x="120" y="280"/>
                </a:lnTo>
                <a:lnTo>
                  <a:pt x="120" y="280"/>
                </a:lnTo>
                <a:lnTo>
                  <a:pt x="165" y="280"/>
                </a:lnTo>
                <a:lnTo>
                  <a:pt x="162" y="286"/>
                </a:lnTo>
                <a:lnTo>
                  <a:pt x="162" y="293"/>
                </a:lnTo>
                <a:lnTo>
                  <a:pt x="162" y="396"/>
                </a:lnTo>
                <a:lnTo>
                  <a:pt x="163" y="406"/>
                </a:lnTo>
                <a:lnTo>
                  <a:pt x="166" y="414"/>
                </a:lnTo>
                <a:lnTo>
                  <a:pt x="171" y="421"/>
                </a:lnTo>
                <a:lnTo>
                  <a:pt x="174" y="426"/>
                </a:lnTo>
                <a:lnTo>
                  <a:pt x="176" y="427"/>
                </a:lnTo>
                <a:lnTo>
                  <a:pt x="176" y="428"/>
                </a:lnTo>
                <a:lnTo>
                  <a:pt x="176" y="440"/>
                </a:lnTo>
                <a:close/>
                <a:moveTo>
                  <a:pt x="30" y="205"/>
                </a:moveTo>
                <a:lnTo>
                  <a:pt x="30" y="197"/>
                </a:lnTo>
                <a:lnTo>
                  <a:pt x="32" y="188"/>
                </a:lnTo>
                <a:lnTo>
                  <a:pt x="35" y="181"/>
                </a:lnTo>
                <a:lnTo>
                  <a:pt x="39" y="174"/>
                </a:lnTo>
                <a:lnTo>
                  <a:pt x="42" y="169"/>
                </a:lnTo>
                <a:lnTo>
                  <a:pt x="47" y="166"/>
                </a:lnTo>
                <a:lnTo>
                  <a:pt x="53" y="162"/>
                </a:lnTo>
                <a:lnTo>
                  <a:pt x="60" y="162"/>
                </a:lnTo>
                <a:lnTo>
                  <a:pt x="162" y="162"/>
                </a:lnTo>
                <a:lnTo>
                  <a:pt x="156" y="171"/>
                </a:lnTo>
                <a:lnTo>
                  <a:pt x="151" y="181"/>
                </a:lnTo>
                <a:lnTo>
                  <a:pt x="149" y="193"/>
                </a:lnTo>
                <a:lnTo>
                  <a:pt x="147" y="205"/>
                </a:lnTo>
                <a:lnTo>
                  <a:pt x="149" y="219"/>
                </a:lnTo>
                <a:lnTo>
                  <a:pt x="151" y="230"/>
                </a:lnTo>
                <a:lnTo>
                  <a:pt x="156" y="241"/>
                </a:lnTo>
                <a:lnTo>
                  <a:pt x="162" y="250"/>
                </a:lnTo>
                <a:lnTo>
                  <a:pt x="60" y="250"/>
                </a:lnTo>
                <a:lnTo>
                  <a:pt x="53" y="249"/>
                </a:lnTo>
                <a:lnTo>
                  <a:pt x="47" y="246"/>
                </a:lnTo>
                <a:lnTo>
                  <a:pt x="42" y="242"/>
                </a:lnTo>
                <a:lnTo>
                  <a:pt x="39" y="236"/>
                </a:lnTo>
                <a:lnTo>
                  <a:pt x="35" y="230"/>
                </a:lnTo>
                <a:lnTo>
                  <a:pt x="32" y="223"/>
                </a:lnTo>
                <a:lnTo>
                  <a:pt x="30" y="214"/>
                </a:lnTo>
                <a:lnTo>
                  <a:pt x="30" y="205"/>
                </a:lnTo>
                <a:close/>
                <a:moveTo>
                  <a:pt x="293" y="205"/>
                </a:moveTo>
                <a:lnTo>
                  <a:pt x="293" y="194"/>
                </a:lnTo>
                <a:lnTo>
                  <a:pt x="294" y="183"/>
                </a:lnTo>
                <a:lnTo>
                  <a:pt x="294" y="172"/>
                </a:lnTo>
                <a:lnTo>
                  <a:pt x="296" y="162"/>
                </a:lnTo>
                <a:lnTo>
                  <a:pt x="338" y="162"/>
                </a:lnTo>
                <a:lnTo>
                  <a:pt x="344" y="162"/>
                </a:lnTo>
                <a:lnTo>
                  <a:pt x="349" y="166"/>
                </a:lnTo>
                <a:lnTo>
                  <a:pt x="354" y="169"/>
                </a:lnTo>
                <a:lnTo>
                  <a:pt x="359" y="174"/>
                </a:lnTo>
                <a:lnTo>
                  <a:pt x="362" y="181"/>
                </a:lnTo>
                <a:lnTo>
                  <a:pt x="365" y="188"/>
                </a:lnTo>
                <a:lnTo>
                  <a:pt x="366" y="197"/>
                </a:lnTo>
                <a:lnTo>
                  <a:pt x="367" y="205"/>
                </a:lnTo>
                <a:lnTo>
                  <a:pt x="366" y="214"/>
                </a:lnTo>
                <a:lnTo>
                  <a:pt x="365" y="223"/>
                </a:lnTo>
                <a:lnTo>
                  <a:pt x="362" y="230"/>
                </a:lnTo>
                <a:lnTo>
                  <a:pt x="359" y="236"/>
                </a:lnTo>
                <a:lnTo>
                  <a:pt x="354" y="242"/>
                </a:lnTo>
                <a:lnTo>
                  <a:pt x="349" y="246"/>
                </a:lnTo>
                <a:lnTo>
                  <a:pt x="344" y="249"/>
                </a:lnTo>
                <a:lnTo>
                  <a:pt x="338" y="250"/>
                </a:lnTo>
                <a:lnTo>
                  <a:pt x="296" y="250"/>
                </a:lnTo>
                <a:lnTo>
                  <a:pt x="294" y="239"/>
                </a:lnTo>
                <a:lnTo>
                  <a:pt x="294" y="228"/>
                </a:lnTo>
                <a:lnTo>
                  <a:pt x="293" y="216"/>
                </a:lnTo>
                <a:lnTo>
                  <a:pt x="293" y="205"/>
                </a:lnTo>
                <a:close/>
                <a:moveTo>
                  <a:pt x="367" y="0"/>
                </a:moveTo>
                <a:lnTo>
                  <a:pt x="356" y="1"/>
                </a:lnTo>
                <a:lnTo>
                  <a:pt x="345" y="4"/>
                </a:lnTo>
                <a:lnTo>
                  <a:pt x="335" y="9"/>
                </a:lnTo>
                <a:lnTo>
                  <a:pt x="327" y="15"/>
                </a:lnTo>
                <a:lnTo>
                  <a:pt x="318" y="22"/>
                </a:lnTo>
                <a:lnTo>
                  <a:pt x="310" y="31"/>
                </a:lnTo>
                <a:lnTo>
                  <a:pt x="303" y="42"/>
                </a:lnTo>
                <a:lnTo>
                  <a:pt x="296" y="53"/>
                </a:lnTo>
                <a:lnTo>
                  <a:pt x="296" y="53"/>
                </a:lnTo>
                <a:lnTo>
                  <a:pt x="286" y="70"/>
                </a:lnTo>
                <a:lnTo>
                  <a:pt x="275" y="85"/>
                </a:lnTo>
                <a:lnTo>
                  <a:pt x="263" y="99"/>
                </a:lnTo>
                <a:lnTo>
                  <a:pt x="251" y="110"/>
                </a:lnTo>
                <a:lnTo>
                  <a:pt x="238" y="120"/>
                </a:lnTo>
                <a:lnTo>
                  <a:pt x="224" y="126"/>
                </a:lnTo>
                <a:lnTo>
                  <a:pt x="217" y="129"/>
                </a:lnTo>
                <a:lnTo>
                  <a:pt x="209" y="131"/>
                </a:lnTo>
                <a:lnTo>
                  <a:pt x="202" y="132"/>
                </a:lnTo>
                <a:lnTo>
                  <a:pt x="194" y="132"/>
                </a:lnTo>
                <a:lnTo>
                  <a:pt x="184" y="132"/>
                </a:lnTo>
                <a:lnTo>
                  <a:pt x="120" y="132"/>
                </a:lnTo>
                <a:lnTo>
                  <a:pt x="60" y="132"/>
                </a:lnTo>
                <a:lnTo>
                  <a:pt x="53" y="132"/>
                </a:lnTo>
                <a:lnTo>
                  <a:pt x="47" y="134"/>
                </a:lnTo>
                <a:lnTo>
                  <a:pt x="41" y="136"/>
                </a:lnTo>
                <a:lnTo>
                  <a:pt x="36" y="139"/>
                </a:lnTo>
                <a:lnTo>
                  <a:pt x="31" y="141"/>
                </a:lnTo>
                <a:lnTo>
                  <a:pt x="26" y="145"/>
                </a:lnTo>
                <a:lnTo>
                  <a:pt x="21" y="148"/>
                </a:lnTo>
                <a:lnTo>
                  <a:pt x="18" y="153"/>
                </a:lnTo>
                <a:lnTo>
                  <a:pt x="10" y="164"/>
                </a:lnTo>
                <a:lnTo>
                  <a:pt x="5" y="177"/>
                </a:lnTo>
                <a:lnTo>
                  <a:pt x="1" y="190"/>
                </a:lnTo>
                <a:lnTo>
                  <a:pt x="0" y="205"/>
                </a:lnTo>
                <a:lnTo>
                  <a:pt x="1" y="220"/>
                </a:lnTo>
                <a:lnTo>
                  <a:pt x="5" y="235"/>
                </a:lnTo>
                <a:lnTo>
                  <a:pt x="10" y="247"/>
                </a:lnTo>
                <a:lnTo>
                  <a:pt x="18" y="257"/>
                </a:lnTo>
                <a:lnTo>
                  <a:pt x="21" y="262"/>
                </a:lnTo>
                <a:lnTo>
                  <a:pt x="26" y="267"/>
                </a:lnTo>
                <a:lnTo>
                  <a:pt x="31" y="271"/>
                </a:lnTo>
                <a:lnTo>
                  <a:pt x="36" y="273"/>
                </a:lnTo>
                <a:lnTo>
                  <a:pt x="41" y="276"/>
                </a:lnTo>
                <a:lnTo>
                  <a:pt x="47" y="277"/>
                </a:lnTo>
                <a:lnTo>
                  <a:pt x="53" y="278"/>
                </a:lnTo>
                <a:lnTo>
                  <a:pt x="60" y="280"/>
                </a:lnTo>
                <a:lnTo>
                  <a:pt x="65" y="280"/>
                </a:lnTo>
                <a:lnTo>
                  <a:pt x="71" y="281"/>
                </a:lnTo>
                <a:lnTo>
                  <a:pt x="76" y="284"/>
                </a:lnTo>
                <a:lnTo>
                  <a:pt x="79" y="288"/>
                </a:lnTo>
                <a:lnTo>
                  <a:pt x="83" y="292"/>
                </a:lnTo>
                <a:lnTo>
                  <a:pt x="86" y="297"/>
                </a:lnTo>
                <a:lnTo>
                  <a:pt x="88" y="303"/>
                </a:lnTo>
                <a:lnTo>
                  <a:pt x="88" y="308"/>
                </a:lnTo>
                <a:lnTo>
                  <a:pt x="88" y="440"/>
                </a:lnTo>
                <a:lnTo>
                  <a:pt x="89" y="447"/>
                </a:lnTo>
                <a:lnTo>
                  <a:pt x="90" y="452"/>
                </a:lnTo>
                <a:lnTo>
                  <a:pt x="93" y="456"/>
                </a:lnTo>
                <a:lnTo>
                  <a:pt x="97" y="461"/>
                </a:lnTo>
                <a:lnTo>
                  <a:pt x="102" y="465"/>
                </a:lnTo>
                <a:lnTo>
                  <a:pt x="107" y="468"/>
                </a:lnTo>
                <a:lnTo>
                  <a:pt x="111" y="469"/>
                </a:lnTo>
                <a:lnTo>
                  <a:pt x="118" y="470"/>
                </a:lnTo>
                <a:lnTo>
                  <a:pt x="176" y="470"/>
                </a:lnTo>
                <a:lnTo>
                  <a:pt x="182" y="469"/>
                </a:lnTo>
                <a:lnTo>
                  <a:pt x="188" y="468"/>
                </a:lnTo>
                <a:lnTo>
                  <a:pt x="193" y="465"/>
                </a:lnTo>
                <a:lnTo>
                  <a:pt x="197" y="461"/>
                </a:lnTo>
                <a:lnTo>
                  <a:pt x="200" y="456"/>
                </a:lnTo>
                <a:lnTo>
                  <a:pt x="203" y="452"/>
                </a:lnTo>
                <a:lnTo>
                  <a:pt x="205" y="447"/>
                </a:lnTo>
                <a:lnTo>
                  <a:pt x="205" y="440"/>
                </a:lnTo>
                <a:lnTo>
                  <a:pt x="205" y="426"/>
                </a:lnTo>
                <a:lnTo>
                  <a:pt x="198" y="408"/>
                </a:lnTo>
                <a:lnTo>
                  <a:pt x="191" y="396"/>
                </a:lnTo>
                <a:lnTo>
                  <a:pt x="191" y="293"/>
                </a:lnTo>
                <a:lnTo>
                  <a:pt x="191" y="293"/>
                </a:lnTo>
                <a:lnTo>
                  <a:pt x="192" y="293"/>
                </a:lnTo>
                <a:lnTo>
                  <a:pt x="192" y="289"/>
                </a:lnTo>
                <a:lnTo>
                  <a:pt x="193" y="287"/>
                </a:lnTo>
                <a:lnTo>
                  <a:pt x="193" y="286"/>
                </a:lnTo>
                <a:lnTo>
                  <a:pt x="194" y="286"/>
                </a:lnTo>
                <a:lnTo>
                  <a:pt x="196" y="283"/>
                </a:lnTo>
                <a:lnTo>
                  <a:pt x="198" y="281"/>
                </a:lnTo>
                <a:lnTo>
                  <a:pt x="198" y="281"/>
                </a:lnTo>
                <a:lnTo>
                  <a:pt x="198" y="281"/>
                </a:lnTo>
                <a:lnTo>
                  <a:pt x="198" y="281"/>
                </a:lnTo>
                <a:lnTo>
                  <a:pt x="198" y="281"/>
                </a:lnTo>
                <a:lnTo>
                  <a:pt x="200" y="281"/>
                </a:lnTo>
                <a:lnTo>
                  <a:pt x="203" y="280"/>
                </a:lnTo>
                <a:lnTo>
                  <a:pt x="217" y="282"/>
                </a:lnTo>
                <a:lnTo>
                  <a:pt x="229" y="288"/>
                </a:lnTo>
                <a:lnTo>
                  <a:pt x="242" y="294"/>
                </a:lnTo>
                <a:lnTo>
                  <a:pt x="255" y="304"/>
                </a:lnTo>
                <a:lnTo>
                  <a:pt x="266" y="315"/>
                </a:lnTo>
                <a:lnTo>
                  <a:pt x="277" y="328"/>
                </a:lnTo>
                <a:lnTo>
                  <a:pt x="287" y="343"/>
                </a:lnTo>
                <a:lnTo>
                  <a:pt x="296" y="359"/>
                </a:lnTo>
                <a:lnTo>
                  <a:pt x="296" y="359"/>
                </a:lnTo>
                <a:lnTo>
                  <a:pt x="303" y="370"/>
                </a:lnTo>
                <a:lnTo>
                  <a:pt x="310" y="380"/>
                </a:lnTo>
                <a:lnTo>
                  <a:pt x="318" y="390"/>
                </a:lnTo>
                <a:lnTo>
                  <a:pt x="327" y="397"/>
                </a:lnTo>
                <a:lnTo>
                  <a:pt x="335" y="403"/>
                </a:lnTo>
                <a:lnTo>
                  <a:pt x="345" y="407"/>
                </a:lnTo>
                <a:lnTo>
                  <a:pt x="356" y="409"/>
                </a:lnTo>
                <a:lnTo>
                  <a:pt x="367" y="411"/>
                </a:lnTo>
                <a:lnTo>
                  <a:pt x="378" y="409"/>
                </a:lnTo>
                <a:lnTo>
                  <a:pt x="391" y="407"/>
                </a:lnTo>
                <a:lnTo>
                  <a:pt x="401" y="401"/>
                </a:lnTo>
                <a:lnTo>
                  <a:pt x="412" y="393"/>
                </a:lnTo>
                <a:lnTo>
                  <a:pt x="420" y="383"/>
                </a:lnTo>
                <a:lnTo>
                  <a:pt x="429" y="374"/>
                </a:lnTo>
                <a:lnTo>
                  <a:pt x="437" y="360"/>
                </a:lnTo>
                <a:lnTo>
                  <a:pt x="444" y="346"/>
                </a:lnTo>
                <a:lnTo>
                  <a:pt x="449" y="331"/>
                </a:lnTo>
                <a:lnTo>
                  <a:pt x="455" y="315"/>
                </a:lnTo>
                <a:lnTo>
                  <a:pt x="459" y="298"/>
                </a:lnTo>
                <a:lnTo>
                  <a:pt x="462" y="281"/>
                </a:lnTo>
                <a:lnTo>
                  <a:pt x="466" y="262"/>
                </a:lnTo>
                <a:lnTo>
                  <a:pt x="467" y="244"/>
                </a:lnTo>
                <a:lnTo>
                  <a:pt x="469" y="225"/>
                </a:lnTo>
                <a:lnTo>
                  <a:pt x="470" y="205"/>
                </a:lnTo>
                <a:lnTo>
                  <a:pt x="469" y="187"/>
                </a:lnTo>
                <a:lnTo>
                  <a:pt x="467" y="167"/>
                </a:lnTo>
                <a:lnTo>
                  <a:pt x="466" y="148"/>
                </a:lnTo>
                <a:lnTo>
                  <a:pt x="462" y="131"/>
                </a:lnTo>
                <a:lnTo>
                  <a:pt x="459" y="113"/>
                </a:lnTo>
                <a:lnTo>
                  <a:pt x="455" y="96"/>
                </a:lnTo>
                <a:lnTo>
                  <a:pt x="449" y="80"/>
                </a:lnTo>
                <a:lnTo>
                  <a:pt x="444" y="64"/>
                </a:lnTo>
                <a:lnTo>
                  <a:pt x="437" y="51"/>
                </a:lnTo>
                <a:lnTo>
                  <a:pt x="429" y="38"/>
                </a:lnTo>
                <a:lnTo>
                  <a:pt x="420" y="27"/>
                </a:lnTo>
                <a:lnTo>
                  <a:pt x="412" y="18"/>
                </a:lnTo>
                <a:lnTo>
                  <a:pt x="401" y="11"/>
                </a:lnTo>
                <a:lnTo>
                  <a:pt x="391" y="5"/>
                </a:lnTo>
                <a:lnTo>
                  <a:pt x="380" y="1"/>
                </a:lnTo>
                <a:lnTo>
                  <a:pt x="367"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0" name="Freeform 19">
            <a:extLst>
              <a:ext uri="{FF2B5EF4-FFF2-40B4-BE49-F238E27FC236}">
                <a16:creationId xmlns:a16="http://schemas.microsoft.com/office/drawing/2014/main" id="{F7CBDB6E-ABEC-7C91-622D-8FBAAE6B0E5F}"/>
              </a:ext>
            </a:extLst>
          </p:cNvPr>
          <p:cNvSpPr>
            <a:spLocks noEditPoints="1"/>
          </p:cNvSpPr>
          <p:nvPr/>
        </p:nvSpPr>
        <p:spPr bwMode="auto">
          <a:xfrm>
            <a:off x="7747000" y="7988258"/>
            <a:ext cx="371475" cy="374650"/>
          </a:xfrm>
          <a:custGeom>
            <a:avLst/>
            <a:gdLst>
              <a:gd name="T0" fmla="*/ 191 w 469"/>
              <a:gd name="T1" fmla="*/ 74 h 470"/>
              <a:gd name="T2" fmla="*/ 391 w 469"/>
              <a:gd name="T3" fmla="*/ 392 h 470"/>
              <a:gd name="T4" fmla="*/ 341 w 469"/>
              <a:gd name="T5" fmla="*/ 393 h 470"/>
              <a:gd name="T6" fmla="*/ 314 w 469"/>
              <a:gd name="T7" fmla="*/ 375 h 470"/>
              <a:gd name="T8" fmla="*/ 308 w 469"/>
              <a:gd name="T9" fmla="*/ 356 h 470"/>
              <a:gd name="T10" fmla="*/ 317 w 469"/>
              <a:gd name="T11" fmla="*/ 327 h 470"/>
              <a:gd name="T12" fmla="*/ 356 w 469"/>
              <a:gd name="T13" fmla="*/ 298 h 470"/>
              <a:gd name="T14" fmla="*/ 406 w 469"/>
              <a:gd name="T15" fmla="*/ 297 h 470"/>
              <a:gd name="T16" fmla="*/ 432 w 469"/>
              <a:gd name="T17" fmla="*/ 315 h 470"/>
              <a:gd name="T18" fmla="*/ 439 w 469"/>
              <a:gd name="T19" fmla="*/ 334 h 470"/>
              <a:gd name="T20" fmla="*/ 430 w 469"/>
              <a:gd name="T21" fmla="*/ 364 h 470"/>
              <a:gd name="T22" fmla="*/ 391 w 469"/>
              <a:gd name="T23" fmla="*/ 392 h 470"/>
              <a:gd name="T24" fmla="*/ 75 w 469"/>
              <a:gd name="T25" fmla="*/ 439 h 470"/>
              <a:gd name="T26" fmla="*/ 40 w 469"/>
              <a:gd name="T27" fmla="*/ 423 h 470"/>
              <a:gd name="T28" fmla="*/ 31 w 469"/>
              <a:gd name="T29" fmla="*/ 406 h 470"/>
              <a:gd name="T30" fmla="*/ 34 w 469"/>
              <a:gd name="T31" fmla="*/ 381 h 470"/>
              <a:gd name="T32" fmla="*/ 66 w 469"/>
              <a:gd name="T33" fmla="*/ 348 h 470"/>
              <a:gd name="T34" fmla="*/ 117 w 469"/>
              <a:gd name="T35" fmla="*/ 339 h 470"/>
              <a:gd name="T36" fmla="*/ 151 w 469"/>
              <a:gd name="T37" fmla="*/ 355 h 470"/>
              <a:gd name="T38" fmla="*/ 161 w 469"/>
              <a:gd name="T39" fmla="*/ 372 h 470"/>
              <a:gd name="T40" fmla="*/ 159 w 469"/>
              <a:gd name="T41" fmla="*/ 397 h 470"/>
              <a:gd name="T42" fmla="*/ 125 w 469"/>
              <a:gd name="T43" fmla="*/ 430 h 470"/>
              <a:gd name="T44" fmla="*/ 450 w 469"/>
              <a:gd name="T45" fmla="*/ 2 h 470"/>
              <a:gd name="T46" fmla="*/ 435 w 469"/>
              <a:gd name="T47" fmla="*/ 1 h 470"/>
              <a:gd name="T48" fmla="*/ 172 w 469"/>
              <a:gd name="T49" fmla="*/ 51 h 470"/>
              <a:gd name="T50" fmla="*/ 162 w 469"/>
              <a:gd name="T51" fmla="*/ 68 h 470"/>
              <a:gd name="T52" fmla="*/ 162 w 469"/>
              <a:gd name="T53" fmla="*/ 325 h 470"/>
              <a:gd name="T54" fmla="*/ 107 w 469"/>
              <a:gd name="T55" fmla="*/ 308 h 470"/>
              <a:gd name="T56" fmla="*/ 70 w 469"/>
              <a:gd name="T57" fmla="*/ 314 h 470"/>
              <a:gd name="T58" fmla="*/ 32 w 469"/>
              <a:gd name="T59" fmla="*/ 335 h 470"/>
              <a:gd name="T60" fmla="*/ 8 w 469"/>
              <a:gd name="T61" fmla="*/ 366 h 470"/>
              <a:gd name="T62" fmla="*/ 0 w 469"/>
              <a:gd name="T63" fmla="*/ 393 h 470"/>
              <a:gd name="T64" fmla="*/ 5 w 469"/>
              <a:gd name="T65" fmla="*/ 421 h 470"/>
              <a:gd name="T66" fmla="*/ 35 w 469"/>
              <a:gd name="T67" fmla="*/ 456 h 470"/>
              <a:gd name="T68" fmla="*/ 86 w 469"/>
              <a:gd name="T69" fmla="*/ 470 h 470"/>
              <a:gd name="T70" fmla="*/ 123 w 469"/>
              <a:gd name="T71" fmla="*/ 464 h 470"/>
              <a:gd name="T72" fmla="*/ 160 w 469"/>
              <a:gd name="T73" fmla="*/ 443 h 470"/>
              <a:gd name="T74" fmla="*/ 183 w 469"/>
              <a:gd name="T75" fmla="*/ 412 h 470"/>
              <a:gd name="T76" fmla="*/ 191 w 469"/>
              <a:gd name="T77" fmla="*/ 382 h 470"/>
              <a:gd name="T78" fmla="*/ 196 w 469"/>
              <a:gd name="T79" fmla="*/ 147 h 470"/>
              <a:gd name="T80" fmla="*/ 414 w 469"/>
              <a:gd name="T81" fmla="*/ 268 h 470"/>
              <a:gd name="T82" fmla="*/ 366 w 469"/>
              <a:gd name="T83" fmla="*/ 266 h 470"/>
              <a:gd name="T84" fmla="*/ 328 w 469"/>
              <a:gd name="T85" fmla="*/ 280 h 470"/>
              <a:gd name="T86" fmla="*/ 297 w 469"/>
              <a:gd name="T87" fmla="*/ 306 h 470"/>
              <a:gd name="T88" fmla="*/ 281 w 469"/>
              <a:gd name="T89" fmla="*/ 335 h 470"/>
              <a:gd name="T90" fmla="*/ 280 w 469"/>
              <a:gd name="T91" fmla="*/ 362 h 470"/>
              <a:gd name="T92" fmla="*/ 294 w 469"/>
              <a:gd name="T93" fmla="*/ 397 h 470"/>
              <a:gd name="T94" fmla="*/ 337 w 469"/>
              <a:gd name="T95" fmla="*/ 422 h 470"/>
              <a:gd name="T96" fmla="*/ 382 w 469"/>
              <a:gd name="T97" fmla="*/ 424 h 470"/>
              <a:gd name="T98" fmla="*/ 421 w 469"/>
              <a:gd name="T99" fmla="*/ 411 h 470"/>
              <a:gd name="T100" fmla="*/ 451 w 469"/>
              <a:gd name="T101" fmla="*/ 385 h 470"/>
              <a:gd name="T102" fmla="*/ 468 w 469"/>
              <a:gd name="T103" fmla="*/ 354 h 470"/>
              <a:gd name="T104" fmla="*/ 469 w 469"/>
              <a:gd name="T105" fmla="*/ 74 h 470"/>
              <a:gd name="T106" fmla="*/ 466 w 469"/>
              <a:gd name="T107" fmla="*/ 1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9" h="470">
                <a:moveTo>
                  <a:pt x="439" y="74"/>
                </a:moveTo>
                <a:lnTo>
                  <a:pt x="191" y="117"/>
                </a:lnTo>
                <a:lnTo>
                  <a:pt x="191" y="103"/>
                </a:lnTo>
                <a:lnTo>
                  <a:pt x="191" y="74"/>
                </a:lnTo>
                <a:lnTo>
                  <a:pt x="439" y="30"/>
                </a:lnTo>
                <a:lnTo>
                  <a:pt x="439" y="59"/>
                </a:lnTo>
                <a:lnTo>
                  <a:pt x="439" y="74"/>
                </a:lnTo>
                <a:close/>
                <a:moveTo>
                  <a:pt x="391" y="392"/>
                </a:moveTo>
                <a:lnTo>
                  <a:pt x="377" y="395"/>
                </a:lnTo>
                <a:lnTo>
                  <a:pt x="365" y="396"/>
                </a:lnTo>
                <a:lnTo>
                  <a:pt x="353" y="396"/>
                </a:lnTo>
                <a:lnTo>
                  <a:pt x="341" y="393"/>
                </a:lnTo>
                <a:lnTo>
                  <a:pt x="330" y="388"/>
                </a:lnTo>
                <a:lnTo>
                  <a:pt x="322" y="382"/>
                </a:lnTo>
                <a:lnTo>
                  <a:pt x="318" y="380"/>
                </a:lnTo>
                <a:lnTo>
                  <a:pt x="314" y="375"/>
                </a:lnTo>
                <a:lnTo>
                  <a:pt x="312" y="371"/>
                </a:lnTo>
                <a:lnTo>
                  <a:pt x="311" y="366"/>
                </a:lnTo>
                <a:lnTo>
                  <a:pt x="308" y="361"/>
                </a:lnTo>
                <a:lnTo>
                  <a:pt x="308" y="356"/>
                </a:lnTo>
                <a:lnTo>
                  <a:pt x="308" y="351"/>
                </a:lnTo>
                <a:lnTo>
                  <a:pt x="308" y="346"/>
                </a:lnTo>
                <a:lnTo>
                  <a:pt x="311" y="336"/>
                </a:lnTo>
                <a:lnTo>
                  <a:pt x="317" y="327"/>
                </a:lnTo>
                <a:lnTo>
                  <a:pt x="323" y="318"/>
                </a:lnTo>
                <a:lnTo>
                  <a:pt x="333" y="310"/>
                </a:lnTo>
                <a:lnTo>
                  <a:pt x="344" y="303"/>
                </a:lnTo>
                <a:lnTo>
                  <a:pt x="356" y="298"/>
                </a:lnTo>
                <a:lnTo>
                  <a:pt x="369" y="294"/>
                </a:lnTo>
                <a:lnTo>
                  <a:pt x="382" y="293"/>
                </a:lnTo>
                <a:lnTo>
                  <a:pt x="395" y="294"/>
                </a:lnTo>
                <a:lnTo>
                  <a:pt x="406" y="297"/>
                </a:lnTo>
                <a:lnTo>
                  <a:pt x="417" y="302"/>
                </a:lnTo>
                <a:lnTo>
                  <a:pt x="425" y="307"/>
                </a:lnTo>
                <a:lnTo>
                  <a:pt x="429" y="310"/>
                </a:lnTo>
                <a:lnTo>
                  <a:pt x="432" y="315"/>
                </a:lnTo>
                <a:lnTo>
                  <a:pt x="435" y="319"/>
                </a:lnTo>
                <a:lnTo>
                  <a:pt x="437" y="324"/>
                </a:lnTo>
                <a:lnTo>
                  <a:pt x="439" y="329"/>
                </a:lnTo>
                <a:lnTo>
                  <a:pt x="439" y="334"/>
                </a:lnTo>
                <a:lnTo>
                  <a:pt x="439" y="339"/>
                </a:lnTo>
                <a:lnTo>
                  <a:pt x="439" y="344"/>
                </a:lnTo>
                <a:lnTo>
                  <a:pt x="435" y="354"/>
                </a:lnTo>
                <a:lnTo>
                  <a:pt x="430" y="364"/>
                </a:lnTo>
                <a:lnTo>
                  <a:pt x="423" y="372"/>
                </a:lnTo>
                <a:lnTo>
                  <a:pt x="414" y="380"/>
                </a:lnTo>
                <a:lnTo>
                  <a:pt x="403" y="386"/>
                </a:lnTo>
                <a:lnTo>
                  <a:pt x="391" y="392"/>
                </a:lnTo>
                <a:close/>
                <a:moveTo>
                  <a:pt x="113" y="435"/>
                </a:moveTo>
                <a:lnTo>
                  <a:pt x="100" y="439"/>
                </a:lnTo>
                <a:lnTo>
                  <a:pt x="87" y="440"/>
                </a:lnTo>
                <a:lnTo>
                  <a:pt x="75" y="439"/>
                </a:lnTo>
                <a:lnTo>
                  <a:pt x="63" y="437"/>
                </a:lnTo>
                <a:lnTo>
                  <a:pt x="52" y="433"/>
                </a:lnTo>
                <a:lnTo>
                  <a:pt x="44" y="427"/>
                </a:lnTo>
                <a:lnTo>
                  <a:pt x="40" y="423"/>
                </a:lnTo>
                <a:lnTo>
                  <a:pt x="37" y="419"/>
                </a:lnTo>
                <a:lnTo>
                  <a:pt x="34" y="414"/>
                </a:lnTo>
                <a:lnTo>
                  <a:pt x="32" y="411"/>
                </a:lnTo>
                <a:lnTo>
                  <a:pt x="31" y="406"/>
                </a:lnTo>
                <a:lnTo>
                  <a:pt x="30" y="401"/>
                </a:lnTo>
                <a:lnTo>
                  <a:pt x="30" y="396"/>
                </a:lnTo>
                <a:lnTo>
                  <a:pt x="30" y="391"/>
                </a:lnTo>
                <a:lnTo>
                  <a:pt x="34" y="381"/>
                </a:lnTo>
                <a:lnTo>
                  <a:pt x="39" y="371"/>
                </a:lnTo>
                <a:lnTo>
                  <a:pt x="46" y="362"/>
                </a:lnTo>
                <a:lnTo>
                  <a:pt x="55" y="354"/>
                </a:lnTo>
                <a:lnTo>
                  <a:pt x="66" y="348"/>
                </a:lnTo>
                <a:lnTo>
                  <a:pt x="78" y="343"/>
                </a:lnTo>
                <a:lnTo>
                  <a:pt x="92" y="339"/>
                </a:lnTo>
                <a:lnTo>
                  <a:pt x="104" y="338"/>
                </a:lnTo>
                <a:lnTo>
                  <a:pt x="117" y="339"/>
                </a:lnTo>
                <a:lnTo>
                  <a:pt x="129" y="341"/>
                </a:lnTo>
                <a:lnTo>
                  <a:pt x="139" y="345"/>
                </a:lnTo>
                <a:lnTo>
                  <a:pt x="147" y="351"/>
                </a:lnTo>
                <a:lnTo>
                  <a:pt x="151" y="355"/>
                </a:lnTo>
                <a:lnTo>
                  <a:pt x="155" y="359"/>
                </a:lnTo>
                <a:lnTo>
                  <a:pt x="157" y="364"/>
                </a:lnTo>
                <a:lnTo>
                  <a:pt x="160" y="367"/>
                </a:lnTo>
                <a:lnTo>
                  <a:pt x="161" y="372"/>
                </a:lnTo>
                <a:lnTo>
                  <a:pt x="161" y="377"/>
                </a:lnTo>
                <a:lnTo>
                  <a:pt x="161" y="382"/>
                </a:lnTo>
                <a:lnTo>
                  <a:pt x="161" y="387"/>
                </a:lnTo>
                <a:lnTo>
                  <a:pt x="159" y="397"/>
                </a:lnTo>
                <a:lnTo>
                  <a:pt x="152" y="407"/>
                </a:lnTo>
                <a:lnTo>
                  <a:pt x="146" y="416"/>
                </a:lnTo>
                <a:lnTo>
                  <a:pt x="136" y="424"/>
                </a:lnTo>
                <a:lnTo>
                  <a:pt x="125" y="430"/>
                </a:lnTo>
                <a:lnTo>
                  <a:pt x="113" y="435"/>
                </a:lnTo>
                <a:close/>
                <a:moveTo>
                  <a:pt x="459" y="7"/>
                </a:moveTo>
                <a:lnTo>
                  <a:pt x="455" y="4"/>
                </a:lnTo>
                <a:lnTo>
                  <a:pt x="450" y="2"/>
                </a:lnTo>
                <a:lnTo>
                  <a:pt x="445" y="1"/>
                </a:lnTo>
                <a:lnTo>
                  <a:pt x="440" y="0"/>
                </a:lnTo>
                <a:lnTo>
                  <a:pt x="438" y="0"/>
                </a:lnTo>
                <a:lnTo>
                  <a:pt x="435" y="1"/>
                </a:lnTo>
                <a:lnTo>
                  <a:pt x="186" y="44"/>
                </a:lnTo>
                <a:lnTo>
                  <a:pt x="181" y="46"/>
                </a:lnTo>
                <a:lnTo>
                  <a:pt x="176" y="48"/>
                </a:lnTo>
                <a:lnTo>
                  <a:pt x="172" y="51"/>
                </a:lnTo>
                <a:lnTo>
                  <a:pt x="168" y="54"/>
                </a:lnTo>
                <a:lnTo>
                  <a:pt x="166" y="59"/>
                </a:lnTo>
                <a:lnTo>
                  <a:pt x="163" y="63"/>
                </a:lnTo>
                <a:lnTo>
                  <a:pt x="162" y="68"/>
                </a:lnTo>
                <a:lnTo>
                  <a:pt x="162" y="74"/>
                </a:lnTo>
                <a:lnTo>
                  <a:pt x="162" y="103"/>
                </a:lnTo>
                <a:lnTo>
                  <a:pt x="162" y="117"/>
                </a:lnTo>
                <a:lnTo>
                  <a:pt x="162" y="325"/>
                </a:lnTo>
                <a:lnTo>
                  <a:pt x="150" y="318"/>
                </a:lnTo>
                <a:lnTo>
                  <a:pt x="136" y="313"/>
                </a:lnTo>
                <a:lnTo>
                  <a:pt x="121" y="309"/>
                </a:lnTo>
                <a:lnTo>
                  <a:pt x="107" y="308"/>
                </a:lnTo>
                <a:lnTo>
                  <a:pt x="97" y="309"/>
                </a:lnTo>
                <a:lnTo>
                  <a:pt x="87" y="310"/>
                </a:lnTo>
                <a:lnTo>
                  <a:pt x="78" y="312"/>
                </a:lnTo>
                <a:lnTo>
                  <a:pt x="70" y="314"/>
                </a:lnTo>
                <a:lnTo>
                  <a:pt x="58" y="318"/>
                </a:lnTo>
                <a:lnTo>
                  <a:pt x="50" y="323"/>
                </a:lnTo>
                <a:lnTo>
                  <a:pt x="40" y="329"/>
                </a:lnTo>
                <a:lnTo>
                  <a:pt x="32" y="335"/>
                </a:lnTo>
                <a:lnTo>
                  <a:pt x="25" y="341"/>
                </a:lnTo>
                <a:lnTo>
                  <a:pt x="18" y="349"/>
                </a:lnTo>
                <a:lnTo>
                  <a:pt x="13" y="357"/>
                </a:lnTo>
                <a:lnTo>
                  <a:pt x="8" y="366"/>
                </a:lnTo>
                <a:lnTo>
                  <a:pt x="5" y="372"/>
                </a:lnTo>
                <a:lnTo>
                  <a:pt x="3" y="380"/>
                </a:lnTo>
                <a:lnTo>
                  <a:pt x="2" y="386"/>
                </a:lnTo>
                <a:lnTo>
                  <a:pt x="0" y="393"/>
                </a:lnTo>
                <a:lnTo>
                  <a:pt x="0" y="400"/>
                </a:lnTo>
                <a:lnTo>
                  <a:pt x="2" y="407"/>
                </a:lnTo>
                <a:lnTo>
                  <a:pt x="3" y="414"/>
                </a:lnTo>
                <a:lnTo>
                  <a:pt x="5" y="421"/>
                </a:lnTo>
                <a:lnTo>
                  <a:pt x="10" y="432"/>
                </a:lnTo>
                <a:lnTo>
                  <a:pt x="16" y="440"/>
                </a:lnTo>
                <a:lnTo>
                  <a:pt x="25" y="449"/>
                </a:lnTo>
                <a:lnTo>
                  <a:pt x="35" y="456"/>
                </a:lnTo>
                <a:lnTo>
                  <a:pt x="46" y="461"/>
                </a:lnTo>
                <a:lnTo>
                  <a:pt x="58" y="466"/>
                </a:lnTo>
                <a:lnTo>
                  <a:pt x="72" y="469"/>
                </a:lnTo>
                <a:lnTo>
                  <a:pt x="86" y="470"/>
                </a:lnTo>
                <a:lnTo>
                  <a:pt x="94" y="469"/>
                </a:lnTo>
                <a:lnTo>
                  <a:pt x="104" y="468"/>
                </a:lnTo>
                <a:lnTo>
                  <a:pt x="113" y="466"/>
                </a:lnTo>
                <a:lnTo>
                  <a:pt x="123" y="464"/>
                </a:lnTo>
                <a:lnTo>
                  <a:pt x="133" y="460"/>
                </a:lnTo>
                <a:lnTo>
                  <a:pt x="142" y="455"/>
                </a:lnTo>
                <a:lnTo>
                  <a:pt x="151" y="449"/>
                </a:lnTo>
                <a:lnTo>
                  <a:pt x="160" y="443"/>
                </a:lnTo>
                <a:lnTo>
                  <a:pt x="167" y="437"/>
                </a:lnTo>
                <a:lnTo>
                  <a:pt x="173" y="429"/>
                </a:lnTo>
                <a:lnTo>
                  <a:pt x="178" y="421"/>
                </a:lnTo>
                <a:lnTo>
                  <a:pt x="183" y="412"/>
                </a:lnTo>
                <a:lnTo>
                  <a:pt x="187" y="404"/>
                </a:lnTo>
                <a:lnTo>
                  <a:pt x="189" y="397"/>
                </a:lnTo>
                <a:lnTo>
                  <a:pt x="191" y="390"/>
                </a:lnTo>
                <a:lnTo>
                  <a:pt x="191" y="382"/>
                </a:lnTo>
                <a:lnTo>
                  <a:pt x="191" y="382"/>
                </a:lnTo>
                <a:lnTo>
                  <a:pt x="191" y="147"/>
                </a:lnTo>
                <a:lnTo>
                  <a:pt x="193" y="147"/>
                </a:lnTo>
                <a:lnTo>
                  <a:pt x="196" y="147"/>
                </a:lnTo>
                <a:lnTo>
                  <a:pt x="440" y="104"/>
                </a:lnTo>
                <a:lnTo>
                  <a:pt x="440" y="282"/>
                </a:lnTo>
                <a:lnTo>
                  <a:pt x="428" y="275"/>
                </a:lnTo>
                <a:lnTo>
                  <a:pt x="414" y="268"/>
                </a:lnTo>
                <a:lnTo>
                  <a:pt x="400" y="266"/>
                </a:lnTo>
                <a:lnTo>
                  <a:pt x="385" y="265"/>
                </a:lnTo>
                <a:lnTo>
                  <a:pt x="375" y="265"/>
                </a:lnTo>
                <a:lnTo>
                  <a:pt x="366" y="266"/>
                </a:lnTo>
                <a:lnTo>
                  <a:pt x="356" y="268"/>
                </a:lnTo>
                <a:lnTo>
                  <a:pt x="348" y="271"/>
                </a:lnTo>
                <a:lnTo>
                  <a:pt x="338" y="275"/>
                </a:lnTo>
                <a:lnTo>
                  <a:pt x="328" y="280"/>
                </a:lnTo>
                <a:lnTo>
                  <a:pt x="319" y="284"/>
                </a:lnTo>
                <a:lnTo>
                  <a:pt x="311" y="291"/>
                </a:lnTo>
                <a:lnTo>
                  <a:pt x="303" y="298"/>
                </a:lnTo>
                <a:lnTo>
                  <a:pt x="297" y="306"/>
                </a:lnTo>
                <a:lnTo>
                  <a:pt x="291" y="313"/>
                </a:lnTo>
                <a:lnTo>
                  <a:pt x="286" y="322"/>
                </a:lnTo>
                <a:lnTo>
                  <a:pt x="283" y="328"/>
                </a:lnTo>
                <a:lnTo>
                  <a:pt x="281" y="335"/>
                </a:lnTo>
                <a:lnTo>
                  <a:pt x="280" y="343"/>
                </a:lnTo>
                <a:lnTo>
                  <a:pt x="278" y="349"/>
                </a:lnTo>
                <a:lnTo>
                  <a:pt x="278" y="356"/>
                </a:lnTo>
                <a:lnTo>
                  <a:pt x="280" y="362"/>
                </a:lnTo>
                <a:lnTo>
                  <a:pt x="281" y="370"/>
                </a:lnTo>
                <a:lnTo>
                  <a:pt x="283" y="376"/>
                </a:lnTo>
                <a:lnTo>
                  <a:pt x="288" y="387"/>
                </a:lnTo>
                <a:lnTo>
                  <a:pt x="294" y="397"/>
                </a:lnTo>
                <a:lnTo>
                  <a:pt x="303" y="406"/>
                </a:lnTo>
                <a:lnTo>
                  <a:pt x="313" y="412"/>
                </a:lnTo>
                <a:lnTo>
                  <a:pt x="324" y="418"/>
                </a:lnTo>
                <a:lnTo>
                  <a:pt x="337" y="422"/>
                </a:lnTo>
                <a:lnTo>
                  <a:pt x="350" y="424"/>
                </a:lnTo>
                <a:lnTo>
                  <a:pt x="364" y="426"/>
                </a:lnTo>
                <a:lnTo>
                  <a:pt x="374" y="426"/>
                </a:lnTo>
                <a:lnTo>
                  <a:pt x="382" y="424"/>
                </a:lnTo>
                <a:lnTo>
                  <a:pt x="392" y="422"/>
                </a:lnTo>
                <a:lnTo>
                  <a:pt x="401" y="419"/>
                </a:lnTo>
                <a:lnTo>
                  <a:pt x="411" y="416"/>
                </a:lnTo>
                <a:lnTo>
                  <a:pt x="421" y="411"/>
                </a:lnTo>
                <a:lnTo>
                  <a:pt x="429" y="406"/>
                </a:lnTo>
                <a:lnTo>
                  <a:pt x="438" y="400"/>
                </a:lnTo>
                <a:lnTo>
                  <a:pt x="445" y="392"/>
                </a:lnTo>
                <a:lnTo>
                  <a:pt x="451" y="385"/>
                </a:lnTo>
                <a:lnTo>
                  <a:pt x="458" y="377"/>
                </a:lnTo>
                <a:lnTo>
                  <a:pt x="461" y="369"/>
                </a:lnTo>
                <a:lnTo>
                  <a:pt x="465" y="361"/>
                </a:lnTo>
                <a:lnTo>
                  <a:pt x="468" y="354"/>
                </a:lnTo>
                <a:lnTo>
                  <a:pt x="469" y="345"/>
                </a:lnTo>
                <a:lnTo>
                  <a:pt x="469" y="338"/>
                </a:lnTo>
                <a:lnTo>
                  <a:pt x="469" y="338"/>
                </a:lnTo>
                <a:lnTo>
                  <a:pt x="469" y="74"/>
                </a:lnTo>
                <a:lnTo>
                  <a:pt x="469" y="59"/>
                </a:lnTo>
                <a:lnTo>
                  <a:pt x="469" y="30"/>
                </a:lnTo>
                <a:lnTo>
                  <a:pt x="469" y="23"/>
                </a:lnTo>
                <a:lnTo>
                  <a:pt x="466" y="17"/>
                </a:lnTo>
                <a:lnTo>
                  <a:pt x="464" y="12"/>
                </a:lnTo>
                <a:lnTo>
                  <a:pt x="459" y="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1" name="Freeform 20">
            <a:extLst>
              <a:ext uri="{FF2B5EF4-FFF2-40B4-BE49-F238E27FC236}">
                <a16:creationId xmlns:a16="http://schemas.microsoft.com/office/drawing/2014/main" id="{69BECDCC-786D-FCCC-31BF-E1431D8E02AF}"/>
              </a:ext>
            </a:extLst>
          </p:cNvPr>
          <p:cNvSpPr>
            <a:spLocks noEditPoints="1"/>
          </p:cNvSpPr>
          <p:nvPr/>
        </p:nvSpPr>
        <p:spPr bwMode="auto">
          <a:xfrm>
            <a:off x="6964363" y="7988258"/>
            <a:ext cx="325438" cy="374650"/>
          </a:xfrm>
          <a:custGeom>
            <a:avLst/>
            <a:gdLst>
              <a:gd name="T0" fmla="*/ 121 w 410"/>
              <a:gd name="T1" fmla="*/ 153 h 470"/>
              <a:gd name="T2" fmla="*/ 51 w 410"/>
              <a:gd name="T3" fmla="*/ 127 h 470"/>
              <a:gd name="T4" fmla="*/ 30 w 410"/>
              <a:gd name="T5" fmla="*/ 89 h 470"/>
              <a:gd name="T6" fmla="*/ 69 w 410"/>
              <a:gd name="T7" fmla="*/ 53 h 470"/>
              <a:gd name="T8" fmla="*/ 152 w 410"/>
              <a:gd name="T9" fmla="*/ 32 h 470"/>
              <a:gd name="T10" fmla="*/ 257 w 410"/>
              <a:gd name="T11" fmla="*/ 32 h 470"/>
              <a:gd name="T12" fmla="*/ 340 w 410"/>
              <a:gd name="T13" fmla="*/ 53 h 470"/>
              <a:gd name="T14" fmla="*/ 380 w 410"/>
              <a:gd name="T15" fmla="*/ 89 h 470"/>
              <a:gd name="T16" fmla="*/ 360 w 410"/>
              <a:gd name="T17" fmla="*/ 127 h 470"/>
              <a:gd name="T18" fmla="*/ 288 w 410"/>
              <a:gd name="T19" fmla="*/ 153 h 470"/>
              <a:gd name="T20" fmla="*/ 336 w 410"/>
              <a:gd name="T21" fmla="*/ 220 h 470"/>
              <a:gd name="T22" fmla="*/ 347 w 410"/>
              <a:gd name="T23" fmla="*/ 195 h 470"/>
              <a:gd name="T24" fmla="*/ 321 w 410"/>
              <a:gd name="T25" fmla="*/ 205 h 470"/>
              <a:gd name="T26" fmla="*/ 342 w 410"/>
              <a:gd name="T27" fmla="*/ 307 h 470"/>
              <a:gd name="T28" fmla="*/ 342 w 410"/>
              <a:gd name="T29" fmla="*/ 281 h 470"/>
              <a:gd name="T30" fmla="*/ 323 w 410"/>
              <a:gd name="T31" fmla="*/ 299 h 470"/>
              <a:gd name="T32" fmla="*/ 347 w 410"/>
              <a:gd name="T33" fmla="*/ 392 h 470"/>
              <a:gd name="T34" fmla="*/ 336 w 410"/>
              <a:gd name="T35" fmla="*/ 367 h 470"/>
              <a:gd name="T36" fmla="*/ 326 w 410"/>
              <a:gd name="T37" fmla="*/ 392 h 470"/>
              <a:gd name="T38" fmla="*/ 381 w 410"/>
              <a:gd name="T39" fmla="*/ 199 h 470"/>
              <a:gd name="T40" fmla="*/ 351 w 410"/>
              <a:gd name="T41" fmla="*/ 235 h 470"/>
              <a:gd name="T42" fmla="*/ 273 w 410"/>
              <a:gd name="T43" fmla="*/ 260 h 470"/>
              <a:gd name="T44" fmla="*/ 169 w 410"/>
              <a:gd name="T45" fmla="*/ 263 h 470"/>
              <a:gd name="T46" fmla="*/ 80 w 410"/>
              <a:gd name="T47" fmla="*/ 245 h 470"/>
              <a:gd name="T48" fmla="*/ 32 w 410"/>
              <a:gd name="T49" fmla="*/ 211 h 470"/>
              <a:gd name="T50" fmla="*/ 29 w 410"/>
              <a:gd name="T51" fmla="*/ 148 h 470"/>
              <a:gd name="T52" fmla="*/ 106 w 410"/>
              <a:gd name="T53" fmla="*/ 181 h 470"/>
              <a:gd name="T54" fmla="*/ 255 w 410"/>
              <a:gd name="T55" fmla="*/ 188 h 470"/>
              <a:gd name="T56" fmla="*/ 365 w 410"/>
              <a:gd name="T57" fmla="*/ 158 h 470"/>
              <a:gd name="T58" fmla="*/ 381 w 410"/>
              <a:gd name="T59" fmla="*/ 287 h 470"/>
              <a:gd name="T60" fmla="*/ 360 w 410"/>
              <a:gd name="T61" fmla="*/ 318 h 470"/>
              <a:gd name="T62" fmla="*/ 288 w 410"/>
              <a:gd name="T63" fmla="*/ 344 h 470"/>
              <a:gd name="T64" fmla="*/ 187 w 410"/>
              <a:gd name="T65" fmla="*/ 353 h 470"/>
              <a:gd name="T66" fmla="*/ 93 w 410"/>
              <a:gd name="T67" fmla="*/ 338 h 470"/>
              <a:gd name="T68" fmla="*/ 37 w 410"/>
              <a:gd name="T69" fmla="*/ 307 h 470"/>
              <a:gd name="T70" fmla="*/ 29 w 410"/>
              <a:gd name="T71" fmla="*/ 286 h 470"/>
              <a:gd name="T72" fmla="*/ 79 w 410"/>
              <a:gd name="T73" fmla="*/ 260 h 470"/>
              <a:gd name="T74" fmla="*/ 232 w 410"/>
              <a:gd name="T75" fmla="*/ 278 h 470"/>
              <a:gd name="T76" fmla="*/ 360 w 410"/>
              <a:gd name="T77" fmla="*/ 247 h 470"/>
              <a:gd name="T78" fmla="*/ 380 w 410"/>
              <a:gd name="T79" fmla="*/ 381 h 470"/>
              <a:gd name="T80" fmla="*/ 340 w 410"/>
              <a:gd name="T81" fmla="*/ 417 h 470"/>
              <a:gd name="T82" fmla="*/ 257 w 410"/>
              <a:gd name="T83" fmla="*/ 438 h 470"/>
              <a:gd name="T84" fmla="*/ 152 w 410"/>
              <a:gd name="T85" fmla="*/ 438 h 470"/>
              <a:gd name="T86" fmla="*/ 69 w 410"/>
              <a:gd name="T87" fmla="*/ 417 h 470"/>
              <a:gd name="T88" fmla="*/ 30 w 410"/>
              <a:gd name="T89" fmla="*/ 381 h 470"/>
              <a:gd name="T90" fmla="*/ 59 w 410"/>
              <a:gd name="T91" fmla="*/ 340 h 470"/>
              <a:gd name="T92" fmla="*/ 205 w 410"/>
              <a:gd name="T93" fmla="*/ 367 h 470"/>
              <a:gd name="T94" fmla="*/ 351 w 410"/>
              <a:gd name="T95" fmla="*/ 340 h 470"/>
              <a:gd name="T96" fmla="*/ 205 w 410"/>
              <a:gd name="T97" fmla="*/ 0 h 470"/>
              <a:gd name="T98" fmla="*/ 97 w 410"/>
              <a:gd name="T99" fmla="*/ 14 h 470"/>
              <a:gd name="T100" fmla="*/ 17 w 410"/>
              <a:gd name="T101" fmla="*/ 53 h 470"/>
              <a:gd name="T102" fmla="*/ 1 w 410"/>
              <a:gd name="T103" fmla="*/ 386 h 470"/>
              <a:gd name="T104" fmla="*/ 51 w 410"/>
              <a:gd name="T105" fmla="*/ 440 h 470"/>
              <a:gd name="T106" fmla="*/ 150 w 410"/>
              <a:gd name="T107" fmla="*/ 466 h 470"/>
              <a:gd name="T108" fmla="*/ 261 w 410"/>
              <a:gd name="T109" fmla="*/ 466 h 470"/>
              <a:gd name="T110" fmla="*/ 359 w 410"/>
              <a:gd name="T111" fmla="*/ 440 h 470"/>
              <a:gd name="T112" fmla="*/ 409 w 410"/>
              <a:gd name="T113" fmla="*/ 386 h 470"/>
              <a:gd name="T114" fmla="*/ 392 w 410"/>
              <a:gd name="T115" fmla="*/ 53 h 470"/>
              <a:gd name="T116" fmla="*/ 313 w 410"/>
              <a:gd name="T117" fmla="*/ 14 h 470"/>
              <a:gd name="T118" fmla="*/ 205 w 410"/>
              <a:gd name="T119"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0" h="470">
                <a:moveTo>
                  <a:pt x="205" y="162"/>
                </a:moveTo>
                <a:lnTo>
                  <a:pt x="187" y="161"/>
                </a:lnTo>
                <a:lnTo>
                  <a:pt x="169" y="161"/>
                </a:lnTo>
                <a:lnTo>
                  <a:pt x="152" y="158"/>
                </a:lnTo>
                <a:lnTo>
                  <a:pt x="136" y="157"/>
                </a:lnTo>
                <a:lnTo>
                  <a:pt x="121" y="153"/>
                </a:lnTo>
                <a:lnTo>
                  <a:pt x="106" y="151"/>
                </a:lnTo>
                <a:lnTo>
                  <a:pt x="93" y="147"/>
                </a:lnTo>
                <a:lnTo>
                  <a:pt x="80" y="142"/>
                </a:lnTo>
                <a:lnTo>
                  <a:pt x="69" y="137"/>
                </a:lnTo>
                <a:lnTo>
                  <a:pt x="59" y="132"/>
                </a:lnTo>
                <a:lnTo>
                  <a:pt x="51" y="127"/>
                </a:lnTo>
                <a:lnTo>
                  <a:pt x="43" y="121"/>
                </a:lnTo>
                <a:lnTo>
                  <a:pt x="37" y="115"/>
                </a:lnTo>
                <a:lnTo>
                  <a:pt x="32" y="109"/>
                </a:lnTo>
                <a:lnTo>
                  <a:pt x="30" y="103"/>
                </a:lnTo>
                <a:lnTo>
                  <a:pt x="29" y="95"/>
                </a:lnTo>
                <a:lnTo>
                  <a:pt x="30" y="89"/>
                </a:lnTo>
                <a:lnTo>
                  <a:pt x="32" y="83"/>
                </a:lnTo>
                <a:lnTo>
                  <a:pt x="37" y="77"/>
                </a:lnTo>
                <a:lnTo>
                  <a:pt x="43" y="70"/>
                </a:lnTo>
                <a:lnTo>
                  <a:pt x="51" y="64"/>
                </a:lnTo>
                <a:lnTo>
                  <a:pt x="59" y="59"/>
                </a:lnTo>
                <a:lnTo>
                  <a:pt x="69" y="53"/>
                </a:lnTo>
                <a:lnTo>
                  <a:pt x="80" y="49"/>
                </a:lnTo>
                <a:lnTo>
                  <a:pt x="93" y="44"/>
                </a:lnTo>
                <a:lnTo>
                  <a:pt x="106" y="41"/>
                </a:lnTo>
                <a:lnTo>
                  <a:pt x="121" y="37"/>
                </a:lnTo>
                <a:lnTo>
                  <a:pt x="136" y="35"/>
                </a:lnTo>
                <a:lnTo>
                  <a:pt x="152" y="32"/>
                </a:lnTo>
                <a:lnTo>
                  <a:pt x="169" y="31"/>
                </a:lnTo>
                <a:lnTo>
                  <a:pt x="187" y="30"/>
                </a:lnTo>
                <a:lnTo>
                  <a:pt x="205" y="30"/>
                </a:lnTo>
                <a:lnTo>
                  <a:pt x="223" y="30"/>
                </a:lnTo>
                <a:lnTo>
                  <a:pt x="240" y="31"/>
                </a:lnTo>
                <a:lnTo>
                  <a:pt x="257" y="32"/>
                </a:lnTo>
                <a:lnTo>
                  <a:pt x="273" y="35"/>
                </a:lnTo>
                <a:lnTo>
                  <a:pt x="288" y="37"/>
                </a:lnTo>
                <a:lnTo>
                  <a:pt x="303" y="41"/>
                </a:lnTo>
                <a:lnTo>
                  <a:pt x="317" y="44"/>
                </a:lnTo>
                <a:lnTo>
                  <a:pt x="329" y="49"/>
                </a:lnTo>
                <a:lnTo>
                  <a:pt x="340" y="53"/>
                </a:lnTo>
                <a:lnTo>
                  <a:pt x="351" y="59"/>
                </a:lnTo>
                <a:lnTo>
                  <a:pt x="360" y="64"/>
                </a:lnTo>
                <a:lnTo>
                  <a:pt x="367" y="70"/>
                </a:lnTo>
                <a:lnTo>
                  <a:pt x="372" y="77"/>
                </a:lnTo>
                <a:lnTo>
                  <a:pt x="377" y="83"/>
                </a:lnTo>
                <a:lnTo>
                  <a:pt x="380" y="89"/>
                </a:lnTo>
                <a:lnTo>
                  <a:pt x="381" y="95"/>
                </a:lnTo>
                <a:lnTo>
                  <a:pt x="380" y="103"/>
                </a:lnTo>
                <a:lnTo>
                  <a:pt x="377" y="109"/>
                </a:lnTo>
                <a:lnTo>
                  <a:pt x="372" y="115"/>
                </a:lnTo>
                <a:lnTo>
                  <a:pt x="367" y="121"/>
                </a:lnTo>
                <a:lnTo>
                  <a:pt x="360" y="127"/>
                </a:lnTo>
                <a:lnTo>
                  <a:pt x="351" y="132"/>
                </a:lnTo>
                <a:lnTo>
                  <a:pt x="340" y="137"/>
                </a:lnTo>
                <a:lnTo>
                  <a:pt x="329" y="142"/>
                </a:lnTo>
                <a:lnTo>
                  <a:pt x="317" y="147"/>
                </a:lnTo>
                <a:lnTo>
                  <a:pt x="303" y="151"/>
                </a:lnTo>
                <a:lnTo>
                  <a:pt x="288" y="153"/>
                </a:lnTo>
                <a:lnTo>
                  <a:pt x="273" y="157"/>
                </a:lnTo>
                <a:lnTo>
                  <a:pt x="257" y="158"/>
                </a:lnTo>
                <a:lnTo>
                  <a:pt x="240" y="161"/>
                </a:lnTo>
                <a:lnTo>
                  <a:pt x="223" y="161"/>
                </a:lnTo>
                <a:lnTo>
                  <a:pt x="205" y="162"/>
                </a:lnTo>
                <a:close/>
                <a:moveTo>
                  <a:pt x="336" y="220"/>
                </a:moveTo>
                <a:lnTo>
                  <a:pt x="342" y="219"/>
                </a:lnTo>
                <a:lnTo>
                  <a:pt x="347" y="216"/>
                </a:lnTo>
                <a:lnTo>
                  <a:pt x="350" y="211"/>
                </a:lnTo>
                <a:lnTo>
                  <a:pt x="351" y="205"/>
                </a:lnTo>
                <a:lnTo>
                  <a:pt x="350" y="200"/>
                </a:lnTo>
                <a:lnTo>
                  <a:pt x="347" y="195"/>
                </a:lnTo>
                <a:lnTo>
                  <a:pt x="342" y="192"/>
                </a:lnTo>
                <a:lnTo>
                  <a:pt x="336" y="190"/>
                </a:lnTo>
                <a:lnTo>
                  <a:pt x="331" y="192"/>
                </a:lnTo>
                <a:lnTo>
                  <a:pt x="326" y="195"/>
                </a:lnTo>
                <a:lnTo>
                  <a:pt x="323" y="200"/>
                </a:lnTo>
                <a:lnTo>
                  <a:pt x="321" y="205"/>
                </a:lnTo>
                <a:lnTo>
                  <a:pt x="323" y="211"/>
                </a:lnTo>
                <a:lnTo>
                  <a:pt x="326" y="216"/>
                </a:lnTo>
                <a:lnTo>
                  <a:pt x="331" y="219"/>
                </a:lnTo>
                <a:lnTo>
                  <a:pt x="336" y="220"/>
                </a:lnTo>
                <a:close/>
                <a:moveTo>
                  <a:pt x="336" y="308"/>
                </a:moveTo>
                <a:lnTo>
                  <a:pt x="342" y="307"/>
                </a:lnTo>
                <a:lnTo>
                  <a:pt x="347" y="304"/>
                </a:lnTo>
                <a:lnTo>
                  <a:pt x="350" y="299"/>
                </a:lnTo>
                <a:lnTo>
                  <a:pt x="351" y="293"/>
                </a:lnTo>
                <a:lnTo>
                  <a:pt x="350" y="288"/>
                </a:lnTo>
                <a:lnTo>
                  <a:pt x="347" y="283"/>
                </a:lnTo>
                <a:lnTo>
                  <a:pt x="342" y="281"/>
                </a:lnTo>
                <a:lnTo>
                  <a:pt x="336" y="280"/>
                </a:lnTo>
                <a:lnTo>
                  <a:pt x="331" y="281"/>
                </a:lnTo>
                <a:lnTo>
                  <a:pt x="326" y="283"/>
                </a:lnTo>
                <a:lnTo>
                  <a:pt x="323" y="288"/>
                </a:lnTo>
                <a:lnTo>
                  <a:pt x="321" y="293"/>
                </a:lnTo>
                <a:lnTo>
                  <a:pt x="323" y="299"/>
                </a:lnTo>
                <a:lnTo>
                  <a:pt x="326" y="304"/>
                </a:lnTo>
                <a:lnTo>
                  <a:pt x="331" y="307"/>
                </a:lnTo>
                <a:lnTo>
                  <a:pt x="336" y="308"/>
                </a:lnTo>
                <a:close/>
                <a:moveTo>
                  <a:pt x="336" y="396"/>
                </a:moveTo>
                <a:lnTo>
                  <a:pt x="342" y="395"/>
                </a:lnTo>
                <a:lnTo>
                  <a:pt x="347" y="392"/>
                </a:lnTo>
                <a:lnTo>
                  <a:pt x="350" y="387"/>
                </a:lnTo>
                <a:lnTo>
                  <a:pt x="351" y="382"/>
                </a:lnTo>
                <a:lnTo>
                  <a:pt x="350" y="376"/>
                </a:lnTo>
                <a:lnTo>
                  <a:pt x="347" y="371"/>
                </a:lnTo>
                <a:lnTo>
                  <a:pt x="342" y="369"/>
                </a:lnTo>
                <a:lnTo>
                  <a:pt x="336" y="367"/>
                </a:lnTo>
                <a:lnTo>
                  <a:pt x="331" y="369"/>
                </a:lnTo>
                <a:lnTo>
                  <a:pt x="326" y="371"/>
                </a:lnTo>
                <a:lnTo>
                  <a:pt x="323" y="376"/>
                </a:lnTo>
                <a:lnTo>
                  <a:pt x="321" y="382"/>
                </a:lnTo>
                <a:lnTo>
                  <a:pt x="323" y="387"/>
                </a:lnTo>
                <a:lnTo>
                  <a:pt x="326" y="392"/>
                </a:lnTo>
                <a:lnTo>
                  <a:pt x="331" y="395"/>
                </a:lnTo>
                <a:lnTo>
                  <a:pt x="336" y="396"/>
                </a:lnTo>
                <a:close/>
                <a:moveTo>
                  <a:pt x="381" y="198"/>
                </a:moveTo>
                <a:lnTo>
                  <a:pt x="381" y="198"/>
                </a:lnTo>
                <a:lnTo>
                  <a:pt x="381" y="199"/>
                </a:lnTo>
                <a:lnTo>
                  <a:pt x="381" y="199"/>
                </a:lnTo>
                <a:lnTo>
                  <a:pt x="380" y="205"/>
                </a:lnTo>
                <a:lnTo>
                  <a:pt x="377" y="211"/>
                </a:lnTo>
                <a:lnTo>
                  <a:pt x="372" y="218"/>
                </a:lnTo>
                <a:lnTo>
                  <a:pt x="367" y="224"/>
                </a:lnTo>
                <a:lnTo>
                  <a:pt x="360" y="230"/>
                </a:lnTo>
                <a:lnTo>
                  <a:pt x="351" y="235"/>
                </a:lnTo>
                <a:lnTo>
                  <a:pt x="340" y="240"/>
                </a:lnTo>
                <a:lnTo>
                  <a:pt x="329" y="245"/>
                </a:lnTo>
                <a:lnTo>
                  <a:pt x="317" y="250"/>
                </a:lnTo>
                <a:lnTo>
                  <a:pt x="303" y="254"/>
                </a:lnTo>
                <a:lnTo>
                  <a:pt x="288" y="256"/>
                </a:lnTo>
                <a:lnTo>
                  <a:pt x="273" y="260"/>
                </a:lnTo>
                <a:lnTo>
                  <a:pt x="257" y="261"/>
                </a:lnTo>
                <a:lnTo>
                  <a:pt x="240" y="263"/>
                </a:lnTo>
                <a:lnTo>
                  <a:pt x="223" y="263"/>
                </a:lnTo>
                <a:lnTo>
                  <a:pt x="205" y="265"/>
                </a:lnTo>
                <a:lnTo>
                  <a:pt x="187" y="263"/>
                </a:lnTo>
                <a:lnTo>
                  <a:pt x="169" y="263"/>
                </a:lnTo>
                <a:lnTo>
                  <a:pt x="152" y="261"/>
                </a:lnTo>
                <a:lnTo>
                  <a:pt x="136" y="260"/>
                </a:lnTo>
                <a:lnTo>
                  <a:pt x="121" y="256"/>
                </a:lnTo>
                <a:lnTo>
                  <a:pt x="106" y="254"/>
                </a:lnTo>
                <a:lnTo>
                  <a:pt x="93" y="250"/>
                </a:lnTo>
                <a:lnTo>
                  <a:pt x="80" y="245"/>
                </a:lnTo>
                <a:lnTo>
                  <a:pt x="69" y="240"/>
                </a:lnTo>
                <a:lnTo>
                  <a:pt x="59" y="235"/>
                </a:lnTo>
                <a:lnTo>
                  <a:pt x="51" y="230"/>
                </a:lnTo>
                <a:lnTo>
                  <a:pt x="43" y="224"/>
                </a:lnTo>
                <a:lnTo>
                  <a:pt x="37" y="218"/>
                </a:lnTo>
                <a:lnTo>
                  <a:pt x="32" y="211"/>
                </a:lnTo>
                <a:lnTo>
                  <a:pt x="30" y="205"/>
                </a:lnTo>
                <a:lnTo>
                  <a:pt x="29" y="199"/>
                </a:lnTo>
                <a:lnTo>
                  <a:pt x="29" y="199"/>
                </a:lnTo>
                <a:lnTo>
                  <a:pt x="29" y="198"/>
                </a:lnTo>
                <a:lnTo>
                  <a:pt x="29" y="198"/>
                </a:lnTo>
                <a:lnTo>
                  <a:pt x="29" y="148"/>
                </a:lnTo>
                <a:lnTo>
                  <a:pt x="37" y="153"/>
                </a:lnTo>
                <a:lnTo>
                  <a:pt x="45" y="158"/>
                </a:lnTo>
                <a:lnTo>
                  <a:pt x="53" y="163"/>
                </a:lnTo>
                <a:lnTo>
                  <a:pt x="63" y="167"/>
                </a:lnTo>
                <a:lnTo>
                  <a:pt x="84" y="174"/>
                </a:lnTo>
                <a:lnTo>
                  <a:pt x="106" y="181"/>
                </a:lnTo>
                <a:lnTo>
                  <a:pt x="130" y="186"/>
                </a:lnTo>
                <a:lnTo>
                  <a:pt x="155" y="188"/>
                </a:lnTo>
                <a:lnTo>
                  <a:pt x="179" y="190"/>
                </a:lnTo>
                <a:lnTo>
                  <a:pt x="205" y="190"/>
                </a:lnTo>
                <a:lnTo>
                  <a:pt x="230" y="190"/>
                </a:lnTo>
                <a:lnTo>
                  <a:pt x="255" y="188"/>
                </a:lnTo>
                <a:lnTo>
                  <a:pt x="279" y="186"/>
                </a:lnTo>
                <a:lnTo>
                  <a:pt x="303" y="181"/>
                </a:lnTo>
                <a:lnTo>
                  <a:pt x="325" y="174"/>
                </a:lnTo>
                <a:lnTo>
                  <a:pt x="346" y="167"/>
                </a:lnTo>
                <a:lnTo>
                  <a:pt x="356" y="163"/>
                </a:lnTo>
                <a:lnTo>
                  <a:pt x="365" y="158"/>
                </a:lnTo>
                <a:lnTo>
                  <a:pt x="373" y="153"/>
                </a:lnTo>
                <a:lnTo>
                  <a:pt x="381" y="148"/>
                </a:lnTo>
                <a:lnTo>
                  <a:pt x="381" y="198"/>
                </a:lnTo>
                <a:close/>
                <a:moveTo>
                  <a:pt x="381" y="286"/>
                </a:moveTo>
                <a:lnTo>
                  <a:pt x="381" y="286"/>
                </a:lnTo>
                <a:lnTo>
                  <a:pt x="381" y="287"/>
                </a:lnTo>
                <a:lnTo>
                  <a:pt x="381" y="287"/>
                </a:lnTo>
                <a:lnTo>
                  <a:pt x="380" y="293"/>
                </a:lnTo>
                <a:lnTo>
                  <a:pt x="377" y="301"/>
                </a:lnTo>
                <a:lnTo>
                  <a:pt x="372" y="307"/>
                </a:lnTo>
                <a:lnTo>
                  <a:pt x="367" y="312"/>
                </a:lnTo>
                <a:lnTo>
                  <a:pt x="360" y="318"/>
                </a:lnTo>
                <a:lnTo>
                  <a:pt x="351" y="323"/>
                </a:lnTo>
                <a:lnTo>
                  <a:pt x="340" y="329"/>
                </a:lnTo>
                <a:lnTo>
                  <a:pt x="329" y="333"/>
                </a:lnTo>
                <a:lnTo>
                  <a:pt x="317" y="338"/>
                </a:lnTo>
                <a:lnTo>
                  <a:pt x="303" y="341"/>
                </a:lnTo>
                <a:lnTo>
                  <a:pt x="288" y="344"/>
                </a:lnTo>
                <a:lnTo>
                  <a:pt x="273" y="348"/>
                </a:lnTo>
                <a:lnTo>
                  <a:pt x="257" y="349"/>
                </a:lnTo>
                <a:lnTo>
                  <a:pt x="240" y="351"/>
                </a:lnTo>
                <a:lnTo>
                  <a:pt x="223" y="353"/>
                </a:lnTo>
                <a:lnTo>
                  <a:pt x="205" y="353"/>
                </a:lnTo>
                <a:lnTo>
                  <a:pt x="187" y="353"/>
                </a:lnTo>
                <a:lnTo>
                  <a:pt x="169" y="351"/>
                </a:lnTo>
                <a:lnTo>
                  <a:pt x="152" y="349"/>
                </a:lnTo>
                <a:lnTo>
                  <a:pt x="136" y="348"/>
                </a:lnTo>
                <a:lnTo>
                  <a:pt x="121" y="344"/>
                </a:lnTo>
                <a:lnTo>
                  <a:pt x="106" y="341"/>
                </a:lnTo>
                <a:lnTo>
                  <a:pt x="93" y="338"/>
                </a:lnTo>
                <a:lnTo>
                  <a:pt x="80" y="333"/>
                </a:lnTo>
                <a:lnTo>
                  <a:pt x="69" y="329"/>
                </a:lnTo>
                <a:lnTo>
                  <a:pt x="59" y="323"/>
                </a:lnTo>
                <a:lnTo>
                  <a:pt x="51" y="318"/>
                </a:lnTo>
                <a:lnTo>
                  <a:pt x="43" y="312"/>
                </a:lnTo>
                <a:lnTo>
                  <a:pt x="37" y="307"/>
                </a:lnTo>
                <a:lnTo>
                  <a:pt x="32" y="301"/>
                </a:lnTo>
                <a:lnTo>
                  <a:pt x="30" y="293"/>
                </a:lnTo>
                <a:lnTo>
                  <a:pt x="29" y="287"/>
                </a:lnTo>
                <a:lnTo>
                  <a:pt x="29" y="287"/>
                </a:lnTo>
                <a:lnTo>
                  <a:pt x="29" y="286"/>
                </a:lnTo>
                <a:lnTo>
                  <a:pt x="29" y="286"/>
                </a:lnTo>
                <a:lnTo>
                  <a:pt x="29" y="231"/>
                </a:lnTo>
                <a:lnTo>
                  <a:pt x="35" y="237"/>
                </a:lnTo>
                <a:lnTo>
                  <a:pt x="42" y="242"/>
                </a:lnTo>
                <a:lnTo>
                  <a:pt x="51" y="247"/>
                </a:lnTo>
                <a:lnTo>
                  <a:pt x="59" y="252"/>
                </a:lnTo>
                <a:lnTo>
                  <a:pt x="79" y="260"/>
                </a:lnTo>
                <a:lnTo>
                  <a:pt x="101" y="267"/>
                </a:lnTo>
                <a:lnTo>
                  <a:pt x="125" y="272"/>
                </a:lnTo>
                <a:lnTo>
                  <a:pt x="151" y="276"/>
                </a:lnTo>
                <a:lnTo>
                  <a:pt x="178" y="278"/>
                </a:lnTo>
                <a:lnTo>
                  <a:pt x="205" y="280"/>
                </a:lnTo>
                <a:lnTo>
                  <a:pt x="232" y="278"/>
                </a:lnTo>
                <a:lnTo>
                  <a:pt x="258" y="276"/>
                </a:lnTo>
                <a:lnTo>
                  <a:pt x="284" y="272"/>
                </a:lnTo>
                <a:lnTo>
                  <a:pt x="309" y="267"/>
                </a:lnTo>
                <a:lnTo>
                  <a:pt x="331" y="260"/>
                </a:lnTo>
                <a:lnTo>
                  <a:pt x="351" y="252"/>
                </a:lnTo>
                <a:lnTo>
                  <a:pt x="360" y="247"/>
                </a:lnTo>
                <a:lnTo>
                  <a:pt x="367" y="242"/>
                </a:lnTo>
                <a:lnTo>
                  <a:pt x="375" y="237"/>
                </a:lnTo>
                <a:lnTo>
                  <a:pt x="381" y="231"/>
                </a:lnTo>
                <a:lnTo>
                  <a:pt x="381" y="286"/>
                </a:lnTo>
                <a:close/>
                <a:moveTo>
                  <a:pt x="381" y="375"/>
                </a:moveTo>
                <a:lnTo>
                  <a:pt x="380" y="381"/>
                </a:lnTo>
                <a:lnTo>
                  <a:pt x="377" y="387"/>
                </a:lnTo>
                <a:lnTo>
                  <a:pt x="372" y="393"/>
                </a:lnTo>
                <a:lnTo>
                  <a:pt x="367" y="400"/>
                </a:lnTo>
                <a:lnTo>
                  <a:pt x="360" y="406"/>
                </a:lnTo>
                <a:lnTo>
                  <a:pt x="351" y="411"/>
                </a:lnTo>
                <a:lnTo>
                  <a:pt x="340" y="417"/>
                </a:lnTo>
                <a:lnTo>
                  <a:pt x="329" y="421"/>
                </a:lnTo>
                <a:lnTo>
                  <a:pt x="317" y="426"/>
                </a:lnTo>
                <a:lnTo>
                  <a:pt x="303" y="429"/>
                </a:lnTo>
                <a:lnTo>
                  <a:pt x="288" y="433"/>
                </a:lnTo>
                <a:lnTo>
                  <a:pt x="273" y="435"/>
                </a:lnTo>
                <a:lnTo>
                  <a:pt x="257" y="438"/>
                </a:lnTo>
                <a:lnTo>
                  <a:pt x="240" y="439"/>
                </a:lnTo>
                <a:lnTo>
                  <a:pt x="223" y="440"/>
                </a:lnTo>
                <a:lnTo>
                  <a:pt x="205" y="440"/>
                </a:lnTo>
                <a:lnTo>
                  <a:pt x="187" y="440"/>
                </a:lnTo>
                <a:lnTo>
                  <a:pt x="169" y="439"/>
                </a:lnTo>
                <a:lnTo>
                  <a:pt x="152" y="438"/>
                </a:lnTo>
                <a:lnTo>
                  <a:pt x="136" y="435"/>
                </a:lnTo>
                <a:lnTo>
                  <a:pt x="121" y="433"/>
                </a:lnTo>
                <a:lnTo>
                  <a:pt x="106" y="429"/>
                </a:lnTo>
                <a:lnTo>
                  <a:pt x="93" y="426"/>
                </a:lnTo>
                <a:lnTo>
                  <a:pt x="80" y="421"/>
                </a:lnTo>
                <a:lnTo>
                  <a:pt x="69" y="417"/>
                </a:lnTo>
                <a:lnTo>
                  <a:pt x="59" y="411"/>
                </a:lnTo>
                <a:lnTo>
                  <a:pt x="51" y="406"/>
                </a:lnTo>
                <a:lnTo>
                  <a:pt x="43" y="400"/>
                </a:lnTo>
                <a:lnTo>
                  <a:pt x="37" y="393"/>
                </a:lnTo>
                <a:lnTo>
                  <a:pt x="32" y="387"/>
                </a:lnTo>
                <a:lnTo>
                  <a:pt x="30" y="381"/>
                </a:lnTo>
                <a:lnTo>
                  <a:pt x="29" y="375"/>
                </a:lnTo>
                <a:lnTo>
                  <a:pt x="29" y="319"/>
                </a:lnTo>
                <a:lnTo>
                  <a:pt x="35" y="325"/>
                </a:lnTo>
                <a:lnTo>
                  <a:pt x="42" y="330"/>
                </a:lnTo>
                <a:lnTo>
                  <a:pt x="51" y="335"/>
                </a:lnTo>
                <a:lnTo>
                  <a:pt x="59" y="340"/>
                </a:lnTo>
                <a:lnTo>
                  <a:pt x="79" y="349"/>
                </a:lnTo>
                <a:lnTo>
                  <a:pt x="101" y="355"/>
                </a:lnTo>
                <a:lnTo>
                  <a:pt x="125" y="360"/>
                </a:lnTo>
                <a:lnTo>
                  <a:pt x="151" y="364"/>
                </a:lnTo>
                <a:lnTo>
                  <a:pt x="178" y="366"/>
                </a:lnTo>
                <a:lnTo>
                  <a:pt x="205" y="367"/>
                </a:lnTo>
                <a:lnTo>
                  <a:pt x="232" y="366"/>
                </a:lnTo>
                <a:lnTo>
                  <a:pt x="258" y="364"/>
                </a:lnTo>
                <a:lnTo>
                  <a:pt x="284" y="360"/>
                </a:lnTo>
                <a:lnTo>
                  <a:pt x="309" y="355"/>
                </a:lnTo>
                <a:lnTo>
                  <a:pt x="331" y="349"/>
                </a:lnTo>
                <a:lnTo>
                  <a:pt x="351" y="340"/>
                </a:lnTo>
                <a:lnTo>
                  <a:pt x="360" y="335"/>
                </a:lnTo>
                <a:lnTo>
                  <a:pt x="367" y="330"/>
                </a:lnTo>
                <a:lnTo>
                  <a:pt x="375" y="325"/>
                </a:lnTo>
                <a:lnTo>
                  <a:pt x="381" y="319"/>
                </a:lnTo>
                <a:lnTo>
                  <a:pt x="381" y="375"/>
                </a:lnTo>
                <a:close/>
                <a:moveTo>
                  <a:pt x="205" y="0"/>
                </a:moveTo>
                <a:lnTo>
                  <a:pt x="187" y="1"/>
                </a:lnTo>
                <a:lnTo>
                  <a:pt x="168" y="1"/>
                </a:lnTo>
                <a:lnTo>
                  <a:pt x="150" y="4"/>
                </a:lnTo>
                <a:lnTo>
                  <a:pt x="131" y="6"/>
                </a:lnTo>
                <a:lnTo>
                  <a:pt x="114" y="10"/>
                </a:lnTo>
                <a:lnTo>
                  <a:pt x="97" y="14"/>
                </a:lnTo>
                <a:lnTo>
                  <a:pt x="80" y="18"/>
                </a:lnTo>
                <a:lnTo>
                  <a:pt x="66" y="23"/>
                </a:lnTo>
                <a:lnTo>
                  <a:pt x="51" y="30"/>
                </a:lnTo>
                <a:lnTo>
                  <a:pt x="38" y="37"/>
                </a:lnTo>
                <a:lnTo>
                  <a:pt x="27" y="44"/>
                </a:lnTo>
                <a:lnTo>
                  <a:pt x="17" y="53"/>
                </a:lnTo>
                <a:lnTo>
                  <a:pt x="10" y="63"/>
                </a:lnTo>
                <a:lnTo>
                  <a:pt x="5" y="73"/>
                </a:lnTo>
                <a:lnTo>
                  <a:pt x="1" y="84"/>
                </a:lnTo>
                <a:lnTo>
                  <a:pt x="0" y="95"/>
                </a:lnTo>
                <a:lnTo>
                  <a:pt x="0" y="375"/>
                </a:lnTo>
                <a:lnTo>
                  <a:pt x="1" y="386"/>
                </a:lnTo>
                <a:lnTo>
                  <a:pt x="5" y="397"/>
                </a:lnTo>
                <a:lnTo>
                  <a:pt x="10" y="407"/>
                </a:lnTo>
                <a:lnTo>
                  <a:pt x="17" y="417"/>
                </a:lnTo>
                <a:lnTo>
                  <a:pt x="27" y="426"/>
                </a:lnTo>
                <a:lnTo>
                  <a:pt x="38" y="433"/>
                </a:lnTo>
                <a:lnTo>
                  <a:pt x="51" y="440"/>
                </a:lnTo>
                <a:lnTo>
                  <a:pt x="66" y="447"/>
                </a:lnTo>
                <a:lnTo>
                  <a:pt x="80" y="452"/>
                </a:lnTo>
                <a:lnTo>
                  <a:pt x="97" y="456"/>
                </a:lnTo>
                <a:lnTo>
                  <a:pt x="114" y="460"/>
                </a:lnTo>
                <a:lnTo>
                  <a:pt x="131" y="464"/>
                </a:lnTo>
                <a:lnTo>
                  <a:pt x="150" y="466"/>
                </a:lnTo>
                <a:lnTo>
                  <a:pt x="168" y="469"/>
                </a:lnTo>
                <a:lnTo>
                  <a:pt x="187" y="469"/>
                </a:lnTo>
                <a:lnTo>
                  <a:pt x="205" y="470"/>
                </a:lnTo>
                <a:lnTo>
                  <a:pt x="224" y="469"/>
                </a:lnTo>
                <a:lnTo>
                  <a:pt x="242" y="469"/>
                </a:lnTo>
                <a:lnTo>
                  <a:pt x="261" y="466"/>
                </a:lnTo>
                <a:lnTo>
                  <a:pt x="278" y="464"/>
                </a:lnTo>
                <a:lnTo>
                  <a:pt x="297" y="460"/>
                </a:lnTo>
                <a:lnTo>
                  <a:pt x="313" y="456"/>
                </a:lnTo>
                <a:lnTo>
                  <a:pt x="329" y="452"/>
                </a:lnTo>
                <a:lnTo>
                  <a:pt x="345" y="447"/>
                </a:lnTo>
                <a:lnTo>
                  <a:pt x="359" y="440"/>
                </a:lnTo>
                <a:lnTo>
                  <a:pt x="371" y="433"/>
                </a:lnTo>
                <a:lnTo>
                  <a:pt x="382" y="426"/>
                </a:lnTo>
                <a:lnTo>
                  <a:pt x="392" y="417"/>
                </a:lnTo>
                <a:lnTo>
                  <a:pt x="399" y="407"/>
                </a:lnTo>
                <a:lnTo>
                  <a:pt x="405" y="397"/>
                </a:lnTo>
                <a:lnTo>
                  <a:pt x="409" y="386"/>
                </a:lnTo>
                <a:lnTo>
                  <a:pt x="410" y="375"/>
                </a:lnTo>
                <a:lnTo>
                  <a:pt x="410" y="95"/>
                </a:lnTo>
                <a:lnTo>
                  <a:pt x="409" y="84"/>
                </a:lnTo>
                <a:lnTo>
                  <a:pt x="405" y="73"/>
                </a:lnTo>
                <a:lnTo>
                  <a:pt x="399" y="63"/>
                </a:lnTo>
                <a:lnTo>
                  <a:pt x="392" y="53"/>
                </a:lnTo>
                <a:lnTo>
                  <a:pt x="382" y="44"/>
                </a:lnTo>
                <a:lnTo>
                  <a:pt x="371" y="37"/>
                </a:lnTo>
                <a:lnTo>
                  <a:pt x="359" y="30"/>
                </a:lnTo>
                <a:lnTo>
                  <a:pt x="345" y="23"/>
                </a:lnTo>
                <a:lnTo>
                  <a:pt x="329" y="18"/>
                </a:lnTo>
                <a:lnTo>
                  <a:pt x="313" y="14"/>
                </a:lnTo>
                <a:lnTo>
                  <a:pt x="297" y="10"/>
                </a:lnTo>
                <a:lnTo>
                  <a:pt x="278" y="6"/>
                </a:lnTo>
                <a:lnTo>
                  <a:pt x="261" y="4"/>
                </a:lnTo>
                <a:lnTo>
                  <a:pt x="242" y="1"/>
                </a:lnTo>
                <a:lnTo>
                  <a:pt x="224" y="1"/>
                </a:lnTo>
                <a:lnTo>
                  <a:pt x="205"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2" name="Freeform 21">
            <a:extLst>
              <a:ext uri="{FF2B5EF4-FFF2-40B4-BE49-F238E27FC236}">
                <a16:creationId xmlns:a16="http://schemas.microsoft.com/office/drawing/2014/main" id="{0B71A5BE-AD3A-FA50-36FA-A3CFC3A7BA3E}"/>
              </a:ext>
            </a:extLst>
          </p:cNvPr>
          <p:cNvSpPr>
            <a:spLocks noEditPoints="1"/>
          </p:cNvSpPr>
          <p:nvPr/>
        </p:nvSpPr>
        <p:spPr bwMode="auto">
          <a:xfrm>
            <a:off x="6134100" y="7988258"/>
            <a:ext cx="371475" cy="374650"/>
          </a:xfrm>
          <a:custGeom>
            <a:avLst/>
            <a:gdLst>
              <a:gd name="T0" fmla="*/ 33 w 468"/>
              <a:gd name="T1" fmla="*/ 282 h 470"/>
              <a:gd name="T2" fmla="*/ 72 w 468"/>
              <a:gd name="T3" fmla="*/ 223 h 470"/>
              <a:gd name="T4" fmla="*/ 181 w 468"/>
              <a:gd name="T5" fmla="*/ 150 h 470"/>
              <a:gd name="T6" fmla="*/ 264 w 468"/>
              <a:gd name="T7" fmla="*/ 84 h 470"/>
              <a:gd name="T8" fmla="*/ 328 w 468"/>
              <a:gd name="T9" fmla="*/ 67 h 470"/>
              <a:gd name="T10" fmla="*/ 423 w 468"/>
              <a:gd name="T11" fmla="*/ 210 h 470"/>
              <a:gd name="T12" fmla="*/ 368 w 468"/>
              <a:gd name="T13" fmla="*/ 270 h 470"/>
              <a:gd name="T14" fmla="*/ 247 w 468"/>
              <a:gd name="T15" fmla="*/ 346 h 470"/>
              <a:gd name="T16" fmla="*/ 190 w 468"/>
              <a:gd name="T17" fmla="*/ 406 h 470"/>
              <a:gd name="T18" fmla="*/ 244 w 468"/>
              <a:gd name="T19" fmla="*/ 135 h 470"/>
              <a:gd name="T20" fmla="*/ 242 w 468"/>
              <a:gd name="T21" fmla="*/ 146 h 470"/>
              <a:gd name="T22" fmla="*/ 267 w 468"/>
              <a:gd name="T23" fmla="*/ 136 h 470"/>
              <a:gd name="T24" fmla="*/ 312 w 468"/>
              <a:gd name="T25" fmla="*/ 83 h 470"/>
              <a:gd name="T26" fmla="*/ 302 w 468"/>
              <a:gd name="T27" fmla="*/ 73 h 470"/>
              <a:gd name="T28" fmla="*/ 269 w 468"/>
              <a:gd name="T29" fmla="*/ 114 h 470"/>
              <a:gd name="T30" fmla="*/ 168 w 468"/>
              <a:gd name="T31" fmla="*/ 374 h 470"/>
              <a:gd name="T32" fmla="*/ 158 w 468"/>
              <a:gd name="T33" fmla="*/ 396 h 470"/>
              <a:gd name="T34" fmla="*/ 170 w 468"/>
              <a:gd name="T35" fmla="*/ 395 h 470"/>
              <a:gd name="T36" fmla="*/ 225 w 468"/>
              <a:gd name="T37" fmla="*/ 338 h 470"/>
              <a:gd name="T38" fmla="*/ 225 w 468"/>
              <a:gd name="T39" fmla="*/ 327 h 470"/>
              <a:gd name="T40" fmla="*/ 271 w 468"/>
              <a:gd name="T41" fmla="*/ 262 h 470"/>
              <a:gd name="T42" fmla="*/ 254 w 468"/>
              <a:gd name="T43" fmla="*/ 234 h 470"/>
              <a:gd name="T44" fmla="*/ 274 w 468"/>
              <a:gd name="T45" fmla="*/ 240 h 470"/>
              <a:gd name="T46" fmla="*/ 203 w 468"/>
              <a:gd name="T47" fmla="*/ 229 h 470"/>
              <a:gd name="T48" fmla="*/ 190 w 468"/>
              <a:gd name="T49" fmla="*/ 220 h 470"/>
              <a:gd name="T50" fmla="*/ 196 w 468"/>
              <a:gd name="T51" fmla="*/ 200 h 470"/>
              <a:gd name="T52" fmla="*/ 279 w 468"/>
              <a:gd name="T53" fmla="*/ 214 h 470"/>
              <a:gd name="T54" fmla="*/ 234 w 468"/>
              <a:gd name="T55" fmla="*/ 215 h 470"/>
              <a:gd name="T56" fmla="*/ 220 w 468"/>
              <a:gd name="T57" fmla="*/ 188 h 470"/>
              <a:gd name="T58" fmla="*/ 242 w 468"/>
              <a:gd name="T59" fmla="*/ 186 h 470"/>
              <a:gd name="T60" fmla="*/ 221 w 468"/>
              <a:gd name="T61" fmla="*/ 167 h 470"/>
              <a:gd name="T62" fmla="*/ 190 w 468"/>
              <a:gd name="T63" fmla="*/ 178 h 470"/>
              <a:gd name="T64" fmla="*/ 179 w 468"/>
              <a:gd name="T65" fmla="*/ 179 h 470"/>
              <a:gd name="T66" fmla="*/ 179 w 468"/>
              <a:gd name="T67" fmla="*/ 195 h 470"/>
              <a:gd name="T68" fmla="*/ 175 w 468"/>
              <a:gd name="T69" fmla="*/ 239 h 470"/>
              <a:gd name="T70" fmla="*/ 212 w 468"/>
              <a:gd name="T71" fmla="*/ 251 h 470"/>
              <a:gd name="T72" fmla="*/ 255 w 468"/>
              <a:gd name="T73" fmla="*/ 276 h 470"/>
              <a:gd name="T74" fmla="*/ 234 w 468"/>
              <a:gd name="T75" fmla="*/ 272 h 470"/>
              <a:gd name="T76" fmla="*/ 217 w 468"/>
              <a:gd name="T77" fmla="*/ 276 h 470"/>
              <a:gd name="T78" fmla="*/ 236 w 468"/>
              <a:gd name="T79" fmla="*/ 297 h 470"/>
              <a:gd name="T80" fmla="*/ 278 w 468"/>
              <a:gd name="T81" fmla="*/ 288 h 470"/>
              <a:gd name="T82" fmla="*/ 290 w 468"/>
              <a:gd name="T83" fmla="*/ 289 h 470"/>
              <a:gd name="T84" fmla="*/ 288 w 468"/>
              <a:gd name="T85" fmla="*/ 268 h 470"/>
              <a:gd name="T86" fmla="*/ 291 w 468"/>
              <a:gd name="T87" fmla="*/ 224 h 470"/>
              <a:gd name="T88" fmla="*/ 292 w 468"/>
              <a:gd name="T89" fmla="*/ 0 h 470"/>
              <a:gd name="T90" fmla="*/ 258 w 468"/>
              <a:gd name="T91" fmla="*/ 37 h 470"/>
              <a:gd name="T92" fmla="*/ 169 w 468"/>
              <a:gd name="T93" fmla="*/ 122 h 470"/>
              <a:gd name="T94" fmla="*/ 61 w 468"/>
              <a:gd name="T95" fmla="*/ 193 h 470"/>
              <a:gd name="T96" fmla="*/ 14 w 468"/>
              <a:gd name="T97" fmla="*/ 252 h 470"/>
              <a:gd name="T98" fmla="*/ 3 w 468"/>
              <a:gd name="T99" fmla="*/ 308 h 470"/>
              <a:gd name="T100" fmla="*/ 182 w 468"/>
              <a:gd name="T101" fmla="*/ 469 h 470"/>
              <a:gd name="T102" fmla="*/ 217 w 468"/>
              <a:gd name="T103" fmla="*/ 418 h 470"/>
              <a:gd name="T104" fmla="*/ 322 w 468"/>
              <a:gd name="T105" fmla="*/ 334 h 470"/>
              <a:gd name="T106" fmla="*/ 417 w 468"/>
              <a:gd name="T107" fmla="*/ 266 h 470"/>
              <a:gd name="T108" fmla="*/ 458 w 468"/>
              <a:gd name="T109" fmla="*/ 208 h 470"/>
              <a:gd name="T110" fmla="*/ 459 w 468"/>
              <a:gd name="T111" fmla="*/ 15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8" h="470">
                <a:moveTo>
                  <a:pt x="175" y="440"/>
                </a:moveTo>
                <a:lnTo>
                  <a:pt x="139" y="403"/>
                </a:lnTo>
                <a:lnTo>
                  <a:pt x="102" y="367"/>
                </a:lnTo>
                <a:lnTo>
                  <a:pt x="65" y="330"/>
                </a:lnTo>
                <a:lnTo>
                  <a:pt x="29" y="293"/>
                </a:lnTo>
                <a:lnTo>
                  <a:pt x="33" y="282"/>
                </a:lnTo>
                <a:lnTo>
                  <a:pt x="38" y="270"/>
                </a:lnTo>
                <a:lnTo>
                  <a:pt x="44" y="260"/>
                </a:lnTo>
                <a:lnTo>
                  <a:pt x="50" y="249"/>
                </a:lnTo>
                <a:lnTo>
                  <a:pt x="58" y="240"/>
                </a:lnTo>
                <a:lnTo>
                  <a:pt x="65" y="231"/>
                </a:lnTo>
                <a:lnTo>
                  <a:pt x="72" y="223"/>
                </a:lnTo>
                <a:lnTo>
                  <a:pt x="81" y="214"/>
                </a:lnTo>
                <a:lnTo>
                  <a:pt x="100" y="200"/>
                </a:lnTo>
                <a:lnTo>
                  <a:pt x="119" y="187"/>
                </a:lnTo>
                <a:lnTo>
                  <a:pt x="139" y="174"/>
                </a:lnTo>
                <a:lnTo>
                  <a:pt x="160" y="162"/>
                </a:lnTo>
                <a:lnTo>
                  <a:pt x="181" y="150"/>
                </a:lnTo>
                <a:lnTo>
                  <a:pt x="201" y="137"/>
                </a:lnTo>
                <a:lnTo>
                  <a:pt x="221" y="124"/>
                </a:lnTo>
                <a:lnTo>
                  <a:pt x="239" y="109"/>
                </a:lnTo>
                <a:lnTo>
                  <a:pt x="248" y="101"/>
                </a:lnTo>
                <a:lnTo>
                  <a:pt x="257" y="93"/>
                </a:lnTo>
                <a:lnTo>
                  <a:pt x="264" y="84"/>
                </a:lnTo>
                <a:lnTo>
                  <a:pt x="270" y="74"/>
                </a:lnTo>
                <a:lnTo>
                  <a:pt x="278" y="64"/>
                </a:lnTo>
                <a:lnTo>
                  <a:pt x="283" y="53"/>
                </a:lnTo>
                <a:lnTo>
                  <a:pt x="288" y="42"/>
                </a:lnTo>
                <a:lnTo>
                  <a:pt x="292" y="30"/>
                </a:lnTo>
                <a:lnTo>
                  <a:pt x="328" y="67"/>
                </a:lnTo>
                <a:lnTo>
                  <a:pt x="365" y="103"/>
                </a:lnTo>
                <a:lnTo>
                  <a:pt x="402" y="140"/>
                </a:lnTo>
                <a:lnTo>
                  <a:pt x="438" y="177"/>
                </a:lnTo>
                <a:lnTo>
                  <a:pt x="435" y="188"/>
                </a:lnTo>
                <a:lnTo>
                  <a:pt x="430" y="200"/>
                </a:lnTo>
                <a:lnTo>
                  <a:pt x="423" y="210"/>
                </a:lnTo>
                <a:lnTo>
                  <a:pt x="417" y="221"/>
                </a:lnTo>
                <a:lnTo>
                  <a:pt x="410" y="230"/>
                </a:lnTo>
                <a:lnTo>
                  <a:pt x="402" y="239"/>
                </a:lnTo>
                <a:lnTo>
                  <a:pt x="395" y="247"/>
                </a:lnTo>
                <a:lnTo>
                  <a:pt x="386" y="256"/>
                </a:lnTo>
                <a:lnTo>
                  <a:pt x="368" y="270"/>
                </a:lnTo>
                <a:lnTo>
                  <a:pt x="348" y="283"/>
                </a:lnTo>
                <a:lnTo>
                  <a:pt x="328" y="296"/>
                </a:lnTo>
                <a:lnTo>
                  <a:pt x="307" y="308"/>
                </a:lnTo>
                <a:lnTo>
                  <a:pt x="286" y="320"/>
                </a:lnTo>
                <a:lnTo>
                  <a:pt x="265" y="333"/>
                </a:lnTo>
                <a:lnTo>
                  <a:pt x="247" y="346"/>
                </a:lnTo>
                <a:lnTo>
                  <a:pt x="228" y="361"/>
                </a:lnTo>
                <a:lnTo>
                  <a:pt x="220" y="369"/>
                </a:lnTo>
                <a:lnTo>
                  <a:pt x="211" y="377"/>
                </a:lnTo>
                <a:lnTo>
                  <a:pt x="203" y="386"/>
                </a:lnTo>
                <a:lnTo>
                  <a:pt x="197" y="396"/>
                </a:lnTo>
                <a:lnTo>
                  <a:pt x="190" y="406"/>
                </a:lnTo>
                <a:lnTo>
                  <a:pt x="185" y="417"/>
                </a:lnTo>
                <a:lnTo>
                  <a:pt x="180" y="428"/>
                </a:lnTo>
                <a:lnTo>
                  <a:pt x="175" y="440"/>
                </a:lnTo>
                <a:close/>
                <a:moveTo>
                  <a:pt x="269" y="114"/>
                </a:moveTo>
                <a:lnTo>
                  <a:pt x="257" y="125"/>
                </a:lnTo>
                <a:lnTo>
                  <a:pt x="244" y="135"/>
                </a:lnTo>
                <a:lnTo>
                  <a:pt x="243" y="135"/>
                </a:lnTo>
                <a:lnTo>
                  <a:pt x="242" y="136"/>
                </a:lnTo>
                <a:lnTo>
                  <a:pt x="241" y="139"/>
                </a:lnTo>
                <a:lnTo>
                  <a:pt x="241" y="141"/>
                </a:lnTo>
                <a:lnTo>
                  <a:pt x="241" y="143"/>
                </a:lnTo>
                <a:lnTo>
                  <a:pt x="242" y="146"/>
                </a:lnTo>
                <a:lnTo>
                  <a:pt x="244" y="148"/>
                </a:lnTo>
                <a:lnTo>
                  <a:pt x="248" y="148"/>
                </a:lnTo>
                <a:lnTo>
                  <a:pt x="250" y="148"/>
                </a:lnTo>
                <a:lnTo>
                  <a:pt x="253" y="147"/>
                </a:lnTo>
                <a:lnTo>
                  <a:pt x="253" y="147"/>
                </a:lnTo>
                <a:lnTo>
                  <a:pt x="267" y="136"/>
                </a:lnTo>
                <a:lnTo>
                  <a:pt x="279" y="124"/>
                </a:lnTo>
                <a:lnTo>
                  <a:pt x="290" y="111"/>
                </a:lnTo>
                <a:lnTo>
                  <a:pt x="300" y="99"/>
                </a:lnTo>
                <a:lnTo>
                  <a:pt x="310" y="85"/>
                </a:lnTo>
                <a:lnTo>
                  <a:pt x="310" y="85"/>
                </a:lnTo>
                <a:lnTo>
                  <a:pt x="312" y="83"/>
                </a:lnTo>
                <a:lnTo>
                  <a:pt x="312" y="80"/>
                </a:lnTo>
                <a:lnTo>
                  <a:pt x="311" y="78"/>
                </a:lnTo>
                <a:lnTo>
                  <a:pt x="310" y="75"/>
                </a:lnTo>
                <a:lnTo>
                  <a:pt x="307" y="73"/>
                </a:lnTo>
                <a:lnTo>
                  <a:pt x="305" y="73"/>
                </a:lnTo>
                <a:lnTo>
                  <a:pt x="302" y="73"/>
                </a:lnTo>
                <a:lnTo>
                  <a:pt x="300" y="75"/>
                </a:lnTo>
                <a:lnTo>
                  <a:pt x="299" y="77"/>
                </a:lnTo>
                <a:lnTo>
                  <a:pt x="299" y="77"/>
                </a:lnTo>
                <a:lnTo>
                  <a:pt x="289" y="90"/>
                </a:lnTo>
                <a:lnTo>
                  <a:pt x="279" y="103"/>
                </a:lnTo>
                <a:lnTo>
                  <a:pt x="269" y="114"/>
                </a:lnTo>
                <a:close/>
                <a:moveTo>
                  <a:pt x="215" y="325"/>
                </a:moveTo>
                <a:lnTo>
                  <a:pt x="215" y="325"/>
                </a:lnTo>
                <a:lnTo>
                  <a:pt x="201" y="336"/>
                </a:lnTo>
                <a:lnTo>
                  <a:pt x="189" y="349"/>
                </a:lnTo>
                <a:lnTo>
                  <a:pt x="178" y="361"/>
                </a:lnTo>
                <a:lnTo>
                  <a:pt x="168" y="374"/>
                </a:lnTo>
                <a:lnTo>
                  <a:pt x="158" y="387"/>
                </a:lnTo>
                <a:lnTo>
                  <a:pt x="158" y="387"/>
                </a:lnTo>
                <a:lnTo>
                  <a:pt x="157" y="390"/>
                </a:lnTo>
                <a:lnTo>
                  <a:pt x="157" y="392"/>
                </a:lnTo>
                <a:lnTo>
                  <a:pt x="157" y="395"/>
                </a:lnTo>
                <a:lnTo>
                  <a:pt x="158" y="396"/>
                </a:lnTo>
                <a:lnTo>
                  <a:pt x="160" y="398"/>
                </a:lnTo>
                <a:lnTo>
                  <a:pt x="164" y="398"/>
                </a:lnTo>
                <a:lnTo>
                  <a:pt x="166" y="398"/>
                </a:lnTo>
                <a:lnTo>
                  <a:pt x="169" y="396"/>
                </a:lnTo>
                <a:lnTo>
                  <a:pt x="169" y="396"/>
                </a:lnTo>
                <a:lnTo>
                  <a:pt x="170" y="395"/>
                </a:lnTo>
                <a:lnTo>
                  <a:pt x="179" y="382"/>
                </a:lnTo>
                <a:lnTo>
                  <a:pt x="189" y="370"/>
                </a:lnTo>
                <a:lnTo>
                  <a:pt x="199" y="359"/>
                </a:lnTo>
                <a:lnTo>
                  <a:pt x="211" y="348"/>
                </a:lnTo>
                <a:lnTo>
                  <a:pt x="225" y="338"/>
                </a:lnTo>
                <a:lnTo>
                  <a:pt x="225" y="338"/>
                </a:lnTo>
                <a:lnTo>
                  <a:pt x="225" y="336"/>
                </a:lnTo>
                <a:lnTo>
                  <a:pt x="225" y="336"/>
                </a:lnTo>
                <a:lnTo>
                  <a:pt x="227" y="334"/>
                </a:lnTo>
                <a:lnTo>
                  <a:pt x="227" y="331"/>
                </a:lnTo>
                <a:lnTo>
                  <a:pt x="227" y="329"/>
                </a:lnTo>
                <a:lnTo>
                  <a:pt x="225" y="327"/>
                </a:lnTo>
                <a:lnTo>
                  <a:pt x="222" y="324"/>
                </a:lnTo>
                <a:lnTo>
                  <a:pt x="220" y="324"/>
                </a:lnTo>
                <a:lnTo>
                  <a:pt x="217" y="324"/>
                </a:lnTo>
                <a:lnTo>
                  <a:pt x="215" y="325"/>
                </a:lnTo>
                <a:close/>
                <a:moveTo>
                  <a:pt x="273" y="259"/>
                </a:moveTo>
                <a:lnTo>
                  <a:pt x="271" y="262"/>
                </a:lnTo>
                <a:lnTo>
                  <a:pt x="269" y="265"/>
                </a:lnTo>
                <a:lnTo>
                  <a:pt x="257" y="251"/>
                </a:lnTo>
                <a:lnTo>
                  <a:pt x="244" y="237"/>
                </a:lnTo>
                <a:lnTo>
                  <a:pt x="247" y="236"/>
                </a:lnTo>
                <a:lnTo>
                  <a:pt x="250" y="235"/>
                </a:lnTo>
                <a:lnTo>
                  <a:pt x="254" y="234"/>
                </a:lnTo>
                <a:lnTo>
                  <a:pt x="258" y="233"/>
                </a:lnTo>
                <a:lnTo>
                  <a:pt x="262" y="233"/>
                </a:lnTo>
                <a:lnTo>
                  <a:pt x="265" y="234"/>
                </a:lnTo>
                <a:lnTo>
                  <a:pt x="269" y="235"/>
                </a:lnTo>
                <a:lnTo>
                  <a:pt x="271" y="237"/>
                </a:lnTo>
                <a:lnTo>
                  <a:pt x="274" y="240"/>
                </a:lnTo>
                <a:lnTo>
                  <a:pt x="275" y="244"/>
                </a:lnTo>
                <a:lnTo>
                  <a:pt x="276" y="247"/>
                </a:lnTo>
                <a:lnTo>
                  <a:pt x="275" y="251"/>
                </a:lnTo>
                <a:lnTo>
                  <a:pt x="275" y="255"/>
                </a:lnTo>
                <a:lnTo>
                  <a:pt x="273" y="259"/>
                </a:lnTo>
                <a:close/>
                <a:moveTo>
                  <a:pt x="203" y="229"/>
                </a:moveTo>
                <a:lnTo>
                  <a:pt x="201" y="229"/>
                </a:lnTo>
                <a:lnTo>
                  <a:pt x="199" y="228"/>
                </a:lnTo>
                <a:lnTo>
                  <a:pt x="196" y="226"/>
                </a:lnTo>
                <a:lnTo>
                  <a:pt x="194" y="225"/>
                </a:lnTo>
                <a:lnTo>
                  <a:pt x="191" y="223"/>
                </a:lnTo>
                <a:lnTo>
                  <a:pt x="190" y="220"/>
                </a:lnTo>
                <a:lnTo>
                  <a:pt x="190" y="216"/>
                </a:lnTo>
                <a:lnTo>
                  <a:pt x="190" y="214"/>
                </a:lnTo>
                <a:lnTo>
                  <a:pt x="190" y="210"/>
                </a:lnTo>
                <a:lnTo>
                  <a:pt x="191" y="207"/>
                </a:lnTo>
                <a:lnTo>
                  <a:pt x="194" y="203"/>
                </a:lnTo>
                <a:lnTo>
                  <a:pt x="196" y="200"/>
                </a:lnTo>
                <a:lnTo>
                  <a:pt x="207" y="211"/>
                </a:lnTo>
                <a:lnTo>
                  <a:pt x="218" y="224"/>
                </a:lnTo>
                <a:lnTo>
                  <a:pt x="211" y="228"/>
                </a:lnTo>
                <a:lnTo>
                  <a:pt x="203" y="229"/>
                </a:lnTo>
                <a:close/>
                <a:moveTo>
                  <a:pt x="286" y="219"/>
                </a:moveTo>
                <a:lnTo>
                  <a:pt x="279" y="214"/>
                </a:lnTo>
                <a:lnTo>
                  <a:pt x="271" y="210"/>
                </a:lnTo>
                <a:lnTo>
                  <a:pt x="264" y="209"/>
                </a:lnTo>
                <a:lnTo>
                  <a:pt x="257" y="209"/>
                </a:lnTo>
                <a:lnTo>
                  <a:pt x="249" y="210"/>
                </a:lnTo>
                <a:lnTo>
                  <a:pt x="242" y="213"/>
                </a:lnTo>
                <a:lnTo>
                  <a:pt x="234" y="215"/>
                </a:lnTo>
                <a:lnTo>
                  <a:pt x="227" y="219"/>
                </a:lnTo>
                <a:lnTo>
                  <a:pt x="216" y="205"/>
                </a:lnTo>
                <a:lnTo>
                  <a:pt x="203" y="193"/>
                </a:lnTo>
                <a:lnTo>
                  <a:pt x="210" y="189"/>
                </a:lnTo>
                <a:lnTo>
                  <a:pt x="215" y="188"/>
                </a:lnTo>
                <a:lnTo>
                  <a:pt x="220" y="188"/>
                </a:lnTo>
                <a:lnTo>
                  <a:pt x="223" y="189"/>
                </a:lnTo>
                <a:lnTo>
                  <a:pt x="228" y="189"/>
                </a:lnTo>
                <a:lnTo>
                  <a:pt x="232" y="190"/>
                </a:lnTo>
                <a:lnTo>
                  <a:pt x="236" y="190"/>
                </a:lnTo>
                <a:lnTo>
                  <a:pt x="239" y="189"/>
                </a:lnTo>
                <a:lnTo>
                  <a:pt x="242" y="186"/>
                </a:lnTo>
                <a:lnTo>
                  <a:pt x="243" y="182"/>
                </a:lnTo>
                <a:lnTo>
                  <a:pt x="242" y="178"/>
                </a:lnTo>
                <a:lnTo>
                  <a:pt x="239" y="173"/>
                </a:lnTo>
                <a:lnTo>
                  <a:pt x="234" y="169"/>
                </a:lnTo>
                <a:lnTo>
                  <a:pt x="228" y="167"/>
                </a:lnTo>
                <a:lnTo>
                  <a:pt x="221" y="167"/>
                </a:lnTo>
                <a:lnTo>
                  <a:pt x="215" y="167"/>
                </a:lnTo>
                <a:lnTo>
                  <a:pt x="207" y="169"/>
                </a:lnTo>
                <a:lnTo>
                  <a:pt x="201" y="172"/>
                </a:lnTo>
                <a:lnTo>
                  <a:pt x="196" y="176"/>
                </a:lnTo>
                <a:lnTo>
                  <a:pt x="191" y="179"/>
                </a:lnTo>
                <a:lnTo>
                  <a:pt x="190" y="178"/>
                </a:lnTo>
                <a:lnTo>
                  <a:pt x="189" y="177"/>
                </a:lnTo>
                <a:lnTo>
                  <a:pt x="186" y="176"/>
                </a:lnTo>
                <a:lnTo>
                  <a:pt x="185" y="176"/>
                </a:lnTo>
                <a:lnTo>
                  <a:pt x="182" y="177"/>
                </a:lnTo>
                <a:lnTo>
                  <a:pt x="180" y="178"/>
                </a:lnTo>
                <a:lnTo>
                  <a:pt x="179" y="179"/>
                </a:lnTo>
                <a:lnTo>
                  <a:pt x="179" y="182"/>
                </a:lnTo>
                <a:lnTo>
                  <a:pt x="180" y="184"/>
                </a:lnTo>
                <a:lnTo>
                  <a:pt x="181" y="186"/>
                </a:lnTo>
                <a:lnTo>
                  <a:pt x="182" y="187"/>
                </a:lnTo>
                <a:lnTo>
                  <a:pt x="184" y="188"/>
                </a:lnTo>
                <a:lnTo>
                  <a:pt x="179" y="195"/>
                </a:lnTo>
                <a:lnTo>
                  <a:pt x="175" y="203"/>
                </a:lnTo>
                <a:lnTo>
                  <a:pt x="171" y="210"/>
                </a:lnTo>
                <a:lnTo>
                  <a:pt x="170" y="219"/>
                </a:lnTo>
                <a:lnTo>
                  <a:pt x="170" y="226"/>
                </a:lnTo>
                <a:lnTo>
                  <a:pt x="171" y="233"/>
                </a:lnTo>
                <a:lnTo>
                  <a:pt x="175" y="239"/>
                </a:lnTo>
                <a:lnTo>
                  <a:pt x="180" y="245"/>
                </a:lnTo>
                <a:lnTo>
                  <a:pt x="186" y="249"/>
                </a:lnTo>
                <a:lnTo>
                  <a:pt x="191" y="250"/>
                </a:lnTo>
                <a:lnTo>
                  <a:pt x="197" y="252"/>
                </a:lnTo>
                <a:lnTo>
                  <a:pt x="205" y="252"/>
                </a:lnTo>
                <a:lnTo>
                  <a:pt x="212" y="251"/>
                </a:lnTo>
                <a:lnTo>
                  <a:pt x="220" y="250"/>
                </a:lnTo>
                <a:lnTo>
                  <a:pt x="227" y="246"/>
                </a:lnTo>
                <a:lnTo>
                  <a:pt x="236" y="242"/>
                </a:lnTo>
                <a:lnTo>
                  <a:pt x="248" y="257"/>
                </a:lnTo>
                <a:lnTo>
                  <a:pt x="262" y="272"/>
                </a:lnTo>
                <a:lnTo>
                  <a:pt x="255" y="276"/>
                </a:lnTo>
                <a:lnTo>
                  <a:pt x="252" y="277"/>
                </a:lnTo>
                <a:lnTo>
                  <a:pt x="247" y="278"/>
                </a:lnTo>
                <a:lnTo>
                  <a:pt x="244" y="277"/>
                </a:lnTo>
                <a:lnTo>
                  <a:pt x="241" y="276"/>
                </a:lnTo>
                <a:lnTo>
                  <a:pt x="237" y="275"/>
                </a:lnTo>
                <a:lnTo>
                  <a:pt x="234" y="272"/>
                </a:lnTo>
                <a:lnTo>
                  <a:pt x="232" y="271"/>
                </a:lnTo>
                <a:lnTo>
                  <a:pt x="228" y="270"/>
                </a:lnTo>
                <a:lnTo>
                  <a:pt x="226" y="270"/>
                </a:lnTo>
                <a:lnTo>
                  <a:pt x="223" y="270"/>
                </a:lnTo>
                <a:lnTo>
                  <a:pt x="220" y="272"/>
                </a:lnTo>
                <a:lnTo>
                  <a:pt x="217" y="276"/>
                </a:lnTo>
                <a:lnTo>
                  <a:pt x="216" y="280"/>
                </a:lnTo>
                <a:lnTo>
                  <a:pt x="217" y="283"/>
                </a:lnTo>
                <a:lnTo>
                  <a:pt x="220" y="288"/>
                </a:lnTo>
                <a:lnTo>
                  <a:pt x="223" y="292"/>
                </a:lnTo>
                <a:lnTo>
                  <a:pt x="229" y="294"/>
                </a:lnTo>
                <a:lnTo>
                  <a:pt x="236" y="297"/>
                </a:lnTo>
                <a:lnTo>
                  <a:pt x="242" y="298"/>
                </a:lnTo>
                <a:lnTo>
                  <a:pt x="249" y="298"/>
                </a:lnTo>
                <a:lnTo>
                  <a:pt x="258" y="296"/>
                </a:lnTo>
                <a:lnTo>
                  <a:pt x="265" y="292"/>
                </a:lnTo>
                <a:lnTo>
                  <a:pt x="274" y="284"/>
                </a:lnTo>
                <a:lnTo>
                  <a:pt x="278" y="288"/>
                </a:lnTo>
                <a:lnTo>
                  <a:pt x="281" y="292"/>
                </a:lnTo>
                <a:lnTo>
                  <a:pt x="284" y="293"/>
                </a:lnTo>
                <a:lnTo>
                  <a:pt x="285" y="293"/>
                </a:lnTo>
                <a:lnTo>
                  <a:pt x="288" y="293"/>
                </a:lnTo>
                <a:lnTo>
                  <a:pt x="290" y="291"/>
                </a:lnTo>
                <a:lnTo>
                  <a:pt x="290" y="289"/>
                </a:lnTo>
                <a:lnTo>
                  <a:pt x="291" y="287"/>
                </a:lnTo>
                <a:lnTo>
                  <a:pt x="290" y="284"/>
                </a:lnTo>
                <a:lnTo>
                  <a:pt x="289" y="283"/>
                </a:lnTo>
                <a:lnTo>
                  <a:pt x="285" y="280"/>
                </a:lnTo>
                <a:lnTo>
                  <a:pt x="281" y="277"/>
                </a:lnTo>
                <a:lnTo>
                  <a:pt x="288" y="268"/>
                </a:lnTo>
                <a:lnTo>
                  <a:pt x="291" y="260"/>
                </a:lnTo>
                <a:lnTo>
                  <a:pt x="295" y="252"/>
                </a:lnTo>
                <a:lnTo>
                  <a:pt x="296" y="244"/>
                </a:lnTo>
                <a:lnTo>
                  <a:pt x="296" y="236"/>
                </a:lnTo>
                <a:lnTo>
                  <a:pt x="295" y="230"/>
                </a:lnTo>
                <a:lnTo>
                  <a:pt x="291" y="224"/>
                </a:lnTo>
                <a:lnTo>
                  <a:pt x="286" y="219"/>
                </a:lnTo>
                <a:close/>
                <a:moveTo>
                  <a:pt x="459" y="156"/>
                </a:moveTo>
                <a:lnTo>
                  <a:pt x="313" y="9"/>
                </a:lnTo>
                <a:lnTo>
                  <a:pt x="307" y="5"/>
                </a:lnTo>
                <a:lnTo>
                  <a:pt x="300" y="1"/>
                </a:lnTo>
                <a:lnTo>
                  <a:pt x="292" y="0"/>
                </a:lnTo>
                <a:lnTo>
                  <a:pt x="285" y="1"/>
                </a:lnTo>
                <a:lnTo>
                  <a:pt x="278" y="4"/>
                </a:lnTo>
                <a:lnTo>
                  <a:pt x="271" y="9"/>
                </a:lnTo>
                <a:lnTo>
                  <a:pt x="268" y="15"/>
                </a:lnTo>
                <a:lnTo>
                  <a:pt x="264" y="21"/>
                </a:lnTo>
                <a:lnTo>
                  <a:pt x="258" y="37"/>
                </a:lnTo>
                <a:lnTo>
                  <a:pt x="250" y="52"/>
                </a:lnTo>
                <a:lnTo>
                  <a:pt x="241" y="66"/>
                </a:lnTo>
                <a:lnTo>
                  <a:pt x="229" y="78"/>
                </a:lnTo>
                <a:lnTo>
                  <a:pt x="211" y="94"/>
                </a:lnTo>
                <a:lnTo>
                  <a:pt x="191" y="109"/>
                </a:lnTo>
                <a:lnTo>
                  <a:pt x="169" y="122"/>
                </a:lnTo>
                <a:lnTo>
                  <a:pt x="145" y="136"/>
                </a:lnTo>
                <a:lnTo>
                  <a:pt x="121" y="151"/>
                </a:lnTo>
                <a:lnTo>
                  <a:pt x="96" y="167"/>
                </a:lnTo>
                <a:lnTo>
                  <a:pt x="84" y="176"/>
                </a:lnTo>
                <a:lnTo>
                  <a:pt x="72" y="184"/>
                </a:lnTo>
                <a:lnTo>
                  <a:pt x="61" y="193"/>
                </a:lnTo>
                <a:lnTo>
                  <a:pt x="50" y="204"/>
                </a:lnTo>
                <a:lnTo>
                  <a:pt x="42" y="213"/>
                </a:lnTo>
                <a:lnTo>
                  <a:pt x="34" y="223"/>
                </a:lnTo>
                <a:lnTo>
                  <a:pt x="27" y="231"/>
                </a:lnTo>
                <a:lnTo>
                  <a:pt x="21" y="241"/>
                </a:lnTo>
                <a:lnTo>
                  <a:pt x="14" y="252"/>
                </a:lnTo>
                <a:lnTo>
                  <a:pt x="9" y="262"/>
                </a:lnTo>
                <a:lnTo>
                  <a:pt x="5" y="273"/>
                </a:lnTo>
                <a:lnTo>
                  <a:pt x="1" y="284"/>
                </a:lnTo>
                <a:lnTo>
                  <a:pt x="0" y="293"/>
                </a:lnTo>
                <a:lnTo>
                  <a:pt x="1" y="301"/>
                </a:lnTo>
                <a:lnTo>
                  <a:pt x="3" y="308"/>
                </a:lnTo>
                <a:lnTo>
                  <a:pt x="8" y="314"/>
                </a:lnTo>
                <a:lnTo>
                  <a:pt x="154" y="461"/>
                </a:lnTo>
                <a:lnTo>
                  <a:pt x="160" y="465"/>
                </a:lnTo>
                <a:lnTo>
                  <a:pt x="168" y="469"/>
                </a:lnTo>
                <a:lnTo>
                  <a:pt x="175" y="470"/>
                </a:lnTo>
                <a:lnTo>
                  <a:pt x="182" y="469"/>
                </a:lnTo>
                <a:lnTo>
                  <a:pt x="190" y="466"/>
                </a:lnTo>
                <a:lnTo>
                  <a:pt x="196" y="461"/>
                </a:lnTo>
                <a:lnTo>
                  <a:pt x="200" y="455"/>
                </a:lnTo>
                <a:lnTo>
                  <a:pt x="203" y="449"/>
                </a:lnTo>
                <a:lnTo>
                  <a:pt x="210" y="433"/>
                </a:lnTo>
                <a:lnTo>
                  <a:pt x="217" y="418"/>
                </a:lnTo>
                <a:lnTo>
                  <a:pt x="227" y="404"/>
                </a:lnTo>
                <a:lnTo>
                  <a:pt x="238" y="392"/>
                </a:lnTo>
                <a:lnTo>
                  <a:pt x="257" y="376"/>
                </a:lnTo>
                <a:lnTo>
                  <a:pt x="276" y="361"/>
                </a:lnTo>
                <a:lnTo>
                  <a:pt x="299" y="348"/>
                </a:lnTo>
                <a:lnTo>
                  <a:pt x="322" y="334"/>
                </a:lnTo>
                <a:lnTo>
                  <a:pt x="347" y="319"/>
                </a:lnTo>
                <a:lnTo>
                  <a:pt x="372" y="303"/>
                </a:lnTo>
                <a:lnTo>
                  <a:pt x="384" y="294"/>
                </a:lnTo>
                <a:lnTo>
                  <a:pt x="395" y="286"/>
                </a:lnTo>
                <a:lnTo>
                  <a:pt x="406" y="277"/>
                </a:lnTo>
                <a:lnTo>
                  <a:pt x="417" y="266"/>
                </a:lnTo>
                <a:lnTo>
                  <a:pt x="426" y="257"/>
                </a:lnTo>
                <a:lnTo>
                  <a:pt x="433" y="247"/>
                </a:lnTo>
                <a:lnTo>
                  <a:pt x="441" y="239"/>
                </a:lnTo>
                <a:lnTo>
                  <a:pt x="447" y="229"/>
                </a:lnTo>
                <a:lnTo>
                  <a:pt x="453" y="218"/>
                </a:lnTo>
                <a:lnTo>
                  <a:pt x="458" y="208"/>
                </a:lnTo>
                <a:lnTo>
                  <a:pt x="463" y="197"/>
                </a:lnTo>
                <a:lnTo>
                  <a:pt x="467" y="186"/>
                </a:lnTo>
                <a:lnTo>
                  <a:pt x="468" y="177"/>
                </a:lnTo>
                <a:lnTo>
                  <a:pt x="467" y="169"/>
                </a:lnTo>
                <a:lnTo>
                  <a:pt x="464" y="162"/>
                </a:lnTo>
                <a:lnTo>
                  <a:pt x="459" y="15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3" name="Freeform 22">
            <a:extLst>
              <a:ext uri="{FF2B5EF4-FFF2-40B4-BE49-F238E27FC236}">
                <a16:creationId xmlns:a16="http://schemas.microsoft.com/office/drawing/2014/main" id="{2232198C-6641-ADC4-F7DC-7FEBB321E208}"/>
              </a:ext>
            </a:extLst>
          </p:cNvPr>
          <p:cNvSpPr>
            <a:spLocks noEditPoints="1"/>
          </p:cNvSpPr>
          <p:nvPr/>
        </p:nvSpPr>
        <p:spPr bwMode="auto">
          <a:xfrm>
            <a:off x="5327650" y="7988258"/>
            <a:ext cx="373063" cy="374650"/>
          </a:xfrm>
          <a:custGeom>
            <a:avLst/>
            <a:gdLst>
              <a:gd name="T0" fmla="*/ 103 w 468"/>
              <a:gd name="T1" fmla="*/ 178 h 470"/>
              <a:gd name="T2" fmla="*/ 65 w 468"/>
              <a:gd name="T3" fmla="*/ 190 h 470"/>
              <a:gd name="T4" fmla="*/ 37 w 468"/>
              <a:gd name="T5" fmla="*/ 173 h 470"/>
              <a:gd name="T6" fmla="*/ 29 w 468"/>
              <a:gd name="T7" fmla="*/ 141 h 470"/>
              <a:gd name="T8" fmla="*/ 42 w 468"/>
              <a:gd name="T9" fmla="*/ 116 h 470"/>
              <a:gd name="T10" fmla="*/ 80 w 468"/>
              <a:gd name="T11" fmla="*/ 104 h 470"/>
              <a:gd name="T12" fmla="*/ 108 w 468"/>
              <a:gd name="T13" fmla="*/ 121 h 470"/>
              <a:gd name="T14" fmla="*/ 116 w 468"/>
              <a:gd name="T15" fmla="*/ 153 h 470"/>
              <a:gd name="T16" fmla="*/ 269 w 468"/>
              <a:gd name="T17" fmla="*/ 349 h 470"/>
              <a:gd name="T18" fmla="*/ 233 w 468"/>
              <a:gd name="T19" fmla="*/ 367 h 470"/>
              <a:gd name="T20" fmla="*/ 199 w 468"/>
              <a:gd name="T21" fmla="*/ 349 h 470"/>
              <a:gd name="T22" fmla="*/ 190 w 468"/>
              <a:gd name="T23" fmla="*/ 323 h 470"/>
              <a:gd name="T24" fmla="*/ 199 w 468"/>
              <a:gd name="T25" fmla="*/ 297 h 470"/>
              <a:gd name="T26" fmla="*/ 233 w 468"/>
              <a:gd name="T27" fmla="*/ 280 h 470"/>
              <a:gd name="T28" fmla="*/ 269 w 468"/>
              <a:gd name="T29" fmla="*/ 297 h 470"/>
              <a:gd name="T30" fmla="*/ 278 w 468"/>
              <a:gd name="T31" fmla="*/ 323 h 470"/>
              <a:gd name="T32" fmla="*/ 228 w 468"/>
              <a:gd name="T33" fmla="*/ 439 h 470"/>
              <a:gd name="T34" fmla="*/ 248 w 468"/>
              <a:gd name="T35" fmla="*/ 395 h 470"/>
              <a:gd name="T36" fmla="*/ 244 w 468"/>
              <a:gd name="T37" fmla="*/ 33 h 470"/>
              <a:gd name="T38" fmla="*/ 218 w 468"/>
              <a:gd name="T39" fmla="*/ 44 h 470"/>
              <a:gd name="T40" fmla="*/ 251 w 468"/>
              <a:gd name="T41" fmla="*/ 4 h 470"/>
              <a:gd name="T42" fmla="*/ 194 w 468"/>
              <a:gd name="T43" fmla="*/ 27 h 470"/>
              <a:gd name="T44" fmla="*/ 165 w 468"/>
              <a:gd name="T45" fmla="*/ 298 h 470"/>
              <a:gd name="T46" fmla="*/ 173 w 468"/>
              <a:gd name="T47" fmla="*/ 364 h 470"/>
              <a:gd name="T48" fmla="*/ 202 w 468"/>
              <a:gd name="T49" fmla="*/ 456 h 470"/>
              <a:gd name="T50" fmla="*/ 264 w 468"/>
              <a:gd name="T51" fmla="*/ 456 h 470"/>
              <a:gd name="T52" fmla="*/ 295 w 468"/>
              <a:gd name="T53" fmla="*/ 364 h 470"/>
              <a:gd name="T54" fmla="*/ 302 w 468"/>
              <a:gd name="T55" fmla="*/ 298 h 470"/>
              <a:gd name="T56" fmla="*/ 436 w 468"/>
              <a:gd name="T57" fmla="*/ 162 h 470"/>
              <a:gd name="T58" fmla="*/ 421 w 468"/>
              <a:gd name="T59" fmla="*/ 182 h 470"/>
              <a:gd name="T60" fmla="*/ 368 w 468"/>
              <a:gd name="T61" fmla="*/ 182 h 470"/>
              <a:gd name="T62" fmla="*/ 353 w 468"/>
              <a:gd name="T63" fmla="*/ 162 h 470"/>
              <a:gd name="T64" fmla="*/ 353 w 468"/>
              <a:gd name="T65" fmla="*/ 132 h 470"/>
              <a:gd name="T66" fmla="*/ 368 w 468"/>
              <a:gd name="T67" fmla="*/ 113 h 470"/>
              <a:gd name="T68" fmla="*/ 421 w 468"/>
              <a:gd name="T69" fmla="*/ 113 h 470"/>
              <a:gd name="T70" fmla="*/ 436 w 468"/>
              <a:gd name="T71" fmla="*/ 132 h 470"/>
              <a:gd name="T72" fmla="*/ 409 w 468"/>
              <a:gd name="T73" fmla="*/ 432 h 470"/>
              <a:gd name="T74" fmla="*/ 380 w 468"/>
              <a:gd name="T75" fmla="*/ 219 h 470"/>
              <a:gd name="T76" fmla="*/ 384 w 468"/>
              <a:gd name="T77" fmla="*/ 33 h 470"/>
              <a:gd name="T78" fmla="*/ 403 w 468"/>
              <a:gd name="T79" fmla="*/ 74 h 470"/>
              <a:gd name="T80" fmla="*/ 435 w 468"/>
              <a:gd name="T81" fmla="*/ 27 h 470"/>
              <a:gd name="T82" fmla="*/ 378 w 468"/>
              <a:gd name="T83" fmla="*/ 4 h 470"/>
              <a:gd name="T84" fmla="*/ 344 w 468"/>
              <a:gd name="T85" fmla="*/ 94 h 470"/>
              <a:gd name="T86" fmla="*/ 322 w 468"/>
              <a:gd name="T87" fmla="*/ 156 h 470"/>
              <a:gd name="T88" fmla="*/ 351 w 468"/>
              <a:gd name="T89" fmla="*/ 426 h 470"/>
              <a:gd name="T90" fmla="*/ 395 w 468"/>
              <a:gd name="T91" fmla="*/ 470 h 470"/>
              <a:gd name="T92" fmla="*/ 438 w 468"/>
              <a:gd name="T93" fmla="*/ 426 h 470"/>
              <a:gd name="T94" fmla="*/ 468 w 468"/>
              <a:gd name="T95" fmla="*/ 156 h 470"/>
              <a:gd name="T96" fmla="*/ 445 w 468"/>
              <a:gd name="T97" fmla="*/ 94 h 470"/>
              <a:gd name="T98" fmla="*/ 63 w 468"/>
              <a:gd name="T99" fmla="*/ 437 h 470"/>
              <a:gd name="T100" fmla="*/ 87 w 468"/>
              <a:gd name="T101" fmla="*/ 426 h 470"/>
              <a:gd name="T102" fmla="*/ 86 w 468"/>
              <a:gd name="T103" fmla="*/ 38 h 470"/>
              <a:gd name="T104" fmla="*/ 117 w 468"/>
              <a:gd name="T105" fmla="*/ 89 h 470"/>
              <a:gd name="T106" fmla="*/ 81 w 468"/>
              <a:gd name="T107" fmla="*/ 1 h 470"/>
              <a:gd name="T108" fmla="*/ 29 w 468"/>
              <a:gd name="T109" fmla="*/ 36 h 470"/>
              <a:gd name="T110" fmla="*/ 1 w 468"/>
              <a:gd name="T111" fmla="*/ 130 h 470"/>
              <a:gd name="T112" fmla="*/ 17 w 468"/>
              <a:gd name="T113" fmla="*/ 194 h 470"/>
              <a:gd name="T114" fmla="*/ 48 w 468"/>
              <a:gd name="T115" fmla="*/ 463 h 470"/>
              <a:gd name="T116" fmla="*/ 108 w 468"/>
              <a:gd name="T117" fmla="*/ 450 h 470"/>
              <a:gd name="T118" fmla="*/ 138 w 468"/>
              <a:gd name="T119" fmla="*/ 181 h 470"/>
              <a:gd name="T120" fmla="*/ 138 w 468"/>
              <a:gd name="T121" fmla="*/ 114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8" h="470">
                <a:moveTo>
                  <a:pt x="115" y="160"/>
                </a:moveTo>
                <a:lnTo>
                  <a:pt x="115" y="161"/>
                </a:lnTo>
                <a:lnTo>
                  <a:pt x="113" y="162"/>
                </a:lnTo>
                <a:lnTo>
                  <a:pt x="111" y="167"/>
                </a:lnTo>
                <a:lnTo>
                  <a:pt x="108" y="172"/>
                </a:lnTo>
                <a:lnTo>
                  <a:pt x="108" y="173"/>
                </a:lnTo>
                <a:lnTo>
                  <a:pt x="108" y="173"/>
                </a:lnTo>
                <a:lnTo>
                  <a:pt x="103" y="178"/>
                </a:lnTo>
                <a:lnTo>
                  <a:pt x="99" y="182"/>
                </a:lnTo>
                <a:lnTo>
                  <a:pt x="99" y="182"/>
                </a:lnTo>
                <a:lnTo>
                  <a:pt x="99" y="182"/>
                </a:lnTo>
                <a:lnTo>
                  <a:pt x="94" y="186"/>
                </a:lnTo>
                <a:lnTo>
                  <a:pt x="87" y="188"/>
                </a:lnTo>
                <a:lnTo>
                  <a:pt x="80" y="190"/>
                </a:lnTo>
                <a:lnTo>
                  <a:pt x="73" y="190"/>
                </a:lnTo>
                <a:lnTo>
                  <a:pt x="65" y="190"/>
                </a:lnTo>
                <a:lnTo>
                  <a:pt x="58" y="188"/>
                </a:lnTo>
                <a:lnTo>
                  <a:pt x="52" y="186"/>
                </a:lnTo>
                <a:lnTo>
                  <a:pt x="47" y="182"/>
                </a:lnTo>
                <a:lnTo>
                  <a:pt x="47" y="182"/>
                </a:lnTo>
                <a:lnTo>
                  <a:pt x="47" y="182"/>
                </a:lnTo>
                <a:lnTo>
                  <a:pt x="42" y="178"/>
                </a:lnTo>
                <a:lnTo>
                  <a:pt x="37" y="173"/>
                </a:lnTo>
                <a:lnTo>
                  <a:pt x="37" y="173"/>
                </a:lnTo>
                <a:lnTo>
                  <a:pt x="37" y="172"/>
                </a:lnTo>
                <a:lnTo>
                  <a:pt x="34" y="167"/>
                </a:lnTo>
                <a:lnTo>
                  <a:pt x="32" y="162"/>
                </a:lnTo>
                <a:lnTo>
                  <a:pt x="31" y="161"/>
                </a:lnTo>
                <a:lnTo>
                  <a:pt x="31" y="160"/>
                </a:lnTo>
                <a:lnTo>
                  <a:pt x="29" y="153"/>
                </a:lnTo>
                <a:lnTo>
                  <a:pt x="28" y="147"/>
                </a:lnTo>
                <a:lnTo>
                  <a:pt x="29" y="141"/>
                </a:lnTo>
                <a:lnTo>
                  <a:pt x="31" y="135"/>
                </a:lnTo>
                <a:lnTo>
                  <a:pt x="31" y="134"/>
                </a:lnTo>
                <a:lnTo>
                  <a:pt x="32" y="132"/>
                </a:lnTo>
                <a:lnTo>
                  <a:pt x="34" y="126"/>
                </a:lnTo>
                <a:lnTo>
                  <a:pt x="37" y="121"/>
                </a:lnTo>
                <a:lnTo>
                  <a:pt x="37" y="121"/>
                </a:lnTo>
                <a:lnTo>
                  <a:pt x="37" y="121"/>
                </a:lnTo>
                <a:lnTo>
                  <a:pt x="42" y="116"/>
                </a:lnTo>
                <a:lnTo>
                  <a:pt x="47" y="113"/>
                </a:lnTo>
                <a:lnTo>
                  <a:pt x="47" y="113"/>
                </a:lnTo>
                <a:lnTo>
                  <a:pt x="47" y="113"/>
                </a:lnTo>
                <a:lnTo>
                  <a:pt x="52" y="109"/>
                </a:lnTo>
                <a:lnTo>
                  <a:pt x="58" y="105"/>
                </a:lnTo>
                <a:lnTo>
                  <a:pt x="65" y="104"/>
                </a:lnTo>
                <a:lnTo>
                  <a:pt x="73" y="103"/>
                </a:lnTo>
                <a:lnTo>
                  <a:pt x="80" y="104"/>
                </a:lnTo>
                <a:lnTo>
                  <a:pt x="87" y="105"/>
                </a:lnTo>
                <a:lnTo>
                  <a:pt x="94" y="109"/>
                </a:lnTo>
                <a:lnTo>
                  <a:pt x="99" y="113"/>
                </a:lnTo>
                <a:lnTo>
                  <a:pt x="99" y="113"/>
                </a:lnTo>
                <a:lnTo>
                  <a:pt x="99" y="113"/>
                </a:lnTo>
                <a:lnTo>
                  <a:pt x="103" y="116"/>
                </a:lnTo>
                <a:lnTo>
                  <a:pt x="108" y="121"/>
                </a:lnTo>
                <a:lnTo>
                  <a:pt x="108" y="121"/>
                </a:lnTo>
                <a:lnTo>
                  <a:pt x="108" y="121"/>
                </a:lnTo>
                <a:lnTo>
                  <a:pt x="111" y="126"/>
                </a:lnTo>
                <a:lnTo>
                  <a:pt x="113" y="132"/>
                </a:lnTo>
                <a:lnTo>
                  <a:pt x="115" y="134"/>
                </a:lnTo>
                <a:lnTo>
                  <a:pt x="115" y="135"/>
                </a:lnTo>
                <a:lnTo>
                  <a:pt x="116" y="141"/>
                </a:lnTo>
                <a:lnTo>
                  <a:pt x="117" y="147"/>
                </a:lnTo>
                <a:lnTo>
                  <a:pt x="116" y="153"/>
                </a:lnTo>
                <a:lnTo>
                  <a:pt x="115" y="160"/>
                </a:lnTo>
                <a:close/>
                <a:moveTo>
                  <a:pt x="275" y="335"/>
                </a:moveTo>
                <a:lnTo>
                  <a:pt x="275" y="336"/>
                </a:lnTo>
                <a:lnTo>
                  <a:pt x="275" y="338"/>
                </a:lnTo>
                <a:lnTo>
                  <a:pt x="273" y="344"/>
                </a:lnTo>
                <a:lnTo>
                  <a:pt x="269" y="349"/>
                </a:lnTo>
                <a:lnTo>
                  <a:pt x="269" y="349"/>
                </a:lnTo>
                <a:lnTo>
                  <a:pt x="269" y="349"/>
                </a:lnTo>
                <a:lnTo>
                  <a:pt x="265" y="354"/>
                </a:lnTo>
                <a:lnTo>
                  <a:pt x="260" y="357"/>
                </a:lnTo>
                <a:lnTo>
                  <a:pt x="260" y="357"/>
                </a:lnTo>
                <a:lnTo>
                  <a:pt x="260" y="357"/>
                </a:lnTo>
                <a:lnTo>
                  <a:pt x="254" y="361"/>
                </a:lnTo>
                <a:lnTo>
                  <a:pt x="248" y="364"/>
                </a:lnTo>
                <a:lnTo>
                  <a:pt x="241" y="366"/>
                </a:lnTo>
                <a:lnTo>
                  <a:pt x="233" y="367"/>
                </a:lnTo>
                <a:lnTo>
                  <a:pt x="226" y="366"/>
                </a:lnTo>
                <a:lnTo>
                  <a:pt x="218" y="364"/>
                </a:lnTo>
                <a:lnTo>
                  <a:pt x="213" y="361"/>
                </a:lnTo>
                <a:lnTo>
                  <a:pt x="207" y="357"/>
                </a:lnTo>
                <a:lnTo>
                  <a:pt x="207" y="357"/>
                </a:lnTo>
                <a:lnTo>
                  <a:pt x="207" y="357"/>
                </a:lnTo>
                <a:lnTo>
                  <a:pt x="202" y="354"/>
                </a:lnTo>
                <a:lnTo>
                  <a:pt x="199" y="349"/>
                </a:lnTo>
                <a:lnTo>
                  <a:pt x="199" y="349"/>
                </a:lnTo>
                <a:lnTo>
                  <a:pt x="197" y="349"/>
                </a:lnTo>
                <a:lnTo>
                  <a:pt x="195" y="344"/>
                </a:lnTo>
                <a:lnTo>
                  <a:pt x="192" y="338"/>
                </a:lnTo>
                <a:lnTo>
                  <a:pt x="192" y="336"/>
                </a:lnTo>
                <a:lnTo>
                  <a:pt x="191" y="335"/>
                </a:lnTo>
                <a:lnTo>
                  <a:pt x="190" y="329"/>
                </a:lnTo>
                <a:lnTo>
                  <a:pt x="190" y="323"/>
                </a:lnTo>
                <a:lnTo>
                  <a:pt x="190" y="317"/>
                </a:lnTo>
                <a:lnTo>
                  <a:pt x="191" y="310"/>
                </a:lnTo>
                <a:lnTo>
                  <a:pt x="192" y="309"/>
                </a:lnTo>
                <a:lnTo>
                  <a:pt x="192" y="308"/>
                </a:lnTo>
                <a:lnTo>
                  <a:pt x="195" y="303"/>
                </a:lnTo>
                <a:lnTo>
                  <a:pt x="197" y="298"/>
                </a:lnTo>
                <a:lnTo>
                  <a:pt x="199" y="297"/>
                </a:lnTo>
                <a:lnTo>
                  <a:pt x="199" y="297"/>
                </a:lnTo>
                <a:lnTo>
                  <a:pt x="202" y="292"/>
                </a:lnTo>
                <a:lnTo>
                  <a:pt x="207" y="288"/>
                </a:lnTo>
                <a:lnTo>
                  <a:pt x="207" y="288"/>
                </a:lnTo>
                <a:lnTo>
                  <a:pt x="207" y="288"/>
                </a:lnTo>
                <a:lnTo>
                  <a:pt x="213" y="284"/>
                </a:lnTo>
                <a:lnTo>
                  <a:pt x="218" y="282"/>
                </a:lnTo>
                <a:lnTo>
                  <a:pt x="226" y="280"/>
                </a:lnTo>
                <a:lnTo>
                  <a:pt x="233" y="280"/>
                </a:lnTo>
                <a:lnTo>
                  <a:pt x="241" y="280"/>
                </a:lnTo>
                <a:lnTo>
                  <a:pt x="248" y="282"/>
                </a:lnTo>
                <a:lnTo>
                  <a:pt x="254" y="284"/>
                </a:lnTo>
                <a:lnTo>
                  <a:pt x="260" y="288"/>
                </a:lnTo>
                <a:lnTo>
                  <a:pt x="260" y="288"/>
                </a:lnTo>
                <a:lnTo>
                  <a:pt x="260" y="288"/>
                </a:lnTo>
                <a:lnTo>
                  <a:pt x="265" y="292"/>
                </a:lnTo>
                <a:lnTo>
                  <a:pt x="269" y="297"/>
                </a:lnTo>
                <a:lnTo>
                  <a:pt x="269" y="297"/>
                </a:lnTo>
                <a:lnTo>
                  <a:pt x="269" y="298"/>
                </a:lnTo>
                <a:lnTo>
                  <a:pt x="273" y="303"/>
                </a:lnTo>
                <a:lnTo>
                  <a:pt x="275" y="308"/>
                </a:lnTo>
                <a:lnTo>
                  <a:pt x="275" y="309"/>
                </a:lnTo>
                <a:lnTo>
                  <a:pt x="275" y="310"/>
                </a:lnTo>
                <a:lnTo>
                  <a:pt x="277" y="317"/>
                </a:lnTo>
                <a:lnTo>
                  <a:pt x="278" y="323"/>
                </a:lnTo>
                <a:lnTo>
                  <a:pt x="277" y="329"/>
                </a:lnTo>
                <a:lnTo>
                  <a:pt x="275" y="335"/>
                </a:lnTo>
                <a:close/>
                <a:moveTo>
                  <a:pt x="248" y="426"/>
                </a:moveTo>
                <a:lnTo>
                  <a:pt x="247" y="432"/>
                </a:lnTo>
                <a:lnTo>
                  <a:pt x="244" y="437"/>
                </a:lnTo>
                <a:lnTo>
                  <a:pt x="239" y="439"/>
                </a:lnTo>
                <a:lnTo>
                  <a:pt x="233" y="440"/>
                </a:lnTo>
                <a:lnTo>
                  <a:pt x="228" y="439"/>
                </a:lnTo>
                <a:lnTo>
                  <a:pt x="223" y="437"/>
                </a:lnTo>
                <a:lnTo>
                  <a:pt x="220" y="432"/>
                </a:lnTo>
                <a:lnTo>
                  <a:pt x="218" y="426"/>
                </a:lnTo>
                <a:lnTo>
                  <a:pt x="218" y="395"/>
                </a:lnTo>
                <a:lnTo>
                  <a:pt x="226" y="396"/>
                </a:lnTo>
                <a:lnTo>
                  <a:pt x="233" y="396"/>
                </a:lnTo>
                <a:lnTo>
                  <a:pt x="241" y="396"/>
                </a:lnTo>
                <a:lnTo>
                  <a:pt x="248" y="395"/>
                </a:lnTo>
                <a:lnTo>
                  <a:pt x="248" y="426"/>
                </a:lnTo>
                <a:close/>
                <a:moveTo>
                  <a:pt x="218" y="44"/>
                </a:moveTo>
                <a:lnTo>
                  <a:pt x="220" y="38"/>
                </a:lnTo>
                <a:lnTo>
                  <a:pt x="223" y="33"/>
                </a:lnTo>
                <a:lnTo>
                  <a:pt x="228" y="31"/>
                </a:lnTo>
                <a:lnTo>
                  <a:pt x="233" y="30"/>
                </a:lnTo>
                <a:lnTo>
                  <a:pt x="239" y="31"/>
                </a:lnTo>
                <a:lnTo>
                  <a:pt x="244" y="33"/>
                </a:lnTo>
                <a:lnTo>
                  <a:pt x="247" y="38"/>
                </a:lnTo>
                <a:lnTo>
                  <a:pt x="248" y="44"/>
                </a:lnTo>
                <a:lnTo>
                  <a:pt x="248" y="251"/>
                </a:lnTo>
                <a:lnTo>
                  <a:pt x="241" y="250"/>
                </a:lnTo>
                <a:lnTo>
                  <a:pt x="233" y="250"/>
                </a:lnTo>
                <a:lnTo>
                  <a:pt x="226" y="250"/>
                </a:lnTo>
                <a:lnTo>
                  <a:pt x="218" y="251"/>
                </a:lnTo>
                <a:lnTo>
                  <a:pt x="218" y="44"/>
                </a:lnTo>
                <a:close/>
                <a:moveTo>
                  <a:pt x="278" y="265"/>
                </a:moveTo>
                <a:lnTo>
                  <a:pt x="278" y="44"/>
                </a:lnTo>
                <a:lnTo>
                  <a:pt x="277" y="36"/>
                </a:lnTo>
                <a:lnTo>
                  <a:pt x="274" y="27"/>
                </a:lnTo>
                <a:lnTo>
                  <a:pt x="270" y="20"/>
                </a:lnTo>
                <a:lnTo>
                  <a:pt x="264" y="14"/>
                </a:lnTo>
                <a:lnTo>
                  <a:pt x="258" y="7"/>
                </a:lnTo>
                <a:lnTo>
                  <a:pt x="251" y="4"/>
                </a:lnTo>
                <a:lnTo>
                  <a:pt x="243" y="1"/>
                </a:lnTo>
                <a:lnTo>
                  <a:pt x="233" y="0"/>
                </a:lnTo>
                <a:lnTo>
                  <a:pt x="225" y="1"/>
                </a:lnTo>
                <a:lnTo>
                  <a:pt x="217" y="4"/>
                </a:lnTo>
                <a:lnTo>
                  <a:pt x="209" y="7"/>
                </a:lnTo>
                <a:lnTo>
                  <a:pt x="202" y="14"/>
                </a:lnTo>
                <a:lnTo>
                  <a:pt x="197" y="20"/>
                </a:lnTo>
                <a:lnTo>
                  <a:pt x="194" y="27"/>
                </a:lnTo>
                <a:lnTo>
                  <a:pt x="191" y="36"/>
                </a:lnTo>
                <a:lnTo>
                  <a:pt x="190" y="44"/>
                </a:lnTo>
                <a:lnTo>
                  <a:pt x="190" y="265"/>
                </a:lnTo>
                <a:lnTo>
                  <a:pt x="184" y="270"/>
                </a:lnTo>
                <a:lnTo>
                  <a:pt x="178" y="276"/>
                </a:lnTo>
                <a:lnTo>
                  <a:pt x="173" y="283"/>
                </a:lnTo>
                <a:lnTo>
                  <a:pt x="169" y="289"/>
                </a:lnTo>
                <a:lnTo>
                  <a:pt x="165" y="298"/>
                </a:lnTo>
                <a:lnTo>
                  <a:pt x="163" y="306"/>
                </a:lnTo>
                <a:lnTo>
                  <a:pt x="162" y="314"/>
                </a:lnTo>
                <a:lnTo>
                  <a:pt x="160" y="323"/>
                </a:lnTo>
                <a:lnTo>
                  <a:pt x="162" y="331"/>
                </a:lnTo>
                <a:lnTo>
                  <a:pt x="163" y="340"/>
                </a:lnTo>
                <a:lnTo>
                  <a:pt x="165" y="349"/>
                </a:lnTo>
                <a:lnTo>
                  <a:pt x="169" y="356"/>
                </a:lnTo>
                <a:lnTo>
                  <a:pt x="173" y="364"/>
                </a:lnTo>
                <a:lnTo>
                  <a:pt x="178" y="370"/>
                </a:lnTo>
                <a:lnTo>
                  <a:pt x="184" y="376"/>
                </a:lnTo>
                <a:lnTo>
                  <a:pt x="190" y="381"/>
                </a:lnTo>
                <a:lnTo>
                  <a:pt x="190" y="426"/>
                </a:lnTo>
                <a:lnTo>
                  <a:pt x="191" y="434"/>
                </a:lnTo>
                <a:lnTo>
                  <a:pt x="194" y="443"/>
                </a:lnTo>
                <a:lnTo>
                  <a:pt x="197" y="450"/>
                </a:lnTo>
                <a:lnTo>
                  <a:pt x="202" y="456"/>
                </a:lnTo>
                <a:lnTo>
                  <a:pt x="209" y="463"/>
                </a:lnTo>
                <a:lnTo>
                  <a:pt x="217" y="466"/>
                </a:lnTo>
                <a:lnTo>
                  <a:pt x="225" y="469"/>
                </a:lnTo>
                <a:lnTo>
                  <a:pt x="233" y="470"/>
                </a:lnTo>
                <a:lnTo>
                  <a:pt x="243" y="469"/>
                </a:lnTo>
                <a:lnTo>
                  <a:pt x="251" y="466"/>
                </a:lnTo>
                <a:lnTo>
                  <a:pt x="258" y="463"/>
                </a:lnTo>
                <a:lnTo>
                  <a:pt x="264" y="456"/>
                </a:lnTo>
                <a:lnTo>
                  <a:pt x="270" y="450"/>
                </a:lnTo>
                <a:lnTo>
                  <a:pt x="274" y="443"/>
                </a:lnTo>
                <a:lnTo>
                  <a:pt x="277" y="434"/>
                </a:lnTo>
                <a:lnTo>
                  <a:pt x="278" y="426"/>
                </a:lnTo>
                <a:lnTo>
                  <a:pt x="278" y="381"/>
                </a:lnTo>
                <a:lnTo>
                  <a:pt x="284" y="376"/>
                </a:lnTo>
                <a:lnTo>
                  <a:pt x="290" y="370"/>
                </a:lnTo>
                <a:lnTo>
                  <a:pt x="295" y="364"/>
                </a:lnTo>
                <a:lnTo>
                  <a:pt x="299" y="356"/>
                </a:lnTo>
                <a:lnTo>
                  <a:pt x="302" y="349"/>
                </a:lnTo>
                <a:lnTo>
                  <a:pt x="305" y="340"/>
                </a:lnTo>
                <a:lnTo>
                  <a:pt x="306" y="331"/>
                </a:lnTo>
                <a:lnTo>
                  <a:pt x="307" y="323"/>
                </a:lnTo>
                <a:lnTo>
                  <a:pt x="306" y="314"/>
                </a:lnTo>
                <a:lnTo>
                  <a:pt x="305" y="306"/>
                </a:lnTo>
                <a:lnTo>
                  <a:pt x="302" y="298"/>
                </a:lnTo>
                <a:lnTo>
                  <a:pt x="299" y="289"/>
                </a:lnTo>
                <a:lnTo>
                  <a:pt x="295" y="283"/>
                </a:lnTo>
                <a:lnTo>
                  <a:pt x="290" y="276"/>
                </a:lnTo>
                <a:lnTo>
                  <a:pt x="284" y="270"/>
                </a:lnTo>
                <a:lnTo>
                  <a:pt x="278" y="265"/>
                </a:lnTo>
                <a:close/>
                <a:moveTo>
                  <a:pt x="437" y="160"/>
                </a:moveTo>
                <a:lnTo>
                  <a:pt x="436" y="161"/>
                </a:lnTo>
                <a:lnTo>
                  <a:pt x="436" y="162"/>
                </a:lnTo>
                <a:lnTo>
                  <a:pt x="433" y="167"/>
                </a:lnTo>
                <a:lnTo>
                  <a:pt x="431" y="172"/>
                </a:lnTo>
                <a:lnTo>
                  <a:pt x="431" y="173"/>
                </a:lnTo>
                <a:lnTo>
                  <a:pt x="430" y="173"/>
                </a:lnTo>
                <a:lnTo>
                  <a:pt x="426" y="178"/>
                </a:lnTo>
                <a:lnTo>
                  <a:pt x="421" y="182"/>
                </a:lnTo>
                <a:lnTo>
                  <a:pt x="421" y="182"/>
                </a:lnTo>
                <a:lnTo>
                  <a:pt x="421" y="182"/>
                </a:lnTo>
                <a:lnTo>
                  <a:pt x="416" y="186"/>
                </a:lnTo>
                <a:lnTo>
                  <a:pt x="410" y="188"/>
                </a:lnTo>
                <a:lnTo>
                  <a:pt x="403" y="190"/>
                </a:lnTo>
                <a:lnTo>
                  <a:pt x="395" y="190"/>
                </a:lnTo>
                <a:lnTo>
                  <a:pt x="388" y="190"/>
                </a:lnTo>
                <a:lnTo>
                  <a:pt x="380" y="188"/>
                </a:lnTo>
                <a:lnTo>
                  <a:pt x="374" y="186"/>
                </a:lnTo>
                <a:lnTo>
                  <a:pt x="368" y="182"/>
                </a:lnTo>
                <a:lnTo>
                  <a:pt x="368" y="182"/>
                </a:lnTo>
                <a:lnTo>
                  <a:pt x="368" y="182"/>
                </a:lnTo>
                <a:lnTo>
                  <a:pt x="363" y="178"/>
                </a:lnTo>
                <a:lnTo>
                  <a:pt x="359" y="173"/>
                </a:lnTo>
                <a:lnTo>
                  <a:pt x="359" y="173"/>
                </a:lnTo>
                <a:lnTo>
                  <a:pt x="359" y="172"/>
                </a:lnTo>
                <a:lnTo>
                  <a:pt x="356" y="167"/>
                </a:lnTo>
                <a:lnTo>
                  <a:pt x="353" y="162"/>
                </a:lnTo>
                <a:lnTo>
                  <a:pt x="353" y="161"/>
                </a:lnTo>
                <a:lnTo>
                  <a:pt x="353" y="160"/>
                </a:lnTo>
                <a:lnTo>
                  <a:pt x="352" y="153"/>
                </a:lnTo>
                <a:lnTo>
                  <a:pt x="351" y="147"/>
                </a:lnTo>
                <a:lnTo>
                  <a:pt x="352" y="141"/>
                </a:lnTo>
                <a:lnTo>
                  <a:pt x="353" y="135"/>
                </a:lnTo>
                <a:lnTo>
                  <a:pt x="353" y="134"/>
                </a:lnTo>
                <a:lnTo>
                  <a:pt x="353" y="132"/>
                </a:lnTo>
                <a:lnTo>
                  <a:pt x="356" y="126"/>
                </a:lnTo>
                <a:lnTo>
                  <a:pt x="359" y="121"/>
                </a:lnTo>
                <a:lnTo>
                  <a:pt x="359" y="121"/>
                </a:lnTo>
                <a:lnTo>
                  <a:pt x="359" y="121"/>
                </a:lnTo>
                <a:lnTo>
                  <a:pt x="363" y="116"/>
                </a:lnTo>
                <a:lnTo>
                  <a:pt x="368" y="113"/>
                </a:lnTo>
                <a:lnTo>
                  <a:pt x="368" y="113"/>
                </a:lnTo>
                <a:lnTo>
                  <a:pt x="368" y="113"/>
                </a:lnTo>
                <a:lnTo>
                  <a:pt x="374" y="109"/>
                </a:lnTo>
                <a:lnTo>
                  <a:pt x="380" y="105"/>
                </a:lnTo>
                <a:lnTo>
                  <a:pt x="388" y="104"/>
                </a:lnTo>
                <a:lnTo>
                  <a:pt x="395" y="103"/>
                </a:lnTo>
                <a:lnTo>
                  <a:pt x="403" y="104"/>
                </a:lnTo>
                <a:lnTo>
                  <a:pt x="410" y="105"/>
                </a:lnTo>
                <a:lnTo>
                  <a:pt x="416" y="109"/>
                </a:lnTo>
                <a:lnTo>
                  <a:pt x="421" y="113"/>
                </a:lnTo>
                <a:lnTo>
                  <a:pt x="421" y="113"/>
                </a:lnTo>
                <a:lnTo>
                  <a:pt x="421" y="113"/>
                </a:lnTo>
                <a:lnTo>
                  <a:pt x="426" y="116"/>
                </a:lnTo>
                <a:lnTo>
                  <a:pt x="430" y="121"/>
                </a:lnTo>
                <a:lnTo>
                  <a:pt x="431" y="121"/>
                </a:lnTo>
                <a:lnTo>
                  <a:pt x="431" y="121"/>
                </a:lnTo>
                <a:lnTo>
                  <a:pt x="433" y="126"/>
                </a:lnTo>
                <a:lnTo>
                  <a:pt x="436" y="132"/>
                </a:lnTo>
                <a:lnTo>
                  <a:pt x="436" y="134"/>
                </a:lnTo>
                <a:lnTo>
                  <a:pt x="437" y="135"/>
                </a:lnTo>
                <a:lnTo>
                  <a:pt x="438" y="141"/>
                </a:lnTo>
                <a:lnTo>
                  <a:pt x="438" y="147"/>
                </a:lnTo>
                <a:lnTo>
                  <a:pt x="438" y="153"/>
                </a:lnTo>
                <a:lnTo>
                  <a:pt x="437" y="160"/>
                </a:lnTo>
                <a:close/>
                <a:moveTo>
                  <a:pt x="410" y="426"/>
                </a:moveTo>
                <a:lnTo>
                  <a:pt x="409" y="432"/>
                </a:lnTo>
                <a:lnTo>
                  <a:pt x="405" y="437"/>
                </a:lnTo>
                <a:lnTo>
                  <a:pt x="400" y="439"/>
                </a:lnTo>
                <a:lnTo>
                  <a:pt x="395" y="440"/>
                </a:lnTo>
                <a:lnTo>
                  <a:pt x="389" y="439"/>
                </a:lnTo>
                <a:lnTo>
                  <a:pt x="384" y="437"/>
                </a:lnTo>
                <a:lnTo>
                  <a:pt x="382" y="432"/>
                </a:lnTo>
                <a:lnTo>
                  <a:pt x="380" y="426"/>
                </a:lnTo>
                <a:lnTo>
                  <a:pt x="380" y="219"/>
                </a:lnTo>
                <a:lnTo>
                  <a:pt x="388" y="220"/>
                </a:lnTo>
                <a:lnTo>
                  <a:pt x="395" y="220"/>
                </a:lnTo>
                <a:lnTo>
                  <a:pt x="403" y="220"/>
                </a:lnTo>
                <a:lnTo>
                  <a:pt x="410" y="219"/>
                </a:lnTo>
                <a:lnTo>
                  <a:pt x="410" y="426"/>
                </a:lnTo>
                <a:close/>
                <a:moveTo>
                  <a:pt x="380" y="44"/>
                </a:moveTo>
                <a:lnTo>
                  <a:pt x="382" y="38"/>
                </a:lnTo>
                <a:lnTo>
                  <a:pt x="384" y="33"/>
                </a:lnTo>
                <a:lnTo>
                  <a:pt x="389" y="31"/>
                </a:lnTo>
                <a:lnTo>
                  <a:pt x="395" y="30"/>
                </a:lnTo>
                <a:lnTo>
                  <a:pt x="400" y="31"/>
                </a:lnTo>
                <a:lnTo>
                  <a:pt x="405" y="33"/>
                </a:lnTo>
                <a:lnTo>
                  <a:pt x="409" y="38"/>
                </a:lnTo>
                <a:lnTo>
                  <a:pt x="410" y="44"/>
                </a:lnTo>
                <a:lnTo>
                  <a:pt x="410" y="75"/>
                </a:lnTo>
                <a:lnTo>
                  <a:pt x="403" y="74"/>
                </a:lnTo>
                <a:lnTo>
                  <a:pt x="395" y="74"/>
                </a:lnTo>
                <a:lnTo>
                  <a:pt x="388" y="74"/>
                </a:lnTo>
                <a:lnTo>
                  <a:pt x="380" y="75"/>
                </a:lnTo>
                <a:lnTo>
                  <a:pt x="380" y="44"/>
                </a:lnTo>
                <a:close/>
                <a:moveTo>
                  <a:pt x="438" y="89"/>
                </a:moveTo>
                <a:lnTo>
                  <a:pt x="438" y="44"/>
                </a:lnTo>
                <a:lnTo>
                  <a:pt x="438" y="36"/>
                </a:lnTo>
                <a:lnTo>
                  <a:pt x="435" y="27"/>
                </a:lnTo>
                <a:lnTo>
                  <a:pt x="431" y="20"/>
                </a:lnTo>
                <a:lnTo>
                  <a:pt x="426" y="14"/>
                </a:lnTo>
                <a:lnTo>
                  <a:pt x="420" y="7"/>
                </a:lnTo>
                <a:lnTo>
                  <a:pt x="412" y="4"/>
                </a:lnTo>
                <a:lnTo>
                  <a:pt x="404" y="1"/>
                </a:lnTo>
                <a:lnTo>
                  <a:pt x="395" y="0"/>
                </a:lnTo>
                <a:lnTo>
                  <a:pt x="387" y="1"/>
                </a:lnTo>
                <a:lnTo>
                  <a:pt x="378" y="4"/>
                </a:lnTo>
                <a:lnTo>
                  <a:pt x="370" y="7"/>
                </a:lnTo>
                <a:lnTo>
                  <a:pt x="364" y="14"/>
                </a:lnTo>
                <a:lnTo>
                  <a:pt x="358" y="20"/>
                </a:lnTo>
                <a:lnTo>
                  <a:pt x="354" y="27"/>
                </a:lnTo>
                <a:lnTo>
                  <a:pt x="352" y="36"/>
                </a:lnTo>
                <a:lnTo>
                  <a:pt x="351" y="44"/>
                </a:lnTo>
                <a:lnTo>
                  <a:pt x="351" y="89"/>
                </a:lnTo>
                <a:lnTo>
                  <a:pt x="344" y="94"/>
                </a:lnTo>
                <a:lnTo>
                  <a:pt x="338" y="100"/>
                </a:lnTo>
                <a:lnTo>
                  <a:pt x="333" y="106"/>
                </a:lnTo>
                <a:lnTo>
                  <a:pt x="330" y="114"/>
                </a:lnTo>
                <a:lnTo>
                  <a:pt x="326" y="121"/>
                </a:lnTo>
                <a:lnTo>
                  <a:pt x="323" y="130"/>
                </a:lnTo>
                <a:lnTo>
                  <a:pt x="322" y="139"/>
                </a:lnTo>
                <a:lnTo>
                  <a:pt x="321" y="147"/>
                </a:lnTo>
                <a:lnTo>
                  <a:pt x="322" y="156"/>
                </a:lnTo>
                <a:lnTo>
                  <a:pt x="323" y="164"/>
                </a:lnTo>
                <a:lnTo>
                  <a:pt x="326" y="172"/>
                </a:lnTo>
                <a:lnTo>
                  <a:pt x="330" y="181"/>
                </a:lnTo>
                <a:lnTo>
                  <a:pt x="333" y="187"/>
                </a:lnTo>
                <a:lnTo>
                  <a:pt x="338" y="194"/>
                </a:lnTo>
                <a:lnTo>
                  <a:pt x="344" y="200"/>
                </a:lnTo>
                <a:lnTo>
                  <a:pt x="351" y="205"/>
                </a:lnTo>
                <a:lnTo>
                  <a:pt x="351" y="426"/>
                </a:lnTo>
                <a:lnTo>
                  <a:pt x="352" y="434"/>
                </a:lnTo>
                <a:lnTo>
                  <a:pt x="354" y="443"/>
                </a:lnTo>
                <a:lnTo>
                  <a:pt x="358" y="450"/>
                </a:lnTo>
                <a:lnTo>
                  <a:pt x="364" y="456"/>
                </a:lnTo>
                <a:lnTo>
                  <a:pt x="370" y="463"/>
                </a:lnTo>
                <a:lnTo>
                  <a:pt x="378" y="466"/>
                </a:lnTo>
                <a:lnTo>
                  <a:pt x="387" y="469"/>
                </a:lnTo>
                <a:lnTo>
                  <a:pt x="395" y="470"/>
                </a:lnTo>
                <a:lnTo>
                  <a:pt x="404" y="469"/>
                </a:lnTo>
                <a:lnTo>
                  <a:pt x="412" y="466"/>
                </a:lnTo>
                <a:lnTo>
                  <a:pt x="420" y="463"/>
                </a:lnTo>
                <a:lnTo>
                  <a:pt x="426" y="456"/>
                </a:lnTo>
                <a:lnTo>
                  <a:pt x="431" y="450"/>
                </a:lnTo>
                <a:lnTo>
                  <a:pt x="435" y="443"/>
                </a:lnTo>
                <a:lnTo>
                  <a:pt x="438" y="434"/>
                </a:lnTo>
                <a:lnTo>
                  <a:pt x="438" y="426"/>
                </a:lnTo>
                <a:lnTo>
                  <a:pt x="438" y="205"/>
                </a:lnTo>
                <a:lnTo>
                  <a:pt x="445" y="200"/>
                </a:lnTo>
                <a:lnTo>
                  <a:pt x="451" y="194"/>
                </a:lnTo>
                <a:lnTo>
                  <a:pt x="456" y="187"/>
                </a:lnTo>
                <a:lnTo>
                  <a:pt x="459" y="181"/>
                </a:lnTo>
                <a:lnTo>
                  <a:pt x="463" y="172"/>
                </a:lnTo>
                <a:lnTo>
                  <a:pt x="466" y="164"/>
                </a:lnTo>
                <a:lnTo>
                  <a:pt x="468" y="156"/>
                </a:lnTo>
                <a:lnTo>
                  <a:pt x="468" y="147"/>
                </a:lnTo>
                <a:lnTo>
                  <a:pt x="468" y="139"/>
                </a:lnTo>
                <a:lnTo>
                  <a:pt x="466" y="130"/>
                </a:lnTo>
                <a:lnTo>
                  <a:pt x="463" y="121"/>
                </a:lnTo>
                <a:lnTo>
                  <a:pt x="459" y="114"/>
                </a:lnTo>
                <a:lnTo>
                  <a:pt x="456" y="106"/>
                </a:lnTo>
                <a:lnTo>
                  <a:pt x="451" y="100"/>
                </a:lnTo>
                <a:lnTo>
                  <a:pt x="445" y="94"/>
                </a:lnTo>
                <a:lnTo>
                  <a:pt x="438" y="89"/>
                </a:lnTo>
                <a:close/>
                <a:moveTo>
                  <a:pt x="87" y="426"/>
                </a:moveTo>
                <a:lnTo>
                  <a:pt x="86" y="432"/>
                </a:lnTo>
                <a:lnTo>
                  <a:pt x="82" y="437"/>
                </a:lnTo>
                <a:lnTo>
                  <a:pt x="79" y="439"/>
                </a:lnTo>
                <a:lnTo>
                  <a:pt x="73" y="440"/>
                </a:lnTo>
                <a:lnTo>
                  <a:pt x="66" y="439"/>
                </a:lnTo>
                <a:lnTo>
                  <a:pt x="63" y="437"/>
                </a:lnTo>
                <a:lnTo>
                  <a:pt x="59" y="432"/>
                </a:lnTo>
                <a:lnTo>
                  <a:pt x="58" y="426"/>
                </a:lnTo>
                <a:lnTo>
                  <a:pt x="58" y="219"/>
                </a:lnTo>
                <a:lnTo>
                  <a:pt x="65" y="220"/>
                </a:lnTo>
                <a:lnTo>
                  <a:pt x="73" y="220"/>
                </a:lnTo>
                <a:lnTo>
                  <a:pt x="80" y="220"/>
                </a:lnTo>
                <a:lnTo>
                  <a:pt x="87" y="219"/>
                </a:lnTo>
                <a:lnTo>
                  <a:pt x="87" y="426"/>
                </a:lnTo>
                <a:close/>
                <a:moveTo>
                  <a:pt x="58" y="44"/>
                </a:moveTo>
                <a:lnTo>
                  <a:pt x="59" y="38"/>
                </a:lnTo>
                <a:lnTo>
                  <a:pt x="63" y="33"/>
                </a:lnTo>
                <a:lnTo>
                  <a:pt x="66" y="31"/>
                </a:lnTo>
                <a:lnTo>
                  <a:pt x="73" y="30"/>
                </a:lnTo>
                <a:lnTo>
                  <a:pt x="79" y="31"/>
                </a:lnTo>
                <a:lnTo>
                  <a:pt x="82" y="33"/>
                </a:lnTo>
                <a:lnTo>
                  <a:pt x="86" y="38"/>
                </a:lnTo>
                <a:lnTo>
                  <a:pt x="87" y="44"/>
                </a:lnTo>
                <a:lnTo>
                  <a:pt x="87" y="75"/>
                </a:lnTo>
                <a:lnTo>
                  <a:pt x="80" y="74"/>
                </a:lnTo>
                <a:lnTo>
                  <a:pt x="73" y="74"/>
                </a:lnTo>
                <a:lnTo>
                  <a:pt x="65" y="74"/>
                </a:lnTo>
                <a:lnTo>
                  <a:pt x="58" y="75"/>
                </a:lnTo>
                <a:lnTo>
                  <a:pt x="58" y="44"/>
                </a:lnTo>
                <a:close/>
                <a:moveTo>
                  <a:pt x="117" y="89"/>
                </a:moveTo>
                <a:lnTo>
                  <a:pt x="117" y="44"/>
                </a:lnTo>
                <a:lnTo>
                  <a:pt x="116" y="36"/>
                </a:lnTo>
                <a:lnTo>
                  <a:pt x="113" y="27"/>
                </a:lnTo>
                <a:lnTo>
                  <a:pt x="108" y="20"/>
                </a:lnTo>
                <a:lnTo>
                  <a:pt x="103" y="14"/>
                </a:lnTo>
                <a:lnTo>
                  <a:pt x="97" y="7"/>
                </a:lnTo>
                <a:lnTo>
                  <a:pt x="90" y="4"/>
                </a:lnTo>
                <a:lnTo>
                  <a:pt x="81" y="1"/>
                </a:lnTo>
                <a:lnTo>
                  <a:pt x="73" y="0"/>
                </a:lnTo>
                <a:lnTo>
                  <a:pt x="64" y="1"/>
                </a:lnTo>
                <a:lnTo>
                  <a:pt x="55" y="4"/>
                </a:lnTo>
                <a:lnTo>
                  <a:pt x="48" y="7"/>
                </a:lnTo>
                <a:lnTo>
                  <a:pt x="42" y="14"/>
                </a:lnTo>
                <a:lnTo>
                  <a:pt x="36" y="20"/>
                </a:lnTo>
                <a:lnTo>
                  <a:pt x="32" y="27"/>
                </a:lnTo>
                <a:lnTo>
                  <a:pt x="29" y="36"/>
                </a:lnTo>
                <a:lnTo>
                  <a:pt x="28" y="44"/>
                </a:lnTo>
                <a:lnTo>
                  <a:pt x="28" y="89"/>
                </a:lnTo>
                <a:lnTo>
                  <a:pt x="22" y="94"/>
                </a:lnTo>
                <a:lnTo>
                  <a:pt x="17" y="100"/>
                </a:lnTo>
                <a:lnTo>
                  <a:pt x="12" y="106"/>
                </a:lnTo>
                <a:lnTo>
                  <a:pt x="7" y="114"/>
                </a:lnTo>
                <a:lnTo>
                  <a:pt x="3" y="121"/>
                </a:lnTo>
                <a:lnTo>
                  <a:pt x="1" y="130"/>
                </a:lnTo>
                <a:lnTo>
                  <a:pt x="0" y="139"/>
                </a:lnTo>
                <a:lnTo>
                  <a:pt x="0" y="147"/>
                </a:lnTo>
                <a:lnTo>
                  <a:pt x="0" y="156"/>
                </a:lnTo>
                <a:lnTo>
                  <a:pt x="1" y="164"/>
                </a:lnTo>
                <a:lnTo>
                  <a:pt x="3" y="172"/>
                </a:lnTo>
                <a:lnTo>
                  <a:pt x="7" y="181"/>
                </a:lnTo>
                <a:lnTo>
                  <a:pt x="12" y="187"/>
                </a:lnTo>
                <a:lnTo>
                  <a:pt x="17" y="194"/>
                </a:lnTo>
                <a:lnTo>
                  <a:pt x="22" y="200"/>
                </a:lnTo>
                <a:lnTo>
                  <a:pt x="28" y="205"/>
                </a:lnTo>
                <a:lnTo>
                  <a:pt x="28" y="426"/>
                </a:lnTo>
                <a:lnTo>
                  <a:pt x="29" y="434"/>
                </a:lnTo>
                <a:lnTo>
                  <a:pt x="32" y="443"/>
                </a:lnTo>
                <a:lnTo>
                  <a:pt x="36" y="450"/>
                </a:lnTo>
                <a:lnTo>
                  <a:pt x="42" y="456"/>
                </a:lnTo>
                <a:lnTo>
                  <a:pt x="48" y="463"/>
                </a:lnTo>
                <a:lnTo>
                  <a:pt x="55" y="466"/>
                </a:lnTo>
                <a:lnTo>
                  <a:pt x="64" y="469"/>
                </a:lnTo>
                <a:lnTo>
                  <a:pt x="73" y="470"/>
                </a:lnTo>
                <a:lnTo>
                  <a:pt x="81" y="469"/>
                </a:lnTo>
                <a:lnTo>
                  <a:pt x="90" y="466"/>
                </a:lnTo>
                <a:lnTo>
                  <a:pt x="97" y="463"/>
                </a:lnTo>
                <a:lnTo>
                  <a:pt x="103" y="456"/>
                </a:lnTo>
                <a:lnTo>
                  <a:pt x="108" y="450"/>
                </a:lnTo>
                <a:lnTo>
                  <a:pt x="113" y="443"/>
                </a:lnTo>
                <a:lnTo>
                  <a:pt x="116" y="434"/>
                </a:lnTo>
                <a:lnTo>
                  <a:pt x="117" y="426"/>
                </a:lnTo>
                <a:lnTo>
                  <a:pt x="117" y="205"/>
                </a:lnTo>
                <a:lnTo>
                  <a:pt x="123" y="200"/>
                </a:lnTo>
                <a:lnTo>
                  <a:pt x="128" y="194"/>
                </a:lnTo>
                <a:lnTo>
                  <a:pt x="133" y="187"/>
                </a:lnTo>
                <a:lnTo>
                  <a:pt x="138" y="181"/>
                </a:lnTo>
                <a:lnTo>
                  <a:pt x="142" y="172"/>
                </a:lnTo>
                <a:lnTo>
                  <a:pt x="144" y="164"/>
                </a:lnTo>
                <a:lnTo>
                  <a:pt x="146" y="156"/>
                </a:lnTo>
                <a:lnTo>
                  <a:pt x="146" y="147"/>
                </a:lnTo>
                <a:lnTo>
                  <a:pt x="146" y="139"/>
                </a:lnTo>
                <a:lnTo>
                  <a:pt x="144" y="130"/>
                </a:lnTo>
                <a:lnTo>
                  <a:pt x="142" y="121"/>
                </a:lnTo>
                <a:lnTo>
                  <a:pt x="138" y="114"/>
                </a:lnTo>
                <a:lnTo>
                  <a:pt x="133" y="106"/>
                </a:lnTo>
                <a:lnTo>
                  <a:pt x="128" y="100"/>
                </a:lnTo>
                <a:lnTo>
                  <a:pt x="123" y="94"/>
                </a:lnTo>
                <a:lnTo>
                  <a:pt x="117" y="89"/>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4" name="Freeform 23">
            <a:extLst>
              <a:ext uri="{FF2B5EF4-FFF2-40B4-BE49-F238E27FC236}">
                <a16:creationId xmlns:a16="http://schemas.microsoft.com/office/drawing/2014/main" id="{10AA44BA-5B67-A995-685D-5CB7D83107BC}"/>
              </a:ext>
            </a:extLst>
          </p:cNvPr>
          <p:cNvSpPr>
            <a:spLocks noEditPoints="1"/>
          </p:cNvSpPr>
          <p:nvPr/>
        </p:nvSpPr>
        <p:spPr bwMode="auto">
          <a:xfrm>
            <a:off x="4521200" y="7988258"/>
            <a:ext cx="373063" cy="374650"/>
          </a:xfrm>
          <a:custGeom>
            <a:avLst/>
            <a:gdLst>
              <a:gd name="T0" fmla="*/ 368 w 468"/>
              <a:gd name="T1" fmla="*/ 434 h 470"/>
              <a:gd name="T2" fmla="*/ 243 w 468"/>
              <a:gd name="T3" fmla="*/ 385 h 470"/>
              <a:gd name="T4" fmla="*/ 240 w 468"/>
              <a:gd name="T5" fmla="*/ 383 h 470"/>
              <a:gd name="T6" fmla="*/ 235 w 468"/>
              <a:gd name="T7" fmla="*/ 382 h 470"/>
              <a:gd name="T8" fmla="*/ 427 w 468"/>
              <a:gd name="T9" fmla="*/ 84 h 470"/>
              <a:gd name="T10" fmla="*/ 368 w 468"/>
              <a:gd name="T11" fmla="*/ 434 h 470"/>
              <a:gd name="T12" fmla="*/ 148 w 468"/>
              <a:gd name="T13" fmla="*/ 354 h 470"/>
              <a:gd name="T14" fmla="*/ 148 w 468"/>
              <a:gd name="T15" fmla="*/ 354 h 470"/>
              <a:gd name="T16" fmla="*/ 148 w 468"/>
              <a:gd name="T17" fmla="*/ 354 h 470"/>
              <a:gd name="T18" fmla="*/ 426 w 468"/>
              <a:gd name="T19" fmla="*/ 56 h 470"/>
              <a:gd name="T20" fmla="*/ 189 w 468"/>
              <a:gd name="T21" fmla="*/ 424 h 470"/>
              <a:gd name="T22" fmla="*/ 148 w 468"/>
              <a:gd name="T23" fmla="*/ 354 h 470"/>
              <a:gd name="T24" fmla="*/ 46 w 468"/>
              <a:gd name="T25" fmla="*/ 306 h 470"/>
              <a:gd name="T26" fmla="*/ 384 w 468"/>
              <a:gd name="T27" fmla="*/ 78 h 470"/>
              <a:gd name="T28" fmla="*/ 138 w 468"/>
              <a:gd name="T29" fmla="*/ 343 h 470"/>
              <a:gd name="T30" fmla="*/ 136 w 468"/>
              <a:gd name="T31" fmla="*/ 341 h 470"/>
              <a:gd name="T32" fmla="*/ 135 w 468"/>
              <a:gd name="T33" fmla="*/ 340 h 470"/>
              <a:gd name="T34" fmla="*/ 46 w 468"/>
              <a:gd name="T35" fmla="*/ 306 h 470"/>
              <a:gd name="T36" fmla="*/ 461 w 468"/>
              <a:gd name="T37" fmla="*/ 2 h 470"/>
              <a:gd name="T38" fmla="*/ 457 w 468"/>
              <a:gd name="T39" fmla="*/ 1 h 470"/>
              <a:gd name="T40" fmla="*/ 453 w 468"/>
              <a:gd name="T41" fmla="*/ 0 h 470"/>
              <a:gd name="T42" fmla="*/ 450 w 468"/>
              <a:gd name="T43" fmla="*/ 1 h 470"/>
              <a:gd name="T44" fmla="*/ 445 w 468"/>
              <a:gd name="T45" fmla="*/ 2 h 470"/>
              <a:gd name="T46" fmla="*/ 6 w 468"/>
              <a:gd name="T47" fmla="*/ 296 h 470"/>
              <a:gd name="T48" fmla="*/ 2 w 468"/>
              <a:gd name="T49" fmla="*/ 299 h 470"/>
              <a:gd name="T50" fmla="*/ 1 w 468"/>
              <a:gd name="T51" fmla="*/ 302 h 470"/>
              <a:gd name="T52" fmla="*/ 0 w 468"/>
              <a:gd name="T53" fmla="*/ 306 h 470"/>
              <a:gd name="T54" fmla="*/ 0 w 468"/>
              <a:gd name="T55" fmla="*/ 309 h 470"/>
              <a:gd name="T56" fmla="*/ 0 w 468"/>
              <a:gd name="T57" fmla="*/ 314 h 470"/>
              <a:gd name="T58" fmla="*/ 2 w 468"/>
              <a:gd name="T59" fmla="*/ 317 h 470"/>
              <a:gd name="T60" fmla="*/ 5 w 468"/>
              <a:gd name="T61" fmla="*/ 320 h 470"/>
              <a:gd name="T62" fmla="*/ 8 w 468"/>
              <a:gd name="T63" fmla="*/ 322 h 470"/>
              <a:gd name="T64" fmla="*/ 123 w 468"/>
              <a:gd name="T65" fmla="*/ 367 h 470"/>
              <a:gd name="T66" fmla="*/ 177 w 468"/>
              <a:gd name="T67" fmla="*/ 463 h 470"/>
              <a:gd name="T68" fmla="*/ 179 w 468"/>
              <a:gd name="T69" fmla="*/ 465 h 470"/>
              <a:gd name="T70" fmla="*/ 183 w 468"/>
              <a:gd name="T71" fmla="*/ 468 h 470"/>
              <a:gd name="T72" fmla="*/ 185 w 468"/>
              <a:gd name="T73" fmla="*/ 469 h 470"/>
              <a:gd name="T74" fmla="*/ 190 w 468"/>
              <a:gd name="T75" fmla="*/ 470 h 470"/>
              <a:gd name="T76" fmla="*/ 190 w 468"/>
              <a:gd name="T77" fmla="*/ 470 h 470"/>
              <a:gd name="T78" fmla="*/ 190 w 468"/>
              <a:gd name="T79" fmla="*/ 470 h 470"/>
              <a:gd name="T80" fmla="*/ 194 w 468"/>
              <a:gd name="T81" fmla="*/ 469 h 470"/>
              <a:gd name="T82" fmla="*/ 196 w 468"/>
              <a:gd name="T83" fmla="*/ 468 h 470"/>
              <a:gd name="T84" fmla="*/ 200 w 468"/>
              <a:gd name="T85" fmla="*/ 465 h 470"/>
              <a:gd name="T86" fmla="*/ 202 w 468"/>
              <a:gd name="T87" fmla="*/ 463 h 470"/>
              <a:gd name="T88" fmla="*/ 232 w 468"/>
              <a:gd name="T89" fmla="*/ 412 h 470"/>
              <a:gd name="T90" fmla="*/ 374 w 468"/>
              <a:gd name="T91" fmla="*/ 469 h 470"/>
              <a:gd name="T92" fmla="*/ 377 w 468"/>
              <a:gd name="T93" fmla="*/ 469 h 470"/>
              <a:gd name="T94" fmla="*/ 380 w 468"/>
              <a:gd name="T95" fmla="*/ 470 h 470"/>
              <a:gd name="T96" fmla="*/ 384 w 468"/>
              <a:gd name="T97" fmla="*/ 469 h 470"/>
              <a:gd name="T98" fmla="*/ 388 w 468"/>
              <a:gd name="T99" fmla="*/ 468 h 470"/>
              <a:gd name="T100" fmla="*/ 390 w 468"/>
              <a:gd name="T101" fmla="*/ 466 h 470"/>
              <a:gd name="T102" fmla="*/ 392 w 468"/>
              <a:gd name="T103" fmla="*/ 464 h 470"/>
              <a:gd name="T104" fmla="*/ 394 w 468"/>
              <a:gd name="T105" fmla="*/ 460 h 470"/>
              <a:gd name="T106" fmla="*/ 394 w 468"/>
              <a:gd name="T107" fmla="*/ 458 h 470"/>
              <a:gd name="T108" fmla="*/ 468 w 468"/>
              <a:gd name="T109" fmla="*/ 17 h 470"/>
              <a:gd name="T110" fmla="*/ 468 w 468"/>
              <a:gd name="T111" fmla="*/ 14 h 470"/>
              <a:gd name="T112" fmla="*/ 467 w 468"/>
              <a:gd name="T113" fmla="*/ 9 h 470"/>
              <a:gd name="T114" fmla="*/ 464 w 468"/>
              <a:gd name="T115" fmla="*/ 6 h 470"/>
              <a:gd name="T116" fmla="*/ 461 w 468"/>
              <a:gd name="T117" fmla="*/ 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8" h="470">
                <a:moveTo>
                  <a:pt x="368" y="434"/>
                </a:moveTo>
                <a:lnTo>
                  <a:pt x="243" y="385"/>
                </a:lnTo>
                <a:lnTo>
                  <a:pt x="240" y="383"/>
                </a:lnTo>
                <a:lnTo>
                  <a:pt x="235" y="382"/>
                </a:lnTo>
                <a:lnTo>
                  <a:pt x="427" y="84"/>
                </a:lnTo>
                <a:lnTo>
                  <a:pt x="368" y="434"/>
                </a:lnTo>
                <a:close/>
                <a:moveTo>
                  <a:pt x="148" y="354"/>
                </a:moveTo>
                <a:lnTo>
                  <a:pt x="148" y="354"/>
                </a:lnTo>
                <a:lnTo>
                  <a:pt x="148" y="354"/>
                </a:lnTo>
                <a:lnTo>
                  <a:pt x="426" y="56"/>
                </a:lnTo>
                <a:lnTo>
                  <a:pt x="189" y="424"/>
                </a:lnTo>
                <a:lnTo>
                  <a:pt x="148" y="354"/>
                </a:lnTo>
                <a:close/>
                <a:moveTo>
                  <a:pt x="46" y="306"/>
                </a:moveTo>
                <a:lnTo>
                  <a:pt x="384" y="78"/>
                </a:lnTo>
                <a:lnTo>
                  <a:pt x="138" y="343"/>
                </a:lnTo>
                <a:lnTo>
                  <a:pt x="136" y="341"/>
                </a:lnTo>
                <a:lnTo>
                  <a:pt x="135" y="340"/>
                </a:lnTo>
                <a:lnTo>
                  <a:pt x="46" y="306"/>
                </a:lnTo>
                <a:close/>
                <a:moveTo>
                  <a:pt x="461" y="2"/>
                </a:moveTo>
                <a:lnTo>
                  <a:pt x="457" y="1"/>
                </a:lnTo>
                <a:lnTo>
                  <a:pt x="453" y="0"/>
                </a:lnTo>
                <a:lnTo>
                  <a:pt x="450" y="1"/>
                </a:lnTo>
                <a:lnTo>
                  <a:pt x="445" y="2"/>
                </a:lnTo>
                <a:lnTo>
                  <a:pt x="6" y="296"/>
                </a:lnTo>
                <a:lnTo>
                  <a:pt x="2" y="299"/>
                </a:lnTo>
                <a:lnTo>
                  <a:pt x="1" y="302"/>
                </a:lnTo>
                <a:lnTo>
                  <a:pt x="0" y="306"/>
                </a:lnTo>
                <a:lnTo>
                  <a:pt x="0" y="309"/>
                </a:lnTo>
                <a:lnTo>
                  <a:pt x="0" y="314"/>
                </a:lnTo>
                <a:lnTo>
                  <a:pt x="2" y="317"/>
                </a:lnTo>
                <a:lnTo>
                  <a:pt x="5" y="320"/>
                </a:lnTo>
                <a:lnTo>
                  <a:pt x="8" y="322"/>
                </a:lnTo>
                <a:lnTo>
                  <a:pt x="123" y="367"/>
                </a:lnTo>
                <a:lnTo>
                  <a:pt x="177" y="463"/>
                </a:lnTo>
                <a:lnTo>
                  <a:pt x="179" y="465"/>
                </a:lnTo>
                <a:lnTo>
                  <a:pt x="183" y="468"/>
                </a:lnTo>
                <a:lnTo>
                  <a:pt x="185" y="469"/>
                </a:lnTo>
                <a:lnTo>
                  <a:pt x="190" y="470"/>
                </a:lnTo>
                <a:lnTo>
                  <a:pt x="190" y="470"/>
                </a:lnTo>
                <a:lnTo>
                  <a:pt x="190" y="470"/>
                </a:lnTo>
                <a:lnTo>
                  <a:pt x="194" y="469"/>
                </a:lnTo>
                <a:lnTo>
                  <a:pt x="196" y="468"/>
                </a:lnTo>
                <a:lnTo>
                  <a:pt x="200" y="465"/>
                </a:lnTo>
                <a:lnTo>
                  <a:pt x="202" y="463"/>
                </a:lnTo>
                <a:lnTo>
                  <a:pt x="232" y="412"/>
                </a:lnTo>
                <a:lnTo>
                  <a:pt x="374" y="469"/>
                </a:lnTo>
                <a:lnTo>
                  <a:pt x="377" y="469"/>
                </a:lnTo>
                <a:lnTo>
                  <a:pt x="380" y="470"/>
                </a:lnTo>
                <a:lnTo>
                  <a:pt x="384" y="469"/>
                </a:lnTo>
                <a:lnTo>
                  <a:pt x="388" y="468"/>
                </a:lnTo>
                <a:lnTo>
                  <a:pt x="390" y="466"/>
                </a:lnTo>
                <a:lnTo>
                  <a:pt x="392" y="464"/>
                </a:lnTo>
                <a:lnTo>
                  <a:pt x="394" y="460"/>
                </a:lnTo>
                <a:lnTo>
                  <a:pt x="394" y="458"/>
                </a:lnTo>
                <a:lnTo>
                  <a:pt x="468" y="17"/>
                </a:lnTo>
                <a:lnTo>
                  <a:pt x="468" y="14"/>
                </a:lnTo>
                <a:lnTo>
                  <a:pt x="467" y="9"/>
                </a:lnTo>
                <a:lnTo>
                  <a:pt x="464" y="6"/>
                </a:lnTo>
                <a:lnTo>
                  <a:pt x="461" y="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5" name="Freeform 24">
            <a:extLst>
              <a:ext uri="{FF2B5EF4-FFF2-40B4-BE49-F238E27FC236}">
                <a16:creationId xmlns:a16="http://schemas.microsoft.com/office/drawing/2014/main" id="{88F8479F-4779-9166-D307-AD53189FE68E}"/>
              </a:ext>
            </a:extLst>
          </p:cNvPr>
          <p:cNvSpPr>
            <a:spLocks noEditPoints="1"/>
          </p:cNvSpPr>
          <p:nvPr/>
        </p:nvSpPr>
        <p:spPr bwMode="auto">
          <a:xfrm>
            <a:off x="9418638" y="7988258"/>
            <a:ext cx="255588" cy="374650"/>
          </a:xfrm>
          <a:custGeom>
            <a:avLst/>
            <a:gdLst>
              <a:gd name="T0" fmla="*/ 160 w 322"/>
              <a:gd name="T1" fmla="*/ 141 h 470"/>
              <a:gd name="T2" fmla="*/ 133 w 322"/>
              <a:gd name="T3" fmla="*/ 141 h 470"/>
              <a:gd name="T4" fmla="*/ 219 w 322"/>
              <a:gd name="T5" fmla="*/ 162 h 470"/>
              <a:gd name="T6" fmla="*/ 133 w 322"/>
              <a:gd name="T7" fmla="*/ 229 h 470"/>
              <a:gd name="T8" fmla="*/ 152 w 322"/>
              <a:gd name="T9" fmla="*/ 249 h 470"/>
              <a:gd name="T10" fmla="*/ 220 w 322"/>
              <a:gd name="T11" fmla="*/ 163 h 470"/>
              <a:gd name="T12" fmla="*/ 100 w 322"/>
              <a:gd name="T13" fmla="*/ 343 h 470"/>
              <a:gd name="T14" fmla="*/ 50 w 322"/>
              <a:gd name="T15" fmla="*/ 301 h 470"/>
              <a:gd name="T16" fmla="*/ 29 w 322"/>
              <a:gd name="T17" fmla="*/ 235 h 470"/>
              <a:gd name="T18" fmla="*/ 50 w 322"/>
              <a:gd name="T19" fmla="*/ 169 h 470"/>
              <a:gd name="T20" fmla="*/ 100 w 322"/>
              <a:gd name="T21" fmla="*/ 127 h 470"/>
              <a:gd name="T22" fmla="*/ 170 w 322"/>
              <a:gd name="T23" fmla="*/ 120 h 470"/>
              <a:gd name="T24" fmla="*/ 229 w 322"/>
              <a:gd name="T25" fmla="*/ 152 h 470"/>
              <a:gd name="T26" fmla="*/ 261 w 322"/>
              <a:gd name="T27" fmla="*/ 211 h 470"/>
              <a:gd name="T28" fmla="*/ 255 w 322"/>
              <a:gd name="T29" fmla="*/ 281 h 470"/>
              <a:gd name="T30" fmla="*/ 212 w 322"/>
              <a:gd name="T31" fmla="*/ 333 h 470"/>
              <a:gd name="T32" fmla="*/ 146 w 322"/>
              <a:gd name="T33" fmla="*/ 353 h 470"/>
              <a:gd name="T34" fmla="*/ 118 w 322"/>
              <a:gd name="T35" fmla="*/ 379 h 470"/>
              <a:gd name="T36" fmla="*/ 176 w 322"/>
              <a:gd name="T37" fmla="*/ 379 h 470"/>
              <a:gd name="T38" fmla="*/ 207 w 322"/>
              <a:gd name="T39" fmla="*/ 30 h 470"/>
              <a:gd name="T40" fmla="*/ 157 w 322"/>
              <a:gd name="T41" fmla="*/ 89 h 470"/>
              <a:gd name="T42" fmla="*/ 92 w 322"/>
              <a:gd name="T43" fmla="*/ 100 h 470"/>
              <a:gd name="T44" fmla="*/ 288 w 322"/>
              <a:gd name="T45" fmla="*/ 197 h 470"/>
              <a:gd name="T46" fmla="*/ 235 w 322"/>
              <a:gd name="T47" fmla="*/ 25 h 470"/>
              <a:gd name="T48" fmla="*/ 217 w 322"/>
              <a:gd name="T49" fmla="*/ 2 h 470"/>
              <a:gd name="T50" fmla="*/ 74 w 322"/>
              <a:gd name="T51" fmla="*/ 5 h 470"/>
              <a:gd name="T52" fmla="*/ 40 w 322"/>
              <a:gd name="T53" fmla="*/ 135 h 470"/>
              <a:gd name="T54" fmla="*/ 3 w 322"/>
              <a:gd name="T55" fmla="*/ 207 h 470"/>
              <a:gd name="T56" fmla="*/ 10 w 322"/>
              <a:gd name="T57" fmla="*/ 288 h 470"/>
              <a:gd name="T58" fmla="*/ 61 w 322"/>
              <a:gd name="T59" fmla="*/ 450 h 470"/>
              <a:gd name="T60" fmla="*/ 83 w 322"/>
              <a:gd name="T61" fmla="*/ 469 h 470"/>
              <a:gd name="T62" fmla="*/ 224 w 322"/>
              <a:gd name="T63" fmla="*/ 463 h 470"/>
              <a:gd name="T64" fmla="*/ 261 w 322"/>
              <a:gd name="T65" fmla="*/ 325 h 470"/>
              <a:gd name="T66" fmla="*/ 288 w 322"/>
              <a:gd name="T67" fmla="*/ 273 h 470"/>
              <a:gd name="T68" fmla="*/ 309 w 322"/>
              <a:gd name="T69" fmla="*/ 260 h 470"/>
              <a:gd name="T70" fmla="*/ 322 w 322"/>
              <a:gd name="T71" fmla="*/ 229 h 470"/>
              <a:gd name="T72" fmla="*/ 298 w 322"/>
              <a:gd name="T73" fmla="*/ 207 h 470"/>
              <a:gd name="T74" fmla="*/ 198 w 322"/>
              <a:gd name="T75" fmla="*/ 308 h 470"/>
              <a:gd name="T76" fmla="*/ 223 w 322"/>
              <a:gd name="T77" fmla="*/ 297 h 470"/>
              <a:gd name="T78" fmla="*/ 198 w 322"/>
              <a:gd name="T79" fmla="*/ 287 h 470"/>
              <a:gd name="T80" fmla="*/ 78 w 322"/>
              <a:gd name="T81" fmla="*/ 187 h 470"/>
              <a:gd name="T82" fmla="*/ 98 w 322"/>
              <a:gd name="T83" fmla="*/ 167 h 470"/>
              <a:gd name="T84" fmla="*/ 74 w 322"/>
              <a:gd name="T85" fmla="*/ 287 h 470"/>
              <a:gd name="T86" fmla="*/ 84 w 322"/>
              <a:gd name="T87" fmla="*/ 312 h 470"/>
              <a:gd name="T88" fmla="*/ 94 w 322"/>
              <a:gd name="T89" fmla="*/ 287 h 470"/>
              <a:gd name="T90" fmla="*/ 220 w 322"/>
              <a:gd name="T91" fmla="*/ 241 h 470"/>
              <a:gd name="T92" fmla="*/ 247 w 322"/>
              <a:gd name="T93" fmla="*/ 241 h 470"/>
              <a:gd name="T94" fmla="*/ 229 w 322"/>
              <a:gd name="T95" fmla="*/ 221 h 470"/>
              <a:gd name="T96" fmla="*/ 48 w 322"/>
              <a:gd name="T97" fmla="*/ 225 h 470"/>
              <a:gd name="T98" fmla="*/ 58 w 322"/>
              <a:gd name="T99" fmla="*/ 250 h 470"/>
              <a:gd name="T100" fmla="*/ 68 w 322"/>
              <a:gd name="T101" fmla="*/ 225 h 470"/>
              <a:gd name="T102" fmla="*/ 133 w 322"/>
              <a:gd name="T103" fmla="*/ 318 h 470"/>
              <a:gd name="T104" fmla="*/ 152 w 322"/>
              <a:gd name="T105" fmla="*/ 336 h 470"/>
              <a:gd name="T106" fmla="*/ 152 w 322"/>
              <a:gd name="T107" fmla="*/ 309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2" h="470">
                <a:moveTo>
                  <a:pt x="146" y="162"/>
                </a:moveTo>
                <a:lnTo>
                  <a:pt x="152" y="161"/>
                </a:lnTo>
                <a:lnTo>
                  <a:pt x="157" y="157"/>
                </a:lnTo>
                <a:lnTo>
                  <a:pt x="160" y="152"/>
                </a:lnTo>
                <a:lnTo>
                  <a:pt x="161" y="147"/>
                </a:lnTo>
                <a:lnTo>
                  <a:pt x="160" y="141"/>
                </a:lnTo>
                <a:lnTo>
                  <a:pt x="157" y="136"/>
                </a:lnTo>
                <a:lnTo>
                  <a:pt x="152" y="134"/>
                </a:lnTo>
                <a:lnTo>
                  <a:pt x="146" y="132"/>
                </a:lnTo>
                <a:lnTo>
                  <a:pt x="141" y="134"/>
                </a:lnTo>
                <a:lnTo>
                  <a:pt x="136" y="136"/>
                </a:lnTo>
                <a:lnTo>
                  <a:pt x="133" y="141"/>
                </a:lnTo>
                <a:lnTo>
                  <a:pt x="131" y="147"/>
                </a:lnTo>
                <a:lnTo>
                  <a:pt x="133" y="152"/>
                </a:lnTo>
                <a:lnTo>
                  <a:pt x="136" y="157"/>
                </a:lnTo>
                <a:lnTo>
                  <a:pt x="141" y="161"/>
                </a:lnTo>
                <a:lnTo>
                  <a:pt x="146" y="162"/>
                </a:lnTo>
                <a:close/>
                <a:moveTo>
                  <a:pt x="219" y="162"/>
                </a:moveTo>
                <a:lnTo>
                  <a:pt x="218" y="161"/>
                </a:lnTo>
                <a:lnTo>
                  <a:pt x="215" y="161"/>
                </a:lnTo>
                <a:lnTo>
                  <a:pt x="214" y="161"/>
                </a:lnTo>
                <a:lnTo>
                  <a:pt x="212" y="162"/>
                </a:lnTo>
                <a:lnTo>
                  <a:pt x="136" y="225"/>
                </a:lnTo>
                <a:lnTo>
                  <a:pt x="133" y="229"/>
                </a:lnTo>
                <a:lnTo>
                  <a:pt x="131" y="235"/>
                </a:lnTo>
                <a:lnTo>
                  <a:pt x="133" y="241"/>
                </a:lnTo>
                <a:lnTo>
                  <a:pt x="136" y="245"/>
                </a:lnTo>
                <a:lnTo>
                  <a:pt x="141" y="249"/>
                </a:lnTo>
                <a:lnTo>
                  <a:pt x="146" y="250"/>
                </a:lnTo>
                <a:lnTo>
                  <a:pt x="152" y="249"/>
                </a:lnTo>
                <a:lnTo>
                  <a:pt x="156" y="246"/>
                </a:lnTo>
                <a:lnTo>
                  <a:pt x="183" y="213"/>
                </a:lnTo>
                <a:lnTo>
                  <a:pt x="219" y="168"/>
                </a:lnTo>
                <a:lnTo>
                  <a:pt x="220" y="167"/>
                </a:lnTo>
                <a:lnTo>
                  <a:pt x="220" y="166"/>
                </a:lnTo>
                <a:lnTo>
                  <a:pt x="220" y="163"/>
                </a:lnTo>
                <a:lnTo>
                  <a:pt x="219" y="162"/>
                </a:lnTo>
                <a:close/>
                <a:moveTo>
                  <a:pt x="146" y="353"/>
                </a:moveTo>
                <a:lnTo>
                  <a:pt x="135" y="351"/>
                </a:lnTo>
                <a:lnTo>
                  <a:pt x="123" y="350"/>
                </a:lnTo>
                <a:lnTo>
                  <a:pt x="112" y="348"/>
                </a:lnTo>
                <a:lnTo>
                  <a:pt x="100" y="343"/>
                </a:lnTo>
                <a:lnTo>
                  <a:pt x="90" y="338"/>
                </a:lnTo>
                <a:lnTo>
                  <a:pt x="81" y="333"/>
                </a:lnTo>
                <a:lnTo>
                  <a:pt x="72" y="325"/>
                </a:lnTo>
                <a:lnTo>
                  <a:pt x="63" y="318"/>
                </a:lnTo>
                <a:lnTo>
                  <a:pt x="56" y="309"/>
                </a:lnTo>
                <a:lnTo>
                  <a:pt x="50" y="301"/>
                </a:lnTo>
                <a:lnTo>
                  <a:pt x="44" y="291"/>
                </a:lnTo>
                <a:lnTo>
                  <a:pt x="39" y="281"/>
                </a:lnTo>
                <a:lnTo>
                  <a:pt x="35" y="270"/>
                </a:lnTo>
                <a:lnTo>
                  <a:pt x="31" y="259"/>
                </a:lnTo>
                <a:lnTo>
                  <a:pt x="30" y="247"/>
                </a:lnTo>
                <a:lnTo>
                  <a:pt x="29" y="235"/>
                </a:lnTo>
                <a:lnTo>
                  <a:pt x="30" y="223"/>
                </a:lnTo>
                <a:lnTo>
                  <a:pt x="31" y="211"/>
                </a:lnTo>
                <a:lnTo>
                  <a:pt x="35" y="200"/>
                </a:lnTo>
                <a:lnTo>
                  <a:pt x="39" y="189"/>
                </a:lnTo>
                <a:lnTo>
                  <a:pt x="44" y="179"/>
                </a:lnTo>
                <a:lnTo>
                  <a:pt x="50" y="169"/>
                </a:lnTo>
                <a:lnTo>
                  <a:pt x="56" y="161"/>
                </a:lnTo>
                <a:lnTo>
                  <a:pt x="63" y="152"/>
                </a:lnTo>
                <a:lnTo>
                  <a:pt x="72" y="145"/>
                </a:lnTo>
                <a:lnTo>
                  <a:pt x="81" y="137"/>
                </a:lnTo>
                <a:lnTo>
                  <a:pt x="90" y="132"/>
                </a:lnTo>
                <a:lnTo>
                  <a:pt x="100" y="127"/>
                </a:lnTo>
                <a:lnTo>
                  <a:pt x="112" y="122"/>
                </a:lnTo>
                <a:lnTo>
                  <a:pt x="123" y="120"/>
                </a:lnTo>
                <a:lnTo>
                  <a:pt x="135" y="119"/>
                </a:lnTo>
                <a:lnTo>
                  <a:pt x="146" y="117"/>
                </a:lnTo>
                <a:lnTo>
                  <a:pt x="158" y="119"/>
                </a:lnTo>
                <a:lnTo>
                  <a:pt x="170" y="120"/>
                </a:lnTo>
                <a:lnTo>
                  <a:pt x="181" y="122"/>
                </a:lnTo>
                <a:lnTo>
                  <a:pt x="192" y="127"/>
                </a:lnTo>
                <a:lnTo>
                  <a:pt x="202" y="132"/>
                </a:lnTo>
                <a:lnTo>
                  <a:pt x="212" y="137"/>
                </a:lnTo>
                <a:lnTo>
                  <a:pt x="220" y="145"/>
                </a:lnTo>
                <a:lnTo>
                  <a:pt x="229" y="152"/>
                </a:lnTo>
                <a:lnTo>
                  <a:pt x="236" y="161"/>
                </a:lnTo>
                <a:lnTo>
                  <a:pt x="244" y="169"/>
                </a:lnTo>
                <a:lnTo>
                  <a:pt x="250" y="179"/>
                </a:lnTo>
                <a:lnTo>
                  <a:pt x="255" y="189"/>
                </a:lnTo>
                <a:lnTo>
                  <a:pt x="259" y="200"/>
                </a:lnTo>
                <a:lnTo>
                  <a:pt x="261" y="211"/>
                </a:lnTo>
                <a:lnTo>
                  <a:pt x="264" y="223"/>
                </a:lnTo>
                <a:lnTo>
                  <a:pt x="264" y="235"/>
                </a:lnTo>
                <a:lnTo>
                  <a:pt x="264" y="247"/>
                </a:lnTo>
                <a:lnTo>
                  <a:pt x="261" y="259"/>
                </a:lnTo>
                <a:lnTo>
                  <a:pt x="259" y="270"/>
                </a:lnTo>
                <a:lnTo>
                  <a:pt x="255" y="281"/>
                </a:lnTo>
                <a:lnTo>
                  <a:pt x="250" y="291"/>
                </a:lnTo>
                <a:lnTo>
                  <a:pt x="244" y="301"/>
                </a:lnTo>
                <a:lnTo>
                  <a:pt x="236" y="309"/>
                </a:lnTo>
                <a:lnTo>
                  <a:pt x="229" y="318"/>
                </a:lnTo>
                <a:lnTo>
                  <a:pt x="220" y="325"/>
                </a:lnTo>
                <a:lnTo>
                  <a:pt x="212" y="333"/>
                </a:lnTo>
                <a:lnTo>
                  <a:pt x="202" y="338"/>
                </a:lnTo>
                <a:lnTo>
                  <a:pt x="192" y="343"/>
                </a:lnTo>
                <a:lnTo>
                  <a:pt x="181" y="348"/>
                </a:lnTo>
                <a:lnTo>
                  <a:pt x="170" y="350"/>
                </a:lnTo>
                <a:lnTo>
                  <a:pt x="158" y="351"/>
                </a:lnTo>
                <a:lnTo>
                  <a:pt x="146" y="353"/>
                </a:lnTo>
                <a:close/>
                <a:moveTo>
                  <a:pt x="205" y="440"/>
                </a:moveTo>
                <a:lnTo>
                  <a:pt x="88" y="440"/>
                </a:lnTo>
                <a:lnTo>
                  <a:pt x="73" y="361"/>
                </a:lnTo>
                <a:lnTo>
                  <a:pt x="90" y="370"/>
                </a:lnTo>
                <a:lnTo>
                  <a:pt x="108" y="376"/>
                </a:lnTo>
                <a:lnTo>
                  <a:pt x="118" y="379"/>
                </a:lnTo>
                <a:lnTo>
                  <a:pt x="126" y="380"/>
                </a:lnTo>
                <a:lnTo>
                  <a:pt x="136" y="381"/>
                </a:lnTo>
                <a:lnTo>
                  <a:pt x="146" y="382"/>
                </a:lnTo>
                <a:lnTo>
                  <a:pt x="156" y="381"/>
                </a:lnTo>
                <a:lnTo>
                  <a:pt x="166" y="380"/>
                </a:lnTo>
                <a:lnTo>
                  <a:pt x="176" y="379"/>
                </a:lnTo>
                <a:lnTo>
                  <a:pt x="184" y="376"/>
                </a:lnTo>
                <a:lnTo>
                  <a:pt x="203" y="370"/>
                </a:lnTo>
                <a:lnTo>
                  <a:pt x="219" y="361"/>
                </a:lnTo>
                <a:lnTo>
                  <a:pt x="205" y="440"/>
                </a:lnTo>
                <a:close/>
                <a:moveTo>
                  <a:pt x="89" y="30"/>
                </a:moveTo>
                <a:lnTo>
                  <a:pt x="207" y="30"/>
                </a:lnTo>
                <a:lnTo>
                  <a:pt x="222" y="109"/>
                </a:lnTo>
                <a:lnTo>
                  <a:pt x="204" y="100"/>
                </a:lnTo>
                <a:lnTo>
                  <a:pt x="187" y="94"/>
                </a:lnTo>
                <a:lnTo>
                  <a:pt x="177" y="91"/>
                </a:lnTo>
                <a:lnTo>
                  <a:pt x="167" y="90"/>
                </a:lnTo>
                <a:lnTo>
                  <a:pt x="157" y="89"/>
                </a:lnTo>
                <a:lnTo>
                  <a:pt x="147" y="88"/>
                </a:lnTo>
                <a:lnTo>
                  <a:pt x="137" y="89"/>
                </a:lnTo>
                <a:lnTo>
                  <a:pt x="128" y="90"/>
                </a:lnTo>
                <a:lnTo>
                  <a:pt x="119" y="91"/>
                </a:lnTo>
                <a:lnTo>
                  <a:pt x="109" y="94"/>
                </a:lnTo>
                <a:lnTo>
                  <a:pt x="92" y="100"/>
                </a:lnTo>
                <a:lnTo>
                  <a:pt x="74" y="109"/>
                </a:lnTo>
                <a:lnTo>
                  <a:pt x="89" y="30"/>
                </a:lnTo>
                <a:close/>
                <a:moveTo>
                  <a:pt x="293" y="205"/>
                </a:moveTo>
                <a:lnTo>
                  <a:pt x="292" y="207"/>
                </a:lnTo>
                <a:lnTo>
                  <a:pt x="289" y="207"/>
                </a:lnTo>
                <a:lnTo>
                  <a:pt x="288" y="197"/>
                </a:lnTo>
                <a:lnTo>
                  <a:pt x="285" y="188"/>
                </a:lnTo>
                <a:lnTo>
                  <a:pt x="281" y="178"/>
                </a:lnTo>
                <a:lnTo>
                  <a:pt x="277" y="169"/>
                </a:lnTo>
                <a:lnTo>
                  <a:pt x="267" y="153"/>
                </a:lnTo>
                <a:lnTo>
                  <a:pt x="256" y="139"/>
                </a:lnTo>
                <a:lnTo>
                  <a:pt x="235" y="25"/>
                </a:lnTo>
                <a:lnTo>
                  <a:pt x="234" y="20"/>
                </a:lnTo>
                <a:lnTo>
                  <a:pt x="231" y="15"/>
                </a:lnTo>
                <a:lnTo>
                  <a:pt x="229" y="11"/>
                </a:lnTo>
                <a:lnTo>
                  <a:pt x="225" y="7"/>
                </a:lnTo>
                <a:lnTo>
                  <a:pt x="222" y="5"/>
                </a:lnTo>
                <a:lnTo>
                  <a:pt x="217" y="2"/>
                </a:lnTo>
                <a:lnTo>
                  <a:pt x="212" y="1"/>
                </a:lnTo>
                <a:lnTo>
                  <a:pt x="207" y="0"/>
                </a:lnTo>
                <a:lnTo>
                  <a:pt x="89" y="0"/>
                </a:lnTo>
                <a:lnTo>
                  <a:pt x="84" y="1"/>
                </a:lnTo>
                <a:lnTo>
                  <a:pt x="79" y="2"/>
                </a:lnTo>
                <a:lnTo>
                  <a:pt x="74" y="5"/>
                </a:lnTo>
                <a:lnTo>
                  <a:pt x="71" y="7"/>
                </a:lnTo>
                <a:lnTo>
                  <a:pt x="67" y="11"/>
                </a:lnTo>
                <a:lnTo>
                  <a:pt x="65" y="15"/>
                </a:lnTo>
                <a:lnTo>
                  <a:pt x="62" y="20"/>
                </a:lnTo>
                <a:lnTo>
                  <a:pt x="61" y="25"/>
                </a:lnTo>
                <a:lnTo>
                  <a:pt x="40" y="135"/>
                </a:lnTo>
                <a:lnTo>
                  <a:pt x="31" y="145"/>
                </a:lnTo>
                <a:lnTo>
                  <a:pt x="24" y="156"/>
                </a:lnTo>
                <a:lnTo>
                  <a:pt x="16" y="168"/>
                </a:lnTo>
                <a:lnTo>
                  <a:pt x="10" y="181"/>
                </a:lnTo>
                <a:lnTo>
                  <a:pt x="6" y="193"/>
                </a:lnTo>
                <a:lnTo>
                  <a:pt x="3" y="207"/>
                </a:lnTo>
                <a:lnTo>
                  <a:pt x="0" y="220"/>
                </a:lnTo>
                <a:lnTo>
                  <a:pt x="0" y="235"/>
                </a:lnTo>
                <a:lnTo>
                  <a:pt x="0" y="249"/>
                </a:lnTo>
                <a:lnTo>
                  <a:pt x="3" y="262"/>
                </a:lnTo>
                <a:lnTo>
                  <a:pt x="5" y="276"/>
                </a:lnTo>
                <a:lnTo>
                  <a:pt x="10" y="288"/>
                </a:lnTo>
                <a:lnTo>
                  <a:pt x="16" y="301"/>
                </a:lnTo>
                <a:lnTo>
                  <a:pt x="23" y="312"/>
                </a:lnTo>
                <a:lnTo>
                  <a:pt x="30" y="323"/>
                </a:lnTo>
                <a:lnTo>
                  <a:pt x="39" y="333"/>
                </a:lnTo>
                <a:lnTo>
                  <a:pt x="58" y="445"/>
                </a:lnTo>
                <a:lnTo>
                  <a:pt x="61" y="450"/>
                </a:lnTo>
                <a:lnTo>
                  <a:pt x="62" y="455"/>
                </a:lnTo>
                <a:lnTo>
                  <a:pt x="66" y="459"/>
                </a:lnTo>
                <a:lnTo>
                  <a:pt x="69" y="463"/>
                </a:lnTo>
                <a:lnTo>
                  <a:pt x="73" y="466"/>
                </a:lnTo>
                <a:lnTo>
                  <a:pt x="78" y="468"/>
                </a:lnTo>
                <a:lnTo>
                  <a:pt x="83" y="469"/>
                </a:lnTo>
                <a:lnTo>
                  <a:pt x="88" y="470"/>
                </a:lnTo>
                <a:lnTo>
                  <a:pt x="205" y="470"/>
                </a:lnTo>
                <a:lnTo>
                  <a:pt x="210" y="469"/>
                </a:lnTo>
                <a:lnTo>
                  <a:pt x="215" y="468"/>
                </a:lnTo>
                <a:lnTo>
                  <a:pt x="219" y="466"/>
                </a:lnTo>
                <a:lnTo>
                  <a:pt x="224" y="463"/>
                </a:lnTo>
                <a:lnTo>
                  <a:pt x="228" y="459"/>
                </a:lnTo>
                <a:lnTo>
                  <a:pt x="230" y="455"/>
                </a:lnTo>
                <a:lnTo>
                  <a:pt x="233" y="450"/>
                </a:lnTo>
                <a:lnTo>
                  <a:pt x="234" y="445"/>
                </a:lnTo>
                <a:lnTo>
                  <a:pt x="255" y="333"/>
                </a:lnTo>
                <a:lnTo>
                  <a:pt x="261" y="325"/>
                </a:lnTo>
                <a:lnTo>
                  <a:pt x="267" y="318"/>
                </a:lnTo>
                <a:lnTo>
                  <a:pt x="272" y="309"/>
                </a:lnTo>
                <a:lnTo>
                  <a:pt x="277" y="301"/>
                </a:lnTo>
                <a:lnTo>
                  <a:pt x="281" y="292"/>
                </a:lnTo>
                <a:lnTo>
                  <a:pt x="285" y="283"/>
                </a:lnTo>
                <a:lnTo>
                  <a:pt x="288" y="273"/>
                </a:lnTo>
                <a:lnTo>
                  <a:pt x="289" y="263"/>
                </a:lnTo>
                <a:lnTo>
                  <a:pt x="292" y="265"/>
                </a:lnTo>
                <a:lnTo>
                  <a:pt x="293" y="265"/>
                </a:lnTo>
                <a:lnTo>
                  <a:pt x="298" y="263"/>
                </a:lnTo>
                <a:lnTo>
                  <a:pt x="304" y="262"/>
                </a:lnTo>
                <a:lnTo>
                  <a:pt x="309" y="260"/>
                </a:lnTo>
                <a:lnTo>
                  <a:pt x="313" y="256"/>
                </a:lnTo>
                <a:lnTo>
                  <a:pt x="317" y="251"/>
                </a:lnTo>
                <a:lnTo>
                  <a:pt x="320" y="246"/>
                </a:lnTo>
                <a:lnTo>
                  <a:pt x="322" y="241"/>
                </a:lnTo>
                <a:lnTo>
                  <a:pt x="322" y="235"/>
                </a:lnTo>
                <a:lnTo>
                  <a:pt x="322" y="229"/>
                </a:lnTo>
                <a:lnTo>
                  <a:pt x="320" y="224"/>
                </a:lnTo>
                <a:lnTo>
                  <a:pt x="317" y="219"/>
                </a:lnTo>
                <a:lnTo>
                  <a:pt x="313" y="214"/>
                </a:lnTo>
                <a:lnTo>
                  <a:pt x="309" y="210"/>
                </a:lnTo>
                <a:lnTo>
                  <a:pt x="304" y="208"/>
                </a:lnTo>
                <a:lnTo>
                  <a:pt x="298" y="207"/>
                </a:lnTo>
                <a:lnTo>
                  <a:pt x="293" y="205"/>
                </a:lnTo>
                <a:close/>
                <a:moveTo>
                  <a:pt x="198" y="287"/>
                </a:moveTo>
                <a:lnTo>
                  <a:pt x="194" y="292"/>
                </a:lnTo>
                <a:lnTo>
                  <a:pt x="194" y="297"/>
                </a:lnTo>
                <a:lnTo>
                  <a:pt x="194" y="303"/>
                </a:lnTo>
                <a:lnTo>
                  <a:pt x="198" y="308"/>
                </a:lnTo>
                <a:lnTo>
                  <a:pt x="203" y="310"/>
                </a:lnTo>
                <a:lnTo>
                  <a:pt x="208" y="312"/>
                </a:lnTo>
                <a:lnTo>
                  <a:pt x="214" y="310"/>
                </a:lnTo>
                <a:lnTo>
                  <a:pt x="219" y="308"/>
                </a:lnTo>
                <a:lnTo>
                  <a:pt x="222" y="303"/>
                </a:lnTo>
                <a:lnTo>
                  <a:pt x="223" y="297"/>
                </a:lnTo>
                <a:lnTo>
                  <a:pt x="222" y="292"/>
                </a:lnTo>
                <a:lnTo>
                  <a:pt x="219" y="287"/>
                </a:lnTo>
                <a:lnTo>
                  <a:pt x="214" y="283"/>
                </a:lnTo>
                <a:lnTo>
                  <a:pt x="208" y="282"/>
                </a:lnTo>
                <a:lnTo>
                  <a:pt x="203" y="283"/>
                </a:lnTo>
                <a:lnTo>
                  <a:pt x="198" y="287"/>
                </a:lnTo>
                <a:close/>
                <a:moveTo>
                  <a:pt x="74" y="162"/>
                </a:moveTo>
                <a:lnTo>
                  <a:pt x="71" y="167"/>
                </a:lnTo>
                <a:lnTo>
                  <a:pt x="69" y="173"/>
                </a:lnTo>
                <a:lnTo>
                  <a:pt x="71" y="178"/>
                </a:lnTo>
                <a:lnTo>
                  <a:pt x="74" y="183"/>
                </a:lnTo>
                <a:lnTo>
                  <a:pt x="78" y="187"/>
                </a:lnTo>
                <a:lnTo>
                  <a:pt x="84" y="188"/>
                </a:lnTo>
                <a:lnTo>
                  <a:pt x="89" y="187"/>
                </a:lnTo>
                <a:lnTo>
                  <a:pt x="94" y="183"/>
                </a:lnTo>
                <a:lnTo>
                  <a:pt x="98" y="178"/>
                </a:lnTo>
                <a:lnTo>
                  <a:pt x="99" y="173"/>
                </a:lnTo>
                <a:lnTo>
                  <a:pt x="98" y="167"/>
                </a:lnTo>
                <a:lnTo>
                  <a:pt x="94" y="162"/>
                </a:lnTo>
                <a:lnTo>
                  <a:pt x="89" y="160"/>
                </a:lnTo>
                <a:lnTo>
                  <a:pt x="84" y="158"/>
                </a:lnTo>
                <a:lnTo>
                  <a:pt x="78" y="160"/>
                </a:lnTo>
                <a:lnTo>
                  <a:pt x="74" y="162"/>
                </a:lnTo>
                <a:close/>
                <a:moveTo>
                  <a:pt x="74" y="287"/>
                </a:moveTo>
                <a:lnTo>
                  <a:pt x="71" y="292"/>
                </a:lnTo>
                <a:lnTo>
                  <a:pt x="69" y="297"/>
                </a:lnTo>
                <a:lnTo>
                  <a:pt x="71" y="303"/>
                </a:lnTo>
                <a:lnTo>
                  <a:pt x="74" y="308"/>
                </a:lnTo>
                <a:lnTo>
                  <a:pt x="78" y="310"/>
                </a:lnTo>
                <a:lnTo>
                  <a:pt x="84" y="312"/>
                </a:lnTo>
                <a:lnTo>
                  <a:pt x="89" y="310"/>
                </a:lnTo>
                <a:lnTo>
                  <a:pt x="94" y="308"/>
                </a:lnTo>
                <a:lnTo>
                  <a:pt x="98" y="303"/>
                </a:lnTo>
                <a:lnTo>
                  <a:pt x="99" y="297"/>
                </a:lnTo>
                <a:lnTo>
                  <a:pt x="98" y="292"/>
                </a:lnTo>
                <a:lnTo>
                  <a:pt x="94" y="287"/>
                </a:lnTo>
                <a:lnTo>
                  <a:pt x="89" y="283"/>
                </a:lnTo>
                <a:lnTo>
                  <a:pt x="84" y="282"/>
                </a:lnTo>
                <a:lnTo>
                  <a:pt x="78" y="283"/>
                </a:lnTo>
                <a:lnTo>
                  <a:pt x="74" y="287"/>
                </a:lnTo>
                <a:close/>
                <a:moveTo>
                  <a:pt x="219" y="235"/>
                </a:moveTo>
                <a:lnTo>
                  <a:pt x="220" y="241"/>
                </a:lnTo>
                <a:lnTo>
                  <a:pt x="224" y="245"/>
                </a:lnTo>
                <a:lnTo>
                  <a:pt x="229" y="249"/>
                </a:lnTo>
                <a:lnTo>
                  <a:pt x="234" y="250"/>
                </a:lnTo>
                <a:lnTo>
                  <a:pt x="240" y="249"/>
                </a:lnTo>
                <a:lnTo>
                  <a:pt x="245" y="245"/>
                </a:lnTo>
                <a:lnTo>
                  <a:pt x="247" y="241"/>
                </a:lnTo>
                <a:lnTo>
                  <a:pt x="249" y="235"/>
                </a:lnTo>
                <a:lnTo>
                  <a:pt x="247" y="229"/>
                </a:lnTo>
                <a:lnTo>
                  <a:pt x="245" y="225"/>
                </a:lnTo>
                <a:lnTo>
                  <a:pt x="240" y="221"/>
                </a:lnTo>
                <a:lnTo>
                  <a:pt x="234" y="220"/>
                </a:lnTo>
                <a:lnTo>
                  <a:pt x="229" y="221"/>
                </a:lnTo>
                <a:lnTo>
                  <a:pt x="224" y="225"/>
                </a:lnTo>
                <a:lnTo>
                  <a:pt x="220" y="229"/>
                </a:lnTo>
                <a:lnTo>
                  <a:pt x="219" y="235"/>
                </a:lnTo>
                <a:close/>
                <a:moveTo>
                  <a:pt x="58" y="220"/>
                </a:moveTo>
                <a:lnTo>
                  <a:pt x="52" y="221"/>
                </a:lnTo>
                <a:lnTo>
                  <a:pt x="48" y="225"/>
                </a:lnTo>
                <a:lnTo>
                  <a:pt x="45" y="229"/>
                </a:lnTo>
                <a:lnTo>
                  <a:pt x="44" y="235"/>
                </a:lnTo>
                <a:lnTo>
                  <a:pt x="45" y="241"/>
                </a:lnTo>
                <a:lnTo>
                  <a:pt x="48" y="245"/>
                </a:lnTo>
                <a:lnTo>
                  <a:pt x="52" y="249"/>
                </a:lnTo>
                <a:lnTo>
                  <a:pt x="58" y="250"/>
                </a:lnTo>
                <a:lnTo>
                  <a:pt x="65" y="249"/>
                </a:lnTo>
                <a:lnTo>
                  <a:pt x="68" y="245"/>
                </a:lnTo>
                <a:lnTo>
                  <a:pt x="72" y="241"/>
                </a:lnTo>
                <a:lnTo>
                  <a:pt x="73" y="235"/>
                </a:lnTo>
                <a:lnTo>
                  <a:pt x="72" y="229"/>
                </a:lnTo>
                <a:lnTo>
                  <a:pt x="68" y="225"/>
                </a:lnTo>
                <a:lnTo>
                  <a:pt x="65" y="221"/>
                </a:lnTo>
                <a:lnTo>
                  <a:pt x="58" y="220"/>
                </a:lnTo>
                <a:close/>
                <a:moveTo>
                  <a:pt x="146" y="308"/>
                </a:moveTo>
                <a:lnTo>
                  <a:pt x="141" y="309"/>
                </a:lnTo>
                <a:lnTo>
                  <a:pt x="136" y="313"/>
                </a:lnTo>
                <a:lnTo>
                  <a:pt x="133" y="318"/>
                </a:lnTo>
                <a:lnTo>
                  <a:pt x="131" y="323"/>
                </a:lnTo>
                <a:lnTo>
                  <a:pt x="133" y="329"/>
                </a:lnTo>
                <a:lnTo>
                  <a:pt x="136" y="334"/>
                </a:lnTo>
                <a:lnTo>
                  <a:pt x="141" y="336"/>
                </a:lnTo>
                <a:lnTo>
                  <a:pt x="146" y="338"/>
                </a:lnTo>
                <a:lnTo>
                  <a:pt x="152" y="336"/>
                </a:lnTo>
                <a:lnTo>
                  <a:pt x="157" y="334"/>
                </a:lnTo>
                <a:lnTo>
                  <a:pt x="160" y="329"/>
                </a:lnTo>
                <a:lnTo>
                  <a:pt x="161" y="323"/>
                </a:lnTo>
                <a:lnTo>
                  <a:pt x="160" y="318"/>
                </a:lnTo>
                <a:lnTo>
                  <a:pt x="157" y="313"/>
                </a:lnTo>
                <a:lnTo>
                  <a:pt x="152" y="309"/>
                </a:lnTo>
                <a:lnTo>
                  <a:pt x="146" y="30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6" name="Freeform 25">
            <a:extLst>
              <a:ext uri="{FF2B5EF4-FFF2-40B4-BE49-F238E27FC236}">
                <a16:creationId xmlns:a16="http://schemas.microsoft.com/office/drawing/2014/main" id="{BAB99C05-CDE1-4DA0-BCC8-4C9AFB536BAB}"/>
              </a:ext>
            </a:extLst>
          </p:cNvPr>
          <p:cNvSpPr>
            <a:spLocks noEditPoints="1"/>
          </p:cNvSpPr>
          <p:nvPr/>
        </p:nvSpPr>
        <p:spPr bwMode="auto">
          <a:xfrm>
            <a:off x="10167938" y="8000958"/>
            <a:ext cx="371475" cy="349250"/>
          </a:xfrm>
          <a:custGeom>
            <a:avLst/>
            <a:gdLst>
              <a:gd name="T0" fmla="*/ 369 w 469"/>
              <a:gd name="T1" fmla="*/ 115 h 440"/>
              <a:gd name="T2" fmla="*/ 354 w 469"/>
              <a:gd name="T3" fmla="*/ 100 h 440"/>
              <a:gd name="T4" fmla="*/ 351 w 469"/>
              <a:gd name="T5" fmla="*/ 29 h 440"/>
              <a:gd name="T6" fmla="*/ 161 w 469"/>
              <a:gd name="T7" fmla="*/ 102 h 440"/>
              <a:gd name="T8" fmla="*/ 73 w 469"/>
              <a:gd name="T9" fmla="*/ 190 h 440"/>
              <a:gd name="T10" fmla="*/ 189 w 469"/>
              <a:gd name="T11" fmla="*/ 182 h 440"/>
              <a:gd name="T12" fmla="*/ 186 w 469"/>
              <a:gd name="T13" fmla="*/ 78 h 440"/>
              <a:gd name="T14" fmla="*/ 67 w 469"/>
              <a:gd name="T15" fmla="*/ 74 h 440"/>
              <a:gd name="T16" fmla="*/ 58 w 469"/>
              <a:gd name="T17" fmla="*/ 175 h 440"/>
              <a:gd name="T18" fmla="*/ 73 w 469"/>
              <a:gd name="T19" fmla="*/ 190 h 440"/>
              <a:gd name="T20" fmla="*/ 61 w 469"/>
              <a:gd name="T21" fmla="*/ 222 h 440"/>
              <a:gd name="T22" fmla="*/ 61 w 469"/>
              <a:gd name="T23" fmla="*/ 232 h 440"/>
              <a:gd name="T24" fmla="*/ 406 w 469"/>
              <a:gd name="T25" fmla="*/ 234 h 440"/>
              <a:gd name="T26" fmla="*/ 409 w 469"/>
              <a:gd name="T27" fmla="*/ 225 h 440"/>
              <a:gd name="T28" fmla="*/ 403 w 469"/>
              <a:gd name="T29" fmla="*/ 352 h 440"/>
              <a:gd name="T30" fmla="*/ 58 w 469"/>
              <a:gd name="T31" fmla="*/ 356 h 440"/>
              <a:gd name="T32" fmla="*/ 63 w 469"/>
              <a:gd name="T33" fmla="*/ 366 h 440"/>
              <a:gd name="T34" fmla="*/ 408 w 469"/>
              <a:gd name="T35" fmla="*/ 365 h 440"/>
              <a:gd name="T36" fmla="*/ 408 w 469"/>
              <a:gd name="T37" fmla="*/ 354 h 440"/>
              <a:gd name="T38" fmla="*/ 66 w 469"/>
              <a:gd name="T39" fmla="*/ 308 h 440"/>
              <a:gd name="T40" fmla="*/ 58 w 469"/>
              <a:gd name="T41" fmla="*/ 315 h 440"/>
              <a:gd name="T42" fmla="*/ 66 w 469"/>
              <a:gd name="T43" fmla="*/ 323 h 440"/>
              <a:gd name="T44" fmla="*/ 409 w 469"/>
              <a:gd name="T45" fmla="*/ 318 h 440"/>
              <a:gd name="T46" fmla="*/ 406 w 469"/>
              <a:gd name="T47" fmla="*/ 309 h 440"/>
              <a:gd name="T48" fmla="*/ 63 w 469"/>
              <a:gd name="T49" fmla="*/ 265 h 440"/>
              <a:gd name="T50" fmla="*/ 58 w 469"/>
              <a:gd name="T51" fmla="*/ 274 h 440"/>
              <a:gd name="T52" fmla="*/ 403 w 469"/>
              <a:gd name="T53" fmla="*/ 278 h 440"/>
              <a:gd name="T54" fmla="*/ 409 w 469"/>
              <a:gd name="T55" fmla="*/ 271 h 440"/>
              <a:gd name="T56" fmla="*/ 403 w 469"/>
              <a:gd name="T57" fmla="*/ 265 h 440"/>
              <a:gd name="T58" fmla="*/ 224 w 469"/>
              <a:gd name="T59" fmla="*/ 190 h 440"/>
              <a:gd name="T60" fmla="*/ 408 w 469"/>
              <a:gd name="T61" fmla="*/ 189 h 440"/>
              <a:gd name="T62" fmla="*/ 408 w 469"/>
              <a:gd name="T63" fmla="*/ 178 h 440"/>
              <a:gd name="T64" fmla="*/ 224 w 469"/>
              <a:gd name="T65" fmla="*/ 177 h 440"/>
              <a:gd name="T66" fmla="*/ 226 w 469"/>
              <a:gd name="T67" fmla="*/ 147 h 440"/>
              <a:gd name="T68" fmla="*/ 307 w 469"/>
              <a:gd name="T69" fmla="*/ 142 h 440"/>
              <a:gd name="T70" fmla="*/ 303 w 469"/>
              <a:gd name="T71" fmla="*/ 132 h 440"/>
              <a:gd name="T72" fmla="*/ 221 w 469"/>
              <a:gd name="T73" fmla="*/ 135 h 440"/>
              <a:gd name="T74" fmla="*/ 221 w 469"/>
              <a:gd name="T75" fmla="*/ 145 h 440"/>
              <a:gd name="T76" fmla="*/ 301 w 469"/>
              <a:gd name="T77" fmla="*/ 102 h 440"/>
              <a:gd name="T78" fmla="*/ 307 w 469"/>
              <a:gd name="T79" fmla="*/ 95 h 440"/>
              <a:gd name="T80" fmla="*/ 301 w 469"/>
              <a:gd name="T81" fmla="*/ 88 h 440"/>
              <a:gd name="T82" fmla="*/ 220 w 469"/>
              <a:gd name="T83" fmla="*/ 93 h 440"/>
              <a:gd name="T84" fmla="*/ 224 w 469"/>
              <a:gd name="T85" fmla="*/ 102 h 440"/>
              <a:gd name="T86" fmla="*/ 435 w 469"/>
              <a:gd name="T87" fmla="*/ 407 h 440"/>
              <a:gd name="T88" fmla="*/ 37 w 469"/>
              <a:gd name="T89" fmla="*/ 409 h 440"/>
              <a:gd name="T90" fmla="*/ 29 w 469"/>
              <a:gd name="T91" fmla="*/ 44 h 440"/>
              <a:gd name="T92" fmla="*/ 44 w 469"/>
              <a:gd name="T93" fmla="*/ 29 h 440"/>
              <a:gd name="T94" fmla="*/ 338 w 469"/>
              <a:gd name="T95" fmla="*/ 96 h 440"/>
              <a:gd name="T96" fmla="*/ 356 w 469"/>
              <a:gd name="T97" fmla="*/ 125 h 440"/>
              <a:gd name="T98" fmla="*/ 396 w 469"/>
              <a:gd name="T99" fmla="*/ 132 h 440"/>
              <a:gd name="T100" fmla="*/ 372 w 469"/>
              <a:gd name="T101" fmla="*/ 8 h 440"/>
              <a:gd name="T102" fmla="*/ 351 w 469"/>
              <a:gd name="T103" fmla="*/ 0 h 440"/>
              <a:gd name="T104" fmla="*/ 19 w 469"/>
              <a:gd name="T105" fmla="*/ 7 h 440"/>
              <a:gd name="T106" fmla="*/ 0 w 469"/>
              <a:gd name="T107" fmla="*/ 36 h 440"/>
              <a:gd name="T108" fmla="*/ 3 w 469"/>
              <a:gd name="T109" fmla="*/ 413 h 440"/>
              <a:gd name="T110" fmla="*/ 26 w 469"/>
              <a:gd name="T111" fmla="*/ 437 h 440"/>
              <a:gd name="T112" fmla="*/ 433 w 469"/>
              <a:gd name="T113" fmla="*/ 439 h 440"/>
              <a:gd name="T114" fmla="*/ 461 w 469"/>
              <a:gd name="T115" fmla="*/ 420 h 440"/>
              <a:gd name="T116" fmla="*/ 469 w 469"/>
              <a:gd name="T117" fmla="*/ 117 h 440"/>
              <a:gd name="T118" fmla="*/ 460 w 469"/>
              <a:gd name="T119" fmla="*/ 9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9" h="440">
                <a:moveTo>
                  <a:pt x="396" y="117"/>
                </a:moveTo>
                <a:lnTo>
                  <a:pt x="381" y="117"/>
                </a:lnTo>
                <a:lnTo>
                  <a:pt x="375" y="117"/>
                </a:lnTo>
                <a:lnTo>
                  <a:pt x="369" y="115"/>
                </a:lnTo>
                <a:lnTo>
                  <a:pt x="364" y="112"/>
                </a:lnTo>
                <a:lnTo>
                  <a:pt x="360" y="109"/>
                </a:lnTo>
                <a:lnTo>
                  <a:pt x="356" y="105"/>
                </a:lnTo>
                <a:lnTo>
                  <a:pt x="354" y="100"/>
                </a:lnTo>
                <a:lnTo>
                  <a:pt x="351" y="94"/>
                </a:lnTo>
                <a:lnTo>
                  <a:pt x="351" y="88"/>
                </a:lnTo>
                <a:lnTo>
                  <a:pt x="351" y="88"/>
                </a:lnTo>
                <a:lnTo>
                  <a:pt x="351" y="29"/>
                </a:lnTo>
                <a:lnTo>
                  <a:pt x="439" y="117"/>
                </a:lnTo>
                <a:lnTo>
                  <a:pt x="396" y="117"/>
                </a:lnTo>
                <a:close/>
                <a:moveTo>
                  <a:pt x="88" y="102"/>
                </a:moveTo>
                <a:lnTo>
                  <a:pt x="161" y="102"/>
                </a:lnTo>
                <a:lnTo>
                  <a:pt x="161" y="162"/>
                </a:lnTo>
                <a:lnTo>
                  <a:pt x="88" y="162"/>
                </a:lnTo>
                <a:lnTo>
                  <a:pt x="88" y="102"/>
                </a:lnTo>
                <a:close/>
                <a:moveTo>
                  <a:pt x="73" y="190"/>
                </a:moveTo>
                <a:lnTo>
                  <a:pt x="176" y="190"/>
                </a:lnTo>
                <a:lnTo>
                  <a:pt x="181" y="189"/>
                </a:lnTo>
                <a:lnTo>
                  <a:pt x="186" y="187"/>
                </a:lnTo>
                <a:lnTo>
                  <a:pt x="189" y="182"/>
                </a:lnTo>
                <a:lnTo>
                  <a:pt x="191" y="175"/>
                </a:lnTo>
                <a:lnTo>
                  <a:pt x="191" y="88"/>
                </a:lnTo>
                <a:lnTo>
                  <a:pt x="189" y="83"/>
                </a:lnTo>
                <a:lnTo>
                  <a:pt x="186" y="78"/>
                </a:lnTo>
                <a:lnTo>
                  <a:pt x="181" y="74"/>
                </a:lnTo>
                <a:lnTo>
                  <a:pt x="176" y="73"/>
                </a:lnTo>
                <a:lnTo>
                  <a:pt x="73" y="73"/>
                </a:lnTo>
                <a:lnTo>
                  <a:pt x="67" y="74"/>
                </a:lnTo>
                <a:lnTo>
                  <a:pt x="62" y="78"/>
                </a:lnTo>
                <a:lnTo>
                  <a:pt x="60" y="83"/>
                </a:lnTo>
                <a:lnTo>
                  <a:pt x="58" y="88"/>
                </a:lnTo>
                <a:lnTo>
                  <a:pt x="58" y="175"/>
                </a:lnTo>
                <a:lnTo>
                  <a:pt x="60" y="182"/>
                </a:lnTo>
                <a:lnTo>
                  <a:pt x="62" y="187"/>
                </a:lnTo>
                <a:lnTo>
                  <a:pt x="67" y="189"/>
                </a:lnTo>
                <a:lnTo>
                  <a:pt x="73" y="190"/>
                </a:lnTo>
                <a:close/>
                <a:moveTo>
                  <a:pt x="403" y="220"/>
                </a:moveTo>
                <a:lnTo>
                  <a:pt x="66" y="220"/>
                </a:lnTo>
                <a:lnTo>
                  <a:pt x="63" y="220"/>
                </a:lnTo>
                <a:lnTo>
                  <a:pt x="61" y="222"/>
                </a:lnTo>
                <a:lnTo>
                  <a:pt x="58" y="225"/>
                </a:lnTo>
                <a:lnTo>
                  <a:pt x="58" y="227"/>
                </a:lnTo>
                <a:lnTo>
                  <a:pt x="58" y="230"/>
                </a:lnTo>
                <a:lnTo>
                  <a:pt x="61" y="232"/>
                </a:lnTo>
                <a:lnTo>
                  <a:pt x="63" y="234"/>
                </a:lnTo>
                <a:lnTo>
                  <a:pt x="66" y="235"/>
                </a:lnTo>
                <a:lnTo>
                  <a:pt x="403" y="235"/>
                </a:lnTo>
                <a:lnTo>
                  <a:pt x="406" y="234"/>
                </a:lnTo>
                <a:lnTo>
                  <a:pt x="408" y="232"/>
                </a:lnTo>
                <a:lnTo>
                  <a:pt x="409" y="230"/>
                </a:lnTo>
                <a:lnTo>
                  <a:pt x="409" y="227"/>
                </a:lnTo>
                <a:lnTo>
                  <a:pt x="409" y="225"/>
                </a:lnTo>
                <a:lnTo>
                  <a:pt x="408" y="222"/>
                </a:lnTo>
                <a:lnTo>
                  <a:pt x="406" y="220"/>
                </a:lnTo>
                <a:lnTo>
                  <a:pt x="403" y="220"/>
                </a:lnTo>
                <a:close/>
                <a:moveTo>
                  <a:pt x="403" y="352"/>
                </a:moveTo>
                <a:lnTo>
                  <a:pt x="66" y="352"/>
                </a:lnTo>
                <a:lnTo>
                  <a:pt x="63" y="352"/>
                </a:lnTo>
                <a:lnTo>
                  <a:pt x="61" y="354"/>
                </a:lnTo>
                <a:lnTo>
                  <a:pt x="58" y="356"/>
                </a:lnTo>
                <a:lnTo>
                  <a:pt x="58" y="360"/>
                </a:lnTo>
                <a:lnTo>
                  <a:pt x="58" y="362"/>
                </a:lnTo>
                <a:lnTo>
                  <a:pt x="61" y="365"/>
                </a:lnTo>
                <a:lnTo>
                  <a:pt x="63" y="366"/>
                </a:lnTo>
                <a:lnTo>
                  <a:pt x="66" y="367"/>
                </a:lnTo>
                <a:lnTo>
                  <a:pt x="403" y="367"/>
                </a:lnTo>
                <a:lnTo>
                  <a:pt x="406" y="366"/>
                </a:lnTo>
                <a:lnTo>
                  <a:pt x="408" y="365"/>
                </a:lnTo>
                <a:lnTo>
                  <a:pt x="409" y="362"/>
                </a:lnTo>
                <a:lnTo>
                  <a:pt x="409" y="360"/>
                </a:lnTo>
                <a:lnTo>
                  <a:pt x="409" y="356"/>
                </a:lnTo>
                <a:lnTo>
                  <a:pt x="408" y="354"/>
                </a:lnTo>
                <a:lnTo>
                  <a:pt x="406" y="352"/>
                </a:lnTo>
                <a:lnTo>
                  <a:pt x="403" y="352"/>
                </a:lnTo>
                <a:close/>
                <a:moveTo>
                  <a:pt x="403" y="308"/>
                </a:moveTo>
                <a:lnTo>
                  <a:pt x="66" y="308"/>
                </a:lnTo>
                <a:lnTo>
                  <a:pt x="63" y="309"/>
                </a:lnTo>
                <a:lnTo>
                  <a:pt x="61" y="310"/>
                </a:lnTo>
                <a:lnTo>
                  <a:pt x="58" y="313"/>
                </a:lnTo>
                <a:lnTo>
                  <a:pt x="58" y="315"/>
                </a:lnTo>
                <a:lnTo>
                  <a:pt x="58" y="318"/>
                </a:lnTo>
                <a:lnTo>
                  <a:pt x="61" y="320"/>
                </a:lnTo>
                <a:lnTo>
                  <a:pt x="63" y="323"/>
                </a:lnTo>
                <a:lnTo>
                  <a:pt x="66" y="323"/>
                </a:lnTo>
                <a:lnTo>
                  <a:pt x="403" y="323"/>
                </a:lnTo>
                <a:lnTo>
                  <a:pt x="406" y="323"/>
                </a:lnTo>
                <a:lnTo>
                  <a:pt x="408" y="320"/>
                </a:lnTo>
                <a:lnTo>
                  <a:pt x="409" y="318"/>
                </a:lnTo>
                <a:lnTo>
                  <a:pt x="409" y="315"/>
                </a:lnTo>
                <a:lnTo>
                  <a:pt x="409" y="313"/>
                </a:lnTo>
                <a:lnTo>
                  <a:pt x="408" y="310"/>
                </a:lnTo>
                <a:lnTo>
                  <a:pt x="406" y="309"/>
                </a:lnTo>
                <a:lnTo>
                  <a:pt x="403" y="308"/>
                </a:lnTo>
                <a:close/>
                <a:moveTo>
                  <a:pt x="403" y="265"/>
                </a:moveTo>
                <a:lnTo>
                  <a:pt x="66" y="265"/>
                </a:lnTo>
                <a:lnTo>
                  <a:pt x="63" y="265"/>
                </a:lnTo>
                <a:lnTo>
                  <a:pt x="61" y="266"/>
                </a:lnTo>
                <a:lnTo>
                  <a:pt x="58" y="268"/>
                </a:lnTo>
                <a:lnTo>
                  <a:pt x="58" y="271"/>
                </a:lnTo>
                <a:lnTo>
                  <a:pt x="58" y="274"/>
                </a:lnTo>
                <a:lnTo>
                  <a:pt x="61" y="277"/>
                </a:lnTo>
                <a:lnTo>
                  <a:pt x="63" y="278"/>
                </a:lnTo>
                <a:lnTo>
                  <a:pt x="66" y="278"/>
                </a:lnTo>
                <a:lnTo>
                  <a:pt x="403" y="278"/>
                </a:lnTo>
                <a:lnTo>
                  <a:pt x="406" y="278"/>
                </a:lnTo>
                <a:lnTo>
                  <a:pt x="408" y="277"/>
                </a:lnTo>
                <a:lnTo>
                  <a:pt x="409" y="274"/>
                </a:lnTo>
                <a:lnTo>
                  <a:pt x="409" y="271"/>
                </a:lnTo>
                <a:lnTo>
                  <a:pt x="409" y="268"/>
                </a:lnTo>
                <a:lnTo>
                  <a:pt x="408" y="266"/>
                </a:lnTo>
                <a:lnTo>
                  <a:pt x="406" y="265"/>
                </a:lnTo>
                <a:lnTo>
                  <a:pt x="403" y="265"/>
                </a:lnTo>
                <a:close/>
                <a:moveTo>
                  <a:pt x="219" y="183"/>
                </a:moveTo>
                <a:lnTo>
                  <a:pt x="220" y="187"/>
                </a:lnTo>
                <a:lnTo>
                  <a:pt x="221" y="189"/>
                </a:lnTo>
                <a:lnTo>
                  <a:pt x="224" y="190"/>
                </a:lnTo>
                <a:lnTo>
                  <a:pt x="226" y="190"/>
                </a:lnTo>
                <a:lnTo>
                  <a:pt x="403" y="190"/>
                </a:lnTo>
                <a:lnTo>
                  <a:pt x="406" y="190"/>
                </a:lnTo>
                <a:lnTo>
                  <a:pt x="408" y="189"/>
                </a:lnTo>
                <a:lnTo>
                  <a:pt x="409" y="187"/>
                </a:lnTo>
                <a:lnTo>
                  <a:pt x="409" y="183"/>
                </a:lnTo>
                <a:lnTo>
                  <a:pt x="409" y="180"/>
                </a:lnTo>
                <a:lnTo>
                  <a:pt x="408" y="178"/>
                </a:lnTo>
                <a:lnTo>
                  <a:pt x="406" y="177"/>
                </a:lnTo>
                <a:lnTo>
                  <a:pt x="403" y="175"/>
                </a:lnTo>
                <a:lnTo>
                  <a:pt x="226" y="175"/>
                </a:lnTo>
                <a:lnTo>
                  <a:pt x="224" y="177"/>
                </a:lnTo>
                <a:lnTo>
                  <a:pt x="221" y="178"/>
                </a:lnTo>
                <a:lnTo>
                  <a:pt x="220" y="180"/>
                </a:lnTo>
                <a:lnTo>
                  <a:pt x="219" y="183"/>
                </a:lnTo>
                <a:close/>
                <a:moveTo>
                  <a:pt x="226" y="147"/>
                </a:moveTo>
                <a:lnTo>
                  <a:pt x="301" y="147"/>
                </a:lnTo>
                <a:lnTo>
                  <a:pt x="303" y="146"/>
                </a:lnTo>
                <a:lnTo>
                  <a:pt x="306" y="145"/>
                </a:lnTo>
                <a:lnTo>
                  <a:pt x="307" y="142"/>
                </a:lnTo>
                <a:lnTo>
                  <a:pt x="307" y="140"/>
                </a:lnTo>
                <a:lnTo>
                  <a:pt x="307" y="137"/>
                </a:lnTo>
                <a:lnTo>
                  <a:pt x="306" y="135"/>
                </a:lnTo>
                <a:lnTo>
                  <a:pt x="303" y="132"/>
                </a:lnTo>
                <a:lnTo>
                  <a:pt x="301" y="132"/>
                </a:lnTo>
                <a:lnTo>
                  <a:pt x="226" y="132"/>
                </a:lnTo>
                <a:lnTo>
                  <a:pt x="224" y="132"/>
                </a:lnTo>
                <a:lnTo>
                  <a:pt x="221" y="135"/>
                </a:lnTo>
                <a:lnTo>
                  <a:pt x="220" y="136"/>
                </a:lnTo>
                <a:lnTo>
                  <a:pt x="219" y="140"/>
                </a:lnTo>
                <a:lnTo>
                  <a:pt x="220" y="142"/>
                </a:lnTo>
                <a:lnTo>
                  <a:pt x="221" y="145"/>
                </a:lnTo>
                <a:lnTo>
                  <a:pt x="224" y="146"/>
                </a:lnTo>
                <a:lnTo>
                  <a:pt x="226" y="147"/>
                </a:lnTo>
                <a:close/>
                <a:moveTo>
                  <a:pt x="226" y="102"/>
                </a:moveTo>
                <a:lnTo>
                  <a:pt x="301" y="102"/>
                </a:lnTo>
                <a:lnTo>
                  <a:pt x="303" y="102"/>
                </a:lnTo>
                <a:lnTo>
                  <a:pt x="306" y="100"/>
                </a:lnTo>
                <a:lnTo>
                  <a:pt x="307" y="99"/>
                </a:lnTo>
                <a:lnTo>
                  <a:pt x="307" y="95"/>
                </a:lnTo>
                <a:lnTo>
                  <a:pt x="307" y="93"/>
                </a:lnTo>
                <a:lnTo>
                  <a:pt x="306" y="90"/>
                </a:lnTo>
                <a:lnTo>
                  <a:pt x="303" y="89"/>
                </a:lnTo>
                <a:lnTo>
                  <a:pt x="301" y="88"/>
                </a:lnTo>
                <a:lnTo>
                  <a:pt x="226" y="88"/>
                </a:lnTo>
                <a:lnTo>
                  <a:pt x="224" y="89"/>
                </a:lnTo>
                <a:lnTo>
                  <a:pt x="221" y="90"/>
                </a:lnTo>
                <a:lnTo>
                  <a:pt x="220" y="93"/>
                </a:lnTo>
                <a:lnTo>
                  <a:pt x="219" y="95"/>
                </a:lnTo>
                <a:lnTo>
                  <a:pt x="220" y="99"/>
                </a:lnTo>
                <a:lnTo>
                  <a:pt x="221" y="100"/>
                </a:lnTo>
                <a:lnTo>
                  <a:pt x="224" y="102"/>
                </a:lnTo>
                <a:lnTo>
                  <a:pt x="226" y="102"/>
                </a:lnTo>
                <a:close/>
                <a:moveTo>
                  <a:pt x="439" y="396"/>
                </a:moveTo>
                <a:lnTo>
                  <a:pt x="438" y="402"/>
                </a:lnTo>
                <a:lnTo>
                  <a:pt x="435" y="407"/>
                </a:lnTo>
                <a:lnTo>
                  <a:pt x="430" y="409"/>
                </a:lnTo>
                <a:lnTo>
                  <a:pt x="424" y="411"/>
                </a:lnTo>
                <a:lnTo>
                  <a:pt x="44" y="411"/>
                </a:lnTo>
                <a:lnTo>
                  <a:pt x="37" y="409"/>
                </a:lnTo>
                <a:lnTo>
                  <a:pt x="34" y="407"/>
                </a:lnTo>
                <a:lnTo>
                  <a:pt x="30" y="402"/>
                </a:lnTo>
                <a:lnTo>
                  <a:pt x="29" y="396"/>
                </a:lnTo>
                <a:lnTo>
                  <a:pt x="29" y="44"/>
                </a:lnTo>
                <a:lnTo>
                  <a:pt x="30" y="38"/>
                </a:lnTo>
                <a:lnTo>
                  <a:pt x="34" y="33"/>
                </a:lnTo>
                <a:lnTo>
                  <a:pt x="37" y="31"/>
                </a:lnTo>
                <a:lnTo>
                  <a:pt x="44" y="29"/>
                </a:lnTo>
                <a:lnTo>
                  <a:pt x="336" y="29"/>
                </a:lnTo>
                <a:lnTo>
                  <a:pt x="336" y="88"/>
                </a:lnTo>
                <a:lnTo>
                  <a:pt x="336" y="88"/>
                </a:lnTo>
                <a:lnTo>
                  <a:pt x="338" y="96"/>
                </a:lnTo>
                <a:lnTo>
                  <a:pt x="340" y="105"/>
                </a:lnTo>
                <a:lnTo>
                  <a:pt x="344" y="112"/>
                </a:lnTo>
                <a:lnTo>
                  <a:pt x="350" y="119"/>
                </a:lnTo>
                <a:lnTo>
                  <a:pt x="356" y="125"/>
                </a:lnTo>
                <a:lnTo>
                  <a:pt x="364" y="128"/>
                </a:lnTo>
                <a:lnTo>
                  <a:pt x="372" y="131"/>
                </a:lnTo>
                <a:lnTo>
                  <a:pt x="381" y="132"/>
                </a:lnTo>
                <a:lnTo>
                  <a:pt x="396" y="132"/>
                </a:lnTo>
                <a:lnTo>
                  <a:pt x="439" y="132"/>
                </a:lnTo>
                <a:lnTo>
                  <a:pt x="439" y="396"/>
                </a:lnTo>
                <a:close/>
                <a:moveTo>
                  <a:pt x="460" y="96"/>
                </a:moveTo>
                <a:lnTo>
                  <a:pt x="372" y="8"/>
                </a:lnTo>
                <a:lnTo>
                  <a:pt x="367" y="5"/>
                </a:lnTo>
                <a:lnTo>
                  <a:pt x="362" y="2"/>
                </a:lnTo>
                <a:lnTo>
                  <a:pt x="357" y="1"/>
                </a:lnTo>
                <a:lnTo>
                  <a:pt x="351" y="0"/>
                </a:lnTo>
                <a:lnTo>
                  <a:pt x="44" y="0"/>
                </a:lnTo>
                <a:lnTo>
                  <a:pt x="35" y="1"/>
                </a:lnTo>
                <a:lnTo>
                  <a:pt x="26" y="3"/>
                </a:lnTo>
                <a:lnTo>
                  <a:pt x="19" y="7"/>
                </a:lnTo>
                <a:lnTo>
                  <a:pt x="13" y="13"/>
                </a:lnTo>
                <a:lnTo>
                  <a:pt x="8" y="20"/>
                </a:lnTo>
                <a:lnTo>
                  <a:pt x="3" y="27"/>
                </a:lnTo>
                <a:lnTo>
                  <a:pt x="0" y="36"/>
                </a:lnTo>
                <a:lnTo>
                  <a:pt x="0" y="44"/>
                </a:lnTo>
                <a:lnTo>
                  <a:pt x="0" y="396"/>
                </a:lnTo>
                <a:lnTo>
                  <a:pt x="0" y="404"/>
                </a:lnTo>
                <a:lnTo>
                  <a:pt x="3" y="413"/>
                </a:lnTo>
                <a:lnTo>
                  <a:pt x="8" y="420"/>
                </a:lnTo>
                <a:lnTo>
                  <a:pt x="13" y="427"/>
                </a:lnTo>
                <a:lnTo>
                  <a:pt x="19" y="433"/>
                </a:lnTo>
                <a:lnTo>
                  <a:pt x="26" y="437"/>
                </a:lnTo>
                <a:lnTo>
                  <a:pt x="35" y="439"/>
                </a:lnTo>
                <a:lnTo>
                  <a:pt x="44" y="440"/>
                </a:lnTo>
                <a:lnTo>
                  <a:pt x="424" y="440"/>
                </a:lnTo>
                <a:lnTo>
                  <a:pt x="433" y="439"/>
                </a:lnTo>
                <a:lnTo>
                  <a:pt x="441" y="437"/>
                </a:lnTo>
                <a:lnTo>
                  <a:pt x="449" y="433"/>
                </a:lnTo>
                <a:lnTo>
                  <a:pt x="455" y="427"/>
                </a:lnTo>
                <a:lnTo>
                  <a:pt x="461" y="420"/>
                </a:lnTo>
                <a:lnTo>
                  <a:pt x="465" y="413"/>
                </a:lnTo>
                <a:lnTo>
                  <a:pt x="467" y="404"/>
                </a:lnTo>
                <a:lnTo>
                  <a:pt x="469" y="396"/>
                </a:lnTo>
                <a:lnTo>
                  <a:pt x="469" y="117"/>
                </a:lnTo>
                <a:lnTo>
                  <a:pt x="467" y="111"/>
                </a:lnTo>
                <a:lnTo>
                  <a:pt x="466" y="106"/>
                </a:lnTo>
                <a:lnTo>
                  <a:pt x="464" y="101"/>
                </a:lnTo>
                <a:lnTo>
                  <a:pt x="460" y="9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7" name="Freeform 26">
            <a:extLst>
              <a:ext uri="{FF2B5EF4-FFF2-40B4-BE49-F238E27FC236}">
                <a16:creationId xmlns:a16="http://schemas.microsoft.com/office/drawing/2014/main" id="{26C49ED5-DA49-F6AA-B89A-AE5E9F6D9B2A}"/>
              </a:ext>
            </a:extLst>
          </p:cNvPr>
          <p:cNvSpPr>
            <a:spLocks noEditPoints="1"/>
          </p:cNvSpPr>
          <p:nvPr/>
        </p:nvSpPr>
        <p:spPr bwMode="auto">
          <a:xfrm>
            <a:off x="10985500" y="7988258"/>
            <a:ext cx="347663" cy="374650"/>
          </a:xfrm>
          <a:custGeom>
            <a:avLst/>
            <a:gdLst>
              <a:gd name="T0" fmla="*/ 404 w 439"/>
              <a:gd name="T1" fmla="*/ 428 h 470"/>
              <a:gd name="T2" fmla="*/ 386 w 439"/>
              <a:gd name="T3" fmla="*/ 439 h 470"/>
              <a:gd name="T4" fmla="*/ 47 w 439"/>
              <a:gd name="T5" fmla="*/ 438 h 470"/>
              <a:gd name="T6" fmla="*/ 31 w 439"/>
              <a:gd name="T7" fmla="*/ 422 h 470"/>
              <a:gd name="T8" fmla="*/ 30 w 439"/>
              <a:gd name="T9" fmla="*/ 53 h 470"/>
              <a:gd name="T10" fmla="*/ 42 w 439"/>
              <a:gd name="T11" fmla="*/ 35 h 470"/>
              <a:gd name="T12" fmla="*/ 381 w 439"/>
              <a:gd name="T13" fmla="*/ 30 h 470"/>
              <a:gd name="T14" fmla="*/ 400 w 439"/>
              <a:gd name="T15" fmla="*/ 38 h 470"/>
              <a:gd name="T16" fmla="*/ 409 w 439"/>
              <a:gd name="T17" fmla="*/ 59 h 470"/>
              <a:gd name="T18" fmla="*/ 289 w 439"/>
              <a:gd name="T19" fmla="*/ 120 h 470"/>
              <a:gd name="T20" fmla="*/ 305 w 439"/>
              <a:gd name="T21" fmla="*/ 136 h 470"/>
              <a:gd name="T22" fmla="*/ 305 w 439"/>
              <a:gd name="T23" fmla="*/ 158 h 470"/>
              <a:gd name="T24" fmla="*/ 289 w 439"/>
              <a:gd name="T25" fmla="*/ 174 h 470"/>
              <a:gd name="T26" fmla="*/ 267 w 439"/>
              <a:gd name="T27" fmla="*/ 174 h 470"/>
              <a:gd name="T28" fmla="*/ 251 w 439"/>
              <a:gd name="T29" fmla="*/ 158 h 470"/>
              <a:gd name="T30" fmla="*/ 251 w 439"/>
              <a:gd name="T31" fmla="*/ 136 h 470"/>
              <a:gd name="T32" fmla="*/ 267 w 439"/>
              <a:gd name="T33" fmla="*/ 120 h 470"/>
              <a:gd name="T34" fmla="*/ 287 w 439"/>
              <a:gd name="T35" fmla="*/ 190 h 470"/>
              <a:gd name="T36" fmla="*/ 314 w 439"/>
              <a:gd name="T37" fmla="*/ 172 h 470"/>
              <a:gd name="T38" fmla="*/ 321 w 439"/>
              <a:gd name="T39" fmla="*/ 139 h 470"/>
              <a:gd name="T40" fmla="*/ 303 w 439"/>
              <a:gd name="T41" fmla="*/ 110 h 470"/>
              <a:gd name="T42" fmla="*/ 269 w 439"/>
              <a:gd name="T43" fmla="*/ 104 h 470"/>
              <a:gd name="T44" fmla="*/ 241 w 439"/>
              <a:gd name="T45" fmla="*/ 122 h 470"/>
              <a:gd name="T46" fmla="*/ 235 w 439"/>
              <a:gd name="T47" fmla="*/ 156 h 470"/>
              <a:gd name="T48" fmla="*/ 253 w 439"/>
              <a:gd name="T49" fmla="*/ 183 h 470"/>
              <a:gd name="T50" fmla="*/ 318 w 439"/>
              <a:gd name="T51" fmla="*/ 338 h 470"/>
              <a:gd name="T52" fmla="*/ 366 w 439"/>
              <a:gd name="T53" fmla="*/ 338 h 470"/>
              <a:gd name="T54" fmla="*/ 250 w 439"/>
              <a:gd name="T55" fmla="*/ 281 h 470"/>
              <a:gd name="T56" fmla="*/ 73 w 439"/>
              <a:gd name="T57" fmla="*/ 214 h 470"/>
              <a:gd name="T58" fmla="*/ 315 w 439"/>
              <a:gd name="T59" fmla="*/ 223 h 470"/>
              <a:gd name="T60" fmla="*/ 304 w 439"/>
              <a:gd name="T61" fmla="*/ 220 h 470"/>
              <a:gd name="T62" fmla="*/ 258 w 439"/>
              <a:gd name="T63" fmla="*/ 268 h 470"/>
              <a:gd name="T64" fmla="*/ 135 w 439"/>
              <a:gd name="T65" fmla="*/ 132 h 470"/>
              <a:gd name="T66" fmla="*/ 122 w 439"/>
              <a:gd name="T67" fmla="*/ 135 h 470"/>
              <a:gd name="T68" fmla="*/ 366 w 439"/>
              <a:gd name="T69" fmla="*/ 74 h 470"/>
              <a:gd name="T70" fmla="*/ 62 w 439"/>
              <a:gd name="T71" fmla="*/ 63 h 470"/>
              <a:gd name="T72" fmla="*/ 59 w 439"/>
              <a:gd name="T73" fmla="*/ 344 h 470"/>
              <a:gd name="T74" fmla="*/ 366 w 439"/>
              <a:gd name="T75" fmla="*/ 353 h 470"/>
              <a:gd name="T76" fmla="*/ 381 w 439"/>
              <a:gd name="T77" fmla="*/ 338 h 470"/>
              <a:gd name="T78" fmla="*/ 371 w 439"/>
              <a:gd name="T79" fmla="*/ 61 h 470"/>
              <a:gd name="T80" fmla="*/ 46 w 439"/>
              <a:gd name="T81" fmla="*/ 1 h 470"/>
              <a:gd name="T82" fmla="*/ 10 w 439"/>
              <a:gd name="T83" fmla="*/ 26 h 470"/>
              <a:gd name="T84" fmla="*/ 0 w 439"/>
              <a:gd name="T85" fmla="*/ 411 h 470"/>
              <a:gd name="T86" fmla="*/ 16 w 439"/>
              <a:gd name="T87" fmla="*/ 453 h 470"/>
              <a:gd name="T88" fmla="*/ 58 w 439"/>
              <a:gd name="T89" fmla="*/ 470 h 470"/>
              <a:gd name="T90" fmla="*/ 413 w 439"/>
              <a:gd name="T91" fmla="*/ 460 h 470"/>
              <a:gd name="T92" fmla="*/ 437 w 439"/>
              <a:gd name="T93" fmla="*/ 423 h 470"/>
              <a:gd name="T94" fmla="*/ 434 w 439"/>
              <a:gd name="T95" fmla="*/ 36 h 470"/>
              <a:gd name="T96" fmla="*/ 403 w 439"/>
              <a:gd name="T97" fmla="*/ 5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9" h="470">
                <a:moveTo>
                  <a:pt x="409" y="411"/>
                </a:moveTo>
                <a:lnTo>
                  <a:pt x="409" y="417"/>
                </a:lnTo>
                <a:lnTo>
                  <a:pt x="408" y="422"/>
                </a:lnTo>
                <a:lnTo>
                  <a:pt x="404" y="428"/>
                </a:lnTo>
                <a:lnTo>
                  <a:pt x="400" y="432"/>
                </a:lnTo>
                <a:lnTo>
                  <a:pt x="397" y="435"/>
                </a:lnTo>
                <a:lnTo>
                  <a:pt x="392" y="438"/>
                </a:lnTo>
                <a:lnTo>
                  <a:pt x="386" y="439"/>
                </a:lnTo>
                <a:lnTo>
                  <a:pt x="381" y="440"/>
                </a:lnTo>
                <a:lnTo>
                  <a:pt x="58" y="440"/>
                </a:lnTo>
                <a:lnTo>
                  <a:pt x="52" y="439"/>
                </a:lnTo>
                <a:lnTo>
                  <a:pt x="47" y="438"/>
                </a:lnTo>
                <a:lnTo>
                  <a:pt x="42" y="435"/>
                </a:lnTo>
                <a:lnTo>
                  <a:pt x="37" y="432"/>
                </a:lnTo>
                <a:lnTo>
                  <a:pt x="33" y="428"/>
                </a:lnTo>
                <a:lnTo>
                  <a:pt x="31" y="422"/>
                </a:lnTo>
                <a:lnTo>
                  <a:pt x="30" y="417"/>
                </a:lnTo>
                <a:lnTo>
                  <a:pt x="28" y="411"/>
                </a:lnTo>
                <a:lnTo>
                  <a:pt x="28" y="59"/>
                </a:lnTo>
                <a:lnTo>
                  <a:pt x="30" y="53"/>
                </a:lnTo>
                <a:lnTo>
                  <a:pt x="31" y="48"/>
                </a:lnTo>
                <a:lnTo>
                  <a:pt x="33" y="43"/>
                </a:lnTo>
                <a:lnTo>
                  <a:pt x="37" y="38"/>
                </a:lnTo>
                <a:lnTo>
                  <a:pt x="42" y="35"/>
                </a:lnTo>
                <a:lnTo>
                  <a:pt x="47" y="32"/>
                </a:lnTo>
                <a:lnTo>
                  <a:pt x="52" y="31"/>
                </a:lnTo>
                <a:lnTo>
                  <a:pt x="58" y="30"/>
                </a:lnTo>
                <a:lnTo>
                  <a:pt x="381" y="30"/>
                </a:lnTo>
                <a:lnTo>
                  <a:pt x="386" y="31"/>
                </a:lnTo>
                <a:lnTo>
                  <a:pt x="392" y="32"/>
                </a:lnTo>
                <a:lnTo>
                  <a:pt x="397" y="35"/>
                </a:lnTo>
                <a:lnTo>
                  <a:pt x="400" y="38"/>
                </a:lnTo>
                <a:lnTo>
                  <a:pt x="404" y="43"/>
                </a:lnTo>
                <a:lnTo>
                  <a:pt x="408" y="48"/>
                </a:lnTo>
                <a:lnTo>
                  <a:pt x="409" y="53"/>
                </a:lnTo>
                <a:lnTo>
                  <a:pt x="409" y="59"/>
                </a:lnTo>
                <a:lnTo>
                  <a:pt x="409" y="411"/>
                </a:lnTo>
                <a:close/>
                <a:moveTo>
                  <a:pt x="278" y="117"/>
                </a:moveTo>
                <a:lnTo>
                  <a:pt x="284" y="119"/>
                </a:lnTo>
                <a:lnTo>
                  <a:pt x="289" y="120"/>
                </a:lnTo>
                <a:lnTo>
                  <a:pt x="294" y="122"/>
                </a:lnTo>
                <a:lnTo>
                  <a:pt x="299" y="126"/>
                </a:lnTo>
                <a:lnTo>
                  <a:pt x="302" y="131"/>
                </a:lnTo>
                <a:lnTo>
                  <a:pt x="305" y="136"/>
                </a:lnTo>
                <a:lnTo>
                  <a:pt x="306" y="141"/>
                </a:lnTo>
                <a:lnTo>
                  <a:pt x="306" y="147"/>
                </a:lnTo>
                <a:lnTo>
                  <a:pt x="306" y="153"/>
                </a:lnTo>
                <a:lnTo>
                  <a:pt x="305" y="158"/>
                </a:lnTo>
                <a:lnTo>
                  <a:pt x="302" y="163"/>
                </a:lnTo>
                <a:lnTo>
                  <a:pt x="299" y="168"/>
                </a:lnTo>
                <a:lnTo>
                  <a:pt x="294" y="172"/>
                </a:lnTo>
                <a:lnTo>
                  <a:pt x="289" y="174"/>
                </a:lnTo>
                <a:lnTo>
                  <a:pt x="284" y="176"/>
                </a:lnTo>
                <a:lnTo>
                  <a:pt x="278" y="177"/>
                </a:lnTo>
                <a:lnTo>
                  <a:pt x="272" y="176"/>
                </a:lnTo>
                <a:lnTo>
                  <a:pt x="267" y="174"/>
                </a:lnTo>
                <a:lnTo>
                  <a:pt x="262" y="172"/>
                </a:lnTo>
                <a:lnTo>
                  <a:pt x="257" y="168"/>
                </a:lnTo>
                <a:lnTo>
                  <a:pt x="253" y="163"/>
                </a:lnTo>
                <a:lnTo>
                  <a:pt x="251" y="158"/>
                </a:lnTo>
                <a:lnTo>
                  <a:pt x="250" y="153"/>
                </a:lnTo>
                <a:lnTo>
                  <a:pt x="248" y="147"/>
                </a:lnTo>
                <a:lnTo>
                  <a:pt x="250" y="141"/>
                </a:lnTo>
                <a:lnTo>
                  <a:pt x="251" y="136"/>
                </a:lnTo>
                <a:lnTo>
                  <a:pt x="253" y="131"/>
                </a:lnTo>
                <a:lnTo>
                  <a:pt x="257" y="126"/>
                </a:lnTo>
                <a:lnTo>
                  <a:pt x="262" y="122"/>
                </a:lnTo>
                <a:lnTo>
                  <a:pt x="267" y="120"/>
                </a:lnTo>
                <a:lnTo>
                  <a:pt x="272" y="119"/>
                </a:lnTo>
                <a:lnTo>
                  <a:pt x="278" y="117"/>
                </a:lnTo>
                <a:close/>
                <a:moveTo>
                  <a:pt x="278" y="190"/>
                </a:moveTo>
                <a:lnTo>
                  <a:pt x="287" y="190"/>
                </a:lnTo>
                <a:lnTo>
                  <a:pt x="295" y="188"/>
                </a:lnTo>
                <a:lnTo>
                  <a:pt x="303" y="183"/>
                </a:lnTo>
                <a:lnTo>
                  <a:pt x="309" y="178"/>
                </a:lnTo>
                <a:lnTo>
                  <a:pt x="314" y="172"/>
                </a:lnTo>
                <a:lnTo>
                  <a:pt x="319" y="164"/>
                </a:lnTo>
                <a:lnTo>
                  <a:pt x="321" y="156"/>
                </a:lnTo>
                <a:lnTo>
                  <a:pt x="321" y="147"/>
                </a:lnTo>
                <a:lnTo>
                  <a:pt x="321" y="139"/>
                </a:lnTo>
                <a:lnTo>
                  <a:pt x="319" y="130"/>
                </a:lnTo>
                <a:lnTo>
                  <a:pt x="314" y="122"/>
                </a:lnTo>
                <a:lnTo>
                  <a:pt x="309" y="116"/>
                </a:lnTo>
                <a:lnTo>
                  <a:pt x="303" y="110"/>
                </a:lnTo>
                <a:lnTo>
                  <a:pt x="295" y="106"/>
                </a:lnTo>
                <a:lnTo>
                  <a:pt x="287" y="104"/>
                </a:lnTo>
                <a:lnTo>
                  <a:pt x="278" y="103"/>
                </a:lnTo>
                <a:lnTo>
                  <a:pt x="269" y="104"/>
                </a:lnTo>
                <a:lnTo>
                  <a:pt x="261" y="106"/>
                </a:lnTo>
                <a:lnTo>
                  <a:pt x="253" y="110"/>
                </a:lnTo>
                <a:lnTo>
                  <a:pt x="247" y="116"/>
                </a:lnTo>
                <a:lnTo>
                  <a:pt x="241" y="122"/>
                </a:lnTo>
                <a:lnTo>
                  <a:pt x="237" y="130"/>
                </a:lnTo>
                <a:lnTo>
                  <a:pt x="235" y="139"/>
                </a:lnTo>
                <a:lnTo>
                  <a:pt x="234" y="147"/>
                </a:lnTo>
                <a:lnTo>
                  <a:pt x="235" y="156"/>
                </a:lnTo>
                <a:lnTo>
                  <a:pt x="237" y="164"/>
                </a:lnTo>
                <a:lnTo>
                  <a:pt x="241" y="172"/>
                </a:lnTo>
                <a:lnTo>
                  <a:pt x="247" y="178"/>
                </a:lnTo>
                <a:lnTo>
                  <a:pt x="253" y="183"/>
                </a:lnTo>
                <a:lnTo>
                  <a:pt x="261" y="188"/>
                </a:lnTo>
                <a:lnTo>
                  <a:pt x="269" y="190"/>
                </a:lnTo>
                <a:lnTo>
                  <a:pt x="278" y="190"/>
                </a:lnTo>
                <a:close/>
                <a:moveTo>
                  <a:pt x="318" y="338"/>
                </a:moveTo>
                <a:lnTo>
                  <a:pt x="268" y="280"/>
                </a:lnTo>
                <a:lnTo>
                  <a:pt x="306" y="235"/>
                </a:lnTo>
                <a:lnTo>
                  <a:pt x="366" y="299"/>
                </a:lnTo>
                <a:lnTo>
                  <a:pt x="366" y="338"/>
                </a:lnTo>
                <a:lnTo>
                  <a:pt x="318" y="338"/>
                </a:lnTo>
                <a:close/>
                <a:moveTo>
                  <a:pt x="73" y="214"/>
                </a:moveTo>
                <a:lnTo>
                  <a:pt x="131" y="147"/>
                </a:lnTo>
                <a:lnTo>
                  <a:pt x="250" y="281"/>
                </a:lnTo>
                <a:lnTo>
                  <a:pt x="258" y="291"/>
                </a:lnTo>
                <a:lnTo>
                  <a:pt x="298" y="338"/>
                </a:lnTo>
                <a:lnTo>
                  <a:pt x="73" y="338"/>
                </a:lnTo>
                <a:lnTo>
                  <a:pt x="73" y="214"/>
                </a:lnTo>
                <a:close/>
                <a:moveTo>
                  <a:pt x="366" y="74"/>
                </a:moveTo>
                <a:lnTo>
                  <a:pt x="366" y="277"/>
                </a:lnTo>
                <a:lnTo>
                  <a:pt x="318" y="225"/>
                </a:lnTo>
                <a:lnTo>
                  <a:pt x="315" y="223"/>
                </a:lnTo>
                <a:lnTo>
                  <a:pt x="313" y="221"/>
                </a:lnTo>
                <a:lnTo>
                  <a:pt x="310" y="220"/>
                </a:lnTo>
                <a:lnTo>
                  <a:pt x="306" y="220"/>
                </a:lnTo>
                <a:lnTo>
                  <a:pt x="304" y="220"/>
                </a:lnTo>
                <a:lnTo>
                  <a:pt x="302" y="221"/>
                </a:lnTo>
                <a:lnTo>
                  <a:pt x="298" y="223"/>
                </a:lnTo>
                <a:lnTo>
                  <a:pt x="297" y="225"/>
                </a:lnTo>
                <a:lnTo>
                  <a:pt x="258" y="268"/>
                </a:lnTo>
                <a:lnTo>
                  <a:pt x="142" y="137"/>
                </a:lnTo>
                <a:lnTo>
                  <a:pt x="140" y="135"/>
                </a:lnTo>
                <a:lnTo>
                  <a:pt x="137" y="134"/>
                </a:lnTo>
                <a:lnTo>
                  <a:pt x="135" y="132"/>
                </a:lnTo>
                <a:lnTo>
                  <a:pt x="131" y="132"/>
                </a:lnTo>
                <a:lnTo>
                  <a:pt x="129" y="132"/>
                </a:lnTo>
                <a:lnTo>
                  <a:pt x="125" y="134"/>
                </a:lnTo>
                <a:lnTo>
                  <a:pt x="122" y="135"/>
                </a:lnTo>
                <a:lnTo>
                  <a:pt x="120" y="137"/>
                </a:lnTo>
                <a:lnTo>
                  <a:pt x="73" y="192"/>
                </a:lnTo>
                <a:lnTo>
                  <a:pt x="73" y="74"/>
                </a:lnTo>
                <a:lnTo>
                  <a:pt x="366" y="74"/>
                </a:lnTo>
                <a:close/>
                <a:moveTo>
                  <a:pt x="366" y="59"/>
                </a:moveTo>
                <a:lnTo>
                  <a:pt x="73" y="59"/>
                </a:lnTo>
                <a:lnTo>
                  <a:pt x="67" y="61"/>
                </a:lnTo>
                <a:lnTo>
                  <a:pt x="62" y="63"/>
                </a:lnTo>
                <a:lnTo>
                  <a:pt x="59" y="68"/>
                </a:lnTo>
                <a:lnTo>
                  <a:pt x="58" y="74"/>
                </a:lnTo>
                <a:lnTo>
                  <a:pt x="58" y="338"/>
                </a:lnTo>
                <a:lnTo>
                  <a:pt x="59" y="344"/>
                </a:lnTo>
                <a:lnTo>
                  <a:pt x="62" y="348"/>
                </a:lnTo>
                <a:lnTo>
                  <a:pt x="67" y="351"/>
                </a:lnTo>
                <a:lnTo>
                  <a:pt x="73" y="353"/>
                </a:lnTo>
                <a:lnTo>
                  <a:pt x="366" y="353"/>
                </a:lnTo>
                <a:lnTo>
                  <a:pt x="371" y="351"/>
                </a:lnTo>
                <a:lnTo>
                  <a:pt x="376" y="348"/>
                </a:lnTo>
                <a:lnTo>
                  <a:pt x="379" y="344"/>
                </a:lnTo>
                <a:lnTo>
                  <a:pt x="381" y="338"/>
                </a:lnTo>
                <a:lnTo>
                  <a:pt x="381" y="74"/>
                </a:lnTo>
                <a:lnTo>
                  <a:pt x="379" y="68"/>
                </a:lnTo>
                <a:lnTo>
                  <a:pt x="376" y="63"/>
                </a:lnTo>
                <a:lnTo>
                  <a:pt x="371" y="61"/>
                </a:lnTo>
                <a:lnTo>
                  <a:pt x="366" y="59"/>
                </a:lnTo>
                <a:close/>
                <a:moveTo>
                  <a:pt x="381" y="0"/>
                </a:moveTo>
                <a:lnTo>
                  <a:pt x="58" y="0"/>
                </a:lnTo>
                <a:lnTo>
                  <a:pt x="46" y="1"/>
                </a:lnTo>
                <a:lnTo>
                  <a:pt x="36" y="5"/>
                </a:lnTo>
                <a:lnTo>
                  <a:pt x="25" y="10"/>
                </a:lnTo>
                <a:lnTo>
                  <a:pt x="16" y="17"/>
                </a:lnTo>
                <a:lnTo>
                  <a:pt x="10" y="26"/>
                </a:lnTo>
                <a:lnTo>
                  <a:pt x="4" y="36"/>
                </a:lnTo>
                <a:lnTo>
                  <a:pt x="1" y="47"/>
                </a:lnTo>
                <a:lnTo>
                  <a:pt x="0" y="59"/>
                </a:lnTo>
                <a:lnTo>
                  <a:pt x="0" y="411"/>
                </a:lnTo>
                <a:lnTo>
                  <a:pt x="1" y="423"/>
                </a:lnTo>
                <a:lnTo>
                  <a:pt x="4" y="434"/>
                </a:lnTo>
                <a:lnTo>
                  <a:pt x="10" y="444"/>
                </a:lnTo>
                <a:lnTo>
                  <a:pt x="16" y="453"/>
                </a:lnTo>
                <a:lnTo>
                  <a:pt x="25" y="460"/>
                </a:lnTo>
                <a:lnTo>
                  <a:pt x="36" y="465"/>
                </a:lnTo>
                <a:lnTo>
                  <a:pt x="46" y="469"/>
                </a:lnTo>
                <a:lnTo>
                  <a:pt x="58" y="470"/>
                </a:lnTo>
                <a:lnTo>
                  <a:pt x="381" y="470"/>
                </a:lnTo>
                <a:lnTo>
                  <a:pt x="392" y="469"/>
                </a:lnTo>
                <a:lnTo>
                  <a:pt x="403" y="465"/>
                </a:lnTo>
                <a:lnTo>
                  <a:pt x="413" y="460"/>
                </a:lnTo>
                <a:lnTo>
                  <a:pt x="421" y="453"/>
                </a:lnTo>
                <a:lnTo>
                  <a:pt x="429" y="444"/>
                </a:lnTo>
                <a:lnTo>
                  <a:pt x="434" y="434"/>
                </a:lnTo>
                <a:lnTo>
                  <a:pt x="437" y="423"/>
                </a:lnTo>
                <a:lnTo>
                  <a:pt x="439" y="411"/>
                </a:lnTo>
                <a:lnTo>
                  <a:pt x="439" y="59"/>
                </a:lnTo>
                <a:lnTo>
                  <a:pt x="437" y="47"/>
                </a:lnTo>
                <a:lnTo>
                  <a:pt x="434" y="36"/>
                </a:lnTo>
                <a:lnTo>
                  <a:pt x="429" y="26"/>
                </a:lnTo>
                <a:lnTo>
                  <a:pt x="421" y="17"/>
                </a:lnTo>
                <a:lnTo>
                  <a:pt x="413" y="10"/>
                </a:lnTo>
                <a:lnTo>
                  <a:pt x="403" y="5"/>
                </a:lnTo>
                <a:lnTo>
                  <a:pt x="392" y="1"/>
                </a:lnTo>
                <a:lnTo>
                  <a:pt x="381"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8" name="Freeform 27">
            <a:extLst>
              <a:ext uri="{FF2B5EF4-FFF2-40B4-BE49-F238E27FC236}">
                <a16:creationId xmlns:a16="http://schemas.microsoft.com/office/drawing/2014/main" id="{E38B8B88-B6C7-591E-2895-5EF0C304CE46}"/>
              </a:ext>
            </a:extLst>
          </p:cNvPr>
          <p:cNvSpPr>
            <a:spLocks noEditPoints="1"/>
          </p:cNvSpPr>
          <p:nvPr/>
        </p:nvSpPr>
        <p:spPr bwMode="auto">
          <a:xfrm>
            <a:off x="11780838" y="7988258"/>
            <a:ext cx="371475" cy="374650"/>
          </a:xfrm>
          <a:custGeom>
            <a:avLst/>
            <a:gdLst>
              <a:gd name="T0" fmla="*/ 430 w 468"/>
              <a:gd name="T1" fmla="*/ 230 h 470"/>
              <a:gd name="T2" fmla="*/ 378 w 468"/>
              <a:gd name="T3" fmla="*/ 235 h 470"/>
              <a:gd name="T4" fmla="*/ 378 w 468"/>
              <a:gd name="T5" fmla="*/ 249 h 470"/>
              <a:gd name="T6" fmla="*/ 426 w 468"/>
              <a:gd name="T7" fmla="*/ 256 h 470"/>
              <a:gd name="T8" fmla="*/ 430 w 468"/>
              <a:gd name="T9" fmla="*/ 286 h 470"/>
              <a:gd name="T10" fmla="*/ 375 w 468"/>
              <a:gd name="T11" fmla="*/ 308 h 470"/>
              <a:gd name="T12" fmla="*/ 360 w 468"/>
              <a:gd name="T13" fmla="*/ 319 h 470"/>
              <a:gd name="T14" fmla="*/ 403 w 468"/>
              <a:gd name="T15" fmla="*/ 324 h 470"/>
              <a:gd name="T16" fmla="*/ 415 w 468"/>
              <a:gd name="T17" fmla="*/ 349 h 470"/>
              <a:gd name="T18" fmla="*/ 400 w 468"/>
              <a:gd name="T19" fmla="*/ 376 h 470"/>
              <a:gd name="T20" fmla="*/ 349 w 468"/>
              <a:gd name="T21" fmla="*/ 382 h 470"/>
              <a:gd name="T22" fmla="*/ 349 w 468"/>
              <a:gd name="T23" fmla="*/ 396 h 470"/>
              <a:gd name="T24" fmla="*/ 387 w 468"/>
              <a:gd name="T25" fmla="*/ 402 h 470"/>
              <a:gd name="T26" fmla="*/ 382 w 468"/>
              <a:gd name="T27" fmla="*/ 433 h 470"/>
              <a:gd name="T28" fmla="*/ 224 w 468"/>
              <a:gd name="T29" fmla="*/ 435 h 470"/>
              <a:gd name="T30" fmla="*/ 130 w 468"/>
              <a:gd name="T31" fmla="*/ 414 h 470"/>
              <a:gd name="T32" fmla="*/ 117 w 468"/>
              <a:gd name="T33" fmla="*/ 402 h 470"/>
              <a:gd name="T34" fmla="*/ 130 w 468"/>
              <a:gd name="T35" fmla="*/ 183 h 470"/>
              <a:gd name="T36" fmla="*/ 182 w 468"/>
              <a:gd name="T37" fmla="*/ 148 h 470"/>
              <a:gd name="T38" fmla="*/ 213 w 468"/>
              <a:gd name="T39" fmla="*/ 93 h 470"/>
              <a:gd name="T40" fmla="*/ 225 w 468"/>
              <a:gd name="T41" fmla="*/ 32 h 470"/>
              <a:gd name="T42" fmla="*/ 255 w 468"/>
              <a:gd name="T43" fmla="*/ 42 h 470"/>
              <a:gd name="T44" fmla="*/ 277 w 468"/>
              <a:gd name="T45" fmla="*/ 121 h 470"/>
              <a:gd name="T46" fmla="*/ 413 w 468"/>
              <a:gd name="T47" fmla="*/ 179 h 470"/>
              <a:gd name="T48" fmla="*/ 439 w 468"/>
              <a:gd name="T49" fmla="*/ 199 h 470"/>
              <a:gd name="T50" fmla="*/ 61 w 468"/>
              <a:gd name="T51" fmla="*/ 409 h 470"/>
              <a:gd name="T52" fmla="*/ 66 w 468"/>
              <a:gd name="T53" fmla="*/ 396 h 470"/>
              <a:gd name="T54" fmla="*/ 70 w 468"/>
              <a:gd name="T55" fmla="*/ 409 h 470"/>
              <a:gd name="T56" fmla="*/ 53 w 468"/>
              <a:gd name="T57" fmla="*/ 386 h 470"/>
              <a:gd name="T58" fmla="*/ 45 w 468"/>
              <a:gd name="T59" fmla="*/ 408 h 470"/>
              <a:gd name="T60" fmla="*/ 62 w 468"/>
              <a:gd name="T61" fmla="*/ 426 h 470"/>
              <a:gd name="T62" fmla="*/ 84 w 468"/>
              <a:gd name="T63" fmla="*/ 416 h 470"/>
              <a:gd name="T64" fmla="*/ 84 w 468"/>
              <a:gd name="T65" fmla="*/ 391 h 470"/>
              <a:gd name="T66" fmla="*/ 103 w 468"/>
              <a:gd name="T67" fmla="*/ 426 h 470"/>
              <a:gd name="T68" fmla="*/ 38 w 468"/>
              <a:gd name="T69" fmla="*/ 439 h 470"/>
              <a:gd name="T70" fmla="*/ 33 w 468"/>
              <a:gd name="T71" fmla="*/ 181 h 470"/>
              <a:gd name="T72" fmla="*/ 101 w 468"/>
              <a:gd name="T73" fmla="*/ 186 h 470"/>
              <a:gd name="T74" fmla="*/ 346 w 468"/>
              <a:gd name="T75" fmla="*/ 148 h 470"/>
              <a:gd name="T76" fmla="*/ 307 w 468"/>
              <a:gd name="T77" fmla="*/ 89 h 470"/>
              <a:gd name="T78" fmla="*/ 288 w 468"/>
              <a:gd name="T79" fmla="*/ 37 h 470"/>
              <a:gd name="T80" fmla="*/ 253 w 468"/>
              <a:gd name="T81" fmla="*/ 5 h 470"/>
              <a:gd name="T82" fmla="*/ 210 w 468"/>
              <a:gd name="T83" fmla="*/ 7 h 470"/>
              <a:gd name="T84" fmla="*/ 189 w 468"/>
              <a:gd name="T85" fmla="*/ 56 h 470"/>
              <a:gd name="T86" fmla="*/ 167 w 468"/>
              <a:gd name="T87" fmla="*/ 120 h 470"/>
              <a:gd name="T88" fmla="*/ 124 w 468"/>
              <a:gd name="T89" fmla="*/ 155 h 470"/>
              <a:gd name="T90" fmla="*/ 88 w 468"/>
              <a:gd name="T91" fmla="*/ 147 h 470"/>
              <a:gd name="T92" fmla="*/ 7 w 468"/>
              <a:gd name="T93" fmla="*/ 167 h 470"/>
              <a:gd name="T94" fmla="*/ 4 w 468"/>
              <a:gd name="T95" fmla="*/ 443 h 470"/>
              <a:gd name="T96" fmla="*/ 43 w 468"/>
              <a:gd name="T97" fmla="*/ 470 h 470"/>
              <a:gd name="T98" fmla="*/ 116 w 468"/>
              <a:gd name="T99" fmla="*/ 459 h 470"/>
              <a:gd name="T100" fmla="*/ 129 w 468"/>
              <a:gd name="T101" fmla="*/ 445 h 470"/>
              <a:gd name="T102" fmla="*/ 168 w 468"/>
              <a:gd name="T103" fmla="*/ 454 h 470"/>
              <a:gd name="T104" fmla="*/ 358 w 468"/>
              <a:gd name="T105" fmla="*/ 470 h 470"/>
              <a:gd name="T106" fmla="*/ 402 w 468"/>
              <a:gd name="T107" fmla="*/ 454 h 470"/>
              <a:gd name="T108" fmla="*/ 419 w 468"/>
              <a:gd name="T109" fmla="*/ 414 h 470"/>
              <a:gd name="T110" fmla="*/ 434 w 468"/>
              <a:gd name="T111" fmla="*/ 381 h 470"/>
              <a:gd name="T112" fmla="*/ 441 w 468"/>
              <a:gd name="T113" fmla="*/ 322 h 470"/>
              <a:gd name="T114" fmla="*/ 461 w 468"/>
              <a:gd name="T115" fmla="*/ 263 h 470"/>
              <a:gd name="T116" fmla="*/ 468 w 468"/>
              <a:gd name="T117" fmla="*/ 215 h 470"/>
              <a:gd name="T118" fmla="*/ 463 w 468"/>
              <a:gd name="T119" fmla="*/ 18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8" h="470">
                <a:moveTo>
                  <a:pt x="439" y="214"/>
                </a:moveTo>
                <a:lnTo>
                  <a:pt x="439" y="216"/>
                </a:lnTo>
                <a:lnTo>
                  <a:pt x="438" y="220"/>
                </a:lnTo>
                <a:lnTo>
                  <a:pt x="436" y="224"/>
                </a:lnTo>
                <a:lnTo>
                  <a:pt x="434" y="228"/>
                </a:lnTo>
                <a:lnTo>
                  <a:pt x="430" y="230"/>
                </a:lnTo>
                <a:lnTo>
                  <a:pt x="425" y="233"/>
                </a:lnTo>
                <a:lnTo>
                  <a:pt x="419" y="235"/>
                </a:lnTo>
                <a:lnTo>
                  <a:pt x="410" y="235"/>
                </a:lnTo>
                <a:lnTo>
                  <a:pt x="387" y="235"/>
                </a:lnTo>
                <a:lnTo>
                  <a:pt x="381" y="235"/>
                </a:lnTo>
                <a:lnTo>
                  <a:pt x="378" y="235"/>
                </a:lnTo>
                <a:lnTo>
                  <a:pt x="376" y="237"/>
                </a:lnTo>
                <a:lnTo>
                  <a:pt x="375" y="240"/>
                </a:lnTo>
                <a:lnTo>
                  <a:pt x="373" y="242"/>
                </a:lnTo>
                <a:lnTo>
                  <a:pt x="375" y="245"/>
                </a:lnTo>
                <a:lnTo>
                  <a:pt x="376" y="247"/>
                </a:lnTo>
                <a:lnTo>
                  <a:pt x="378" y="249"/>
                </a:lnTo>
                <a:lnTo>
                  <a:pt x="381" y="250"/>
                </a:lnTo>
                <a:lnTo>
                  <a:pt x="387" y="250"/>
                </a:lnTo>
                <a:lnTo>
                  <a:pt x="409" y="250"/>
                </a:lnTo>
                <a:lnTo>
                  <a:pt x="417" y="251"/>
                </a:lnTo>
                <a:lnTo>
                  <a:pt x="423" y="252"/>
                </a:lnTo>
                <a:lnTo>
                  <a:pt x="426" y="256"/>
                </a:lnTo>
                <a:lnTo>
                  <a:pt x="430" y="260"/>
                </a:lnTo>
                <a:lnTo>
                  <a:pt x="431" y="265"/>
                </a:lnTo>
                <a:lnTo>
                  <a:pt x="433" y="268"/>
                </a:lnTo>
                <a:lnTo>
                  <a:pt x="433" y="273"/>
                </a:lnTo>
                <a:lnTo>
                  <a:pt x="433" y="277"/>
                </a:lnTo>
                <a:lnTo>
                  <a:pt x="430" y="286"/>
                </a:lnTo>
                <a:lnTo>
                  <a:pt x="425" y="297"/>
                </a:lnTo>
                <a:lnTo>
                  <a:pt x="421" y="302"/>
                </a:lnTo>
                <a:lnTo>
                  <a:pt x="417" y="306"/>
                </a:lnTo>
                <a:lnTo>
                  <a:pt x="409" y="308"/>
                </a:lnTo>
                <a:lnTo>
                  <a:pt x="400" y="308"/>
                </a:lnTo>
                <a:lnTo>
                  <a:pt x="375" y="308"/>
                </a:lnTo>
                <a:lnTo>
                  <a:pt x="366" y="308"/>
                </a:lnTo>
                <a:lnTo>
                  <a:pt x="363" y="309"/>
                </a:lnTo>
                <a:lnTo>
                  <a:pt x="361" y="310"/>
                </a:lnTo>
                <a:lnTo>
                  <a:pt x="360" y="313"/>
                </a:lnTo>
                <a:lnTo>
                  <a:pt x="358" y="315"/>
                </a:lnTo>
                <a:lnTo>
                  <a:pt x="360" y="319"/>
                </a:lnTo>
                <a:lnTo>
                  <a:pt x="361" y="320"/>
                </a:lnTo>
                <a:lnTo>
                  <a:pt x="363" y="323"/>
                </a:lnTo>
                <a:lnTo>
                  <a:pt x="366" y="323"/>
                </a:lnTo>
                <a:lnTo>
                  <a:pt x="376" y="323"/>
                </a:lnTo>
                <a:lnTo>
                  <a:pt x="396" y="323"/>
                </a:lnTo>
                <a:lnTo>
                  <a:pt x="403" y="324"/>
                </a:lnTo>
                <a:lnTo>
                  <a:pt x="409" y="327"/>
                </a:lnTo>
                <a:lnTo>
                  <a:pt x="413" y="329"/>
                </a:lnTo>
                <a:lnTo>
                  <a:pt x="415" y="334"/>
                </a:lnTo>
                <a:lnTo>
                  <a:pt x="417" y="339"/>
                </a:lnTo>
                <a:lnTo>
                  <a:pt x="415" y="344"/>
                </a:lnTo>
                <a:lnTo>
                  <a:pt x="415" y="349"/>
                </a:lnTo>
                <a:lnTo>
                  <a:pt x="414" y="353"/>
                </a:lnTo>
                <a:lnTo>
                  <a:pt x="412" y="359"/>
                </a:lnTo>
                <a:lnTo>
                  <a:pt x="410" y="364"/>
                </a:lnTo>
                <a:lnTo>
                  <a:pt x="408" y="369"/>
                </a:lnTo>
                <a:lnTo>
                  <a:pt x="404" y="374"/>
                </a:lnTo>
                <a:lnTo>
                  <a:pt x="400" y="376"/>
                </a:lnTo>
                <a:lnTo>
                  <a:pt x="394" y="380"/>
                </a:lnTo>
                <a:lnTo>
                  <a:pt x="386" y="381"/>
                </a:lnTo>
                <a:lnTo>
                  <a:pt x="376" y="382"/>
                </a:lnTo>
                <a:lnTo>
                  <a:pt x="360" y="382"/>
                </a:lnTo>
                <a:lnTo>
                  <a:pt x="351" y="382"/>
                </a:lnTo>
                <a:lnTo>
                  <a:pt x="349" y="382"/>
                </a:lnTo>
                <a:lnTo>
                  <a:pt x="346" y="383"/>
                </a:lnTo>
                <a:lnTo>
                  <a:pt x="345" y="386"/>
                </a:lnTo>
                <a:lnTo>
                  <a:pt x="344" y="388"/>
                </a:lnTo>
                <a:lnTo>
                  <a:pt x="345" y="392"/>
                </a:lnTo>
                <a:lnTo>
                  <a:pt x="346" y="395"/>
                </a:lnTo>
                <a:lnTo>
                  <a:pt x="349" y="396"/>
                </a:lnTo>
                <a:lnTo>
                  <a:pt x="351" y="396"/>
                </a:lnTo>
                <a:lnTo>
                  <a:pt x="358" y="396"/>
                </a:lnTo>
                <a:lnTo>
                  <a:pt x="375" y="396"/>
                </a:lnTo>
                <a:lnTo>
                  <a:pt x="379" y="397"/>
                </a:lnTo>
                <a:lnTo>
                  <a:pt x="383" y="398"/>
                </a:lnTo>
                <a:lnTo>
                  <a:pt x="387" y="402"/>
                </a:lnTo>
                <a:lnTo>
                  <a:pt x="388" y="404"/>
                </a:lnTo>
                <a:lnTo>
                  <a:pt x="391" y="412"/>
                </a:lnTo>
                <a:lnTo>
                  <a:pt x="389" y="417"/>
                </a:lnTo>
                <a:lnTo>
                  <a:pt x="387" y="424"/>
                </a:lnTo>
                <a:lnTo>
                  <a:pt x="386" y="428"/>
                </a:lnTo>
                <a:lnTo>
                  <a:pt x="382" y="433"/>
                </a:lnTo>
                <a:lnTo>
                  <a:pt x="376" y="437"/>
                </a:lnTo>
                <a:lnTo>
                  <a:pt x="368" y="439"/>
                </a:lnTo>
                <a:lnTo>
                  <a:pt x="358" y="440"/>
                </a:lnTo>
                <a:lnTo>
                  <a:pt x="278" y="440"/>
                </a:lnTo>
                <a:lnTo>
                  <a:pt x="248" y="439"/>
                </a:lnTo>
                <a:lnTo>
                  <a:pt x="224" y="435"/>
                </a:lnTo>
                <a:lnTo>
                  <a:pt x="205" y="433"/>
                </a:lnTo>
                <a:lnTo>
                  <a:pt x="198" y="430"/>
                </a:lnTo>
                <a:lnTo>
                  <a:pt x="162" y="423"/>
                </a:lnTo>
                <a:lnTo>
                  <a:pt x="142" y="418"/>
                </a:lnTo>
                <a:lnTo>
                  <a:pt x="134" y="416"/>
                </a:lnTo>
                <a:lnTo>
                  <a:pt x="130" y="414"/>
                </a:lnTo>
                <a:lnTo>
                  <a:pt x="127" y="414"/>
                </a:lnTo>
                <a:lnTo>
                  <a:pt x="124" y="412"/>
                </a:lnTo>
                <a:lnTo>
                  <a:pt x="121" y="411"/>
                </a:lnTo>
                <a:lnTo>
                  <a:pt x="119" y="408"/>
                </a:lnTo>
                <a:lnTo>
                  <a:pt x="117" y="406"/>
                </a:lnTo>
                <a:lnTo>
                  <a:pt x="117" y="402"/>
                </a:lnTo>
                <a:lnTo>
                  <a:pt x="117" y="199"/>
                </a:lnTo>
                <a:lnTo>
                  <a:pt x="117" y="194"/>
                </a:lnTo>
                <a:lnTo>
                  <a:pt x="120" y="190"/>
                </a:lnTo>
                <a:lnTo>
                  <a:pt x="124" y="187"/>
                </a:lnTo>
                <a:lnTo>
                  <a:pt x="129" y="184"/>
                </a:lnTo>
                <a:lnTo>
                  <a:pt x="130" y="183"/>
                </a:lnTo>
                <a:lnTo>
                  <a:pt x="132" y="183"/>
                </a:lnTo>
                <a:lnTo>
                  <a:pt x="143" y="177"/>
                </a:lnTo>
                <a:lnTo>
                  <a:pt x="155" y="171"/>
                </a:lnTo>
                <a:lnTo>
                  <a:pt x="164" y="164"/>
                </a:lnTo>
                <a:lnTo>
                  <a:pt x="173" y="157"/>
                </a:lnTo>
                <a:lnTo>
                  <a:pt x="182" y="148"/>
                </a:lnTo>
                <a:lnTo>
                  <a:pt x="189" y="140"/>
                </a:lnTo>
                <a:lnTo>
                  <a:pt x="195" y="131"/>
                </a:lnTo>
                <a:lnTo>
                  <a:pt x="200" y="122"/>
                </a:lnTo>
                <a:lnTo>
                  <a:pt x="205" y="113"/>
                </a:lnTo>
                <a:lnTo>
                  <a:pt x="209" y="103"/>
                </a:lnTo>
                <a:lnTo>
                  <a:pt x="213" y="93"/>
                </a:lnTo>
                <a:lnTo>
                  <a:pt x="215" y="83"/>
                </a:lnTo>
                <a:lnTo>
                  <a:pt x="219" y="63"/>
                </a:lnTo>
                <a:lnTo>
                  <a:pt x="220" y="44"/>
                </a:lnTo>
                <a:lnTo>
                  <a:pt x="220" y="40"/>
                </a:lnTo>
                <a:lnTo>
                  <a:pt x="224" y="35"/>
                </a:lnTo>
                <a:lnTo>
                  <a:pt x="225" y="32"/>
                </a:lnTo>
                <a:lnTo>
                  <a:pt x="229" y="31"/>
                </a:lnTo>
                <a:lnTo>
                  <a:pt x="231" y="30"/>
                </a:lnTo>
                <a:lnTo>
                  <a:pt x="234" y="30"/>
                </a:lnTo>
                <a:lnTo>
                  <a:pt x="241" y="31"/>
                </a:lnTo>
                <a:lnTo>
                  <a:pt x="247" y="35"/>
                </a:lnTo>
                <a:lnTo>
                  <a:pt x="255" y="42"/>
                </a:lnTo>
                <a:lnTo>
                  <a:pt x="262" y="51"/>
                </a:lnTo>
                <a:lnTo>
                  <a:pt x="267" y="61"/>
                </a:lnTo>
                <a:lnTo>
                  <a:pt x="273" y="72"/>
                </a:lnTo>
                <a:lnTo>
                  <a:pt x="276" y="85"/>
                </a:lnTo>
                <a:lnTo>
                  <a:pt x="277" y="99"/>
                </a:lnTo>
                <a:lnTo>
                  <a:pt x="277" y="121"/>
                </a:lnTo>
                <a:lnTo>
                  <a:pt x="274" y="137"/>
                </a:lnTo>
                <a:lnTo>
                  <a:pt x="271" y="153"/>
                </a:lnTo>
                <a:lnTo>
                  <a:pt x="263" y="177"/>
                </a:lnTo>
                <a:lnTo>
                  <a:pt x="349" y="177"/>
                </a:lnTo>
                <a:lnTo>
                  <a:pt x="393" y="178"/>
                </a:lnTo>
                <a:lnTo>
                  <a:pt x="413" y="179"/>
                </a:lnTo>
                <a:lnTo>
                  <a:pt x="421" y="182"/>
                </a:lnTo>
                <a:lnTo>
                  <a:pt x="428" y="184"/>
                </a:lnTo>
                <a:lnTo>
                  <a:pt x="431" y="187"/>
                </a:lnTo>
                <a:lnTo>
                  <a:pt x="434" y="189"/>
                </a:lnTo>
                <a:lnTo>
                  <a:pt x="436" y="193"/>
                </a:lnTo>
                <a:lnTo>
                  <a:pt x="439" y="199"/>
                </a:lnTo>
                <a:lnTo>
                  <a:pt x="439" y="204"/>
                </a:lnTo>
                <a:lnTo>
                  <a:pt x="439" y="209"/>
                </a:lnTo>
                <a:lnTo>
                  <a:pt x="439" y="214"/>
                </a:lnTo>
                <a:close/>
                <a:moveTo>
                  <a:pt x="66" y="411"/>
                </a:moveTo>
                <a:lnTo>
                  <a:pt x="63" y="411"/>
                </a:lnTo>
                <a:lnTo>
                  <a:pt x="61" y="409"/>
                </a:lnTo>
                <a:lnTo>
                  <a:pt x="59" y="407"/>
                </a:lnTo>
                <a:lnTo>
                  <a:pt x="58" y="403"/>
                </a:lnTo>
                <a:lnTo>
                  <a:pt x="59" y="401"/>
                </a:lnTo>
                <a:lnTo>
                  <a:pt x="61" y="398"/>
                </a:lnTo>
                <a:lnTo>
                  <a:pt x="63" y="397"/>
                </a:lnTo>
                <a:lnTo>
                  <a:pt x="66" y="396"/>
                </a:lnTo>
                <a:lnTo>
                  <a:pt x="68" y="397"/>
                </a:lnTo>
                <a:lnTo>
                  <a:pt x="70" y="398"/>
                </a:lnTo>
                <a:lnTo>
                  <a:pt x="73" y="401"/>
                </a:lnTo>
                <a:lnTo>
                  <a:pt x="73" y="403"/>
                </a:lnTo>
                <a:lnTo>
                  <a:pt x="73" y="407"/>
                </a:lnTo>
                <a:lnTo>
                  <a:pt x="70" y="409"/>
                </a:lnTo>
                <a:lnTo>
                  <a:pt x="68" y="411"/>
                </a:lnTo>
                <a:lnTo>
                  <a:pt x="66" y="411"/>
                </a:lnTo>
                <a:close/>
                <a:moveTo>
                  <a:pt x="66" y="382"/>
                </a:moveTo>
                <a:lnTo>
                  <a:pt x="62" y="382"/>
                </a:lnTo>
                <a:lnTo>
                  <a:pt x="57" y="383"/>
                </a:lnTo>
                <a:lnTo>
                  <a:pt x="53" y="386"/>
                </a:lnTo>
                <a:lnTo>
                  <a:pt x="51" y="388"/>
                </a:lnTo>
                <a:lnTo>
                  <a:pt x="47" y="391"/>
                </a:lnTo>
                <a:lnTo>
                  <a:pt x="46" y="395"/>
                </a:lnTo>
                <a:lnTo>
                  <a:pt x="45" y="400"/>
                </a:lnTo>
                <a:lnTo>
                  <a:pt x="43" y="403"/>
                </a:lnTo>
                <a:lnTo>
                  <a:pt x="45" y="408"/>
                </a:lnTo>
                <a:lnTo>
                  <a:pt x="46" y="412"/>
                </a:lnTo>
                <a:lnTo>
                  <a:pt x="47" y="416"/>
                </a:lnTo>
                <a:lnTo>
                  <a:pt x="51" y="419"/>
                </a:lnTo>
                <a:lnTo>
                  <a:pt x="53" y="422"/>
                </a:lnTo>
                <a:lnTo>
                  <a:pt x="57" y="424"/>
                </a:lnTo>
                <a:lnTo>
                  <a:pt x="62" y="426"/>
                </a:lnTo>
                <a:lnTo>
                  <a:pt x="66" y="426"/>
                </a:lnTo>
                <a:lnTo>
                  <a:pt x="70" y="426"/>
                </a:lnTo>
                <a:lnTo>
                  <a:pt x="74" y="424"/>
                </a:lnTo>
                <a:lnTo>
                  <a:pt x="78" y="422"/>
                </a:lnTo>
                <a:lnTo>
                  <a:pt x="82" y="419"/>
                </a:lnTo>
                <a:lnTo>
                  <a:pt x="84" y="416"/>
                </a:lnTo>
                <a:lnTo>
                  <a:pt x="87" y="412"/>
                </a:lnTo>
                <a:lnTo>
                  <a:pt x="88" y="408"/>
                </a:lnTo>
                <a:lnTo>
                  <a:pt x="88" y="403"/>
                </a:lnTo>
                <a:lnTo>
                  <a:pt x="88" y="400"/>
                </a:lnTo>
                <a:lnTo>
                  <a:pt x="87" y="395"/>
                </a:lnTo>
                <a:lnTo>
                  <a:pt x="84" y="391"/>
                </a:lnTo>
                <a:lnTo>
                  <a:pt x="82" y="388"/>
                </a:lnTo>
                <a:lnTo>
                  <a:pt x="78" y="386"/>
                </a:lnTo>
                <a:lnTo>
                  <a:pt x="74" y="383"/>
                </a:lnTo>
                <a:lnTo>
                  <a:pt x="70" y="382"/>
                </a:lnTo>
                <a:lnTo>
                  <a:pt x="66" y="382"/>
                </a:lnTo>
                <a:close/>
                <a:moveTo>
                  <a:pt x="103" y="426"/>
                </a:moveTo>
                <a:lnTo>
                  <a:pt x="101" y="432"/>
                </a:lnTo>
                <a:lnTo>
                  <a:pt x="98" y="435"/>
                </a:lnTo>
                <a:lnTo>
                  <a:pt x="94" y="439"/>
                </a:lnTo>
                <a:lnTo>
                  <a:pt x="88" y="440"/>
                </a:lnTo>
                <a:lnTo>
                  <a:pt x="43" y="440"/>
                </a:lnTo>
                <a:lnTo>
                  <a:pt x="38" y="439"/>
                </a:lnTo>
                <a:lnTo>
                  <a:pt x="33" y="435"/>
                </a:lnTo>
                <a:lnTo>
                  <a:pt x="30" y="432"/>
                </a:lnTo>
                <a:lnTo>
                  <a:pt x="30" y="426"/>
                </a:lnTo>
                <a:lnTo>
                  <a:pt x="30" y="190"/>
                </a:lnTo>
                <a:lnTo>
                  <a:pt x="30" y="186"/>
                </a:lnTo>
                <a:lnTo>
                  <a:pt x="33" y="181"/>
                </a:lnTo>
                <a:lnTo>
                  <a:pt x="38" y="178"/>
                </a:lnTo>
                <a:lnTo>
                  <a:pt x="43" y="177"/>
                </a:lnTo>
                <a:lnTo>
                  <a:pt x="88" y="177"/>
                </a:lnTo>
                <a:lnTo>
                  <a:pt x="94" y="178"/>
                </a:lnTo>
                <a:lnTo>
                  <a:pt x="98" y="181"/>
                </a:lnTo>
                <a:lnTo>
                  <a:pt x="101" y="186"/>
                </a:lnTo>
                <a:lnTo>
                  <a:pt x="103" y="190"/>
                </a:lnTo>
                <a:lnTo>
                  <a:pt x="103" y="426"/>
                </a:lnTo>
                <a:close/>
                <a:moveTo>
                  <a:pt x="428" y="153"/>
                </a:moveTo>
                <a:lnTo>
                  <a:pt x="409" y="151"/>
                </a:lnTo>
                <a:lnTo>
                  <a:pt x="382" y="150"/>
                </a:lnTo>
                <a:lnTo>
                  <a:pt x="346" y="148"/>
                </a:lnTo>
                <a:lnTo>
                  <a:pt x="303" y="147"/>
                </a:lnTo>
                <a:lnTo>
                  <a:pt x="304" y="137"/>
                </a:lnTo>
                <a:lnTo>
                  <a:pt x="305" y="126"/>
                </a:lnTo>
                <a:lnTo>
                  <a:pt x="307" y="114"/>
                </a:lnTo>
                <a:lnTo>
                  <a:pt x="307" y="99"/>
                </a:lnTo>
                <a:lnTo>
                  <a:pt x="307" y="89"/>
                </a:lnTo>
                <a:lnTo>
                  <a:pt x="304" y="80"/>
                </a:lnTo>
                <a:lnTo>
                  <a:pt x="303" y="70"/>
                </a:lnTo>
                <a:lnTo>
                  <a:pt x="300" y="62"/>
                </a:lnTo>
                <a:lnTo>
                  <a:pt x="297" y="53"/>
                </a:lnTo>
                <a:lnTo>
                  <a:pt x="293" y="44"/>
                </a:lnTo>
                <a:lnTo>
                  <a:pt x="288" y="37"/>
                </a:lnTo>
                <a:lnTo>
                  <a:pt x="283" y="30"/>
                </a:lnTo>
                <a:lnTo>
                  <a:pt x="278" y="23"/>
                </a:lnTo>
                <a:lnTo>
                  <a:pt x="272" y="17"/>
                </a:lnTo>
                <a:lnTo>
                  <a:pt x="266" y="12"/>
                </a:lnTo>
                <a:lnTo>
                  <a:pt x="260" y="9"/>
                </a:lnTo>
                <a:lnTo>
                  <a:pt x="253" y="5"/>
                </a:lnTo>
                <a:lnTo>
                  <a:pt x="247" y="2"/>
                </a:lnTo>
                <a:lnTo>
                  <a:pt x="241" y="1"/>
                </a:lnTo>
                <a:lnTo>
                  <a:pt x="234" y="0"/>
                </a:lnTo>
                <a:lnTo>
                  <a:pt x="225" y="1"/>
                </a:lnTo>
                <a:lnTo>
                  <a:pt x="218" y="4"/>
                </a:lnTo>
                <a:lnTo>
                  <a:pt x="210" y="7"/>
                </a:lnTo>
                <a:lnTo>
                  <a:pt x="204" y="14"/>
                </a:lnTo>
                <a:lnTo>
                  <a:pt x="198" y="20"/>
                </a:lnTo>
                <a:lnTo>
                  <a:pt x="194" y="27"/>
                </a:lnTo>
                <a:lnTo>
                  <a:pt x="192" y="36"/>
                </a:lnTo>
                <a:lnTo>
                  <a:pt x="190" y="44"/>
                </a:lnTo>
                <a:lnTo>
                  <a:pt x="189" y="56"/>
                </a:lnTo>
                <a:lnTo>
                  <a:pt x="188" y="69"/>
                </a:lnTo>
                <a:lnTo>
                  <a:pt x="184" y="84"/>
                </a:lnTo>
                <a:lnTo>
                  <a:pt x="179" y="99"/>
                </a:lnTo>
                <a:lnTo>
                  <a:pt x="176" y="106"/>
                </a:lnTo>
                <a:lnTo>
                  <a:pt x="172" y="114"/>
                </a:lnTo>
                <a:lnTo>
                  <a:pt x="167" y="120"/>
                </a:lnTo>
                <a:lnTo>
                  <a:pt x="162" y="127"/>
                </a:lnTo>
                <a:lnTo>
                  <a:pt x="156" y="134"/>
                </a:lnTo>
                <a:lnTo>
                  <a:pt x="148" y="140"/>
                </a:lnTo>
                <a:lnTo>
                  <a:pt x="141" y="145"/>
                </a:lnTo>
                <a:lnTo>
                  <a:pt x="132" y="151"/>
                </a:lnTo>
                <a:lnTo>
                  <a:pt x="124" y="155"/>
                </a:lnTo>
                <a:lnTo>
                  <a:pt x="116" y="158"/>
                </a:lnTo>
                <a:lnTo>
                  <a:pt x="117" y="158"/>
                </a:lnTo>
                <a:lnTo>
                  <a:pt x="111" y="155"/>
                </a:lnTo>
                <a:lnTo>
                  <a:pt x="104" y="151"/>
                </a:lnTo>
                <a:lnTo>
                  <a:pt x="96" y="148"/>
                </a:lnTo>
                <a:lnTo>
                  <a:pt x="88" y="147"/>
                </a:lnTo>
                <a:lnTo>
                  <a:pt x="43" y="147"/>
                </a:lnTo>
                <a:lnTo>
                  <a:pt x="35" y="148"/>
                </a:lnTo>
                <a:lnTo>
                  <a:pt x="27" y="151"/>
                </a:lnTo>
                <a:lnTo>
                  <a:pt x="20" y="155"/>
                </a:lnTo>
                <a:lnTo>
                  <a:pt x="12" y="160"/>
                </a:lnTo>
                <a:lnTo>
                  <a:pt x="7" y="167"/>
                </a:lnTo>
                <a:lnTo>
                  <a:pt x="4" y="174"/>
                </a:lnTo>
                <a:lnTo>
                  <a:pt x="1" y="182"/>
                </a:lnTo>
                <a:lnTo>
                  <a:pt x="0" y="190"/>
                </a:lnTo>
                <a:lnTo>
                  <a:pt x="0" y="426"/>
                </a:lnTo>
                <a:lnTo>
                  <a:pt x="1" y="434"/>
                </a:lnTo>
                <a:lnTo>
                  <a:pt x="4" y="443"/>
                </a:lnTo>
                <a:lnTo>
                  <a:pt x="7" y="450"/>
                </a:lnTo>
                <a:lnTo>
                  <a:pt x="12" y="456"/>
                </a:lnTo>
                <a:lnTo>
                  <a:pt x="20" y="463"/>
                </a:lnTo>
                <a:lnTo>
                  <a:pt x="27" y="466"/>
                </a:lnTo>
                <a:lnTo>
                  <a:pt x="35" y="469"/>
                </a:lnTo>
                <a:lnTo>
                  <a:pt x="43" y="470"/>
                </a:lnTo>
                <a:lnTo>
                  <a:pt x="88" y="470"/>
                </a:lnTo>
                <a:lnTo>
                  <a:pt x="94" y="469"/>
                </a:lnTo>
                <a:lnTo>
                  <a:pt x="100" y="468"/>
                </a:lnTo>
                <a:lnTo>
                  <a:pt x="106" y="465"/>
                </a:lnTo>
                <a:lnTo>
                  <a:pt x="111" y="463"/>
                </a:lnTo>
                <a:lnTo>
                  <a:pt x="116" y="459"/>
                </a:lnTo>
                <a:lnTo>
                  <a:pt x="120" y="454"/>
                </a:lnTo>
                <a:lnTo>
                  <a:pt x="124" y="450"/>
                </a:lnTo>
                <a:lnTo>
                  <a:pt x="127" y="444"/>
                </a:lnTo>
                <a:lnTo>
                  <a:pt x="127" y="444"/>
                </a:lnTo>
                <a:lnTo>
                  <a:pt x="127" y="444"/>
                </a:lnTo>
                <a:lnTo>
                  <a:pt x="129" y="445"/>
                </a:lnTo>
                <a:lnTo>
                  <a:pt x="131" y="445"/>
                </a:lnTo>
                <a:lnTo>
                  <a:pt x="131" y="445"/>
                </a:lnTo>
                <a:lnTo>
                  <a:pt x="132" y="445"/>
                </a:lnTo>
                <a:lnTo>
                  <a:pt x="140" y="448"/>
                </a:lnTo>
                <a:lnTo>
                  <a:pt x="152" y="450"/>
                </a:lnTo>
                <a:lnTo>
                  <a:pt x="168" y="454"/>
                </a:lnTo>
                <a:lnTo>
                  <a:pt x="192" y="460"/>
                </a:lnTo>
                <a:lnTo>
                  <a:pt x="203" y="461"/>
                </a:lnTo>
                <a:lnTo>
                  <a:pt x="222" y="465"/>
                </a:lnTo>
                <a:lnTo>
                  <a:pt x="248" y="469"/>
                </a:lnTo>
                <a:lnTo>
                  <a:pt x="278" y="470"/>
                </a:lnTo>
                <a:lnTo>
                  <a:pt x="358" y="470"/>
                </a:lnTo>
                <a:lnTo>
                  <a:pt x="367" y="469"/>
                </a:lnTo>
                <a:lnTo>
                  <a:pt x="376" y="468"/>
                </a:lnTo>
                <a:lnTo>
                  <a:pt x="383" y="465"/>
                </a:lnTo>
                <a:lnTo>
                  <a:pt x="391" y="463"/>
                </a:lnTo>
                <a:lnTo>
                  <a:pt x="397" y="459"/>
                </a:lnTo>
                <a:lnTo>
                  <a:pt x="402" y="454"/>
                </a:lnTo>
                <a:lnTo>
                  <a:pt x="407" y="448"/>
                </a:lnTo>
                <a:lnTo>
                  <a:pt x="412" y="442"/>
                </a:lnTo>
                <a:lnTo>
                  <a:pt x="413" y="437"/>
                </a:lnTo>
                <a:lnTo>
                  <a:pt x="418" y="426"/>
                </a:lnTo>
                <a:lnTo>
                  <a:pt x="419" y="421"/>
                </a:lnTo>
                <a:lnTo>
                  <a:pt x="419" y="414"/>
                </a:lnTo>
                <a:lnTo>
                  <a:pt x="419" y="407"/>
                </a:lnTo>
                <a:lnTo>
                  <a:pt x="418" y="400"/>
                </a:lnTo>
                <a:lnTo>
                  <a:pt x="423" y="396"/>
                </a:lnTo>
                <a:lnTo>
                  <a:pt x="428" y="391"/>
                </a:lnTo>
                <a:lnTo>
                  <a:pt x="431" y="386"/>
                </a:lnTo>
                <a:lnTo>
                  <a:pt x="434" y="381"/>
                </a:lnTo>
                <a:lnTo>
                  <a:pt x="439" y="371"/>
                </a:lnTo>
                <a:lnTo>
                  <a:pt x="441" y="362"/>
                </a:lnTo>
                <a:lnTo>
                  <a:pt x="445" y="350"/>
                </a:lnTo>
                <a:lnTo>
                  <a:pt x="445" y="339"/>
                </a:lnTo>
                <a:lnTo>
                  <a:pt x="444" y="330"/>
                </a:lnTo>
                <a:lnTo>
                  <a:pt x="441" y="322"/>
                </a:lnTo>
                <a:lnTo>
                  <a:pt x="449" y="315"/>
                </a:lnTo>
                <a:lnTo>
                  <a:pt x="454" y="306"/>
                </a:lnTo>
                <a:lnTo>
                  <a:pt x="459" y="294"/>
                </a:lnTo>
                <a:lnTo>
                  <a:pt x="461" y="282"/>
                </a:lnTo>
                <a:lnTo>
                  <a:pt x="462" y="272"/>
                </a:lnTo>
                <a:lnTo>
                  <a:pt x="461" y="263"/>
                </a:lnTo>
                <a:lnTo>
                  <a:pt x="460" y="255"/>
                </a:lnTo>
                <a:lnTo>
                  <a:pt x="456" y="246"/>
                </a:lnTo>
                <a:lnTo>
                  <a:pt x="461" y="239"/>
                </a:lnTo>
                <a:lnTo>
                  <a:pt x="465" y="231"/>
                </a:lnTo>
                <a:lnTo>
                  <a:pt x="467" y="223"/>
                </a:lnTo>
                <a:lnTo>
                  <a:pt x="468" y="215"/>
                </a:lnTo>
                <a:lnTo>
                  <a:pt x="468" y="211"/>
                </a:lnTo>
                <a:lnTo>
                  <a:pt x="468" y="209"/>
                </a:lnTo>
                <a:lnTo>
                  <a:pt x="468" y="204"/>
                </a:lnTo>
                <a:lnTo>
                  <a:pt x="468" y="197"/>
                </a:lnTo>
                <a:lnTo>
                  <a:pt x="466" y="189"/>
                </a:lnTo>
                <a:lnTo>
                  <a:pt x="463" y="182"/>
                </a:lnTo>
                <a:lnTo>
                  <a:pt x="459" y="176"/>
                </a:lnTo>
                <a:lnTo>
                  <a:pt x="452" y="168"/>
                </a:lnTo>
                <a:lnTo>
                  <a:pt x="446" y="163"/>
                </a:lnTo>
                <a:lnTo>
                  <a:pt x="438" y="158"/>
                </a:lnTo>
                <a:lnTo>
                  <a:pt x="428" y="15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29" name="Freeform 28">
            <a:extLst>
              <a:ext uri="{FF2B5EF4-FFF2-40B4-BE49-F238E27FC236}">
                <a16:creationId xmlns:a16="http://schemas.microsoft.com/office/drawing/2014/main" id="{E414988D-6D19-6C53-ACBD-9CC1663B6257}"/>
              </a:ext>
            </a:extLst>
          </p:cNvPr>
          <p:cNvSpPr>
            <a:spLocks noEditPoints="1"/>
          </p:cNvSpPr>
          <p:nvPr/>
        </p:nvSpPr>
        <p:spPr bwMode="auto">
          <a:xfrm>
            <a:off x="12585700" y="8053346"/>
            <a:ext cx="373063" cy="244475"/>
          </a:xfrm>
          <a:custGeom>
            <a:avLst/>
            <a:gdLst>
              <a:gd name="T0" fmla="*/ 248 w 468"/>
              <a:gd name="T1" fmla="*/ 201 h 306"/>
              <a:gd name="T2" fmla="*/ 238 w 468"/>
              <a:gd name="T3" fmla="*/ 204 h 306"/>
              <a:gd name="T4" fmla="*/ 230 w 468"/>
              <a:gd name="T5" fmla="*/ 204 h 306"/>
              <a:gd name="T6" fmla="*/ 221 w 468"/>
              <a:gd name="T7" fmla="*/ 201 h 306"/>
              <a:gd name="T8" fmla="*/ 156 w 468"/>
              <a:gd name="T9" fmla="*/ 153 h 306"/>
              <a:gd name="T10" fmla="*/ 30 w 468"/>
              <a:gd name="T11" fmla="*/ 58 h 306"/>
              <a:gd name="T12" fmla="*/ 30 w 468"/>
              <a:gd name="T13" fmla="*/ 52 h 306"/>
              <a:gd name="T14" fmla="*/ 35 w 468"/>
              <a:gd name="T15" fmla="*/ 42 h 306"/>
              <a:gd name="T16" fmla="*/ 42 w 468"/>
              <a:gd name="T17" fmla="*/ 33 h 306"/>
              <a:gd name="T18" fmla="*/ 53 w 468"/>
              <a:gd name="T19" fmla="*/ 29 h 306"/>
              <a:gd name="T20" fmla="*/ 410 w 468"/>
              <a:gd name="T21" fmla="*/ 28 h 306"/>
              <a:gd name="T22" fmla="*/ 421 w 468"/>
              <a:gd name="T23" fmla="*/ 31 h 306"/>
              <a:gd name="T24" fmla="*/ 431 w 468"/>
              <a:gd name="T25" fmla="*/ 37 h 306"/>
              <a:gd name="T26" fmla="*/ 437 w 468"/>
              <a:gd name="T27" fmla="*/ 47 h 306"/>
              <a:gd name="T28" fmla="*/ 440 w 468"/>
              <a:gd name="T29" fmla="*/ 58 h 306"/>
              <a:gd name="T30" fmla="*/ 440 w 468"/>
              <a:gd name="T31" fmla="*/ 230 h 306"/>
              <a:gd name="T32" fmla="*/ 440 w 468"/>
              <a:gd name="T33" fmla="*/ 76 h 306"/>
              <a:gd name="T34" fmla="*/ 440 w 468"/>
              <a:gd name="T35" fmla="*/ 248 h 306"/>
              <a:gd name="T36" fmla="*/ 437 w 468"/>
              <a:gd name="T37" fmla="*/ 259 h 306"/>
              <a:gd name="T38" fmla="*/ 431 w 468"/>
              <a:gd name="T39" fmla="*/ 269 h 306"/>
              <a:gd name="T40" fmla="*/ 421 w 468"/>
              <a:gd name="T41" fmla="*/ 275 h 306"/>
              <a:gd name="T42" fmla="*/ 410 w 468"/>
              <a:gd name="T43" fmla="*/ 278 h 306"/>
              <a:gd name="T44" fmla="*/ 53 w 468"/>
              <a:gd name="T45" fmla="*/ 277 h 306"/>
              <a:gd name="T46" fmla="*/ 42 w 468"/>
              <a:gd name="T47" fmla="*/ 273 h 306"/>
              <a:gd name="T48" fmla="*/ 35 w 468"/>
              <a:gd name="T49" fmla="*/ 264 h 306"/>
              <a:gd name="T50" fmla="*/ 30 w 468"/>
              <a:gd name="T51" fmla="*/ 254 h 306"/>
              <a:gd name="T52" fmla="*/ 145 w 468"/>
              <a:gd name="T53" fmla="*/ 162 h 306"/>
              <a:gd name="T54" fmla="*/ 214 w 468"/>
              <a:gd name="T55" fmla="*/ 214 h 306"/>
              <a:gd name="T56" fmla="*/ 227 w 468"/>
              <a:gd name="T57" fmla="*/ 219 h 306"/>
              <a:gd name="T58" fmla="*/ 241 w 468"/>
              <a:gd name="T59" fmla="*/ 219 h 306"/>
              <a:gd name="T60" fmla="*/ 255 w 468"/>
              <a:gd name="T61" fmla="*/ 214 h 306"/>
              <a:gd name="T62" fmla="*/ 325 w 468"/>
              <a:gd name="T63" fmla="*/ 162 h 306"/>
              <a:gd name="T64" fmla="*/ 30 w 468"/>
              <a:gd name="T65" fmla="*/ 76 h 306"/>
              <a:gd name="T66" fmla="*/ 30 w 468"/>
              <a:gd name="T67" fmla="*/ 230 h 306"/>
              <a:gd name="T68" fmla="*/ 410 w 468"/>
              <a:gd name="T69" fmla="*/ 0 h 306"/>
              <a:gd name="T70" fmla="*/ 47 w 468"/>
              <a:gd name="T71" fmla="*/ 0 h 306"/>
              <a:gd name="T72" fmla="*/ 26 w 468"/>
              <a:gd name="T73" fmla="*/ 9 h 306"/>
              <a:gd name="T74" fmla="*/ 10 w 468"/>
              <a:gd name="T75" fmla="*/ 24 h 306"/>
              <a:gd name="T76" fmla="*/ 1 w 468"/>
              <a:gd name="T77" fmla="*/ 45 h 306"/>
              <a:gd name="T78" fmla="*/ 0 w 468"/>
              <a:gd name="T79" fmla="*/ 248 h 306"/>
              <a:gd name="T80" fmla="*/ 5 w 468"/>
              <a:gd name="T81" fmla="*/ 272 h 306"/>
              <a:gd name="T82" fmla="*/ 17 w 468"/>
              <a:gd name="T83" fmla="*/ 290 h 306"/>
              <a:gd name="T84" fmla="*/ 36 w 468"/>
              <a:gd name="T85" fmla="*/ 303 h 306"/>
              <a:gd name="T86" fmla="*/ 58 w 468"/>
              <a:gd name="T87" fmla="*/ 306 h 306"/>
              <a:gd name="T88" fmla="*/ 421 w 468"/>
              <a:gd name="T89" fmla="*/ 306 h 306"/>
              <a:gd name="T90" fmla="*/ 442 w 468"/>
              <a:gd name="T91" fmla="*/ 297 h 306"/>
              <a:gd name="T92" fmla="*/ 458 w 468"/>
              <a:gd name="T93" fmla="*/ 282 h 306"/>
              <a:gd name="T94" fmla="*/ 467 w 468"/>
              <a:gd name="T95" fmla="*/ 261 h 306"/>
              <a:gd name="T96" fmla="*/ 468 w 468"/>
              <a:gd name="T97" fmla="*/ 58 h 306"/>
              <a:gd name="T98" fmla="*/ 465 w 468"/>
              <a:gd name="T99" fmla="*/ 34 h 306"/>
              <a:gd name="T100" fmla="*/ 451 w 468"/>
              <a:gd name="T101" fmla="*/ 16 h 306"/>
              <a:gd name="T102" fmla="*/ 432 w 468"/>
              <a:gd name="T103" fmla="*/ 3 h 306"/>
              <a:gd name="T104" fmla="*/ 410 w 468"/>
              <a:gd name="T105"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8" h="306">
                <a:moveTo>
                  <a:pt x="252" y="199"/>
                </a:moveTo>
                <a:lnTo>
                  <a:pt x="248" y="201"/>
                </a:lnTo>
                <a:lnTo>
                  <a:pt x="243" y="202"/>
                </a:lnTo>
                <a:lnTo>
                  <a:pt x="238" y="204"/>
                </a:lnTo>
                <a:lnTo>
                  <a:pt x="235" y="204"/>
                </a:lnTo>
                <a:lnTo>
                  <a:pt x="230" y="204"/>
                </a:lnTo>
                <a:lnTo>
                  <a:pt x="225" y="202"/>
                </a:lnTo>
                <a:lnTo>
                  <a:pt x="221" y="201"/>
                </a:lnTo>
                <a:lnTo>
                  <a:pt x="216" y="199"/>
                </a:lnTo>
                <a:lnTo>
                  <a:pt x="156" y="153"/>
                </a:lnTo>
                <a:lnTo>
                  <a:pt x="145" y="144"/>
                </a:lnTo>
                <a:lnTo>
                  <a:pt x="30" y="58"/>
                </a:lnTo>
                <a:lnTo>
                  <a:pt x="30" y="58"/>
                </a:lnTo>
                <a:lnTo>
                  <a:pt x="30" y="52"/>
                </a:lnTo>
                <a:lnTo>
                  <a:pt x="32" y="47"/>
                </a:lnTo>
                <a:lnTo>
                  <a:pt x="35" y="42"/>
                </a:lnTo>
                <a:lnTo>
                  <a:pt x="38" y="37"/>
                </a:lnTo>
                <a:lnTo>
                  <a:pt x="42" y="33"/>
                </a:lnTo>
                <a:lnTo>
                  <a:pt x="47" y="31"/>
                </a:lnTo>
                <a:lnTo>
                  <a:pt x="53" y="29"/>
                </a:lnTo>
                <a:lnTo>
                  <a:pt x="58" y="28"/>
                </a:lnTo>
                <a:lnTo>
                  <a:pt x="410" y="28"/>
                </a:lnTo>
                <a:lnTo>
                  <a:pt x="416" y="29"/>
                </a:lnTo>
                <a:lnTo>
                  <a:pt x="421" y="31"/>
                </a:lnTo>
                <a:lnTo>
                  <a:pt x="426" y="33"/>
                </a:lnTo>
                <a:lnTo>
                  <a:pt x="431" y="37"/>
                </a:lnTo>
                <a:lnTo>
                  <a:pt x="435" y="42"/>
                </a:lnTo>
                <a:lnTo>
                  <a:pt x="437" y="47"/>
                </a:lnTo>
                <a:lnTo>
                  <a:pt x="439" y="52"/>
                </a:lnTo>
                <a:lnTo>
                  <a:pt x="440" y="58"/>
                </a:lnTo>
                <a:lnTo>
                  <a:pt x="252" y="199"/>
                </a:lnTo>
                <a:close/>
                <a:moveTo>
                  <a:pt x="440" y="230"/>
                </a:moveTo>
                <a:lnTo>
                  <a:pt x="337" y="153"/>
                </a:lnTo>
                <a:lnTo>
                  <a:pt x="440" y="76"/>
                </a:lnTo>
                <a:lnTo>
                  <a:pt x="440" y="230"/>
                </a:lnTo>
                <a:close/>
                <a:moveTo>
                  <a:pt x="440" y="248"/>
                </a:moveTo>
                <a:lnTo>
                  <a:pt x="439" y="254"/>
                </a:lnTo>
                <a:lnTo>
                  <a:pt x="437" y="259"/>
                </a:lnTo>
                <a:lnTo>
                  <a:pt x="435" y="264"/>
                </a:lnTo>
                <a:lnTo>
                  <a:pt x="431" y="269"/>
                </a:lnTo>
                <a:lnTo>
                  <a:pt x="426" y="273"/>
                </a:lnTo>
                <a:lnTo>
                  <a:pt x="421" y="275"/>
                </a:lnTo>
                <a:lnTo>
                  <a:pt x="416" y="277"/>
                </a:lnTo>
                <a:lnTo>
                  <a:pt x="410" y="278"/>
                </a:lnTo>
                <a:lnTo>
                  <a:pt x="58" y="278"/>
                </a:lnTo>
                <a:lnTo>
                  <a:pt x="53" y="277"/>
                </a:lnTo>
                <a:lnTo>
                  <a:pt x="47" y="275"/>
                </a:lnTo>
                <a:lnTo>
                  <a:pt x="42" y="273"/>
                </a:lnTo>
                <a:lnTo>
                  <a:pt x="38" y="269"/>
                </a:lnTo>
                <a:lnTo>
                  <a:pt x="35" y="264"/>
                </a:lnTo>
                <a:lnTo>
                  <a:pt x="32" y="259"/>
                </a:lnTo>
                <a:lnTo>
                  <a:pt x="30" y="254"/>
                </a:lnTo>
                <a:lnTo>
                  <a:pt x="30" y="248"/>
                </a:lnTo>
                <a:lnTo>
                  <a:pt x="145" y="162"/>
                </a:lnTo>
                <a:lnTo>
                  <a:pt x="208" y="210"/>
                </a:lnTo>
                <a:lnTo>
                  <a:pt x="214" y="214"/>
                </a:lnTo>
                <a:lnTo>
                  <a:pt x="221" y="217"/>
                </a:lnTo>
                <a:lnTo>
                  <a:pt x="227" y="219"/>
                </a:lnTo>
                <a:lnTo>
                  <a:pt x="235" y="219"/>
                </a:lnTo>
                <a:lnTo>
                  <a:pt x="241" y="219"/>
                </a:lnTo>
                <a:lnTo>
                  <a:pt x="248" y="217"/>
                </a:lnTo>
                <a:lnTo>
                  <a:pt x="255" y="214"/>
                </a:lnTo>
                <a:lnTo>
                  <a:pt x="261" y="210"/>
                </a:lnTo>
                <a:lnTo>
                  <a:pt x="325" y="162"/>
                </a:lnTo>
                <a:lnTo>
                  <a:pt x="440" y="248"/>
                </a:lnTo>
                <a:close/>
                <a:moveTo>
                  <a:pt x="30" y="76"/>
                </a:moveTo>
                <a:lnTo>
                  <a:pt x="132" y="153"/>
                </a:lnTo>
                <a:lnTo>
                  <a:pt x="30" y="230"/>
                </a:lnTo>
                <a:lnTo>
                  <a:pt x="30" y="76"/>
                </a:lnTo>
                <a:close/>
                <a:moveTo>
                  <a:pt x="410" y="0"/>
                </a:moveTo>
                <a:lnTo>
                  <a:pt x="58" y="0"/>
                </a:lnTo>
                <a:lnTo>
                  <a:pt x="47" y="0"/>
                </a:lnTo>
                <a:lnTo>
                  <a:pt x="36" y="3"/>
                </a:lnTo>
                <a:lnTo>
                  <a:pt x="26" y="9"/>
                </a:lnTo>
                <a:lnTo>
                  <a:pt x="17" y="16"/>
                </a:lnTo>
                <a:lnTo>
                  <a:pt x="10" y="24"/>
                </a:lnTo>
                <a:lnTo>
                  <a:pt x="5" y="34"/>
                </a:lnTo>
                <a:lnTo>
                  <a:pt x="1" y="45"/>
                </a:lnTo>
                <a:lnTo>
                  <a:pt x="0" y="58"/>
                </a:lnTo>
                <a:lnTo>
                  <a:pt x="0" y="248"/>
                </a:lnTo>
                <a:lnTo>
                  <a:pt x="1" y="261"/>
                </a:lnTo>
                <a:lnTo>
                  <a:pt x="5" y="272"/>
                </a:lnTo>
                <a:lnTo>
                  <a:pt x="10" y="282"/>
                </a:lnTo>
                <a:lnTo>
                  <a:pt x="17" y="290"/>
                </a:lnTo>
                <a:lnTo>
                  <a:pt x="26" y="297"/>
                </a:lnTo>
                <a:lnTo>
                  <a:pt x="36" y="303"/>
                </a:lnTo>
                <a:lnTo>
                  <a:pt x="47" y="306"/>
                </a:lnTo>
                <a:lnTo>
                  <a:pt x="58" y="306"/>
                </a:lnTo>
                <a:lnTo>
                  <a:pt x="410" y="306"/>
                </a:lnTo>
                <a:lnTo>
                  <a:pt x="421" y="306"/>
                </a:lnTo>
                <a:lnTo>
                  <a:pt x="432" y="303"/>
                </a:lnTo>
                <a:lnTo>
                  <a:pt x="442" y="297"/>
                </a:lnTo>
                <a:lnTo>
                  <a:pt x="451" y="290"/>
                </a:lnTo>
                <a:lnTo>
                  <a:pt x="458" y="282"/>
                </a:lnTo>
                <a:lnTo>
                  <a:pt x="465" y="272"/>
                </a:lnTo>
                <a:lnTo>
                  <a:pt x="467" y="261"/>
                </a:lnTo>
                <a:lnTo>
                  <a:pt x="468" y="248"/>
                </a:lnTo>
                <a:lnTo>
                  <a:pt x="468" y="58"/>
                </a:lnTo>
                <a:lnTo>
                  <a:pt x="467" y="45"/>
                </a:lnTo>
                <a:lnTo>
                  <a:pt x="465" y="34"/>
                </a:lnTo>
                <a:lnTo>
                  <a:pt x="458" y="24"/>
                </a:lnTo>
                <a:lnTo>
                  <a:pt x="451" y="16"/>
                </a:lnTo>
                <a:lnTo>
                  <a:pt x="442" y="9"/>
                </a:lnTo>
                <a:lnTo>
                  <a:pt x="432" y="3"/>
                </a:lnTo>
                <a:lnTo>
                  <a:pt x="421" y="0"/>
                </a:lnTo>
                <a:lnTo>
                  <a:pt x="410"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0" name="Freeform 29">
            <a:extLst>
              <a:ext uri="{FF2B5EF4-FFF2-40B4-BE49-F238E27FC236}">
                <a16:creationId xmlns:a16="http://schemas.microsoft.com/office/drawing/2014/main" id="{7D536984-C9EA-66F9-87EB-684506D2B9FA}"/>
              </a:ext>
            </a:extLst>
          </p:cNvPr>
          <p:cNvSpPr>
            <a:spLocks noEditPoints="1"/>
          </p:cNvSpPr>
          <p:nvPr/>
        </p:nvSpPr>
        <p:spPr bwMode="auto">
          <a:xfrm>
            <a:off x="13392150" y="7988258"/>
            <a:ext cx="373063" cy="374650"/>
          </a:xfrm>
          <a:custGeom>
            <a:avLst/>
            <a:gdLst>
              <a:gd name="T0" fmla="*/ 426 w 468"/>
              <a:gd name="T1" fmla="*/ 435 h 470"/>
              <a:gd name="T2" fmla="*/ 47 w 468"/>
              <a:gd name="T3" fmla="*/ 438 h 470"/>
              <a:gd name="T4" fmla="*/ 29 w 468"/>
              <a:gd name="T5" fmla="*/ 411 h 470"/>
              <a:gd name="T6" fmla="*/ 59 w 468"/>
              <a:gd name="T7" fmla="*/ 103 h 470"/>
              <a:gd name="T8" fmla="*/ 79 w 468"/>
              <a:gd name="T9" fmla="*/ 409 h 470"/>
              <a:gd name="T10" fmla="*/ 93 w 468"/>
              <a:gd name="T11" fmla="*/ 35 h 470"/>
              <a:gd name="T12" fmla="*/ 439 w 468"/>
              <a:gd name="T13" fmla="*/ 38 h 470"/>
              <a:gd name="T14" fmla="*/ 147 w 468"/>
              <a:gd name="T15" fmla="*/ 162 h 470"/>
              <a:gd name="T16" fmla="*/ 248 w 468"/>
              <a:gd name="T17" fmla="*/ 182 h 470"/>
              <a:gd name="T18" fmla="*/ 235 w 468"/>
              <a:gd name="T19" fmla="*/ 59 h 470"/>
              <a:gd name="T20" fmla="*/ 117 w 468"/>
              <a:gd name="T21" fmla="*/ 177 h 470"/>
              <a:gd name="T22" fmla="*/ 125 w 468"/>
              <a:gd name="T23" fmla="*/ 265 h 470"/>
              <a:gd name="T24" fmla="*/ 120 w 468"/>
              <a:gd name="T25" fmla="*/ 277 h 470"/>
              <a:gd name="T26" fmla="*/ 410 w 468"/>
              <a:gd name="T27" fmla="*/ 275 h 470"/>
              <a:gd name="T28" fmla="*/ 403 w 468"/>
              <a:gd name="T29" fmla="*/ 220 h 470"/>
              <a:gd name="T30" fmla="*/ 117 w 468"/>
              <a:gd name="T31" fmla="*/ 230 h 470"/>
              <a:gd name="T32" fmla="*/ 408 w 468"/>
              <a:gd name="T33" fmla="*/ 233 h 470"/>
              <a:gd name="T34" fmla="*/ 403 w 468"/>
              <a:gd name="T35" fmla="*/ 220 h 470"/>
              <a:gd name="T36" fmla="*/ 278 w 468"/>
              <a:gd name="T37" fmla="*/ 315 h 470"/>
              <a:gd name="T38" fmla="*/ 405 w 468"/>
              <a:gd name="T39" fmla="*/ 323 h 470"/>
              <a:gd name="T40" fmla="*/ 405 w 468"/>
              <a:gd name="T41" fmla="*/ 309 h 470"/>
              <a:gd name="T42" fmla="*/ 279 w 468"/>
              <a:gd name="T43" fmla="*/ 357 h 470"/>
              <a:gd name="T44" fmla="*/ 403 w 468"/>
              <a:gd name="T45" fmla="*/ 367 h 470"/>
              <a:gd name="T46" fmla="*/ 408 w 468"/>
              <a:gd name="T47" fmla="*/ 355 h 470"/>
              <a:gd name="T48" fmla="*/ 280 w 468"/>
              <a:gd name="T49" fmla="*/ 398 h 470"/>
              <a:gd name="T50" fmla="*/ 285 w 468"/>
              <a:gd name="T51" fmla="*/ 411 h 470"/>
              <a:gd name="T52" fmla="*/ 410 w 468"/>
              <a:gd name="T53" fmla="*/ 401 h 470"/>
              <a:gd name="T54" fmla="*/ 122 w 468"/>
              <a:gd name="T55" fmla="*/ 309 h 470"/>
              <a:gd name="T56" fmla="*/ 122 w 468"/>
              <a:gd name="T57" fmla="*/ 323 h 470"/>
              <a:gd name="T58" fmla="*/ 249 w 468"/>
              <a:gd name="T59" fmla="*/ 315 h 470"/>
              <a:gd name="T60" fmla="*/ 125 w 468"/>
              <a:gd name="T61" fmla="*/ 353 h 470"/>
              <a:gd name="T62" fmla="*/ 120 w 468"/>
              <a:gd name="T63" fmla="*/ 365 h 470"/>
              <a:gd name="T64" fmla="*/ 248 w 468"/>
              <a:gd name="T65" fmla="*/ 362 h 470"/>
              <a:gd name="T66" fmla="*/ 242 w 468"/>
              <a:gd name="T67" fmla="*/ 396 h 470"/>
              <a:gd name="T68" fmla="*/ 117 w 468"/>
              <a:gd name="T69" fmla="*/ 407 h 470"/>
              <a:gd name="T70" fmla="*/ 247 w 468"/>
              <a:gd name="T71" fmla="*/ 409 h 470"/>
              <a:gd name="T72" fmla="*/ 242 w 468"/>
              <a:gd name="T73" fmla="*/ 396 h 470"/>
              <a:gd name="T74" fmla="*/ 410 w 468"/>
              <a:gd name="T75" fmla="*/ 95 h 470"/>
              <a:gd name="T76" fmla="*/ 283 w 468"/>
              <a:gd name="T77" fmla="*/ 89 h 470"/>
              <a:gd name="T78" fmla="*/ 283 w 468"/>
              <a:gd name="T79" fmla="*/ 103 h 470"/>
              <a:gd name="T80" fmla="*/ 410 w 468"/>
              <a:gd name="T81" fmla="*/ 142 h 470"/>
              <a:gd name="T82" fmla="*/ 285 w 468"/>
              <a:gd name="T83" fmla="*/ 132 h 470"/>
              <a:gd name="T84" fmla="*/ 280 w 468"/>
              <a:gd name="T85" fmla="*/ 145 h 470"/>
              <a:gd name="T86" fmla="*/ 408 w 468"/>
              <a:gd name="T87" fmla="*/ 189 h 470"/>
              <a:gd name="T88" fmla="*/ 403 w 468"/>
              <a:gd name="T89" fmla="*/ 177 h 470"/>
              <a:gd name="T90" fmla="*/ 279 w 468"/>
              <a:gd name="T91" fmla="*/ 187 h 470"/>
              <a:gd name="T92" fmla="*/ 94 w 468"/>
              <a:gd name="T93" fmla="*/ 1 h 470"/>
              <a:gd name="T94" fmla="*/ 59 w 468"/>
              <a:gd name="T95" fmla="*/ 36 h 470"/>
              <a:gd name="T96" fmla="*/ 20 w 468"/>
              <a:gd name="T97" fmla="*/ 82 h 470"/>
              <a:gd name="T98" fmla="*/ 0 w 468"/>
              <a:gd name="T99" fmla="*/ 411 h 470"/>
              <a:gd name="T100" fmla="*/ 36 w 468"/>
              <a:gd name="T101" fmla="*/ 465 h 470"/>
              <a:gd name="T102" fmla="*/ 443 w 468"/>
              <a:gd name="T103" fmla="*/ 460 h 470"/>
              <a:gd name="T104" fmla="*/ 468 w 468"/>
              <a:gd name="T105" fmla="*/ 44 h 470"/>
              <a:gd name="T106" fmla="*/ 442 w 468"/>
              <a:gd name="T107" fmla="*/ 4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8" h="470">
                <a:moveTo>
                  <a:pt x="440" y="411"/>
                </a:moveTo>
                <a:lnTo>
                  <a:pt x="439" y="417"/>
                </a:lnTo>
                <a:lnTo>
                  <a:pt x="437" y="422"/>
                </a:lnTo>
                <a:lnTo>
                  <a:pt x="435" y="428"/>
                </a:lnTo>
                <a:lnTo>
                  <a:pt x="431" y="432"/>
                </a:lnTo>
                <a:lnTo>
                  <a:pt x="426" y="435"/>
                </a:lnTo>
                <a:lnTo>
                  <a:pt x="421" y="438"/>
                </a:lnTo>
                <a:lnTo>
                  <a:pt x="416" y="439"/>
                </a:lnTo>
                <a:lnTo>
                  <a:pt x="410" y="440"/>
                </a:lnTo>
                <a:lnTo>
                  <a:pt x="59" y="440"/>
                </a:lnTo>
                <a:lnTo>
                  <a:pt x="53" y="439"/>
                </a:lnTo>
                <a:lnTo>
                  <a:pt x="47" y="438"/>
                </a:lnTo>
                <a:lnTo>
                  <a:pt x="42" y="435"/>
                </a:lnTo>
                <a:lnTo>
                  <a:pt x="38" y="432"/>
                </a:lnTo>
                <a:lnTo>
                  <a:pt x="34" y="428"/>
                </a:lnTo>
                <a:lnTo>
                  <a:pt x="32" y="422"/>
                </a:lnTo>
                <a:lnTo>
                  <a:pt x="29" y="417"/>
                </a:lnTo>
                <a:lnTo>
                  <a:pt x="29" y="411"/>
                </a:lnTo>
                <a:lnTo>
                  <a:pt x="29" y="117"/>
                </a:lnTo>
                <a:lnTo>
                  <a:pt x="31" y="113"/>
                </a:lnTo>
                <a:lnTo>
                  <a:pt x="33" y="108"/>
                </a:lnTo>
                <a:lnTo>
                  <a:pt x="38" y="104"/>
                </a:lnTo>
                <a:lnTo>
                  <a:pt x="44" y="103"/>
                </a:lnTo>
                <a:lnTo>
                  <a:pt x="59" y="103"/>
                </a:lnTo>
                <a:lnTo>
                  <a:pt x="59" y="396"/>
                </a:lnTo>
                <a:lnTo>
                  <a:pt x="59" y="402"/>
                </a:lnTo>
                <a:lnTo>
                  <a:pt x="63" y="407"/>
                </a:lnTo>
                <a:lnTo>
                  <a:pt x="68" y="409"/>
                </a:lnTo>
                <a:lnTo>
                  <a:pt x="73" y="411"/>
                </a:lnTo>
                <a:lnTo>
                  <a:pt x="79" y="409"/>
                </a:lnTo>
                <a:lnTo>
                  <a:pt x="84" y="407"/>
                </a:lnTo>
                <a:lnTo>
                  <a:pt x="86" y="402"/>
                </a:lnTo>
                <a:lnTo>
                  <a:pt x="88" y="396"/>
                </a:lnTo>
                <a:lnTo>
                  <a:pt x="88" y="44"/>
                </a:lnTo>
                <a:lnTo>
                  <a:pt x="89" y="38"/>
                </a:lnTo>
                <a:lnTo>
                  <a:pt x="93" y="35"/>
                </a:lnTo>
                <a:lnTo>
                  <a:pt x="97" y="31"/>
                </a:lnTo>
                <a:lnTo>
                  <a:pt x="102" y="30"/>
                </a:lnTo>
                <a:lnTo>
                  <a:pt x="425" y="30"/>
                </a:lnTo>
                <a:lnTo>
                  <a:pt x="430" y="31"/>
                </a:lnTo>
                <a:lnTo>
                  <a:pt x="435" y="35"/>
                </a:lnTo>
                <a:lnTo>
                  <a:pt x="439" y="38"/>
                </a:lnTo>
                <a:lnTo>
                  <a:pt x="440" y="44"/>
                </a:lnTo>
                <a:lnTo>
                  <a:pt x="440" y="411"/>
                </a:lnTo>
                <a:close/>
                <a:moveTo>
                  <a:pt x="147" y="88"/>
                </a:moveTo>
                <a:lnTo>
                  <a:pt x="220" y="88"/>
                </a:lnTo>
                <a:lnTo>
                  <a:pt x="220" y="162"/>
                </a:lnTo>
                <a:lnTo>
                  <a:pt x="147" y="162"/>
                </a:lnTo>
                <a:lnTo>
                  <a:pt x="147" y="88"/>
                </a:lnTo>
                <a:close/>
                <a:moveTo>
                  <a:pt x="132" y="190"/>
                </a:moveTo>
                <a:lnTo>
                  <a:pt x="235" y="190"/>
                </a:lnTo>
                <a:lnTo>
                  <a:pt x="240" y="190"/>
                </a:lnTo>
                <a:lnTo>
                  <a:pt x="245" y="187"/>
                </a:lnTo>
                <a:lnTo>
                  <a:pt x="248" y="182"/>
                </a:lnTo>
                <a:lnTo>
                  <a:pt x="249" y="177"/>
                </a:lnTo>
                <a:lnTo>
                  <a:pt x="249" y="74"/>
                </a:lnTo>
                <a:lnTo>
                  <a:pt x="248" y="68"/>
                </a:lnTo>
                <a:lnTo>
                  <a:pt x="245" y="63"/>
                </a:lnTo>
                <a:lnTo>
                  <a:pt x="240" y="61"/>
                </a:lnTo>
                <a:lnTo>
                  <a:pt x="235" y="59"/>
                </a:lnTo>
                <a:lnTo>
                  <a:pt x="132" y="59"/>
                </a:lnTo>
                <a:lnTo>
                  <a:pt x="126" y="61"/>
                </a:lnTo>
                <a:lnTo>
                  <a:pt x="121" y="63"/>
                </a:lnTo>
                <a:lnTo>
                  <a:pt x="118" y="68"/>
                </a:lnTo>
                <a:lnTo>
                  <a:pt x="117" y="74"/>
                </a:lnTo>
                <a:lnTo>
                  <a:pt x="117" y="177"/>
                </a:lnTo>
                <a:lnTo>
                  <a:pt x="118" y="182"/>
                </a:lnTo>
                <a:lnTo>
                  <a:pt x="121" y="187"/>
                </a:lnTo>
                <a:lnTo>
                  <a:pt x="126" y="190"/>
                </a:lnTo>
                <a:lnTo>
                  <a:pt x="132" y="190"/>
                </a:lnTo>
                <a:close/>
                <a:moveTo>
                  <a:pt x="403" y="265"/>
                </a:moveTo>
                <a:lnTo>
                  <a:pt x="125" y="265"/>
                </a:lnTo>
                <a:lnTo>
                  <a:pt x="122" y="265"/>
                </a:lnTo>
                <a:lnTo>
                  <a:pt x="120" y="266"/>
                </a:lnTo>
                <a:lnTo>
                  <a:pt x="117" y="268"/>
                </a:lnTo>
                <a:lnTo>
                  <a:pt x="117" y="272"/>
                </a:lnTo>
                <a:lnTo>
                  <a:pt x="117" y="275"/>
                </a:lnTo>
                <a:lnTo>
                  <a:pt x="120" y="277"/>
                </a:lnTo>
                <a:lnTo>
                  <a:pt x="122" y="278"/>
                </a:lnTo>
                <a:lnTo>
                  <a:pt x="125" y="280"/>
                </a:lnTo>
                <a:lnTo>
                  <a:pt x="403" y="280"/>
                </a:lnTo>
                <a:lnTo>
                  <a:pt x="405" y="278"/>
                </a:lnTo>
                <a:lnTo>
                  <a:pt x="408" y="277"/>
                </a:lnTo>
                <a:lnTo>
                  <a:pt x="410" y="275"/>
                </a:lnTo>
                <a:lnTo>
                  <a:pt x="410" y="272"/>
                </a:lnTo>
                <a:lnTo>
                  <a:pt x="410" y="268"/>
                </a:lnTo>
                <a:lnTo>
                  <a:pt x="408" y="266"/>
                </a:lnTo>
                <a:lnTo>
                  <a:pt x="405" y="265"/>
                </a:lnTo>
                <a:lnTo>
                  <a:pt x="403" y="265"/>
                </a:lnTo>
                <a:close/>
                <a:moveTo>
                  <a:pt x="403" y="220"/>
                </a:moveTo>
                <a:lnTo>
                  <a:pt x="125" y="220"/>
                </a:lnTo>
                <a:lnTo>
                  <a:pt x="122" y="221"/>
                </a:lnTo>
                <a:lnTo>
                  <a:pt x="120" y="223"/>
                </a:lnTo>
                <a:lnTo>
                  <a:pt x="117" y="225"/>
                </a:lnTo>
                <a:lnTo>
                  <a:pt x="117" y="228"/>
                </a:lnTo>
                <a:lnTo>
                  <a:pt x="117" y="230"/>
                </a:lnTo>
                <a:lnTo>
                  <a:pt x="120" y="233"/>
                </a:lnTo>
                <a:lnTo>
                  <a:pt x="122" y="235"/>
                </a:lnTo>
                <a:lnTo>
                  <a:pt x="125" y="235"/>
                </a:lnTo>
                <a:lnTo>
                  <a:pt x="403" y="235"/>
                </a:lnTo>
                <a:lnTo>
                  <a:pt x="405" y="235"/>
                </a:lnTo>
                <a:lnTo>
                  <a:pt x="408" y="233"/>
                </a:lnTo>
                <a:lnTo>
                  <a:pt x="410" y="230"/>
                </a:lnTo>
                <a:lnTo>
                  <a:pt x="410" y="228"/>
                </a:lnTo>
                <a:lnTo>
                  <a:pt x="410" y="225"/>
                </a:lnTo>
                <a:lnTo>
                  <a:pt x="408" y="223"/>
                </a:lnTo>
                <a:lnTo>
                  <a:pt x="405" y="221"/>
                </a:lnTo>
                <a:lnTo>
                  <a:pt x="403" y="220"/>
                </a:lnTo>
                <a:close/>
                <a:moveTo>
                  <a:pt x="403" y="308"/>
                </a:moveTo>
                <a:lnTo>
                  <a:pt x="285" y="308"/>
                </a:lnTo>
                <a:lnTo>
                  <a:pt x="283" y="309"/>
                </a:lnTo>
                <a:lnTo>
                  <a:pt x="280" y="310"/>
                </a:lnTo>
                <a:lnTo>
                  <a:pt x="279" y="313"/>
                </a:lnTo>
                <a:lnTo>
                  <a:pt x="278" y="315"/>
                </a:lnTo>
                <a:lnTo>
                  <a:pt x="279" y="319"/>
                </a:lnTo>
                <a:lnTo>
                  <a:pt x="280" y="320"/>
                </a:lnTo>
                <a:lnTo>
                  <a:pt x="283" y="323"/>
                </a:lnTo>
                <a:lnTo>
                  <a:pt x="285" y="323"/>
                </a:lnTo>
                <a:lnTo>
                  <a:pt x="403" y="323"/>
                </a:lnTo>
                <a:lnTo>
                  <a:pt x="405" y="323"/>
                </a:lnTo>
                <a:lnTo>
                  <a:pt x="408" y="320"/>
                </a:lnTo>
                <a:lnTo>
                  <a:pt x="410" y="319"/>
                </a:lnTo>
                <a:lnTo>
                  <a:pt x="410" y="315"/>
                </a:lnTo>
                <a:lnTo>
                  <a:pt x="410" y="313"/>
                </a:lnTo>
                <a:lnTo>
                  <a:pt x="408" y="310"/>
                </a:lnTo>
                <a:lnTo>
                  <a:pt x="405" y="309"/>
                </a:lnTo>
                <a:lnTo>
                  <a:pt x="403" y="308"/>
                </a:lnTo>
                <a:close/>
                <a:moveTo>
                  <a:pt x="403" y="353"/>
                </a:moveTo>
                <a:lnTo>
                  <a:pt x="285" y="353"/>
                </a:lnTo>
                <a:lnTo>
                  <a:pt x="283" y="353"/>
                </a:lnTo>
                <a:lnTo>
                  <a:pt x="280" y="355"/>
                </a:lnTo>
                <a:lnTo>
                  <a:pt x="279" y="357"/>
                </a:lnTo>
                <a:lnTo>
                  <a:pt x="278" y="360"/>
                </a:lnTo>
                <a:lnTo>
                  <a:pt x="279" y="362"/>
                </a:lnTo>
                <a:lnTo>
                  <a:pt x="280" y="365"/>
                </a:lnTo>
                <a:lnTo>
                  <a:pt x="283" y="366"/>
                </a:lnTo>
                <a:lnTo>
                  <a:pt x="285" y="367"/>
                </a:lnTo>
                <a:lnTo>
                  <a:pt x="403" y="367"/>
                </a:lnTo>
                <a:lnTo>
                  <a:pt x="405" y="366"/>
                </a:lnTo>
                <a:lnTo>
                  <a:pt x="408" y="365"/>
                </a:lnTo>
                <a:lnTo>
                  <a:pt x="410" y="362"/>
                </a:lnTo>
                <a:lnTo>
                  <a:pt x="410" y="360"/>
                </a:lnTo>
                <a:lnTo>
                  <a:pt x="410" y="357"/>
                </a:lnTo>
                <a:lnTo>
                  <a:pt x="408" y="355"/>
                </a:lnTo>
                <a:lnTo>
                  <a:pt x="405" y="353"/>
                </a:lnTo>
                <a:lnTo>
                  <a:pt x="403" y="353"/>
                </a:lnTo>
                <a:close/>
                <a:moveTo>
                  <a:pt x="403" y="396"/>
                </a:moveTo>
                <a:lnTo>
                  <a:pt x="285" y="396"/>
                </a:lnTo>
                <a:lnTo>
                  <a:pt x="283" y="397"/>
                </a:lnTo>
                <a:lnTo>
                  <a:pt x="280" y="398"/>
                </a:lnTo>
                <a:lnTo>
                  <a:pt x="279" y="401"/>
                </a:lnTo>
                <a:lnTo>
                  <a:pt x="278" y="403"/>
                </a:lnTo>
                <a:lnTo>
                  <a:pt x="279" y="407"/>
                </a:lnTo>
                <a:lnTo>
                  <a:pt x="280" y="409"/>
                </a:lnTo>
                <a:lnTo>
                  <a:pt x="283" y="411"/>
                </a:lnTo>
                <a:lnTo>
                  <a:pt x="285" y="411"/>
                </a:lnTo>
                <a:lnTo>
                  <a:pt x="403" y="411"/>
                </a:lnTo>
                <a:lnTo>
                  <a:pt x="405" y="411"/>
                </a:lnTo>
                <a:lnTo>
                  <a:pt x="408" y="409"/>
                </a:lnTo>
                <a:lnTo>
                  <a:pt x="410" y="407"/>
                </a:lnTo>
                <a:lnTo>
                  <a:pt x="410" y="403"/>
                </a:lnTo>
                <a:lnTo>
                  <a:pt x="410" y="401"/>
                </a:lnTo>
                <a:lnTo>
                  <a:pt x="408" y="398"/>
                </a:lnTo>
                <a:lnTo>
                  <a:pt x="405" y="397"/>
                </a:lnTo>
                <a:lnTo>
                  <a:pt x="403" y="396"/>
                </a:lnTo>
                <a:close/>
                <a:moveTo>
                  <a:pt x="242" y="308"/>
                </a:moveTo>
                <a:lnTo>
                  <a:pt x="125" y="308"/>
                </a:lnTo>
                <a:lnTo>
                  <a:pt x="122" y="309"/>
                </a:lnTo>
                <a:lnTo>
                  <a:pt x="120" y="310"/>
                </a:lnTo>
                <a:lnTo>
                  <a:pt x="117" y="313"/>
                </a:lnTo>
                <a:lnTo>
                  <a:pt x="117" y="315"/>
                </a:lnTo>
                <a:lnTo>
                  <a:pt x="117" y="319"/>
                </a:lnTo>
                <a:lnTo>
                  <a:pt x="120" y="320"/>
                </a:lnTo>
                <a:lnTo>
                  <a:pt x="122" y="323"/>
                </a:lnTo>
                <a:lnTo>
                  <a:pt x="125" y="323"/>
                </a:lnTo>
                <a:lnTo>
                  <a:pt x="242" y="323"/>
                </a:lnTo>
                <a:lnTo>
                  <a:pt x="245" y="323"/>
                </a:lnTo>
                <a:lnTo>
                  <a:pt x="247" y="320"/>
                </a:lnTo>
                <a:lnTo>
                  <a:pt x="248" y="319"/>
                </a:lnTo>
                <a:lnTo>
                  <a:pt x="249" y="315"/>
                </a:lnTo>
                <a:lnTo>
                  <a:pt x="248" y="313"/>
                </a:lnTo>
                <a:lnTo>
                  <a:pt x="247" y="310"/>
                </a:lnTo>
                <a:lnTo>
                  <a:pt x="245" y="309"/>
                </a:lnTo>
                <a:lnTo>
                  <a:pt x="242" y="308"/>
                </a:lnTo>
                <a:close/>
                <a:moveTo>
                  <a:pt x="242" y="353"/>
                </a:moveTo>
                <a:lnTo>
                  <a:pt x="125" y="353"/>
                </a:lnTo>
                <a:lnTo>
                  <a:pt x="122" y="353"/>
                </a:lnTo>
                <a:lnTo>
                  <a:pt x="120" y="355"/>
                </a:lnTo>
                <a:lnTo>
                  <a:pt x="117" y="357"/>
                </a:lnTo>
                <a:lnTo>
                  <a:pt x="117" y="360"/>
                </a:lnTo>
                <a:lnTo>
                  <a:pt x="117" y="362"/>
                </a:lnTo>
                <a:lnTo>
                  <a:pt x="120" y="365"/>
                </a:lnTo>
                <a:lnTo>
                  <a:pt x="122" y="366"/>
                </a:lnTo>
                <a:lnTo>
                  <a:pt x="125" y="367"/>
                </a:lnTo>
                <a:lnTo>
                  <a:pt x="242" y="367"/>
                </a:lnTo>
                <a:lnTo>
                  <a:pt x="245" y="366"/>
                </a:lnTo>
                <a:lnTo>
                  <a:pt x="247" y="365"/>
                </a:lnTo>
                <a:lnTo>
                  <a:pt x="248" y="362"/>
                </a:lnTo>
                <a:lnTo>
                  <a:pt x="249" y="360"/>
                </a:lnTo>
                <a:lnTo>
                  <a:pt x="248" y="357"/>
                </a:lnTo>
                <a:lnTo>
                  <a:pt x="247" y="355"/>
                </a:lnTo>
                <a:lnTo>
                  <a:pt x="245" y="353"/>
                </a:lnTo>
                <a:lnTo>
                  <a:pt x="242" y="353"/>
                </a:lnTo>
                <a:close/>
                <a:moveTo>
                  <a:pt x="242" y="396"/>
                </a:moveTo>
                <a:lnTo>
                  <a:pt x="125" y="396"/>
                </a:lnTo>
                <a:lnTo>
                  <a:pt x="122" y="397"/>
                </a:lnTo>
                <a:lnTo>
                  <a:pt x="120" y="398"/>
                </a:lnTo>
                <a:lnTo>
                  <a:pt x="117" y="401"/>
                </a:lnTo>
                <a:lnTo>
                  <a:pt x="117" y="403"/>
                </a:lnTo>
                <a:lnTo>
                  <a:pt x="117" y="407"/>
                </a:lnTo>
                <a:lnTo>
                  <a:pt x="120" y="409"/>
                </a:lnTo>
                <a:lnTo>
                  <a:pt x="122" y="411"/>
                </a:lnTo>
                <a:lnTo>
                  <a:pt x="125" y="411"/>
                </a:lnTo>
                <a:lnTo>
                  <a:pt x="242" y="411"/>
                </a:lnTo>
                <a:lnTo>
                  <a:pt x="245" y="411"/>
                </a:lnTo>
                <a:lnTo>
                  <a:pt x="247" y="409"/>
                </a:lnTo>
                <a:lnTo>
                  <a:pt x="248" y="407"/>
                </a:lnTo>
                <a:lnTo>
                  <a:pt x="249" y="403"/>
                </a:lnTo>
                <a:lnTo>
                  <a:pt x="248" y="401"/>
                </a:lnTo>
                <a:lnTo>
                  <a:pt x="247" y="398"/>
                </a:lnTo>
                <a:lnTo>
                  <a:pt x="245" y="397"/>
                </a:lnTo>
                <a:lnTo>
                  <a:pt x="242" y="396"/>
                </a:lnTo>
                <a:close/>
                <a:moveTo>
                  <a:pt x="285" y="103"/>
                </a:moveTo>
                <a:lnTo>
                  <a:pt x="403" y="103"/>
                </a:lnTo>
                <a:lnTo>
                  <a:pt x="405" y="103"/>
                </a:lnTo>
                <a:lnTo>
                  <a:pt x="408" y="101"/>
                </a:lnTo>
                <a:lnTo>
                  <a:pt x="410" y="99"/>
                </a:lnTo>
                <a:lnTo>
                  <a:pt x="410" y="95"/>
                </a:lnTo>
                <a:lnTo>
                  <a:pt x="410" y="93"/>
                </a:lnTo>
                <a:lnTo>
                  <a:pt x="408" y="90"/>
                </a:lnTo>
                <a:lnTo>
                  <a:pt x="405" y="89"/>
                </a:lnTo>
                <a:lnTo>
                  <a:pt x="403" y="89"/>
                </a:lnTo>
                <a:lnTo>
                  <a:pt x="285" y="89"/>
                </a:lnTo>
                <a:lnTo>
                  <a:pt x="283" y="89"/>
                </a:lnTo>
                <a:lnTo>
                  <a:pt x="280" y="90"/>
                </a:lnTo>
                <a:lnTo>
                  <a:pt x="279" y="93"/>
                </a:lnTo>
                <a:lnTo>
                  <a:pt x="278" y="95"/>
                </a:lnTo>
                <a:lnTo>
                  <a:pt x="279" y="99"/>
                </a:lnTo>
                <a:lnTo>
                  <a:pt x="280" y="101"/>
                </a:lnTo>
                <a:lnTo>
                  <a:pt x="283" y="103"/>
                </a:lnTo>
                <a:lnTo>
                  <a:pt x="285" y="103"/>
                </a:lnTo>
                <a:close/>
                <a:moveTo>
                  <a:pt x="285" y="147"/>
                </a:moveTo>
                <a:lnTo>
                  <a:pt x="403" y="147"/>
                </a:lnTo>
                <a:lnTo>
                  <a:pt x="405" y="146"/>
                </a:lnTo>
                <a:lnTo>
                  <a:pt x="408" y="145"/>
                </a:lnTo>
                <a:lnTo>
                  <a:pt x="410" y="142"/>
                </a:lnTo>
                <a:lnTo>
                  <a:pt x="410" y="140"/>
                </a:lnTo>
                <a:lnTo>
                  <a:pt x="410" y="137"/>
                </a:lnTo>
                <a:lnTo>
                  <a:pt x="408" y="135"/>
                </a:lnTo>
                <a:lnTo>
                  <a:pt x="405" y="134"/>
                </a:lnTo>
                <a:lnTo>
                  <a:pt x="403" y="132"/>
                </a:lnTo>
                <a:lnTo>
                  <a:pt x="285" y="132"/>
                </a:lnTo>
                <a:lnTo>
                  <a:pt x="283" y="134"/>
                </a:lnTo>
                <a:lnTo>
                  <a:pt x="280" y="135"/>
                </a:lnTo>
                <a:lnTo>
                  <a:pt x="279" y="137"/>
                </a:lnTo>
                <a:lnTo>
                  <a:pt x="278" y="140"/>
                </a:lnTo>
                <a:lnTo>
                  <a:pt x="279" y="142"/>
                </a:lnTo>
                <a:lnTo>
                  <a:pt x="280" y="145"/>
                </a:lnTo>
                <a:lnTo>
                  <a:pt x="283" y="146"/>
                </a:lnTo>
                <a:lnTo>
                  <a:pt x="285" y="147"/>
                </a:lnTo>
                <a:close/>
                <a:moveTo>
                  <a:pt x="285" y="190"/>
                </a:moveTo>
                <a:lnTo>
                  <a:pt x="403" y="190"/>
                </a:lnTo>
                <a:lnTo>
                  <a:pt x="405" y="190"/>
                </a:lnTo>
                <a:lnTo>
                  <a:pt x="408" y="189"/>
                </a:lnTo>
                <a:lnTo>
                  <a:pt x="410" y="187"/>
                </a:lnTo>
                <a:lnTo>
                  <a:pt x="410" y="184"/>
                </a:lnTo>
                <a:lnTo>
                  <a:pt x="410" y="181"/>
                </a:lnTo>
                <a:lnTo>
                  <a:pt x="408" y="178"/>
                </a:lnTo>
                <a:lnTo>
                  <a:pt x="405" y="177"/>
                </a:lnTo>
                <a:lnTo>
                  <a:pt x="403" y="177"/>
                </a:lnTo>
                <a:lnTo>
                  <a:pt x="285" y="177"/>
                </a:lnTo>
                <a:lnTo>
                  <a:pt x="283" y="177"/>
                </a:lnTo>
                <a:lnTo>
                  <a:pt x="280" y="178"/>
                </a:lnTo>
                <a:lnTo>
                  <a:pt x="279" y="181"/>
                </a:lnTo>
                <a:lnTo>
                  <a:pt x="278" y="184"/>
                </a:lnTo>
                <a:lnTo>
                  <a:pt x="279" y="187"/>
                </a:lnTo>
                <a:lnTo>
                  <a:pt x="280" y="189"/>
                </a:lnTo>
                <a:lnTo>
                  <a:pt x="283" y="190"/>
                </a:lnTo>
                <a:lnTo>
                  <a:pt x="285" y="190"/>
                </a:lnTo>
                <a:close/>
                <a:moveTo>
                  <a:pt x="425" y="0"/>
                </a:moveTo>
                <a:lnTo>
                  <a:pt x="102" y="0"/>
                </a:lnTo>
                <a:lnTo>
                  <a:pt x="94" y="1"/>
                </a:lnTo>
                <a:lnTo>
                  <a:pt x="85" y="4"/>
                </a:lnTo>
                <a:lnTo>
                  <a:pt x="78" y="7"/>
                </a:lnTo>
                <a:lnTo>
                  <a:pt x="71" y="14"/>
                </a:lnTo>
                <a:lnTo>
                  <a:pt x="67" y="20"/>
                </a:lnTo>
                <a:lnTo>
                  <a:pt x="62" y="27"/>
                </a:lnTo>
                <a:lnTo>
                  <a:pt x="59" y="36"/>
                </a:lnTo>
                <a:lnTo>
                  <a:pt x="59" y="44"/>
                </a:lnTo>
                <a:lnTo>
                  <a:pt x="59" y="74"/>
                </a:lnTo>
                <a:lnTo>
                  <a:pt x="44" y="74"/>
                </a:lnTo>
                <a:lnTo>
                  <a:pt x="36" y="74"/>
                </a:lnTo>
                <a:lnTo>
                  <a:pt x="27" y="77"/>
                </a:lnTo>
                <a:lnTo>
                  <a:pt x="20" y="82"/>
                </a:lnTo>
                <a:lnTo>
                  <a:pt x="13" y="87"/>
                </a:lnTo>
                <a:lnTo>
                  <a:pt x="7" y="93"/>
                </a:lnTo>
                <a:lnTo>
                  <a:pt x="4" y="100"/>
                </a:lnTo>
                <a:lnTo>
                  <a:pt x="1" y="109"/>
                </a:lnTo>
                <a:lnTo>
                  <a:pt x="0" y="117"/>
                </a:lnTo>
                <a:lnTo>
                  <a:pt x="0" y="411"/>
                </a:lnTo>
                <a:lnTo>
                  <a:pt x="1" y="423"/>
                </a:lnTo>
                <a:lnTo>
                  <a:pt x="5" y="434"/>
                </a:lnTo>
                <a:lnTo>
                  <a:pt x="10" y="444"/>
                </a:lnTo>
                <a:lnTo>
                  <a:pt x="17" y="453"/>
                </a:lnTo>
                <a:lnTo>
                  <a:pt x="26" y="460"/>
                </a:lnTo>
                <a:lnTo>
                  <a:pt x="36" y="465"/>
                </a:lnTo>
                <a:lnTo>
                  <a:pt x="47" y="469"/>
                </a:lnTo>
                <a:lnTo>
                  <a:pt x="59" y="470"/>
                </a:lnTo>
                <a:lnTo>
                  <a:pt x="410" y="470"/>
                </a:lnTo>
                <a:lnTo>
                  <a:pt x="422" y="469"/>
                </a:lnTo>
                <a:lnTo>
                  <a:pt x="432" y="465"/>
                </a:lnTo>
                <a:lnTo>
                  <a:pt x="443" y="460"/>
                </a:lnTo>
                <a:lnTo>
                  <a:pt x="452" y="453"/>
                </a:lnTo>
                <a:lnTo>
                  <a:pt x="458" y="444"/>
                </a:lnTo>
                <a:lnTo>
                  <a:pt x="464" y="434"/>
                </a:lnTo>
                <a:lnTo>
                  <a:pt x="467" y="423"/>
                </a:lnTo>
                <a:lnTo>
                  <a:pt x="468" y="411"/>
                </a:lnTo>
                <a:lnTo>
                  <a:pt x="468" y="44"/>
                </a:lnTo>
                <a:lnTo>
                  <a:pt x="468" y="36"/>
                </a:lnTo>
                <a:lnTo>
                  <a:pt x="466" y="27"/>
                </a:lnTo>
                <a:lnTo>
                  <a:pt x="461" y="20"/>
                </a:lnTo>
                <a:lnTo>
                  <a:pt x="456" y="14"/>
                </a:lnTo>
                <a:lnTo>
                  <a:pt x="450" y="7"/>
                </a:lnTo>
                <a:lnTo>
                  <a:pt x="442" y="4"/>
                </a:lnTo>
                <a:lnTo>
                  <a:pt x="434" y="1"/>
                </a:lnTo>
                <a:lnTo>
                  <a:pt x="425"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1" name="Freeform 30">
            <a:extLst>
              <a:ext uri="{FF2B5EF4-FFF2-40B4-BE49-F238E27FC236}">
                <a16:creationId xmlns:a16="http://schemas.microsoft.com/office/drawing/2014/main" id="{807E416F-A5B4-64CC-2C85-128D227ED3BB}"/>
              </a:ext>
            </a:extLst>
          </p:cNvPr>
          <p:cNvSpPr>
            <a:spLocks noEditPoints="1"/>
          </p:cNvSpPr>
          <p:nvPr/>
        </p:nvSpPr>
        <p:spPr bwMode="auto">
          <a:xfrm>
            <a:off x="16676688" y="7988258"/>
            <a:ext cx="257175" cy="374650"/>
          </a:xfrm>
          <a:custGeom>
            <a:avLst/>
            <a:gdLst>
              <a:gd name="T0" fmla="*/ 29 w 322"/>
              <a:gd name="T1" fmla="*/ 74 h 470"/>
              <a:gd name="T2" fmla="*/ 30 w 322"/>
              <a:gd name="T3" fmla="*/ 38 h 470"/>
              <a:gd name="T4" fmla="*/ 38 w 322"/>
              <a:gd name="T5" fmla="*/ 31 h 470"/>
              <a:gd name="T6" fmla="*/ 278 w 322"/>
              <a:gd name="T7" fmla="*/ 30 h 470"/>
              <a:gd name="T8" fmla="*/ 289 w 322"/>
              <a:gd name="T9" fmla="*/ 33 h 470"/>
              <a:gd name="T10" fmla="*/ 292 w 322"/>
              <a:gd name="T11" fmla="*/ 44 h 470"/>
              <a:gd name="T12" fmla="*/ 175 w 322"/>
              <a:gd name="T13" fmla="*/ 418 h 470"/>
              <a:gd name="T14" fmla="*/ 173 w 322"/>
              <a:gd name="T15" fmla="*/ 423 h 470"/>
              <a:gd name="T16" fmla="*/ 168 w 322"/>
              <a:gd name="T17" fmla="*/ 426 h 470"/>
              <a:gd name="T18" fmla="*/ 150 w 322"/>
              <a:gd name="T19" fmla="*/ 426 h 470"/>
              <a:gd name="T20" fmla="*/ 147 w 322"/>
              <a:gd name="T21" fmla="*/ 421 h 470"/>
              <a:gd name="T22" fmla="*/ 147 w 322"/>
              <a:gd name="T23" fmla="*/ 416 h 470"/>
              <a:gd name="T24" fmla="*/ 150 w 322"/>
              <a:gd name="T25" fmla="*/ 412 h 470"/>
              <a:gd name="T26" fmla="*/ 168 w 322"/>
              <a:gd name="T27" fmla="*/ 411 h 470"/>
              <a:gd name="T28" fmla="*/ 173 w 322"/>
              <a:gd name="T29" fmla="*/ 413 h 470"/>
              <a:gd name="T30" fmla="*/ 175 w 322"/>
              <a:gd name="T31" fmla="*/ 418 h 470"/>
              <a:gd name="T32" fmla="*/ 190 w 322"/>
              <a:gd name="T33" fmla="*/ 52 h 470"/>
              <a:gd name="T34" fmla="*/ 187 w 322"/>
              <a:gd name="T35" fmla="*/ 57 h 470"/>
              <a:gd name="T36" fmla="*/ 182 w 322"/>
              <a:gd name="T37" fmla="*/ 59 h 470"/>
              <a:gd name="T38" fmla="*/ 135 w 322"/>
              <a:gd name="T39" fmla="*/ 58 h 470"/>
              <a:gd name="T40" fmla="*/ 132 w 322"/>
              <a:gd name="T41" fmla="*/ 54 h 470"/>
              <a:gd name="T42" fmla="*/ 132 w 322"/>
              <a:gd name="T43" fmla="*/ 49 h 470"/>
              <a:gd name="T44" fmla="*/ 135 w 322"/>
              <a:gd name="T45" fmla="*/ 44 h 470"/>
              <a:gd name="T46" fmla="*/ 182 w 322"/>
              <a:gd name="T47" fmla="*/ 44 h 470"/>
              <a:gd name="T48" fmla="*/ 187 w 322"/>
              <a:gd name="T49" fmla="*/ 47 h 470"/>
              <a:gd name="T50" fmla="*/ 190 w 322"/>
              <a:gd name="T51" fmla="*/ 52 h 470"/>
              <a:gd name="T52" fmla="*/ 29 w 322"/>
              <a:gd name="T53" fmla="*/ 381 h 470"/>
              <a:gd name="T54" fmla="*/ 292 w 322"/>
              <a:gd name="T55" fmla="*/ 88 h 470"/>
              <a:gd name="T56" fmla="*/ 292 w 322"/>
              <a:gd name="T57" fmla="*/ 426 h 470"/>
              <a:gd name="T58" fmla="*/ 289 w 322"/>
              <a:gd name="T59" fmla="*/ 435 h 470"/>
              <a:gd name="T60" fmla="*/ 278 w 322"/>
              <a:gd name="T61" fmla="*/ 440 h 470"/>
              <a:gd name="T62" fmla="*/ 38 w 322"/>
              <a:gd name="T63" fmla="*/ 439 h 470"/>
              <a:gd name="T64" fmla="*/ 30 w 322"/>
              <a:gd name="T65" fmla="*/ 432 h 470"/>
              <a:gd name="T66" fmla="*/ 29 w 322"/>
              <a:gd name="T67" fmla="*/ 396 h 470"/>
              <a:gd name="T68" fmla="*/ 292 w 322"/>
              <a:gd name="T69" fmla="*/ 426 h 470"/>
              <a:gd name="T70" fmla="*/ 44 w 322"/>
              <a:gd name="T71" fmla="*/ 0 h 470"/>
              <a:gd name="T72" fmla="*/ 27 w 322"/>
              <a:gd name="T73" fmla="*/ 4 h 470"/>
              <a:gd name="T74" fmla="*/ 12 w 322"/>
              <a:gd name="T75" fmla="*/ 14 h 470"/>
              <a:gd name="T76" fmla="*/ 3 w 322"/>
              <a:gd name="T77" fmla="*/ 27 h 470"/>
              <a:gd name="T78" fmla="*/ 0 w 322"/>
              <a:gd name="T79" fmla="*/ 44 h 470"/>
              <a:gd name="T80" fmla="*/ 1 w 322"/>
              <a:gd name="T81" fmla="*/ 434 h 470"/>
              <a:gd name="T82" fmla="*/ 7 w 322"/>
              <a:gd name="T83" fmla="*/ 450 h 470"/>
              <a:gd name="T84" fmla="*/ 19 w 322"/>
              <a:gd name="T85" fmla="*/ 463 h 470"/>
              <a:gd name="T86" fmla="*/ 34 w 322"/>
              <a:gd name="T87" fmla="*/ 469 h 470"/>
              <a:gd name="T88" fmla="*/ 278 w 322"/>
              <a:gd name="T89" fmla="*/ 470 h 470"/>
              <a:gd name="T90" fmla="*/ 295 w 322"/>
              <a:gd name="T91" fmla="*/ 466 h 470"/>
              <a:gd name="T92" fmla="*/ 308 w 322"/>
              <a:gd name="T93" fmla="*/ 456 h 470"/>
              <a:gd name="T94" fmla="*/ 318 w 322"/>
              <a:gd name="T95" fmla="*/ 443 h 470"/>
              <a:gd name="T96" fmla="*/ 322 w 322"/>
              <a:gd name="T97" fmla="*/ 426 h 470"/>
              <a:gd name="T98" fmla="*/ 321 w 322"/>
              <a:gd name="T99" fmla="*/ 36 h 470"/>
              <a:gd name="T100" fmla="*/ 315 w 322"/>
              <a:gd name="T101" fmla="*/ 20 h 470"/>
              <a:gd name="T102" fmla="*/ 302 w 322"/>
              <a:gd name="T103" fmla="*/ 7 h 470"/>
              <a:gd name="T104" fmla="*/ 286 w 322"/>
              <a:gd name="T105" fmla="*/ 1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470">
                <a:moveTo>
                  <a:pt x="292" y="74"/>
                </a:moveTo>
                <a:lnTo>
                  <a:pt x="29" y="74"/>
                </a:lnTo>
                <a:lnTo>
                  <a:pt x="29" y="44"/>
                </a:lnTo>
                <a:lnTo>
                  <a:pt x="30" y="38"/>
                </a:lnTo>
                <a:lnTo>
                  <a:pt x="33" y="35"/>
                </a:lnTo>
                <a:lnTo>
                  <a:pt x="38" y="31"/>
                </a:lnTo>
                <a:lnTo>
                  <a:pt x="44" y="30"/>
                </a:lnTo>
                <a:lnTo>
                  <a:pt x="278" y="30"/>
                </a:lnTo>
                <a:lnTo>
                  <a:pt x="284" y="31"/>
                </a:lnTo>
                <a:lnTo>
                  <a:pt x="289" y="33"/>
                </a:lnTo>
                <a:lnTo>
                  <a:pt x="291" y="38"/>
                </a:lnTo>
                <a:lnTo>
                  <a:pt x="292" y="44"/>
                </a:lnTo>
                <a:lnTo>
                  <a:pt x="292" y="74"/>
                </a:lnTo>
                <a:close/>
                <a:moveTo>
                  <a:pt x="175" y="418"/>
                </a:moveTo>
                <a:lnTo>
                  <a:pt x="175" y="421"/>
                </a:lnTo>
                <a:lnTo>
                  <a:pt x="173" y="423"/>
                </a:lnTo>
                <a:lnTo>
                  <a:pt x="171" y="426"/>
                </a:lnTo>
                <a:lnTo>
                  <a:pt x="168" y="426"/>
                </a:lnTo>
                <a:lnTo>
                  <a:pt x="153" y="426"/>
                </a:lnTo>
                <a:lnTo>
                  <a:pt x="150" y="426"/>
                </a:lnTo>
                <a:lnTo>
                  <a:pt x="148" y="423"/>
                </a:lnTo>
                <a:lnTo>
                  <a:pt x="147" y="421"/>
                </a:lnTo>
                <a:lnTo>
                  <a:pt x="147" y="418"/>
                </a:lnTo>
                <a:lnTo>
                  <a:pt x="147" y="416"/>
                </a:lnTo>
                <a:lnTo>
                  <a:pt x="148" y="413"/>
                </a:lnTo>
                <a:lnTo>
                  <a:pt x="150" y="412"/>
                </a:lnTo>
                <a:lnTo>
                  <a:pt x="153" y="411"/>
                </a:lnTo>
                <a:lnTo>
                  <a:pt x="168" y="411"/>
                </a:lnTo>
                <a:lnTo>
                  <a:pt x="171" y="412"/>
                </a:lnTo>
                <a:lnTo>
                  <a:pt x="173" y="413"/>
                </a:lnTo>
                <a:lnTo>
                  <a:pt x="175" y="416"/>
                </a:lnTo>
                <a:lnTo>
                  <a:pt x="175" y="418"/>
                </a:lnTo>
                <a:lnTo>
                  <a:pt x="175" y="418"/>
                </a:lnTo>
                <a:close/>
                <a:moveTo>
                  <a:pt x="190" y="52"/>
                </a:moveTo>
                <a:lnTo>
                  <a:pt x="190" y="54"/>
                </a:lnTo>
                <a:lnTo>
                  <a:pt x="187" y="57"/>
                </a:lnTo>
                <a:lnTo>
                  <a:pt x="185" y="58"/>
                </a:lnTo>
                <a:lnTo>
                  <a:pt x="182" y="59"/>
                </a:lnTo>
                <a:lnTo>
                  <a:pt x="139" y="59"/>
                </a:lnTo>
                <a:lnTo>
                  <a:pt x="135" y="58"/>
                </a:lnTo>
                <a:lnTo>
                  <a:pt x="133" y="57"/>
                </a:lnTo>
                <a:lnTo>
                  <a:pt x="132" y="54"/>
                </a:lnTo>
                <a:lnTo>
                  <a:pt x="132" y="52"/>
                </a:lnTo>
                <a:lnTo>
                  <a:pt x="132" y="49"/>
                </a:lnTo>
                <a:lnTo>
                  <a:pt x="133" y="47"/>
                </a:lnTo>
                <a:lnTo>
                  <a:pt x="135" y="44"/>
                </a:lnTo>
                <a:lnTo>
                  <a:pt x="139" y="44"/>
                </a:lnTo>
                <a:lnTo>
                  <a:pt x="182" y="44"/>
                </a:lnTo>
                <a:lnTo>
                  <a:pt x="185" y="44"/>
                </a:lnTo>
                <a:lnTo>
                  <a:pt x="187" y="47"/>
                </a:lnTo>
                <a:lnTo>
                  <a:pt x="190" y="49"/>
                </a:lnTo>
                <a:lnTo>
                  <a:pt x="190" y="52"/>
                </a:lnTo>
                <a:close/>
                <a:moveTo>
                  <a:pt x="292" y="381"/>
                </a:moveTo>
                <a:lnTo>
                  <a:pt x="29" y="381"/>
                </a:lnTo>
                <a:lnTo>
                  <a:pt x="29" y="88"/>
                </a:lnTo>
                <a:lnTo>
                  <a:pt x="292" y="88"/>
                </a:lnTo>
                <a:lnTo>
                  <a:pt x="292" y="381"/>
                </a:lnTo>
                <a:close/>
                <a:moveTo>
                  <a:pt x="292" y="426"/>
                </a:moveTo>
                <a:lnTo>
                  <a:pt x="291" y="432"/>
                </a:lnTo>
                <a:lnTo>
                  <a:pt x="289" y="435"/>
                </a:lnTo>
                <a:lnTo>
                  <a:pt x="284" y="439"/>
                </a:lnTo>
                <a:lnTo>
                  <a:pt x="278" y="440"/>
                </a:lnTo>
                <a:lnTo>
                  <a:pt x="44" y="440"/>
                </a:lnTo>
                <a:lnTo>
                  <a:pt x="38" y="439"/>
                </a:lnTo>
                <a:lnTo>
                  <a:pt x="33" y="435"/>
                </a:lnTo>
                <a:lnTo>
                  <a:pt x="30" y="432"/>
                </a:lnTo>
                <a:lnTo>
                  <a:pt x="29" y="426"/>
                </a:lnTo>
                <a:lnTo>
                  <a:pt x="29" y="396"/>
                </a:lnTo>
                <a:lnTo>
                  <a:pt x="292" y="396"/>
                </a:lnTo>
                <a:lnTo>
                  <a:pt x="292" y="426"/>
                </a:lnTo>
                <a:close/>
                <a:moveTo>
                  <a:pt x="278" y="0"/>
                </a:moveTo>
                <a:lnTo>
                  <a:pt x="44" y="0"/>
                </a:lnTo>
                <a:lnTo>
                  <a:pt x="34" y="1"/>
                </a:lnTo>
                <a:lnTo>
                  <a:pt x="27" y="4"/>
                </a:lnTo>
                <a:lnTo>
                  <a:pt x="19" y="7"/>
                </a:lnTo>
                <a:lnTo>
                  <a:pt x="12" y="14"/>
                </a:lnTo>
                <a:lnTo>
                  <a:pt x="7" y="20"/>
                </a:lnTo>
                <a:lnTo>
                  <a:pt x="3" y="27"/>
                </a:lnTo>
                <a:lnTo>
                  <a:pt x="1" y="36"/>
                </a:lnTo>
                <a:lnTo>
                  <a:pt x="0" y="44"/>
                </a:lnTo>
                <a:lnTo>
                  <a:pt x="0" y="426"/>
                </a:lnTo>
                <a:lnTo>
                  <a:pt x="1" y="434"/>
                </a:lnTo>
                <a:lnTo>
                  <a:pt x="3" y="443"/>
                </a:lnTo>
                <a:lnTo>
                  <a:pt x="7" y="450"/>
                </a:lnTo>
                <a:lnTo>
                  <a:pt x="12" y="456"/>
                </a:lnTo>
                <a:lnTo>
                  <a:pt x="19" y="463"/>
                </a:lnTo>
                <a:lnTo>
                  <a:pt x="27" y="466"/>
                </a:lnTo>
                <a:lnTo>
                  <a:pt x="34" y="469"/>
                </a:lnTo>
                <a:lnTo>
                  <a:pt x="44" y="470"/>
                </a:lnTo>
                <a:lnTo>
                  <a:pt x="278" y="470"/>
                </a:lnTo>
                <a:lnTo>
                  <a:pt x="286" y="469"/>
                </a:lnTo>
                <a:lnTo>
                  <a:pt x="295" y="466"/>
                </a:lnTo>
                <a:lnTo>
                  <a:pt x="302" y="463"/>
                </a:lnTo>
                <a:lnTo>
                  <a:pt x="308" y="456"/>
                </a:lnTo>
                <a:lnTo>
                  <a:pt x="315" y="450"/>
                </a:lnTo>
                <a:lnTo>
                  <a:pt x="318" y="443"/>
                </a:lnTo>
                <a:lnTo>
                  <a:pt x="321" y="434"/>
                </a:lnTo>
                <a:lnTo>
                  <a:pt x="322" y="426"/>
                </a:lnTo>
                <a:lnTo>
                  <a:pt x="322" y="44"/>
                </a:lnTo>
                <a:lnTo>
                  <a:pt x="321" y="36"/>
                </a:lnTo>
                <a:lnTo>
                  <a:pt x="318" y="27"/>
                </a:lnTo>
                <a:lnTo>
                  <a:pt x="315" y="20"/>
                </a:lnTo>
                <a:lnTo>
                  <a:pt x="308" y="14"/>
                </a:lnTo>
                <a:lnTo>
                  <a:pt x="302" y="7"/>
                </a:lnTo>
                <a:lnTo>
                  <a:pt x="295" y="4"/>
                </a:lnTo>
                <a:lnTo>
                  <a:pt x="286" y="1"/>
                </a:lnTo>
                <a:lnTo>
                  <a:pt x="278"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2" name="Freeform 31">
            <a:extLst>
              <a:ext uri="{FF2B5EF4-FFF2-40B4-BE49-F238E27FC236}">
                <a16:creationId xmlns:a16="http://schemas.microsoft.com/office/drawing/2014/main" id="{AB3576B7-7C56-B9BE-6672-99973E616BFA}"/>
              </a:ext>
            </a:extLst>
          </p:cNvPr>
          <p:cNvSpPr>
            <a:spLocks noEditPoints="1"/>
          </p:cNvSpPr>
          <p:nvPr/>
        </p:nvSpPr>
        <p:spPr bwMode="auto">
          <a:xfrm>
            <a:off x="15835313" y="7988258"/>
            <a:ext cx="325438" cy="374650"/>
          </a:xfrm>
          <a:custGeom>
            <a:avLst/>
            <a:gdLst>
              <a:gd name="T0" fmla="*/ 30 w 410"/>
              <a:gd name="T1" fmla="*/ 147 h 470"/>
              <a:gd name="T2" fmla="*/ 381 w 410"/>
              <a:gd name="T3" fmla="*/ 103 h 470"/>
              <a:gd name="T4" fmla="*/ 333 w 410"/>
              <a:gd name="T5" fmla="*/ 220 h 470"/>
              <a:gd name="T6" fmla="*/ 74 w 410"/>
              <a:gd name="T7" fmla="*/ 177 h 470"/>
              <a:gd name="T8" fmla="*/ 333 w 410"/>
              <a:gd name="T9" fmla="*/ 220 h 470"/>
              <a:gd name="T10" fmla="*/ 97 w 410"/>
              <a:gd name="T11" fmla="*/ 382 h 470"/>
              <a:gd name="T12" fmla="*/ 331 w 410"/>
              <a:gd name="T13" fmla="*/ 235 h 470"/>
              <a:gd name="T14" fmla="*/ 103 w 410"/>
              <a:gd name="T15" fmla="*/ 440 h 470"/>
              <a:gd name="T16" fmla="*/ 313 w 410"/>
              <a:gd name="T17" fmla="*/ 396 h 470"/>
              <a:gd name="T18" fmla="*/ 103 w 410"/>
              <a:gd name="T19" fmla="*/ 440 h 470"/>
              <a:gd name="T20" fmla="*/ 338 w 410"/>
              <a:gd name="T21" fmla="*/ 30 h 470"/>
              <a:gd name="T22" fmla="*/ 59 w 410"/>
              <a:gd name="T23" fmla="*/ 74 h 470"/>
              <a:gd name="T24" fmla="*/ 383 w 410"/>
              <a:gd name="T25" fmla="*/ 74 h 470"/>
              <a:gd name="T26" fmla="*/ 363 w 410"/>
              <a:gd name="T27" fmla="*/ 16 h 470"/>
              <a:gd name="T28" fmla="*/ 359 w 410"/>
              <a:gd name="T29" fmla="*/ 9 h 470"/>
              <a:gd name="T30" fmla="*/ 351 w 410"/>
              <a:gd name="T31" fmla="*/ 4 h 470"/>
              <a:gd name="T32" fmla="*/ 342 w 410"/>
              <a:gd name="T33" fmla="*/ 1 h 470"/>
              <a:gd name="T34" fmla="*/ 74 w 410"/>
              <a:gd name="T35" fmla="*/ 0 h 470"/>
              <a:gd name="T36" fmla="*/ 64 w 410"/>
              <a:gd name="T37" fmla="*/ 1 h 470"/>
              <a:gd name="T38" fmla="*/ 57 w 410"/>
              <a:gd name="T39" fmla="*/ 6 h 470"/>
              <a:gd name="T40" fmla="*/ 50 w 410"/>
              <a:gd name="T41" fmla="*/ 12 h 470"/>
              <a:gd name="T42" fmla="*/ 46 w 410"/>
              <a:gd name="T43" fmla="*/ 21 h 470"/>
              <a:gd name="T44" fmla="*/ 22 w 410"/>
              <a:gd name="T45" fmla="*/ 75 h 470"/>
              <a:gd name="T46" fmla="*/ 12 w 410"/>
              <a:gd name="T47" fmla="*/ 79 h 470"/>
              <a:gd name="T48" fmla="*/ 5 w 410"/>
              <a:gd name="T49" fmla="*/ 88 h 470"/>
              <a:gd name="T50" fmla="*/ 1 w 410"/>
              <a:gd name="T51" fmla="*/ 98 h 470"/>
              <a:gd name="T52" fmla="*/ 0 w 410"/>
              <a:gd name="T53" fmla="*/ 147 h 470"/>
              <a:gd name="T54" fmla="*/ 3 w 410"/>
              <a:gd name="T55" fmla="*/ 158 h 470"/>
              <a:gd name="T56" fmla="*/ 9 w 410"/>
              <a:gd name="T57" fmla="*/ 168 h 470"/>
              <a:gd name="T58" fmla="*/ 19 w 410"/>
              <a:gd name="T59" fmla="*/ 174 h 470"/>
              <a:gd name="T60" fmla="*/ 30 w 410"/>
              <a:gd name="T61" fmla="*/ 177 h 470"/>
              <a:gd name="T62" fmla="*/ 45 w 410"/>
              <a:gd name="T63" fmla="*/ 178 h 470"/>
              <a:gd name="T64" fmla="*/ 74 w 410"/>
              <a:gd name="T65" fmla="*/ 444 h 470"/>
              <a:gd name="T66" fmla="*/ 77 w 410"/>
              <a:gd name="T67" fmla="*/ 454 h 470"/>
              <a:gd name="T68" fmla="*/ 83 w 410"/>
              <a:gd name="T69" fmla="*/ 463 h 470"/>
              <a:gd name="T70" fmla="*/ 93 w 410"/>
              <a:gd name="T71" fmla="*/ 468 h 470"/>
              <a:gd name="T72" fmla="*/ 103 w 410"/>
              <a:gd name="T73" fmla="*/ 470 h 470"/>
              <a:gd name="T74" fmla="*/ 314 w 410"/>
              <a:gd name="T75" fmla="*/ 469 h 470"/>
              <a:gd name="T76" fmla="*/ 324 w 410"/>
              <a:gd name="T77" fmla="*/ 465 h 470"/>
              <a:gd name="T78" fmla="*/ 331 w 410"/>
              <a:gd name="T79" fmla="*/ 459 h 470"/>
              <a:gd name="T80" fmla="*/ 336 w 410"/>
              <a:gd name="T81" fmla="*/ 449 h 470"/>
              <a:gd name="T82" fmla="*/ 366 w 410"/>
              <a:gd name="T83" fmla="*/ 179 h 470"/>
              <a:gd name="T84" fmla="*/ 366 w 410"/>
              <a:gd name="T85" fmla="*/ 177 h 470"/>
              <a:gd name="T86" fmla="*/ 387 w 410"/>
              <a:gd name="T87" fmla="*/ 176 h 470"/>
              <a:gd name="T88" fmla="*/ 398 w 410"/>
              <a:gd name="T89" fmla="*/ 172 h 470"/>
              <a:gd name="T90" fmla="*/ 406 w 410"/>
              <a:gd name="T91" fmla="*/ 163 h 470"/>
              <a:gd name="T92" fmla="*/ 410 w 410"/>
              <a:gd name="T93" fmla="*/ 153 h 470"/>
              <a:gd name="T94" fmla="*/ 410 w 410"/>
              <a:gd name="T95" fmla="*/ 103 h 470"/>
              <a:gd name="T96" fmla="*/ 408 w 410"/>
              <a:gd name="T97" fmla="*/ 91 h 470"/>
              <a:gd name="T98" fmla="*/ 403 w 410"/>
              <a:gd name="T99" fmla="*/ 83 h 470"/>
              <a:gd name="T100" fmla="*/ 393 w 410"/>
              <a:gd name="T101" fmla="*/ 77 h 470"/>
              <a:gd name="T102" fmla="*/ 383 w 410"/>
              <a:gd name="T103" fmla="*/ 74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0" h="470">
                <a:moveTo>
                  <a:pt x="381" y="147"/>
                </a:moveTo>
                <a:lnTo>
                  <a:pt x="30" y="147"/>
                </a:lnTo>
                <a:lnTo>
                  <a:pt x="30" y="103"/>
                </a:lnTo>
                <a:lnTo>
                  <a:pt x="381" y="103"/>
                </a:lnTo>
                <a:lnTo>
                  <a:pt x="381" y="147"/>
                </a:lnTo>
                <a:close/>
                <a:moveTo>
                  <a:pt x="333" y="220"/>
                </a:moveTo>
                <a:lnTo>
                  <a:pt x="78" y="220"/>
                </a:lnTo>
                <a:lnTo>
                  <a:pt x="74" y="177"/>
                </a:lnTo>
                <a:lnTo>
                  <a:pt x="338" y="177"/>
                </a:lnTo>
                <a:lnTo>
                  <a:pt x="333" y="220"/>
                </a:lnTo>
                <a:close/>
                <a:moveTo>
                  <a:pt x="314" y="382"/>
                </a:moveTo>
                <a:lnTo>
                  <a:pt x="97" y="382"/>
                </a:lnTo>
                <a:lnTo>
                  <a:pt x="80" y="235"/>
                </a:lnTo>
                <a:lnTo>
                  <a:pt x="331" y="235"/>
                </a:lnTo>
                <a:lnTo>
                  <a:pt x="314" y="382"/>
                </a:lnTo>
                <a:close/>
                <a:moveTo>
                  <a:pt x="103" y="440"/>
                </a:moveTo>
                <a:lnTo>
                  <a:pt x="98" y="396"/>
                </a:lnTo>
                <a:lnTo>
                  <a:pt x="313" y="396"/>
                </a:lnTo>
                <a:lnTo>
                  <a:pt x="308" y="440"/>
                </a:lnTo>
                <a:lnTo>
                  <a:pt x="103" y="440"/>
                </a:lnTo>
                <a:close/>
                <a:moveTo>
                  <a:pt x="74" y="30"/>
                </a:moveTo>
                <a:lnTo>
                  <a:pt x="338" y="30"/>
                </a:lnTo>
                <a:lnTo>
                  <a:pt x="352" y="74"/>
                </a:lnTo>
                <a:lnTo>
                  <a:pt x="59" y="74"/>
                </a:lnTo>
                <a:lnTo>
                  <a:pt x="74" y="30"/>
                </a:lnTo>
                <a:close/>
                <a:moveTo>
                  <a:pt x="383" y="74"/>
                </a:moveTo>
                <a:lnTo>
                  <a:pt x="365" y="21"/>
                </a:lnTo>
                <a:lnTo>
                  <a:pt x="363" y="16"/>
                </a:lnTo>
                <a:lnTo>
                  <a:pt x="361" y="12"/>
                </a:lnTo>
                <a:lnTo>
                  <a:pt x="359" y="9"/>
                </a:lnTo>
                <a:lnTo>
                  <a:pt x="355" y="6"/>
                </a:lnTo>
                <a:lnTo>
                  <a:pt x="351" y="4"/>
                </a:lnTo>
                <a:lnTo>
                  <a:pt x="346" y="1"/>
                </a:lnTo>
                <a:lnTo>
                  <a:pt x="342" y="1"/>
                </a:lnTo>
                <a:lnTo>
                  <a:pt x="338" y="0"/>
                </a:lnTo>
                <a:lnTo>
                  <a:pt x="74" y="0"/>
                </a:lnTo>
                <a:lnTo>
                  <a:pt x="69" y="1"/>
                </a:lnTo>
                <a:lnTo>
                  <a:pt x="64" y="1"/>
                </a:lnTo>
                <a:lnTo>
                  <a:pt x="61" y="4"/>
                </a:lnTo>
                <a:lnTo>
                  <a:pt x="57" y="6"/>
                </a:lnTo>
                <a:lnTo>
                  <a:pt x="53" y="9"/>
                </a:lnTo>
                <a:lnTo>
                  <a:pt x="50" y="12"/>
                </a:lnTo>
                <a:lnTo>
                  <a:pt x="48" y="16"/>
                </a:lnTo>
                <a:lnTo>
                  <a:pt x="46" y="21"/>
                </a:lnTo>
                <a:lnTo>
                  <a:pt x="29" y="74"/>
                </a:lnTo>
                <a:lnTo>
                  <a:pt x="22" y="75"/>
                </a:lnTo>
                <a:lnTo>
                  <a:pt x="17" y="77"/>
                </a:lnTo>
                <a:lnTo>
                  <a:pt x="12" y="79"/>
                </a:lnTo>
                <a:lnTo>
                  <a:pt x="9" y="83"/>
                </a:lnTo>
                <a:lnTo>
                  <a:pt x="5" y="88"/>
                </a:lnTo>
                <a:lnTo>
                  <a:pt x="3" y="91"/>
                </a:lnTo>
                <a:lnTo>
                  <a:pt x="1" y="98"/>
                </a:lnTo>
                <a:lnTo>
                  <a:pt x="0" y="103"/>
                </a:lnTo>
                <a:lnTo>
                  <a:pt x="0" y="147"/>
                </a:lnTo>
                <a:lnTo>
                  <a:pt x="1" y="153"/>
                </a:lnTo>
                <a:lnTo>
                  <a:pt x="3" y="158"/>
                </a:lnTo>
                <a:lnTo>
                  <a:pt x="5" y="163"/>
                </a:lnTo>
                <a:lnTo>
                  <a:pt x="9" y="168"/>
                </a:lnTo>
                <a:lnTo>
                  <a:pt x="14" y="172"/>
                </a:lnTo>
                <a:lnTo>
                  <a:pt x="19" y="174"/>
                </a:lnTo>
                <a:lnTo>
                  <a:pt x="24" y="176"/>
                </a:lnTo>
                <a:lnTo>
                  <a:pt x="30" y="177"/>
                </a:lnTo>
                <a:lnTo>
                  <a:pt x="45" y="177"/>
                </a:lnTo>
                <a:lnTo>
                  <a:pt x="45" y="178"/>
                </a:lnTo>
                <a:lnTo>
                  <a:pt x="45" y="179"/>
                </a:lnTo>
                <a:lnTo>
                  <a:pt x="74" y="444"/>
                </a:lnTo>
                <a:lnTo>
                  <a:pt x="76" y="449"/>
                </a:lnTo>
                <a:lnTo>
                  <a:pt x="77" y="454"/>
                </a:lnTo>
                <a:lnTo>
                  <a:pt x="80" y="459"/>
                </a:lnTo>
                <a:lnTo>
                  <a:pt x="83" y="463"/>
                </a:lnTo>
                <a:lnTo>
                  <a:pt x="88" y="465"/>
                </a:lnTo>
                <a:lnTo>
                  <a:pt x="93" y="468"/>
                </a:lnTo>
                <a:lnTo>
                  <a:pt x="98" y="469"/>
                </a:lnTo>
                <a:lnTo>
                  <a:pt x="103" y="470"/>
                </a:lnTo>
                <a:lnTo>
                  <a:pt x="308" y="470"/>
                </a:lnTo>
                <a:lnTo>
                  <a:pt x="314" y="469"/>
                </a:lnTo>
                <a:lnTo>
                  <a:pt x="319" y="468"/>
                </a:lnTo>
                <a:lnTo>
                  <a:pt x="324" y="465"/>
                </a:lnTo>
                <a:lnTo>
                  <a:pt x="328" y="463"/>
                </a:lnTo>
                <a:lnTo>
                  <a:pt x="331" y="459"/>
                </a:lnTo>
                <a:lnTo>
                  <a:pt x="334" y="454"/>
                </a:lnTo>
                <a:lnTo>
                  <a:pt x="336" y="449"/>
                </a:lnTo>
                <a:lnTo>
                  <a:pt x="338" y="444"/>
                </a:lnTo>
                <a:lnTo>
                  <a:pt x="366" y="179"/>
                </a:lnTo>
                <a:lnTo>
                  <a:pt x="366" y="178"/>
                </a:lnTo>
                <a:lnTo>
                  <a:pt x="366" y="177"/>
                </a:lnTo>
                <a:lnTo>
                  <a:pt x="381" y="177"/>
                </a:lnTo>
                <a:lnTo>
                  <a:pt x="387" y="176"/>
                </a:lnTo>
                <a:lnTo>
                  <a:pt x="393" y="174"/>
                </a:lnTo>
                <a:lnTo>
                  <a:pt x="398" y="172"/>
                </a:lnTo>
                <a:lnTo>
                  <a:pt x="402" y="168"/>
                </a:lnTo>
                <a:lnTo>
                  <a:pt x="406" y="163"/>
                </a:lnTo>
                <a:lnTo>
                  <a:pt x="408" y="158"/>
                </a:lnTo>
                <a:lnTo>
                  <a:pt x="410" y="153"/>
                </a:lnTo>
                <a:lnTo>
                  <a:pt x="410" y="147"/>
                </a:lnTo>
                <a:lnTo>
                  <a:pt x="410" y="103"/>
                </a:lnTo>
                <a:lnTo>
                  <a:pt x="410" y="98"/>
                </a:lnTo>
                <a:lnTo>
                  <a:pt x="408" y="91"/>
                </a:lnTo>
                <a:lnTo>
                  <a:pt x="406" y="88"/>
                </a:lnTo>
                <a:lnTo>
                  <a:pt x="403" y="83"/>
                </a:lnTo>
                <a:lnTo>
                  <a:pt x="398" y="79"/>
                </a:lnTo>
                <a:lnTo>
                  <a:pt x="393" y="77"/>
                </a:lnTo>
                <a:lnTo>
                  <a:pt x="388" y="75"/>
                </a:lnTo>
                <a:lnTo>
                  <a:pt x="383" y="7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3" name="Freeform 32">
            <a:extLst>
              <a:ext uri="{FF2B5EF4-FFF2-40B4-BE49-F238E27FC236}">
                <a16:creationId xmlns:a16="http://schemas.microsoft.com/office/drawing/2014/main" id="{F71594BB-CD3F-609B-A071-C78A59FCA7F6}"/>
              </a:ext>
            </a:extLst>
          </p:cNvPr>
          <p:cNvSpPr>
            <a:spLocks noEditPoints="1"/>
          </p:cNvSpPr>
          <p:nvPr/>
        </p:nvSpPr>
        <p:spPr bwMode="auto">
          <a:xfrm>
            <a:off x="16619538" y="7205621"/>
            <a:ext cx="371475" cy="325438"/>
          </a:xfrm>
          <a:custGeom>
            <a:avLst/>
            <a:gdLst>
              <a:gd name="T0" fmla="*/ 436 w 468"/>
              <a:gd name="T1" fmla="*/ 362 h 410"/>
              <a:gd name="T2" fmla="*/ 426 w 468"/>
              <a:gd name="T3" fmla="*/ 376 h 410"/>
              <a:gd name="T4" fmla="*/ 410 w 468"/>
              <a:gd name="T5" fmla="*/ 381 h 410"/>
              <a:gd name="T6" fmla="*/ 47 w 468"/>
              <a:gd name="T7" fmla="*/ 378 h 410"/>
              <a:gd name="T8" fmla="*/ 33 w 468"/>
              <a:gd name="T9" fmla="*/ 367 h 410"/>
              <a:gd name="T10" fmla="*/ 28 w 468"/>
              <a:gd name="T11" fmla="*/ 351 h 410"/>
              <a:gd name="T12" fmla="*/ 380 w 468"/>
              <a:gd name="T13" fmla="*/ 28 h 410"/>
              <a:gd name="T14" fmla="*/ 356 w 468"/>
              <a:gd name="T15" fmla="*/ 234 h 410"/>
              <a:gd name="T16" fmla="*/ 315 w 468"/>
              <a:gd name="T17" fmla="*/ 238 h 410"/>
              <a:gd name="T18" fmla="*/ 283 w 468"/>
              <a:gd name="T19" fmla="*/ 293 h 410"/>
              <a:gd name="T20" fmla="*/ 158 w 468"/>
              <a:gd name="T21" fmla="*/ 243 h 410"/>
              <a:gd name="T22" fmla="*/ 137 w 468"/>
              <a:gd name="T23" fmla="*/ 234 h 410"/>
              <a:gd name="T24" fmla="*/ 121 w 468"/>
              <a:gd name="T25" fmla="*/ 73 h 410"/>
              <a:gd name="T26" fmla="*/ 356 w 468"/>
              <a:gd name="T27" fmla="*/ 234 h 410"/>
              <a:gd name="T28" fmla="*/ 116 w 468"/>
              <a:gd name="T29" fmla="*/ 59 h 410"/>
              <a:gd name="T30" fmla="*/ 106 w 468"/>
              <a:gd name="T31" fmla="*/ 69 h 410"/>
              <a:gd name="T32" fmla="*/ 55 w 468"/>
              <a:gd name="T33" fmla="*/ 252 h 410"/>
              <a:gd name="T34" fmla="*/ 60 w 468"/>
              <a:gd name="T35" fmla="*/ 259 h 410"/>
              <a:gd name="T36" fmla="*/ 70 w 468"/>
              <a:gd name="T37" fmla="*/ 263 h 410"/>
              <a:gd name="T38" fmla="*/ 137 w 468"/>
              <a:gd name="T39" fmla="*/ 263 h 410"/>
              <a:gd name="T40" fmla="*/ 169 w 468"/>
              <a:gd name="T41" fmla="*/ 318 h 410"/>
              <a:gd name="T42" fmla="*/ 283 w 468"/>
              <a:gd name="T43" fmla="*/ 323 h 410"/>
              <a:gd name="T44" fmla="*/ 305 w 468"/>
              <a:gd name="T45" fmla="*/ 313 h 410"/>
              <a:gd name="T46" fmla="*/ 338 w 468"/>
              <a:gd name="T47" fmla="*/ 263 h 410"/>
              <a:gd name="T48" fmla="*/ 401 w 468"/>
              <a:gd name="T49" fmla="*/ 263 h 410"/>
              <a:gd name="T50" fmla="*/ 409 w 468"/>
              <a:gd name="T51" fmla="*/ 257 h 410"/>
              <a:gd name="T52" fmla="*/ 412 w 468"/>
              <a:gd name="T53" fmla="*/ 248 h 410"/>
              <a:gd name="T54" fmla="*/ 359 w 468"/>
              <a:gd name="T55" fmla="*/ 64 h 410"/>
              <a:gd name="T56" fmla="*/ 347 w 468"/>
              <a:gd name="T57" fmla="*/ 58 h 410"/>
              <a:gd name="T58" fmla="*/ 406 w 468"/>
              <a:gd name="T59" fmla="*/ 16 h 410"/>
              <a:gd name="T60" fmla="*/ 398 w 468"/>
              <a:gd name="T61" fmla="*/ 6 h 410"/>
              <a:gd name="T62" fmla="*/ 385 w 468"/>
              <a:gd name="T63" fmla="*/ 0 h 410"/>
              <a:gd name="T64" fmla="*/ 87 w 468"/>
              <a:gd name="T65" fmla="*/ 0 h 410"/>
              <a:gd name="T66" fmla="*/ 74 w 468"/>
              <a:gd name="T67" fmla="*/ 3 h 410"/>
              <a:gd name="T68" fmla="*/ 63 w 468"/>
              <a:gd name="T69" fmla="*/ 12 h 410"/>
              <a:gd name="T70" fmla="*/ 1 w 468"/>
              <a:gd name="T71" fmla="*/ 241 h 410"/>
              <a:gd name="T72" fmla="*/ 0 w 468"/>
              <a:gd name="T73" fmla="*/ 351 h 410"/>
              <a:gd name="T74" fmla="*/ 9 w 468"/>
              <a:gd name="T75" fmla="*/ 384 h 410"/>
              <a:gd name="T76" fmla="*/ 35 w 468"/>
              <a:gd name="T77" fmla="*/ 405 h 410"/>
              <a:gd name="T78" fmla="*/ 410 w 468"/>
              <a:gd name="T79" fmla="*/ 410 h 410"/>
              <a:gd name="T80" fmla="*/ 442 w 468"/>
              <a:gd name="T81" fmla="*/ 401 h 410"/>
              <a:gd name="T82" fmla="*/ 463 w 468"/>
              <a:gd name="T83" fmla="*/ 375 h 410"/>
              <a:gd name="T84" fmla="*/ 468 w 468"/>
              <a:gd name="T85" fmla="*/ 248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8" h="410">
                <a:moveTo>
                  <a:pt x="438" y="351"/>
                </a:moveTo>
                <a:lnTo>
                  <a:pt x="438" y="357"/>
                </a:lnTo>
                <a:lnTo>
                  <a:pt x="436" y="362"/>
                </a:lnTo>
                <a:lnTo>
                  <a:pt x="433" y="367"/>
                </a:lnTo>
                <a:lnTo>
                  <a:pt x="430" y="372"/>
                </a:lnTo>
                <a:lnTo>
                  <a:pt x="426" y="376"/>
                </a:lnTo>
                <a:lnTo>
                  <a:pt x="421" y="378"/>
                </a:lnTo>
                <a:lnTo>
                  <a:pt x="415" y="379"/>
                </a:lnTo>
                <a:lnTo>
                  <a:pt x="410" y="381"/>
                </a:lnTo>
                <a:lnTo>
                  <a:pt x="58" y="381"/>
                </a:lnTo>
                <a:lnTo>
                  <a:pt x="52" y="379"/>
                </a:lnTo>
                <a:lnTo>
                  <a:pt x="47" y="378"/>
                </a:lnTo>
                <a:lnTo>
                  <a:pt x="42" y="376"/>
                </a:lnTo>
                <a:lnTo>
                  <a:pt x="37" y="372"/>
                </a:lnTo>
                <a:lnTo>
                  <a:pt x="33" y="367"/>
                </a:lnTo>
                <a:lnTo>
                  <a:pt x="31" y="362"/>
                </a:lnTo>
                <a:lnTo>
                  <a:pt x="29" y="357"/>
                </a:lnTo>
                <a:lnTo>
                  <a:pt x="28" y="351"/>
                </a:lnTo>
                <a:lnTo>
                  <a:pt x="28" y="248"/>
                </a:lnTo>
                <a:lnTo>
                  <a:pt x="87" y="28"/>
                </a:lnTo>
                <a:lnTo>
                  <a:pt x="380" y="28"/>
                </a:lnTo>
                <a:lnTo>
                  <a:pt x="438" y="248"/>
                </a:lnTo>
                <a:lnTo>
                  <a:pt x="438" y="351"/>
                </a:lnTo>
                <a:close/>
                <a:moveTo>
                  <a:pt x="356" y="234"/>
                </a:moveTo>
                <a:lnTo>
                  <a:pt x="331" y="234"/>
                </a:lnTo>
                <a:lnTo>
                  <a:pt x="322" y="235"/>
                </a:lnTo>
                <a:lnTo>
                  <a:pt x="315" y="238"/>
                </a:lnTo>
                <a:lnTo>
                  <a:pt x="309" y="243"/>
                </a:lnTo>
                <a:lnTo>
                  <a:pt x="305" y="250"/>
                </a:lnTo>
                <a:lnTo>
                  <a:pt x="283" y="293"/>
                </a:lnTo>
                <a:lnTo>
                  <a:pt x="184" y="293"/>
                </a:lnTo>
                <a:lnTo>
                  <a:pt x="163" y="250"/>
                </a:lnTo>
                <a:lnTo>
                  <a:pt x="158" y="243"/>
                </a:lnTo>
                <a:lnTo>
                  <a:pt x="152" y="238"/>
                </a:lnTo>
                <a:lnTo>
                  <a:pt x="144" y="235"/>
                </a:lnTo>
                <a:lnTo>
                  <a:pt x="137" y="234"/>
                </a:lnTo>
                <a:lnTo>
                  <a:pt x="112" y="234"/>
                </a:lnTo>
                <a:lnTo>
                  <a:pt x="77" y="234"/>
                </a:lnTo>
                <a:lnTo>
                  <a:pt x="121" y="73"/>
                </a:lnTo>
                <a:lnTo>
                  <a:pt x="347" y="73"/>
                </a:lnTo>
                <a:lnTo>
                  <a:pt x="390" y="234"/>
                </a:lnTo>
                <a:lnTo>
                  <a:pt x="356" y="234"/>
                </a:lnTo>
                <a:close/>
                <a:moveTo>
                  <a:pt x="347" y="58"/>
                </a:moveTo>
                <a:lnTo>
                  <a:pt x="121" y="58"/>
                </a:lnTo>
                <a:lnTo>
                  <a:pt x="116" y="59"/>
                </a:lnTo>
                <a:lnTo>
                  <a:pt x="111" y="62"/>
                </a:lnTo>
                <a:lnTo>
                  <a:pt x="108" y="64"/>
                </a:lnTo>
                <a:lnTo>
                  <a:pt x="106" y="69"/>
                </a:lnTo>
                <a:lnTo>
                  <a:pt x="55" y="245"/>
                </a:lnTo>
                <a:lnTo>
                  <a:pt x="55" y="248"/>
                </a:lnTo>
                <a:lnTo>
                  <a:pt x="55" y="252"/>
                </a:lnTo>
                <a:lnTo>
                  <a:pt x="56" y="255"/>
                </a:lnTo>
                <a:lnTo>
                  <a:pt x="58" y="257"/>
                </a:lnTo>
                <a:lnTo>
                  <a:pt x="60" y="259"/>
                </a:lnTo>
                <a:lnTo>
                  <a:pt x="64" y="262"/>
                </a:lnTo>
                <a:lnTo>
                  <a:pt x="66" y="263"/>
                </a:lnTo>
                <a:lnTo>
                  <a:pt x="70" y="263"/>
                </a:lnTo>
                <a:lnTo>
                  <a:pt x="112" y="263"/>
                </a:lnTo>
                <a:lnTo>
                  <a:pt x="129" y="263"/>
                </a:lnTo>
                <a:lnTo>
                  <a:pt x="137" y="263"/>
                </a:lnTo>
                <a:lnTo>
                  <a:pt x="158" y="305"/>
                </a:lnTo>
                <a:lnTo>
                  <a:pt x="163" y="313"/>
                </a:lnTo>
                <a:lnTo>
                  <a:pt x="169" y="318"/>
                </a:lnTo>
                <a:lnTo>
                  <a:pt x="176" y="321"/>
                </a:lnTo>
                <a:lnTo>
                  <a:pt x="184" y="323"/>
                </a:lnTo>
                <a:lnTo>
                  <a:pt x="283" y="323"/>
                </a:lnTo>
                <a:lnTo>
                  <a:pt x="291" y="321"/>
                </a:lnTo>
                <a:lnTo>
                  <a:pt x="299" y="318"/>
                </a:lnTo>
                <a:lnTo>
                  <a:pt x="305" y="313"/>
                </a:lnTo>
                <a:lnTo>
                  <a:pt x="310" y="305"/>
                </a:lnTo>
                <a:lnTo>
                  <a:pt x="331" y="263"/>
                </a:lnTo>
                <a:lnTo>
                  <a:pt x="338" y="263"/>
                </a:lnTo>
                <a:lnTo>
                  <a:pt x="356" y="263"/>
                </a:lnTo>
                <a:lnTo>
                  <a:pt x="398" y="263"/>
                </a:lnTo>
                <a:lnTo>
                  <a:pt x="401" y="263"/>
                </a:lnTo>
                <a:lnTo>
                  <a:pt x="404" y="262"/>
                </a:lnTo>
                <a:lnTo>
                  <a:pt x="406" y="259"/>
                </a:lnTo>
                <a:lnTo>
                  <a:pt x="409" y="257"/>
                </a:lnTo>
                <a:lnTo>
                  <a:pt x="411" y="255"/>
                </a:lnTo>
                <a:lnTo>
                  <a:pt x="412" y="252"/>
                </a:lnTo>
                <a:lnTo>
                  <a:pt x="412" y="248"/>
                </a:lnTo>
                <a:lnTo>
                  <a:pt x="411" y="245"/>
                </a:lnTo>
                <a:lnTo>
                  <a:pt x="362" y="69"/>
                </a:lnTo>
                <a:lnTo>
                  <a:pt x="359" y="64"/>
                </a:lnTo>
                <a:lnTo>
                  <a:pt x="356" y="62"/>
                </a:lnTo>
                <a:lnTo>
                  <a:pt x="352" y="59"/>
                </a:lnTo>
                <a:lnTo>
                  <a:pt x="347" y="58"/>
                </a:lnTo>
                <a:close/>
                <a:moveTo>
                  <a:pt x="467" y="241"/>
                </a:moveTo>
                <a:lnTo>
                  <a:pt x="409" y="21"/>
                </a:lnTo>
                <a:lnTo>
                  <a:pt x="406" y="16"/>
                </a:lnTo>
                <a:lnTo>
                  <a:pt x="404" y="12"/>
                </a:lnTo>
                <a:lnTo>
                  <a:pt x="401" y="8"/>
                </a:lnTo>
                <a:lnTo>
                  <a:pt x="398" y="6"/>
                </a:lnTo>
                <a:lnTo>
                  <a:pt x="394" y="3"/>
                </a:lnTo>
                <a:lnTo>
                  <a:pt x="389" y="1"/>
                </a:lnTo>
                <a:lnTo>
                  <a:pt x="385" y="0"/>
                </a:lnTo>
                <a:lnTo>
                  <a:pt x="380" y="0"/>
                </a:lnTo>
                <a:lnTo>
                  <a:pt x="233" y="0"/>
                </a:lnTo>
                <a:lnTo>
                  <a:pt x="87" y="0"/>
                </a:lnTo>
                <a:lnTo>
                  <a:pt x="82" y="0"/>
                </a:lnTo>
                <a:lnTo>
                  <a:pt x="77" y="1"/>
                </a:lnTo>
                <a:lnTo>
                  <a:pt x="74" y="3"/>
                </a:lnTo>
                <a:lnTo>
                  <a:pt x="70" y="6"/>
                </a:lnTo>
                <a:lnTo>
                  <a:pt x="66" y="8"/>
                </a:lnTo>
                <a:lnTo>
                  <a:pt x="63" y="12"/>
                </a:lnTo>
                <a:lnTo>
                  <a:pt x="60" y="16"/>
                </a:lnTo>
                <a:lnTo>
                  <a:pt x="59" y="21"/>
                </a:lnTo>
                <a:lnTo>
                  <a:pt x="1" y="241"/>
                </a:lnTo>
                <a:lnTo>
                  <a:pt x="0" y="245"/>
                </a:lnTo>
                <a:lnTo>
                  <a:pt x="0" y="248"/>
                </a:lnTo>
                <a:lnTo>
                  <a:pt x="0" y="351"/>
                </a:lnTo>
                <a:lnTo>
                  <a:pt x="1" y="363"/>
                </a:lnTo>
                <a:lnTo>
                  <a:pt x="3" y="375"/>
                </a:lnTo>
                <a:lnTo>
                  <a:pt x="9" y="384"/>
                </a:lnTo>
                <a:lnTo>
                  <a:pt x="17" y="393"/>
                </a:lnTo>
                <a:lnTo>
                  <a:pt x="26" y="401"/>
                </a:lnTo>
                <a:lnTo>
                  <a:pt x="35" y="405"/>
                </a:lnTo>
                <a:lnTo>
                  <a:pt x="47" y="409"/>
                </a:lnTo>
                <a:lnTo>
                  <a:pt x="58" y="410"/>
                </a:lnTo>
                <a:lnTo>
                  <a:pt x="410" y="410"/>
                </a:lnTo>
                <a:lnTo>
                  <a:pt x="421" y="409"/>
                </a:lnTo>
                <a:lnTo>
                  <a:pt x="432" y="405"/>
                </a:lnTo>
                <a:lnTo>
                  <a:pt x="442" y="401"/>
                </a:lnTo>
                <a:lnTo>
                  <a:pt x="451" y="393"/>
                </a:lnTo>
                <a:lnTo>
                  <a:pt x="458" y="384"/>
                </a:lnTo>
                <a:lnTo>
                  <a:pt x="463" y="375"/>
                </a:lnTo>
                <a:lnTo>
                  <a:pt x="467" y="363"/>
                </a:lnTo>
                <a:lnTo>
                  <a:pt x="468" y="351"/>
                </a:lnTo>
                <a:lnTo>
                  <a:pt x="468" y="248"/>
                </a:lnTo>
                <a:lnTo>
                  <a:pt x="468" y="245"/>
                </a:lnTo>
                <a:lnTo>
                  <a:pt x="467" y="24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4" name="Freeform 33">
            <a:extLst>
              <a:ext uri="{FF2B5EF4-FFF2-40B4-BE49-F238E27FC236}">
                <a16:creationId xmlns:a16="http://schemas.microsoft.com/office/drawing/2014/main" id="{0537CB98-62FB-F214-3424-267EAE83D1C4}"/>
              </a:ext>
            </a:extLst>
          </p:cNvPr>
          <p:cNvSpPr>
            <a:spLocks noEditPoints="1"/>
          </p:cNvSpPr>
          <p:nvPr/>
        </p:nvSpPr>
        <p:spPr bwMode="auto">
          <a:xfrm>
            <a:off x="15813088" y="7205621"/>
            <a:ext cx="371475" cy="325438"/>
          </a:xfrm>
          <a:custGeom>
            <a:avLst/>
            <a:gdLst>
              <a:gd name="T0" fmla="*/ 186 w 468"/>
              <a:gd name="T1" fmla="*/ 78 h 410"/>
              <a:gd name="T2" fmla="*/ 132 w 468"/>
              <a:gd name="T3" fmla="*/ 96 h 410"/>
              <a:gd name="T4" fmla="*/ 92 w 468"/>
              <a:gd name="T5" fmla="*/ 127 h 410"/>
              <a:gd name="T6" fmla="*/ 74 w 468"/>
              <a:gd name="T7" fmla="*/ 165 h 410"/>
              <a:gd name="T8" fmla="*/ 76 w 468"/>
              <a:gd name="T9" fmla="*/ 182 h 410"/>
              <a:gd name="T10" fmla="*/ 86 w 468"/>
              <a:gd name="T11" fmla="*/ 178 h 410"/>
              <a:gd name="T12" fmla="*/ 94 w 468"/>
              <a:gd name="T13" fmla="*/ 149 h 410"/>
              <a:gd name="T14" fmla="*/ 122 w 468"/>
              <a:gd name="T15" fmla="*/ 120 h 410"/>
              <a:gd name="T16" fmla="*/ 165 w 468"/>
              <a:gd name="T17" fmla="*/ 99 h 410"/>
              <a:gd name="T18" fmla="*/ 218 w 468"/>
              <a:gd name="T19" fmla="*/ 88 h 410"/>
              <a:gd name="T20" fmla="*/ 241 w 468"/>
              <a:gd name="T21" fmla="*/ 83 h 410"/>
              <a:gd name="T22" fmla="*/ 237 w 468"/>
              <a:gd name="T23" fmla="*/ 73 h 410"/>
              <a:gd name="T24" fmla="*/ 214 w 468"/>
              <a:gd name="T25" fmla="*/ 321 h 410"/>
              <a:gd name="T26" fmla="*/ 189 w 468"/>
              <a:gd name="T27" fmla="*/ 319 h 410"/>
              <a:gd name="T28" fmla="*/ 165 w 468"/>
              <a:gd name="T29" fmla="*/ 329 h 410"/>
              <a:gd name="T30" fmla="*/ 121 w 468"/>
              <a:gd name="T31" fmla="*/ 367 h 410"/>
              <a:gd name="T32" fmla="*/ 131 w 468"/>
              <a:gd name="T33" fmla="*/ 324 h 410"/>
              <a:gd name="T34" fmla="*/ 127 w 468"/>
              <a:gd name="T35" fmla="*/ 305 h 410"/>
              <a:gd name="T36" fmla="*/ 79 w 468"/>
              <a:gd name="T37" fmla="*/ 271 h 410"/>
              <a:gd name="T38" fmla="*/ 52 w 468"/>
              <a:gd name="T39" fmla="*/ 242 h 410"/>
              <a:gd name="T40" fmla="*/ 34 w 468"/>
              <a:gd name="T41" fmla="*/ 210 h 410"/>
              <a:gd name="T42" fmla="*/ 28 w 468"/>
              <a:gd name="T43" fmla="*/ 175 h 410"/>
              <a:gd name="T44" fmla="*/ 44 w 468"/>
              <a:gd name="T45" fmla="*/ 118 h 410"/>
              <a:gd name="T46" fmla="*/ 89 w 468"/>
              <a:gd name="T47" fmla="*/ 71 h 410"/>
              <a:gd name="T48" fmla="*/ 154 w 468"/>
              <a:gd name="T49" fmla="*/ 41 h 410"/>
              <a:gd name="T50" fmla="*/ 233 w 468"/>
              <a:gd name="T51" fmla="*/ 28 h 410"/>
              <a:gd name="T52" fmla="*/ 314 w 468"/>
              <a:gd name="T53" fmla="*/ 41 h 410"/>
              <a:gd name="T54" fmla="*/ 378 w 468"/>
              <a:gd name="T55" fmla="*/ 71 h 410"/>
              <a:gd name="T56" fmla="*/ 422 w 468"/>
              <a:gd name="T57" fmla="*/ 118 h 410"/>
              <a:gd name="T58" fmla="*/ 438 w 468"/>
              <a:gd name="T59" fmla="*/ 175 h 410"/>
              <a:gd name="T60" fmla="*/ 422 w 468"/>
              <a:gd name="T61" fmla="*/ 232 h 410"/>
              <a:gd name="T62" fmla="*/ 378 w 468"/>
              <a:gd name="T63" fmla="*/ 279 h 410"/>
              <a:gd name="T64" fmla="*/ 314 w 468"/>
              <a:gd name="T65" fmla="*/ 310 h 410"/>
              <a:gd name="T66" fmla="*/ 233 w 468"/>
              <a:gd name="T67" fmla="*/ 323 h 410"/>
              <a:gd name="T68" fmla="*/ 164 w 468"/>
              <a:gd name="T69" fmla="*/ 7 h 410"/>
              <a:gd name="T70" fmla="*/ 85 w 468"/>
              <a:gd name="T71" fmla="*/ 39 h 410"/>
              <a:gd name="T72" fmla="*/ 27 w 468"/>
              <a:gd name="T73" fmla="*/ 91 h 410"/>
              <a:gd name="T74" fmla="*/ 1 w 468"/>
              <a:gd name="T75" fmla="*/ 157 h 410"/>
              <a:gd name="T76" fmla="*/ 3 w 468"/>
              <a:gd name="T77" fmla="*/ 209 h 410"/>
              <a:gd name="T78" fmla="*/ 21 w 468"/>
              <a:gd name="T79" fmla="*/ 250 h 410"/>
              <a:gd name="T80" fmla="*/ 50 w 468"/>
              <a:gd name="T81" fmla="*/ 285 h 410"/>
              <a:gd name="T82" fmla="*/ 90 w 468"/>
              <a:gd name="T83" fmla="*/ 315 h 410"/>
              <a:gd name="T84" fmla="*/ 101 w 468"/>
              <a:gd name="T85" fmla="*/ 332 h 410"/>
              <a:gd name="T86" fmla="*/ 81 w 468"/>
              <a:gd name="T87" fmla="*/ 378 h 410"/>
              <a:gd name="T88" fmla="*/ 73 w 468"/>
              <a:gd name="T89" fmla="*/ 397 h 410"/>
              <a:gd name="T90" fmla="*/ 86 w 468"/>
              <a:gd name="T91" fmla="*/ 410 h 410"/>
              <a:gd name="T92" fmla="*/ 106 w 468"/>
              <a:gd name="T93" fmla="*/ 405 h 410"/>
              <a:gd name="T94" fmla="*/ 152 w 468"/>
              <a:gd name="T95" fmla="*/ 381 h 410"/>
              <a:gd name="T96" fmla="*/ 189 w 468"/>
              <a:gd name="T97" fmla="*/ 349 h 410"/>
              <a:gd name="T98" fmla="*/ 233 w 468"/>
              <a:gd name="T99" fmla="*/ 351 h 410"/>
              <a:gd name="T100" fmla="*/ 325 w 468"/>
              <a:gd name="T101" fmla="*/ 337 h 410"/>
              <a:gd name="T102" fmla="*/ 399 w 468"/>
              <a:gd name="T103" fmla="*/ 300 h 410"/>
              <a:gd name="T104" fmla="*/ 450 w 468"/>
              <a:gd name="T105" fmla="*/ 243 h 410"/>
              <a:gd name="T106" fmla="*/ 468 w 468"/>
              <a:gd name="T107" fmla="*/ 175 h 410"/>
              <a:gd name="T108" fmla="*/ 450 w 468"/>
              <a:gd name="T109" fmla="*/ 107 h 410"/>
              <a:gd name="T110" fmla="*/ 399 w 468"/>
              <a:gd name="T111" fmla="*/ 50 h 410"/>
              <a:gd name="T112" fmla="*/ 325 w 468"/>
              <a:gd name="T113" fmla="*/ 13 h 410"/>
              <a:gd name="T114" fmla="*/ 233 w 468"/>
              <a:gd name="T115"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8" h="410">
                <a:moveTo>
                  <a:pt x="233" y="73"/>
                </a:moveTo>
                <a:lnTo>
                  <a:pt x="217" y="73"/>
                </a:lnTo>
                <a:lnTo>
                  <a:pt x="201" y="75"/>
                </a:lnTo>
                <a:lnTo>
                  <a:pt x="186" y="78"/>
                </a:lnTo>
                <a:lnTo>
                  <a:pt x="172" y="81"/>
                </a:lnTo>
                <a:lnTo>
                  <a:pt x="158" y="85"/>
                </a:lnTo>
                <a:lnTo>
                  <a:pt x="144" y="90"/>
                </a:lnTo>
                <a:lnTo>
                  <a:pt x="132" y="96"/>
                </a:lnTo>
                <a:lnTo>
                  <a:pt x="121" y="104"/>
                </a:lnTo>
                <a:lnTo>
                  <a:pt x="110" y="111"/>
                </a:lnTo>
                <a:lnTo>
                  <a:pt x="100" y="118"/>
                </a:lnTo>
                <a:lnTo>
                  <a:pt x="92" y="127"/>
                </a:lnTo>
                <a:lnTo>
                  <a:pt x="85" y="136"/>
                </a:lnTo>
                <a:lnTo>
                  <a:pt x="80" y="146"/>
                </a:lnTo>
                <a:lnTo>
                  <a:pt x="76" y="156"/>
                </a:lnTo>
                <a:lnTo>
                  <a:pt x="74" y="165"/>
                </a:lnTo>
                <a:lnTo>
                  <a:pt x="73" y="175"/>
                </a:lnTo>
                <a:lnTo>
                  <a:pt x="73" y="178"/>
                </a:lnTo>
                <a:lnTo>
                  <a:pt x="75" y="180"/>
                </a:lnTo>
                <a:lnTo>
                  <a:pt x="76" y="182"/>
                </a:lnTo>
                <a:lnTo>
                  <a:pt x="80" y="183"/>
                </a:lnTo>
                <a:lnTo>
                  <a:pt x="83" y="182"/>
                </a:lnTo>
                <a:lnTo>
                  <a:pt x="85" y="180"/>
                </a:lnTo>
                <a:lnTo>
                  <a:pt x="86" y="178"/>
                </a:lnTo>
                <a:lnTo>
                  <a:pt x="87" y="175"/>
                </a:lnTo>
                <a:lnTo>
                  <a:pt x="87" y="167"/>
                </a:lnTo>
                <a:lnTo>
                  <a:pt x="90" y="158"/>
                </a:lnTo>
                <a:lnTo>
                  <a:pt x="94" y="149"/>
                </a:lnTo>
                <a:lnTo>
                  <a:pt x="99" y="142"/>
                </a:lnTo>
                <a:lnTo>
                  <a:pt x="105" y="135"/>
                </a:lnTo>
                <a:lnTo>
                  <a:pt x="113" y="127"/>
                </a:lnTo>
                <a:lnTo>
                  <a:pt x="122" y="120"/>
                </a:lnTo>
                <a:lnTo>
                  <a:pt x="131" y="114"/>
                </a:lnTo>
                <a:lnTo>
                  <a:pt x="142" y="109"/>
                </a:lnTo>
                <a:lnTo>
                  <a:pt x="153" y="102"/>
                </a:lnTo>
                <a:lnTo>
                  <a:pt x="165" y="99"/>
                </a:lnTo>
                <a:lnTo>
                  <a:pt x="178" y="95"/>
                </a:lnTo>
                <a:lnTo>
                  <a:pt x="191" y="91"/>
                </a:lnTo>
                <a:lnTo>
                  <a:pt x="205" y="89"/>
                </a:lnTo>
                <a:lnTo>
                  <a:pt x="218" y="88"/>
                </a:lnTo>
                <a:lnTo>
                  <a:pt x="233" y="88"/>
                </a:lnTo>
                <a:lnTo>
                  <a:pt x="237" y="86"/>
                </a:lnTo>
                <a:lnTo>
                  <a:pt x="238" y="85"/>
                </a:lnTo>
                <a:lnTo>
                  <a:pt x="241" y="83"/>
                </a:lnTo>
                <a:lnTo>
                  <a:pt x="241" y="80"/>
                </a:lnTo>
                <a:lnTo>
                  <a:pt x="241" y="78"/>
                </a:lnTo>
                <a:lnTo>
                  <a:pt x="238" y="75"/>
                </a:lnTo>
                <a:lnTo>
                  <a:pt x="237" y="73"/>
                </a:lnTo>
                <a:lnTo>
                  <a:pt x="233" y="73"/>
                </a:lnTo>
                <a:close/>
                <a:moveTo>
                  <a:pt x="233" y="323"/>
                </a:moveTo>
                <a:lnTo>
                  <a:pt x="223" y="321"/>
                </a:lnTo>
                <a:lnTo>
                  <a:pt x="214" y="321"/>
                </a:lnTo>
                <a:lnTo>
                  <a:pt x="202" y="320"/>
                </a:lnTo>
                <a:lnTo>
                  <a:pt x="193" y="319"/>
                </a:lnTo>
                <a:lnTo>
                  <a:pt x="190" y="319"/>
                </a:lnTo>
                <a:lnTo>
                  <a:pt x="189" y="319"/>
                </a:lnTo>
                <a:lnTo>
                  <a:pt x="181" y="319"/>
                </a:lnTo>
                <a:lnTo>
                  <a:pt x="176" y="321"/>
                </a:lnTo>
                <a:lnTo>
                  <a:pt x="170" y="325"/>
                </a:lnTo>
                <a:lnTo>
                  <a:pt x="165" y="329"/>
                </a:lnTo>
                <a:lnTo>
                  <a:pt x="159" y="336"/>
                </a:lnTo>
                <a:lnTo>
                  <a:pt x="149" y="346"/>
                </a:lnTo>
                <a:lnTo>
                  <a:pt x="136" y="356"/>
                </a:lnTo>
                <a:lnTo>
                  <a:pt x="121" y="367"/>
                </a:lnTo>
                <a:lnTo>
                  <a:pt x="125" y="356"/>
                </a:lnTo>
                <a:lnTo>
                  <a:pt x="128" y="346"/>
                </a:lnTo>
                <a:lnTo>
                  <a:pt x="129" y="335"/>
                </a:lnTo>
                <a:lnTo>
                  <a:pt x="131" y="324"/>
                </a:lnTo>
                <a:lnTo>
                  <a:pt x="131" y="323"/>
                </a:lnTo>
                <a:lnTo>
                  <a:pt x="131" y="321"/>
                </a:lnTo>
                <a:lnTo>
                  <a:pt x="129" y="313"/>
                </a:lnTo>
                <a:lnTo>
                  <a:pt x="127" y="305"/>
                </a:lnTo>
                <a:lnTo>
                  <a:pt x="122" y="299"/>
                </a:lnTo>
                <a:lnTo>
                  <a:pt x="115" y="295"/>
                </a:lnTo>
                <a:lnTo>
                  <a:pt x="96" y="284"/>
                </a:lnTo>
                <a:lnTo>
                  <a:pt x="79" y="271"/>
                </a:lnTo>
                <a:lnTo>
                  <a:pt x="71" y="264"/>
                </a:lnTo>
                <a:lnTo>
                  <a:pt x="64" y="257"/>
                </a:lnTo>
                <a:lnTo>
                  <a:pt x="58" y="250"/>
                </a:lnTo>
                <a:lnTo>
                  <a:pt x="52" y="242"/>
                </a:lnTo>
                <a:lnTo>
                  <a:pt x="47" y="235"/>
                </a:lnTo>
                <a:lnTo>
                  <a:pt x="42" y="226"/>
                </a:lnTo>
                <a:lnTo>
                  <a:pt x="38" y="219"/>
                </a:lnTo>
                <a:lnTo>
                  <a:pt x="34" y="210"/>
                </a:lnTo>
                <a:lnTo>
                  <a:pt x="32" y="201"/>
                </a:lnTo>
                <a:lnTo>
                  <a:pt x="29" y="193"/>
                </a:lnTo>
                <a:lnTo>
                  <a:pt x="29" y="184"/>
                </a:lnTo>
                <a:lnTo>
                  <a:pt x="28" y="175"/>
                </a:lnTo>
                <a:lnTo>
                  <a:pt x="29" y="161"/>
                </a:lnTo>
                <a:lnTo>
                  <a:pt x="33" y="146"/>
                </a:lnTo>
                <a:lnTo>
                  <a:pt x="38" y="132"/>
                </a:lnTo>
                <a:lnTo>
                  <a:pt x="44" y="118"/>
                </a:lnTo>
                <a:lnTo>
                  <a:pt x="53" y="106"/>
                </a:lnTo>
                <a:lnTo>
                  <a:pt x="64" y="94"/>
                </a:lnTo>
                <a:lnTo>
                  <a:pt x="75" y="83"/>
                </a:lnTo>
                <a:lnTo>
                  <a:pt x="89" y="71"/>
                </a:lnTo>
                <a:lnTo>
                  <a:pt x="104" y="63"/>
                </a:lnTo>
                <a:lnTo>
                  <a:pt x="120" y="54"/>
                </a:lnTo>
                <a:lnTo>
                  <a:pt x="136" y="47"/>
                </a:lnTo>
                <a:lnTo>
                  <a:pt x="154" y="41"/>
                </a:lnTo>
                <a:lnTo>
                  <a:pt x="173" y="36"/>
                </a:lnTo>
                <a:lnTo>
                  <a:pt x="193" y="32"/>
                </a:lnTo>
                <a:lnTo>
                  <a:pt x="212" y="29"/>
                </a:lnTo>
                <a:lnTo>
                  <a:pt x="233" y="28"/>
                </a:lnTo>
                <a:lnTo>
                  <a:pt x="254" y="29"/>
                </a:lnTo>
                <a:lnTo>
                  <a:pt x="275" y="32"/>
                </a:lnTo>
                <a:lnTo>
                  <a:pt x="294" y="36"/>
                </a:lnTo>
                <a:lnTo>
                  <a:pt x="314" y="41"/>
                </a:lnTo>
                <a:lnTo>
                  <a:pt x="331" y="47"/>
                </a:lnTo>
                <a:lnTo>
                  <a:pt x="348" y="54"/>
                </a:lnTo>
                <a:lnTo>
                  <a:pt x="364" y="63"/>
                </a:lnTo>
                <a:lnTo>
                  <a:pt x="378" y="71"/>
                </a:lnTo>
                <a:lnTo>
                  <a:pt x="391" y="83"/>
                </a:lnTo>
                <a:lnTo>
                  <a:pt x="404" y="94"/>
                </a:lnTo>
                <a:lnTo>
                  <a:pt x="414" y="106"/>
                </a:lnTo>
                <a:lnTo>
                  <a:pt x="422" y="118"/>
                </a:lnTo>
                <a:lnTo>
                  <a:pt x="430" y="132"/>
                </a:lnTo>
                <a:lnTo>
                  <a:pt x="435" y="146"/>
                </a:lnTo>
                <a:lnTo>
                  <a:pt x="437" y="161"/>
                </a:lnTo>
                <a:lnTo>
                  <a:pt x="438" y="175"/>
                </a:lnTo>
                <a:lnTo>
                  <a:pt x="437" y="190"/>
                </a:lnTo>
                <a:lnTo>
                  <a:pt x="435" y="205"/>
                </a:lnTo>
                <a:lnTo>
                  <a:pt x="430" y="219"/>
                </a:lnTo>
                <a:lnTo>
                  <a:pt x="422" y="232"/>
                </a:lnTo>
                <a:lnTo>
                  <a:pt x="414" y="245"/>
                </a:lnTo>
                <a:lnTo>
                  <a:pt x="404" y="257"/>
                </a:lnTo>
                <a:lnTo>
                  <a:pt x="391" y="268"/>
                </a:lnTo>
                <a:lnTo>
                  <a:pt x="378" y="279"/>
                </a:lnTo>
                <a:lnTo>
                  <a:pt x="364" y="288"/>
                </a:lnTo>
                <a:lnTo>
                  <a:pt x="348" y="297"/>
                </a:lnTo>
                <a:lnTo>
                  <a:pt x="331" y="304"/>
                </a:lnTo>
                <a:lnTo>
                  <a:pt x="314" y="310"/>
                </a:lnTo>
                <a:lnTo>
                  <a:pt x="294" y="315"/>
                </a:lnTo>
                <a:lnTo>
                  <a:pt x="275" y="319"/>
                </a:lnTo>
                <a:lnTo>
                  <a:pt x="254" y="321"/>
                </a:lnTo>
                <a:lnTo>
                  <a:pt x="233" y="323"/>
                </a:lnTo>
                <a:close/>
                <a:moveTo>
                  <a:pt x="233" y="0"/>
                </a:moveTo>
                <a:lnTo>
                  <a:pt x="210" y="0"/>
                </a:lnTo>
                <a:lnTo>
                  <a:pt x="186" y="3"/>
                </a:lnTo>
                <a:lnTo>
                  <a:pt x="164" y="7"/>
                </a:lnTo>
                <a:lnTo>
                  <a:pt x="142" y="13"/>
                </a:lnTo>
                <a:lnTo>
                  <a:pt x="122" y="21"/>
                </a:lnTo>
                <a:lnTo>
                  <a:pt x="102" y="29"/>
                </a:lnTo>
                <a:lnTo>
                  <a:pt x="85" y="39"/>
                </a:lnTo>
                <a:lnTo>
                  <a:pt x="68" y="50"/>
                </a:lnTo>
                <a:lnTo>
                  <a:pt x="53" y="64"/>
                </a:lnTo>
                <a:lnTo>
                  <a:pt x="39" y="76"/>
                </a:lnTo>
                <a:lnTo>
                  <a:pt x="27" y="91"/>
                </a:lnTo>
                <a:lnTo>
                  <a:pt x="17" y="107"/>
                </a:lnTo>
                <a:lnTo>
                  <a:pt x="10" y="123"/>
                </a:lnTo>
                <a:lnTo>
                  <a:pt x="3" y="139"/>
                </a:lnTo>
                <a:lnTo>
                  <a:pt x="1" y="157"/>
                </a:lnTo>
                <a:lnTo>
                  <a:pt x="0" y="175"/>
                </a:lnTo>
                <a:lnTo>
                  <a:pt x="0" y="187"/>
                </a:lnTo>
                <a:lnTo>
                  <a:pt x="1" y="198"/>
                </a:lnTo>
                <a:lnTo>
                  <a:pt x="3" y="209"/>
                </a:lnTo>
                <a:lnTo>
                  <a:pt x="7" y="219"/>
                </a:lnTo>
                <a:lnTo>
                  <a:pt x="11" y="230"/>
                </a:lnTo>
                <a:lnTo>
                  <a:pt x="16" y="240"/>
                </a:lnTo>
                <a:lnTo>
                  <a:pt x="21" y="250"/>
                </a:lnTo>
                <a:lnTo>
                  <a:pt x="27" y="259"/>
                </a:lnTo>
                <a:lnTo>
                  <a:pt x="34" y="268"/>
                </a:lnTo>
                <a:lnTo>
                  <a:pt x="42" y="277"/>
                </a:lnTo>
                <a:lnTo>
                  <a:pt x="50" y="285"/>
                </a:lnTo>
                <a:lnTo>
                  <a:pt x="60" y="293"/>
                </a:lnTo>
                <a:lnTo>
                  <a:pt x="69" y="300"/>
                </a:lnTo>
                <a:lnTo>
                  <a:pt x="80" y="308"/>
                </a:lnTo>
                <a:lnTo>
                  <a:pt x="90" y="315"/>
                </a:lnTo>
                <a:lnTo>
                  <a:pt x="102" y="321"/>
                </a:lnTo>
                <a:lnTo>
                  <a:pt x="102" y="321"/>
                </a:lnTo>
                <a:lnTo>
                  <a:pt x="102" y="323"/>
                </a:lnTo>
                <a:lnTo>
                  <a:pt x="101" y="332"/>
                </a:lnTo>
                <a:lnTo>
                  <a:pt x="99" y="342"/>
                </a:lnTo>
                <a:lnTo>
                  <a:pt x="95" y="351"/>
                </a:lnTo>
                <a:lnTo>
                  <a:pt x="91" y="361"/>
                </a:lnTo>
                <a:lnTo>
                  <a:pt x="81" y="378"/>
                </a:lnTo>
                <a:lnTo>
                  <a:pt x="74" y="392"/>
                </a:lnTo>
                <a:lnTo>
                  <a:pt x="74" y="392"/>
                </a:lnTo>
                <a:lnTo>
                  <a:pt x="73" y="394"/>
                </a:lnTo>
                <a:lnTo>
                  <a:pt x="73" y="397"/>
                </a:lnTo>
                <a:lnTo>
                  <a:pt x="74" y="402"/>
                </a:lnTo>
                <a:lnTo>
                  <a:pt x="76" y="407"/>
                </a:lnTo>
                <a:lnTo>
                  <a:pt x="80" y="409"/>
                </a:lnTo>
                <a:lnTo>
                  <a:pt x="86" y="410"/>
                </a:lnTo>
                <a:lnTo>
                  <a:pt x="89" y="410"/>
                </a:lnTo>
                <a:lnTo>
                  <a:pt x="90" y="409"/>
                </a:lnTo>
                <a:lnTo>
                  <a:pt x="99" y="408"/>
                </a:lnTo>
                <a:lnTo>
                  <a:pt x="106" y="405"/>
                </a:lnTo>
                <a:lnTo>
                  <a:pt x="115" y="402"/>
                </a:lnTo>
                <a:lnTo>
                  <a:pt x="123" y="399"/>
                </a:lnTo>
                <a:lnTo>
                  <a:pt x="138" y="391"/>
                </a:lnTo>
                <a:lnTo>
                  <a:pt x="152" y="381"/>
                </a:lnTo>
                <a:lnTo>
                  <a:pt x="165" y="371"/>
                </a:lnTo>
                <a:lnTo>
                  <a:pt x="175" y="362"/>
                </a:lnTo>
                <a:lnTo>
                  <a:pt x="183" y="354"/>
                </a:lnTo>
                <a:lnTo>
                  <a:pt x="189" y="349"/>
                </a:lnTo>
                <a:lnTo>
                  <a:pt x="200" y="350"/>
                </a:lnTo>
                <a:lnTo>
                  <a:pt x="211" y="351"/>
                </a:lnTo>
                <a:lnTo>
                  <a:pt x="222" y="351"/>
                </a:lnTo>
                <a:lnTo>
                  <a:pt x="233" y="351"/>
                </a:lnTo>
                <a:lnTo>
                  <a:pt x="258" y="351"/>
                </a:lnTo>
                <a:lnTo>
                  <a:pt x="280" y="347"/>
                </a:lnTo>
                <a:lnTo>
                  <a:pt x="304" y="344"/>
                </a:lnTo>
                <a:lnTo>
                  <a:pt x="325" y="337"/>
                </a:lnTo>
                <a:lnTo>
                  <a:pt x="346" y="330"/>
                </a:lnTo>
                <a:lnTo>
                  <a:pt x="364" y="321"/>
                </a:lnTo>
                <a:lnTo>
                  <a:pt x="383" y="311"/>
                </a:lnTo>
                <a:lnTo>
                  <a:pt x="399" y="300"/>
                </a:lnTo>
                <a:lnTo>
                  <a:pt x="415" y="287"/>
                </a:lnTo>
                <a:lnTo>
                  <a:pt x="427" y="274"/>
                </a:lnTo>
                <a:lnTo>
                  <a:pt x="440" y="259"/>
                </a:lnTo>
                <a:lnTo>
                  <a:pt x="450" y="243"/>
                </a:lnTo>
                <a:lnTo>
                  <a:pt x="457" y="227"/>
                </a:lnTo>
                <a:lnTo>
                  <a:pt x="463" y="211"/>
                </a:lnTo>
                <a:lnTo>
                  <a:pt x="467" y="194"/>
                </a:lnTo>
                <a:lnTo>
                  <a:pt x="468" y="175"/>
                </a:lnTo>
                <a:lnTo>
                  <a:pt x="467" y="157"/>
                </a:lnTo>
                <a:lnTo>
                  <a:pt x="463" y="139"/>
                </a:lnTo>
                <a:lnTo>
                  <a:pt x="457" y="123"/>
                </a:lnTo>
                <a:lnTo>
                  <a:pt x="450" y="107"/>
                </a:lnTo>
                <a:lnTo>
                  <a:pt x="440" y="91"/>
                </a:lnTo>
                <a:lnTo>
                  <a:pt x="427" y="76"/>
                </a:lnTo>
                <a:lnTo>
                  <a:pt x="415" y="64"/>
                </a:lnTo>
                <a:lnTo>
                  <a:pt x="399" y="50"/>
                </a:lnTo>
                <a:lnTo>
                  <a:pt x="383" y="39"/>
                </a:lnTo>
                <a:lnTo>
                  <a:pt x="364" y="29"/>
                </a:lnTo>
                <a:lnTo>
                  <a:pt x="346" y="21"/>
                </a:lnTo>
                <a:lnTo>
                  <a:pt x="325" y="13"/>
                </a:lnTo>
                <a:lnTo>
                  <a:pt x="304" y="7"/>
                </a:lnTo>
                <a:lnTo>
                  <a:pt x="280" y="3"/>
                </a:lnTo>
                <a:lnTo>
                  <a:pt x="258" y="0"/>
                </a:lnTo>
                <a:lnTo>
                  <a:pt x="233"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5" name="Freeform 34">
            <a:extLst>
              <a:ext uri="{FF2B5EF4-FFF2-40B4-BE49-F238E27FC236}">
                <a16:creationId xmlns:a16="http://schemas.microsoft.com/office/drawing/2014/main" id="{494A0A60-36DE-B7F2-30F6-143ABFD18132}"/>
              </a:ext>
            </a:extLst>
          </p:cNvPr>
          <p:cNvSpPr>
            <a:spLocks noEditPoints="1"/>
          </p:cNvSpPr>
          <p:nvPr/>
        </p:nvSpPr>
        <p:spPr bwMode="auto">
          <a:xfrm>
            <a:off x="15006638" y="7251658"/>
            <a:ext cx="369888" cy="233363"/>
          </a:xfrm>
          <a:custGeom>
            <a:avLst/>
            <a:gdLst>
              <a:gd name="T0" fmla="*/ 158 w 467"/>
              <a:gd name="T1" fmla="*/ 251 h 293"/>
              <a:gd name="T2" fmla="*/ 79 w 467"/>
              <a:gd name="T3" fmla="*/ 205 h 293"/>
              <a:gd name="T4" fmla="*/ 38 w 467"/>
              <a:gd name="T5" fmla="*/ 133 h 293"/>
              <a:gd name="T6" fmla="*/ 104 w 467"/>
              <a:gd name="T7" fmla="*/ 69 h 293"/>
              <a:gd name="T8" fmla="*/ 188 w 467"/>
              <a:gd name="T9" fmla="*/ 34 h 293"/>
              <a:gd name="T10" fmla="*/ 279 w 467"/>
              <a:gd name="T11" fmla="*/ 34 h 293"/>
              <a:gd name="T12" fmla="*/ 363 w 467"/>
              <a:gd name="T13" fmla="*/ 70 h 293"/>
              <a:gd name="T14" fmla="*/ 429 w 467"/>
              <a:gd name="T15" fmla="*/ 133 h 293"/>
              <a:gd name="T16" fmla="*/ 388 w 467"/>
              <a:gd name="T17" fmla="*/ 205 h 293"/>
              <a:gd name="T18" fmla="*/ 309 w 467"/>
              <a:gd name="T19" fmla="*/ 251 h 293"/>
              <a:gd name="T20" fmla="*/ 233 w 467"/>
              <a:gd name="T21" fmla="*/ 235 h 293"/>
              <a:gd name="T22" fmla="*/ 184 w 467"/>
              <a:gd name="T23" fmla="*/ 220 h 293"/>
              <a:gd name="T24" fmla="*/ 152 w 467"/>
              <a:gd name="T25" fmla="*/ 180 h 293"/>
              <a:gd name="T26" fmla="*/ 147 w 467"/>
              <a:gd name="T27" fmla="*/ 129 h 293"/>
              <a:gd name="T28" fmla="*/ 172 w 467"/>
              <a:gd name="T29" fmla="*/ 84 h 293"/>
              <a:gd name="T30" fmla="*/ 215 w 467"/>
              <a:gd name="T31" fmla="*/ 60 h 293"/>
              <a:gd name="T32" fmla="*/ 267 w 467"/>
              <a:gd name="T33" fmla="*/ 65 h 293"/>
              <a:gd name="T34" fmla="*/ 306 w 467"/>
              <a:gd name="T35" fmla="*/ 98 h 293"/>
              <a:gd name="T36" fmla="*/ 321 w 467"/>
              <a:gd name="T37" fmla="*/ 147 h 293"/>
              <a:gd name="T38" fmla="*/ 306 w 467"/>
              <a:gd name="T39" fmla="*/ 195 h 293"/>
              <a:gd name="T40" fmla="*/ 267 w 467"/>
              <a:gd name="T41" fmla="*/ 227 h 293"/>
              <a:gd name="T42" fmla="*/ 222 w 467"/>
              <a:gd name="T43" fmla="*/ 44 h 293"/>
              <a:gd name="T44" fmla="*/ 168 w 467"/>
              <a:gd name="T45" fmla="*/ 68 h 293"/>
              <a:gd name="T46" fmla="*/ 136 w 467"/>
              <a:gd name="T47" fmla="*/ 116 h 293"/>
              <a:gd name="T48" fmla="*/ 136 w 467"/>
              <a:gd name="T49" fmla="*/ 177 h 293"/>
              <a:gd name="T50" fmla="*/ 168 w 467"/>
              <a:gd name="T51" fmla="*/ 226 h 293"/>
              <a:gd name="T52" fmla="*/ 222 w 467"/>
              <a:gd name="T53" fmla="*/ 249 h 293"/>
              <a:gd name="T54" fmla="*/ 282 w 467"/>
              <a:gd name="T55" fmla="*/ 237 h 293"/>
              <a:gd name="T56" fmla="*/ 324 w 467"/>
              <a:gd name="T57" fmla="*/ 195 h 293"/>
              <a:gd name="T58" fmla="*/ 335 w 467"/>
              <a:gd name="T59" fmla="*/ 136 h 293"/>
              <a:gd name="T60" fmla="*/ 313 w 467"/>
              <a:gd name="T61" fmla="*/ 81 h 293"/>
              <a:gd name="T62" fmla="*/ 263 w 467"/>
              <a:gd name="T63" fmla="*/ 49 h 293"/>
              <a:gd name="T64" fmla="*/ 233 w 467"/>
              <a:gd name="T65" fmla="*/ 88 h 293"/>
              <a:gd name="T66" fmla="*/ 179 w 467"/>
              <a:gd name="T67" fmla="*/ 124 h 293"/>
              <a:gd name="T68" fmla="*/ 183 w 467"/>
              <a:gd name="T69" fmla="*/ 154 h 293"/>
              <a:gd name="T70" fmla="*/ 193 w 467"/>
              <a:gd name="T71" fmla="*/ 130 h 293"/>
              <a:gd name="T72" fmla="*/ 233 w 467"/>
              <a:gd name="T73" fmla="*/ 103 h 293"/>
              <a:gd name="T74" fmla="*/ 241 w 467"/>
              <a:gd name="T75" fmla="*/ 93 h 293"/>
              <a:gd name="T76" fmla="*/ 467 w 467"/>
              <a:gd name="T77" fmla="*/ 142 h 293"/>
              <a:gd name="T78" fmla="*/ 447 w 467"/>
              <a:gd name="T79" fmla="*/ 110 h 293"/>
              <a:gd name="T80" fmla="*/ 371 w 467"/>
              <a:gd name="T81" fmla="*/ 39 h 293"/>
              <a:gd name="T82" fmla="*/ 269 w 467"/>
              <a:gd name="T83" fmla="*/ 2 h 293"/>
              <a:gd name="T84" fmla="*/ 162 w 467"/>
              <a:gd name="T85" fmla="*/ 11 h 293"/>
              <a:gd name="T86" fmla="*/ 68 w 467"/>
              <a:gd name="T87" fmla="*/ 59 h 293"/>
              <a:gd name="T88" fmla="*/ 1 w 467"/>
              <a:gd name="T89" fmla="*/ 140 h 293"/>
              <a:gd name="T90" fmla="*/ 0 w 467"/>
              <a:gd name="T91" fmla="*/ 143 h 293"/>
              <a:gd name="T92" fmla="*/ 0 w 467"/>
              <a:gd name="T93" fmla="*/ 152 h 293"/>
              <a:gd name="T94" fmla="*/ 20 w 467"/>
              <a:gd name="T95" fmla="*/ 183 h 293"/>
              <a:gd name="T96" fmla="*/ 96 w 467"/>
              <a:gd name="T97" fmla="*/ 253 h 293"/>
              <a:gd name="T98" fmla="*/ 198 w 467"/>
              <a:gd name="T99" fmla="*/ 291 h 293"/>
              <a:gd name="T100" fmla="*/ 305 w 467"/>
              <a:gd name="T101" fmla="*/ 283 h 293"/>
              <a:gd name="T102" fmla="*/ 399 w 467"/>
              <a:gd name="T103" fmla="*/ 234 h 293"/>
              <a:gd name="T104" fmla="*/ 466 w 467"/>
              <a:gd name="T105" fmla="*/ 153 h 293"/>
              <a:gd name="T106" fmla="*/ 467 w 467"/>
              <a:gd name="T10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7" h="293">
                <a:moveTo>
                  <a:pt x="233" y="263"/>
                </a:moveTo>
                <a:lnTo>
                  <a:pt x="219" y="263"/>
                </a:lnTo>
                <a:lnTo>
                  <a:pt x="203" y="262"/>
                </a:lnTo>
                <a:lnTo>
                  <a:pt x="188" y="260"/>
                </a:lnTo>
                <a:lnTo>
                  <a:pt x="173" y="256"/>
                </a:lnTo>
                <a:lnTo>
                  <a:pt x="158" y="251"/>
                </a:lnTo>
                <a:lnTo>
                  <a:pt x="143" y="245"/>
                </a:lnTo>
                <a:lnTo>
                  <a:pt x="130" y="239"/>
                </a:lnTo>
                <a:lnTo>
                  <a:pt x="116" y="231"/>
                </a:lnTo>
                <a:lnTo>
                  <a:pt x="104" y="224"/>
                </a:lnTo>
                <a:lnTo>
                  <a:pt x="91" y="215"/>
                </a:lnTo>
                <a:lnTo>
                  <a:pt x="79" y="205"/>
                </a:lnTo>
                <a:lnTo>
                  <a:pt x="68" y="194"/>
                </a:lnTo>
                <a:lnTo>
                  <a:pt x="57" y="184"/>
                </a:lnTo>
                <a:lnTo>
                  <a:pt x="48" y="172"/>
                </a:lnTo>
                <a:lnTo>
                  <a:pt x="38" y="159"/>
                </a:lnTo>
                <a:lnTo>
                  <a:pt x="31" y="147"/>
                </a:lnTo>
                <a:lnTo>
                  <a:pt x="38" y="133"/>
                </a:lnTo>
                <a:lnTo>
                  <a:pt x="48" y="121"/>
                </a:lnTo>
                <a:lnTo>
                  <a:pt x="57" y="110"/>
                </a:lnTo>
                <a:lnTo>
                  <a:pt x="68" y="99"/>
                </a:lnTo>
                <a:lnTo>
                  <a:pt x="79" y="88"/>
                </a:lnTo>
                <a:lnTo>
                  <a:pt x="91" y="79"/>
                </a:lnTo>
                <a:lnTo>
                  <a:pt x="104" y="69"/>
                </a:lnTo>
                <a:lnTo>
                  <a:pt x="116" y="62"/>
                </a:lnTo>
                <a:lnTo>
                  <a:pt x="130" y="54"/>
                </a:lnTo>
                <a:lnTo>
                  <a:pt x="144" y="48"/>
                </a:lnTo>
                <a:lnTo>
                  <a:pt x="158" y="42"/>
                </a:lnTo>
                <a:lnTo>
                  <a:pt x="173" y="38"/>
                </a:lnTo>
                <a:lnTo>
                  <a:pt x="188" y="34"/>
                </a:lnTo>
                <a:lnTo>
                  <a:pt x="203" y="32"/>
                </a:lnTo>
                <a:lnTo>
                  <a:pt x="219" y="30"/>
                </a:lnTo>
                <a:lnTo>
                  <a:pt x="233" y="30"/>
                </a:lnTo>
                <a:lnTo>
                  <a:pt x="249" y="30"/>
                </a:lnTo>
                <a:lnTo>
                  <a:pt x="264" y="32"/>
                </a:lnTo>
                <a:lnTo>
                  <a:pt x="279" y="34"/>
                </a:lnTo>
                <a:lnTo>
                  <a:pt x="294" y="38"/>
                </a:lnTo>
                <a:lnTo>
                  <a:pt x="309" y="42"/>
                </a:lnTo>
                <a:lnTo>
                  <a:pt x="324" y="48"/>
                </a:lnTo>
                <a:lnTo>
                  <a:pt x="337" y="54"/>
                </a:lnTo>
                <a:lnTo>
                  <a:pt x="351" y="62"/>
                </a:lnTo>
                <a:lnTo>
                  <a:pt x="363" y="70"/>
                </a:lnTo>
                <a:lnTo>
                  <a:pt x="377" y="79"/>
                </a:lnTo>
                <a:lnTo>
                  <a:pt x="388" y="89"/>
                </a:lnTo>
                <a:lnTo>
                  <a:pt x="399" y="99"/>
                </a:lnTo>
                <a:lnTo>
                  <a:pt x="410" y="110"/>
                </a:lnTo>
                <a:lnTo>
                  <a:pt x="420" y="121"/>
                </a:lnTo>
                <a:lnTo>
                  <a:pt x="429" y="133"/>
                </a:lnTo>
                <a:lnTo>
                  <a:pt x="436" y="147"/>
                </a:lnTo>
                <a:lnTo>
                  <a:pt x="429" y="159"/>
                </a:lnTo>
                <a:lnTo>
                  <a:pt x="420" y="172"/>
                </a:lnTo>
                <a:lnTo>
                  <a:pt x="410" y="184"/>
                </a:lnTo>
                <a:lnTo>
                  <a:pt x="399" y="195"/>
                </a:lnTo>
                <a:lnTo>
                  <a:pt x="388" y="205"/>
                </a:lnTo>
                <a:lnTo>
                  <a:pt x="376" y="215"/>
                </a:lnTo>
                <a:lnTo>
                  <a:pt x="363" y="224"/>
                </a:lnTo>
                <a:lnTo>
                  <a:pt x="351" y="231"/>
                </a:lnTo>
                <a:lnTo>
                  <a:pt x="337" y="239"/>
                </a:lnTo>
                <a:lnTo>
                  <a:pt x="324" y="245"/>
                </a:lnTo>
                <a:lnTo>
                  <a:pt x="309" y="251"/>
                </a:lnTo>
                <a:lnTo>
                  <a:pt x="294" y="256"/>
                </a:lnTo>
                <a:lnTo>
                  <a:pt x="279" y="260"/>
                </a:lnTo>
                <a:lnTo>
                  <a:pt x="264" y="262"/>
                </a:lnTo>
                <a:lnTo>
                  <a:pt x="248" y="263"/>
                </a:lnTo>
                <a:lnTo>
                  <a:pt x="233" y="263"/>
                </a:lnTo>
                <a:close/>
                <a:moveTo>
                  <a:pt x="233" y="235"/>
                </a:moveTo>
                <a:lnTo>
                  <a:pt x="225" y="234"/>
                </a:lnTo>
                <a:lnTo>
                  <a:pt x="215" y="232"/>
                </a:lnTo>
                <a:lnTo>
                  <a:pt x="207" y="231"/>
                </a:lnTo>
                <a:lnTo>
                  <a:pt x="199" y="227"/>
                </a:lnTo>
                <a:lnTo>
                  <a:pt x="191" y="224"/>
                </a:lnTo>
                <a:lnTo>
                  <a:pt x="184" y="220"/>
                </a:lnTo>
                <a:lnTo>
                  <a:pt x="178" y="215"/>
                </a:lnTo>
                <a:lnTo>
                  <a:pt x="172" y="209"/>
                </a:lnTo>
                <a:lnTo>
                  <a:pt x="165" y="203"/>
                </a:lnTo>
                <a:lnTo>
                  <a:pt x="160" y="195"/>
                </a:lnTo>
                <a:lnTo>
                  <a:pt x="156" y="189"/>
                </a:lnTo>
                <a:lnTo>
                  <a:pt x="152" y="180"/>
                </a:lnTo>
                <a:lnTo>
                  <a:pt x="149" y="173"/>
                </a:lnTo>
                <a:lnTo>
                  <a:pt x="147" y="164"/>
                </a:lnTo>
                <a:lnTo>
                  <a:pt x="146" y="156"/>
                </a:lnTo>
                <a:lnTo>
                  <a:pt x="146" y="147"/>
                </a:lnTo>
                <a:lnTo>
                  <a:pt x="146" y="137"/>
                </a:lnTo>
                <a:lnTo>
                  <a:pt x="147" y="129"/>
                </a:lnTo>
                <a:lnTo>
                  <a:pt x="149" y="121"/>
                </a:lnTo>
                <a:lnTo>
                  <a:pt x="152" y="112"/>
                </a:lnTo>
                <a:lnTo>
                  <a:pt x="156" y="105"/>
                </a:lnTo>
                <a:lnTo>
                  <a:pt x="160" y="98"/>
                </a:lnTo>
                <a:lnTo>
                  <a:pt x="165" y="91"/>
                </a:lnTo>
                <a:lnTo>
                  <a:pt x="172" y="84"/>
                </a:lnTo>
                <a:lnTo>
                  <a:pt x="178" y="79"/>
                </a:lnTo>
                <a:lnTo>
                  <a:pt x="184" y="74"/>
                </a:lnTo>
                <a:lnTo>
                  <a:pt x="191" y="69"/>
                </a:lnTo>
                <a:lnTo>
                  <a:pt x="199" y="65"/>
                </a:lnTo>
                <a:lnTo>
                  <a:pt x="207" y="63"/>
                </a:lnTo>
                <a:lnTo>
                  <a:pt x="215" y="60"/>
                </a:lnTo>
                <a:lnTo>
                  <a:pt x="225" y="59"/>
                </a:lnTo>
                <a:lnTo>
                  <a:pt x="233" y="59"/>
                </a:lnTo>
                <a:lnTo>
                  <a:pt x="242" y="59"/>
                </a:lnTo>
                <a:lnTo>
                  <a:pt x="251" y="60"/>
                </a:lnTo>
                <a:lnTo>
                  <a:pt x="259" y="63"/>
                </a:lnTo>
                <a:lnTo>
                  <a:pt x="267" y="65"/>
                </a:lnTo>
                <a:lnTo>
                  <a:pt x="275" y="69"/>
                </a:lnTo>
                <a:lnTo>
                  <a:pt x="283" y="74"/>
                </a:lnTo>
                <a:lnTo>
                  <a:pt x="289" y="79"/>
                </a:lnTo>
                <a:lnTo>
                  <a:pt x="295" y="84"/>
                </a:lnTo>
                <a:lnTo>
                  <a:pt x="301" y="91"/>
                </a:lnTo>
                <a:lnTo>
                  <a:pt x="306" y="98"/>
                </a:lnTo>
                <a:lnTo>
                  <a:pt x="310" y="105"/>
                </a:lnTo>
                <a:lnTo>
                  <a:pt x="314" y="112"/>
                </a:lnTo>
                <a:lnTo>
                  <a:pt x="317" y="121"/>
                </a:lnTo>
                <a:lnTo>
                  <a:pt x="319" y="129"/>
                </a:lnTo>
                <a:lnTo>
                  <a:pt x="321" y="137"/>
                </a:lnTo>
                <a:lnTo>
                  <a:pt x="321" y="147"/>
                </a:lnTo>
                <a:lnTo>
                  <a:pt x="321" y="156"/>
                </a:lnTo>
                <a:lnTo>
                  <a:pt x="319" y="164"/>
                </a:lnTo>
                <a:lnTo>
                  <a:pt x="317" y="173"/>
                </a:lnTo>
                <a:lnTo>
                  <a:pt x="314" y="180"/>
                </a:lnTo>
                <a:lnTo>
                  <a:pt x="310" y="189"/>
                </a:lnTo>
                <a:lnTo>
                  <a:pt x="306" y="195"/>
                </a:lnTo>
                <a:lnTo>
                  <a:pt x="301" y="203"/>
                </a:lnTo>
                <a:lnTo>
                  <a:pt x="295" y="209"/>
                </a:lnTo>
                <a:lnTo>
                  <a:pt x="289" y="215"/>
                </a:lnTo>
                <a:lnTo>
                  <a:pt x="283" y="220"/>
                </a:lnTo>
                <a:lnTo>
                  <a:pt x="275" y="224"/>
                </a:lnTo>
                <a:lnTo>
                  <a:pt x="267" y="227"/>
                </a:lnTo>
                <a:lnTo>
                  <a:pt x="259" y="231"/>
                </a:lnTo>
                <a:lnTo>
                  <a:pt x="251" y="232"/>
                </a:lnTo>
                <a:lnTo>
                  <a:pt x="242" y="234"/>
                </a:lnTo>
                <a:lnTo>
                  <a:pt x="233" y="235"/>
                </a:lnTo>
                <a:close/>
                <a:moveTo>
                  <a:pt x="233" y="44"/>
                </a:moveTo>
                <a:lnTo>
                  <a:pt x="222" y="44"/>
                </a:lnTo>
                <a:lnTo>
                  <a:pt x="212" y="46"/>
                </a:lnTo>
                <a:lnTo>
                  <a:pt x="203" y="49"/>
                </a:lnTo>
                <a:lnTo>
                  <a:pt x="193" y="52"/>
                </a:lnTo>
                <a:lnTo>
                  <a:pt x="184" y="57"/>
                </a:lnTo>
                <a:lnTo>
                  <a:pt x="175" y="62"/>
                </a:lnTo>
                <a:lnTo>
                  <a:pt x="168" y="68"/>
                </a:lnTo>
                <a:lnTo>
                  <a:pt x="160" y="74"/>
                </a:lnTo>
                <a:lnTo>
                  <a:pt x="154" y="81"/>
                </a:lnTo>
                <a:lnTo>
                  <a:pt x="148" y="89"/>
                </a:lnTo>
                <a:lnTo>
                  <a:pt x="143" y="98"/>
                </a:lnTo>
                <a:lnTo>
                  <a:pt x="138" y="106"/>
                </a:lnTo>
                <a:lnTo>
                  <a:pt x="136" y="116"/>
                </a:lnTo>
                <a:lnTo>
                  <a:pt x="133" y="126"/>
                </a:lnTo>
                <a:lnTo>
                  <a:pt x="131" y="136"/>
                </a:lnTo>
                <a:lnTo>
                  <a:pt x="131" y="147"/>
                </a:lnTo>
                <a:lnTo>
                  <a:pt x="131" y="157"/>
                </a:lnTo>
                <a:lnTo>
                  <a:pt x="133" y="167"/>
                </a:lnTo>
                <a:lnTo>
                  <a:pt x="136" y="177"/>
                </a:lnTo>
                <a:lnTo>
                  <a:pt x="138" y="187"/>
                </a:lnTo>
                <a:lnTo>
                  <a:pt x="143" y="195"/>
                </a:lnTo>
                <a:lnTo>
                  <a:pt x="148" y="204"/>
                </a:lnTo>
                <a:lnTo>
                  <a:pt x="154" y="213"/>
                </a:lnTo>
                <a:lnTo>
                  <a:pt x="160" y="219"/>
                </a:lnTo>
                <a:lnTo>
                  <a:pt x="168" y="226"/>
                </a:lnTo>
                <a:lnTo>
                  <a:pt x="175" y="232"/>
                </a:lnTo>
                <a:lnTo>
                  <a:pt x="184" y="237"/>
                </a:lnTo>
                <a:lnTo>
                  <a:pt x="193" y="241"/>
                </a:lnTo>
                <a:lnTo>
                  <a:pt x="203" y="245"/>
                </a:lnTo>
                <a:lnTo>
                  <a:pt x="212" y="247"/>
                </a:lnTo>
                <a:lnTo>
                  <a:pt x="222" y="249"/>
                </a:lnTo>
                <a:lnTo>
                  <a:pt x="233" y="250"/>
                </a:lnTo>
                <a:lnTo>
                  <a:pt x="243" y="249"/>
                </a:lnTo>
                <a:lnTo>
                  <a:pt x="254" y="247"/>
                </a:lnTo>
                <a:lnTo>
                  <a:pt x="263" y="245"/>
                </a:lnTo>
                <a:lnTo>
                  <a:pt x="273" y="241"/>
                </a:lnTo>
                <a:lnTo>
                  <a:pt x="282" y="237"/>
                </a:lnTo>
                <a:lnTo>
                  <a:pt x="290" y="232"/>
                </a:lnTo>
                <a:lnTo>
                  <a:pt x="299" y="226"/>
                </a:lnTo>
                <a:lnTo>
                  <a:pt x="305" y="219"/>
                </a:lnTo>
                <a:lnTo>
                  <a:pt x="313" y="213"/>
                </a:lnTo>
                <a:lnTo>
                  <a:pt x="319" y="204"/>
                </a:lnTo>
                <a:lnTo>
                  <a:pt x="324" y="195"/>
                </a:lnTo>
                <a:lnTo>
                  <a:pt x="327" y="187"/>
                </a:lnTo>
                <a:lnTo>
                  <a:pt x="331" y="177"/>
                </a:lnTo>
                <a:lnTo>
                  <a:pt x="334" y="167"/>
                </a:lnTo>
                <a:lnTo>
                  <a:pt x="335" y="157"/>
                </a:lnTo>
                <a:lnTo>
                  <a:pt x="336" y="147"/>
                </a:lnTo>
                <a:lnTo>
                  <a:pt x="335" y="136"/>
                </a:lnTo>
                <a:lnTo>
                  <a:pt x="334" y="126"/>
                </a:lnTo>
                <a:lnTo>
                  <a:pt x="331" y="116"/>
                </a:lnTo>
                <a:lnTo>
                  <a:pt x="327" y="106"/>
                </a:lnTo>
                <a:lnTo>
                  <a:pt x="324" y="98"/>
                </a:lnTo>
                <a:lnTo>
                  <a:pt x="319" y="89"/>
                </a:lnTo>
                <a:lnTo>
                  <a:pt x="313" y="81"/>
                </a:lnTo>
                <a:lnTo>
                  <a:pt x="305" y="74"/>
                </a:lnTo>
                <a:lnTo>
                  <a:pt x="299" y="68"/>
                </a:lnTo>
                <a:lnTo>
                  <a:pt x="290" y="62"/>
                </a:lnTo>
                <a:lnTo>
                  <a:pt x="282" y="57"/>
                </a:lnTo>
                <a:lnTo>
                  <a:pt x="273" y="52"/>
                </a:lnTo>
                <a:lnTo>
                  <a:pt x="263" y="49"/>
                </a:lnTo>
                <a:lnTo>
                  <a:pt x="254" y="46"/>
                </a:lnTo>
                <a:lnTo>
                  <a:pt x="243" y="44"/>
                </a:lnTo>
                <a:lnTo>
                  <a:pt x="233" y="44"/>
                </a:lnTo>
                <a:close/>
                <a:moveTo>
                  <a:pt x="233" y="88"/>
                </a:moveTo>
                <a:lnTo>
                  <a:pt x="233" y="88"/>
                </a:lnTo>
                <a:lnTo>
                  <a:pt x="233" y="88"/>
                </a:lnTo>
                <a:lnTo>
                  <a:pt x="221" y="89"/>
                </a:lnTo>
                <a:lnTo>
                  <a:pt x="211" y="93"/>
                </a:lnTo>
                <a:lnTo>
                  <a:pt x="201" y="98"/>
                </a:lnTo>
                <a:lnTo>
                  <a:pt x="193" y="105"/>
                </a:lnTo>
                <a:lnTo>
                  <a:pt x="185" y="114"/>
                </a:lnTo>
                <a:lnTo>
                  <a:pt x="179" y="124"/>
                </a:lnTo>
                <a:lnTo>
                  <a:pt x="177" y="135"/>
                </a:lnTo>
                <a:lnTo>
                  <a:pt x="175" y="147"/>
                </a:lnTo>
                <a:lnTo>
                  <a:pt x="175" y="150"/>
                </a:lnTo>
                <a:lnTo>
                  <a:pt x="177" y="152"/>
                </a:lnTo>
                <a:lnTo>
                  <a:pt x="179" y="153"/>
                </a:lnTo>
                <a:lnTo>
                  <a:pt x="183" y="154"/>
                </a:lnTo>
                <a:lnTo>
                  <a:pt x="185" y="153"/>
                </a:lnTo>
                <a:lnTo>
                  <a:pt x="188" y="152"/>
                </a:lnTo>
                <a:lnTo>
                  <a:pt x="189" y="150"/>
                </a:lnTo>
                <a:lnTo>
                  <a:pt x="190" y="147"/>
                </a:lnTo>
                <a:lnTo>
                  <a:pt x="190" y="138"/>
                </a:lnTo>
                <a:lnTo>
                  <a:pt x="193" y="130"/>
                </a:lnTo>
                <a:lnTo>
                  <a:pt x="198" y="122"/>
                </a:lnTo>
                <a:lnTo>
                  <a:pt x="203" y="116"/>
                </a:lnTo>
                <a:lnTo>
                  <a:pt x="209" y="110"/>
                </a:lnTo>
                <a:lnTo>
                  <a:pt x="216" y="106"/>
                </a:lnTo>
                <a:lnTo>
                  <a:pt x="225" y="104"/>
                </a:lnTo>
                <a:lnTo>
                  <a:pt x="233" y="103"/>
                </a:lnTo>
                <a:lnTo>
                  <a:pt x="233" y="103"/>
                </a:lnTo>
                <a:lnTo>
                  <a:pt x="236" y="103"/>
                </a:lnTo>
                <a:lnTo>
                  <a:pt x="238" y="100"/>
                </a:lnTo>
                <a:lnTo>
                  <a:pt x="241" y="99"/>
                </a:lnTo>
                <a:lnTo>
                  <a:pt x="241" y="95"/>
                </a:lnTo>
                <a:lnTo>
                  <a:pt x="241" y="93"/>
                </a:lnTo>
                <a:lnTo>
                  <a:pt x="238" y="90"/>
                </a:lnTo>
                <a:lnTo>
                  <a:pt x="236" y="89"/>
                </a:lnTo>
                <a:lnTo>
                  <a:pt x="233" y="88"/>
                </a:lnTo>
                <a:close/>
                <a:moveTo>
                  <a:pt x="467" y="143"/>
                </a:moveTo>
                <a:lnTo>
                  <a:pt x="467" y="142"/>
                </a:lnTo>
                <a:lnTo>
                  <a:pt x="467" y="142"/>
                </a:lnTo>
                <a:lnTo>
                  <a:pt x="467" y="141"/>
                </a:lnTo>
                <a:lnTo>
                  <a:pt x="466" y="141"/>
                </a:lnTo>
                <a:lnTo>
                  <a:pt x="466" y="141"/>
                </a:lnTo>
                <a:lnTo>
                  <a:pt x="466" y="140"/>
                </a:lnTo>
                <a:lnTo>
                  <a:pt x="457" y="125"/>
                </a:lnTo>
                <a:lnTo>
                  <a:pt x="447" y="110"/>
                </a:lnTo>
                <a:lnTo>
                  <a:pt x="437" y="96"/>
                </a:lnTo>
                <a:lnTo>
                  <a:pt x="425" y="84"/>
                </a:lnTo>
                <a:lnTo>
                  <a:pt x="413" y="72"/>
                </a:lnTo>
                <a:lnTo>
                  <a:pt x="399" y="60"/>
                </a:lnTo>
                <a:lnTo>
                  <a:pt x="385" y="49"/>
                </a:lnTo>
                <a:lnTo>
                  <a:pt x="371" y="39"/>
                </a:lnTo>
                <a:lnTo>
                  <a:pt x="355" y="31"/>
                </a:lnTo>
                <a:lnTo>
                  <a:pt x="338" y="23"/>
                </a:lnTo>
                <a:lnTo>
                  <a:pt x="322" y="16"/>
                </a:lnTo>
                <a:lnTo>
                  <a:pt x="305" y="11"/>
                </a:lnTo>
                <a:lnTo>
                  <a:pt x="288" y="6"/>
                </a:lnTo>
                <a:lnTo>
                  <a:pt x="269" y="2"/>
                </a:lnTo>
                <a:lnTo>
                  <a:pt x="252" y="1"/>
                </a:lnTo>
                <a:lnTo>
                  <a:pt x="233" y="0"/>
                </a:lnTo>
                <a:lnTo>
                  <a:pt x="215" y="1"/>
                </a:lnTo>
                <a:lnTo>
                  <a:pt x="198" y="2"/>
                </a:lnTo>
                <a:lnTo>
                  <a:pt x="179" y="6"/>
                </a:lnTo>
                <a:lnTo>
                  <a:pt x="162" y="11"/>
                </a:lnTo>
                <a:lnTo>
                  <a:pt x="144" y="16"/>
                </a:lnTo>
                <a:lnTo>
                  <a:pt x="128" y="23"/>
                </a:lnTo>
                <a:lnTo>
                  <a:pt x="112" y="31"/>
                </a:lnTo>
                <a:lnTo>
                  <a:pt x="96" y="39"/>
                </a:lnTo>
                <a:lnTo>
                  <a:pt x="81" y="49"/>
                </a:lnTo>
                <a:lnTo>
                  <a:pt x="68" y="59"/>
                </a:lnTo>
                <a:lnTo>
                  <a:pt x="54" y="72"/>
                </a:lnTo>
                <a:lnTo>
                  <a:pt x="42" y="84"/>
                </a:lnTo>
                <a:lnTo>
                  <a:pt x="29" y="96"/>
                </a:lnTo>
                <a:lnTo>
                  <a:pt x="20" y="110"/>
                </a:lnTo>
                <a:lnTo>
                  <a:pt x="10" y="125"/>
                </a:lnTo>
                <a:lnTo>
                  <a:pt x="1" y="140"/>
                </a:lnTo>
                <a:lnTo>
                  <a:pt x="1" y="141"/>
                </a:lnTo>
                <a:lnTo>
                  <a:pt x="1" y="141"/>
                </a:lnTo>
                <a:lnTo>
                  <a:pt x="1" y="141"/>
                </a:lnTo>
                <a:lnTo>
                  <a:pt x="0" y="141"/>
                </a:lnTo>
                <a:lnTo>
                  <a:pt x="0" y="142"/>
                </a:lnTo>
                <a:lnTo>
                  <a:pt x="0" y="143"/>
                </a:lnTo>
                <a:lnTo>
                  <a:pt x="0" y="145"/>
                </a:lnTo>
                <a:lnTo>
                  <a:pt x="0" y="147"/>
                </a:lnTo>
                <a:lnTo>
                  <a:pt x="0" y="148"/>
                </a:lnTo>
                <a:lnTo>
                  <a:pt x="0" y="150"/>
                </a:lnTo>
                <a:lnTo>
                  <a:pt x="0" y="151"/>
                </a:lnTo>
                <a:lnTo>
                  <a:pt x="0" y="152"/>
                </a:lnTo>
                <a:lnTo>
                  <a:pt x="1" y="152"/>
                </a:lnTo>
                <a:lnTo>
                  <a:pt x="1" y="152"/>
                </a:lnTo>
                <a:lnTo>
                  <a:pt x="1" y="153"/>
                </a:lnTo>
                <a:lnTo>
                  <a:pt x="1" y="153"/>
                </a:lnTo>
                <a:lnTo>
                  <a:pt x="10" y="168"/>
                </a:lnTo>
                <a:lnTo>
                  <a:pt x="20" y="183"/>
                </a:lnTo>
                <a:lnTo>
                  <a:pt x="29" y="197"/>
                </a:lnTo>
                <a:lnTo>
                  <a:pt x="42" y="210"/>
                </a:lnTo>
                <a:lnTo>
                  <a:pt x="54" y="223"/>
                </a:lnTo>
                <a:lnTo>
                  <a:pt x="68" y="234"/>
                </a:lnTo>
                <a:lnTo>
                  <a:pt x="81" y="244"/>
                </a:lnTo>
                <a:lnTo>
                  <a:pt x="96" y="253"/>
                </a:lnTo>
                <a:lnTo>
                  <a:pt x="112" y="262"/>
                </a:lnTo>
                <a:lnTo>
                  <a:pt x="128" y="271"/>
                </a:lnTo>
                <a:lnTo>
                  <a:pt x="144" y="277"/>
                </a:lnTo>
                <a:lnTo>
                  <a:pt x="162" y="283"/>
                </a:lnTo>
                <a:lnTo>
                  <a:pt x="179" y="287"/>
                </a:lnTo>
                <a:lnTo>
                  <a:pt x="198" y="291"/>
                </a:lnTo>
                <a:lnTo>
                  <a:pt x="215" y="293"/>
                </a:lnTo>
                <a:lnTo>
                  <a:pt x="233" y="293"/>
                </a:lnTo>
                <a:lnTo>
                  <a:pt x="252" y="293"/>
                </a:lnTo>
                <a:lnTo>
                  <a:pt x="269" y="291"/>
                </a:lnTo>
                <a:lnTo>
                  <a:pt x="288" y="287"/>
                </a:lnTo>
                <a:lnTo>
                  <a:pt x="305" y="283"/>
                </a:lnTo>
                <a:lnTo>
                  <a:pt x="322" y="277"/>
                </a:lnTo>
                <a:lnTo>
                  <a:pt x="338" y="271"/>
                </a:lnTo>
                <a:lnTo>
                  <a:pt x="355" y="263"/>
                </a:lnTo>
                <a:lnTo>
                  <a:pt x="371" y="253"/>
                </a:lnTo>
                <a:lnTo>
                  <a:pt x="385" y="245"/>
                </a:lnTo>
                <a:lnTo>
                  <a:pt x="399" y="234"/>
                </a:lnTo>
                <a:lnTo>
                  <a:pt x="413" y="223"/>
                </a:lnTo>
                <a:lnTo>
                  <a:pt x="425" y="210"/>
                </a:lnTo>
                <a:lnTo>
                  <a:pt x="437" y="197"/>
                </a:lnTo>
                <a:lnTo>
                  <a:pt x="447" y="183"/>
                </a:lnTo>
                <a:lnTo>
                  <a:pt x="457" y="168"/>
                </a:lnTo>
                <a:lnTo>
                  <a:pt x="466" y="153"/>
                </a:lnTo>
                <a:lnTo>
                  <a:pt x="466" y="153"/>
                </a:lnTo>
                <a:lnTo>
                  <a:pt x="466" y="152"/>
                </a:lnTo>
                <a:lnTo>
                  <a:pt x="467" y="152"/>
                </a:lnTo>
                <a:lnTo>
                  <a:pt x="467" y="152"/>
                </a:lnTo>
                <a:lnTo>
                  <a:pt x="467" y="151"/>
                </a:lnTo>
                <a:lnTo>
                  <a:pt x="467" y="150"/>
                </a:lnTo>
                <a:lnTo>
                  <a:pt x="467" y="148"/>
                </a:lnTo>
                <a:lnTo>
                  <a:pt x="467" y="147"/>
                </a:lnTo>
                <a:lnTo>
                  <a:pt x="467" y="145"/>
                </a:lnTo>
                <a:lnTo>
                  <a:pt x="467" y="14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6" name="Freeform 35">
            <a:extLst>
              <a:ext uri="{FF2B5EF4-FFF2-40B4-BE49-F238E27FC236}">
                <a16:creationId xmlns:a16="http://schemas.microsoft.com/office/drawing/2014/main" id="{D1636FBF-672A-BED3-BA93-F4C0DCDD565C}"/>
              </a:ext>
            </a:extLst>
          </p:cNvPr>
          <p:cNvSpPr>
            <a:spLocks noEditPoints="1"/>
          </p:cNvSpPr>
          <p:nvPr/>
        </p:nvSpPr>
        <p:spPr bwMode="auto">
          <a:xfrm>
            <a:off x="14246225" y="7181808"/>
            <a:ext cx="279400" cy="371475"/>
          </a:xfrm>
          <a:custGeom>
            <a:avLst/>
            <a:gdLst>
              <a:gd name="T0" fmla="*/ 204 w 351"/>
              <a:gd name="T1" fmla="*/ 105 h 469"/>
              <a:gd name="T2" fmla="*/ 232 w 351"/>
              <a:gd name="T3" fmla="*/ 126 h 469"/>
              <a:gd name="T4" fmla="*/ 247 w 351"/>
              <a:gd name="T5" fmla="*/ 157 h 469"/>
              <a:gd name="T6" fmla="*/ 246 w 351"/>
              <a:gd name="T7" fmla="*/ 194 h 469"/>
              <a:gd name="T8" fmla="*/ 227 w 351"/>
              <a:gd name="T9" fmla="*/ 224 h 469"/>
              <a:gd name="T10" fmla="*/ 198 w 351"/>
              <a:gd name="T11" fmla="*/ 242 h 469"/>
              <a:gd name="T12" fmla="*/ 161 w 351"/>
              <a:gd name="T13" fmla="*/ 244 h 469"/>
              <a:gd name="T14" fmla="*/ 129 w 351"/>
              <a:gd name="T15" fmla="*/ 229 h 469"/>
              <a:gd name="T16" fmla="*/ 108 w 351"/>
              <a:gd name="T17" fmla="*/ 200 h 469"/>
              <a:gd name="T18" fmla="*/ 103 w 351"/>
              <a:gd name="T19" fmla="*/ 165 h 469"/>
              <a:gd name="T20" fmla="*/ 115 w 351"/>
              <a:gd name="T21" fmla="*/ 131 h 469"/>
              <a:gd name="T22" fmla="*/ 141 w 351"/>
              <a:gd name="T23" fmla="*/ 108 h 469"/>
              <a:gd name="T24" fmla="*/ 176 w 351"/>
              <a:gd name="T25" fmla="*/ 99 h 469"/>
              <a:gd name="T26" fmla="*/ 173 w 351"/>
              <a:gd name="T27" fmla="*/ 438 h 469"/>
              <a:gd name="T28" fmla="*/ 70 w 351"/>
              <a:gd name="T29" fmla="*/ 302 h 469"/>
              <a:gd name="T30" fmla="*/ 33 w 351"/>
              <a:gd name="T31" fmla="*/ 213 h 469"/>
              <a:gd name="T32" fmla="*/ 36 w 351"/>
              <a:gd name="T33" fmla="*/ 132 h 469"/>
              <a:gd name="T34" fmla="*/ 72 w 351"/>
              <a:gd name="T35" fmla="*/ 72 h 469"/>
              <a:gd name="T36" fmla="*/ 132 w 351"/>
              <a:gd name="T37" fmla="*/ 36 h 469"/>
              <a:gd name="T38" fmla="*/ 205 w 351"/>
              <a:gd name="T39" fmla="*/ 32 h 469"/>
              <a:gd name="T40" fmla="*/ 268 w 351"/>
              <a:gd name="T41" fmla="*/ 63 h 469"/>
              <a:gd name="T42" fmla="*/ 310 w 351"/>
              <a:gd name="T43" fmla="*/ 119 h 469"/>
              <a:gd name="T44" fmla="*/ 321 w 351"/>
              <a:gd name="T45" fmla="*/ 194 h 469"/>
              <a:gd name="T46" fmla="*/ 290 w 351"/>
              <a:gd name="T47" fmla="*/ 285 h 469"/>
              <a:gd name="T48" fmla="*/ 199 w 351"/>
              <a:gd name="T49" fmla="*/ 413 h 469"/>
              <a:gd name="T50" fmla="*/ 124 w 351"/>
              <a:gd name="T51" fmla="*/ 7 h 469"/>
              <a:gd name="T52" fmla="*/ 51 w 351"/>
              <a:gd name="T53" fmla="*/ 51 h 469"/>
              <a:gd name="T54" fmla="*/ 7 w 351"/>
              <a:gd name="T55" fmla="*/ 124 h 469"/>
              <a:gd name="T56" fmla="*/ 4 w 351"/>
              <a:gd name="T57" fmla="*/ 214 h 469"/>
              <a:gd name="T58" fmla="*/ 41 w 351"/>
              <a:gd name="T59" fmla="*/ 309 h 469"/>
              <a:gd name="T60" fmla="*/ 152 w 351"/>
              <a:gd name="T61" fmla="*/ 458 h 469"/>
              <a:gd name="T62" fmla="*/ 171 w 351"/>
              <a:gd name="T63" fmla="*/ 469 h 469"/>
              <a:gd name="T64" fmla="*/ 185 w 351"/>
              <a:gd name="T65" fmla="*/ 468 h 469"/>
              <a:gd name="T66" fmla="*/ 224 w 351"/>
              <a:gd name="T67" fmla="*/ 428 h 469"/>
              <a:gd name="T68" fmla="*/ 320 w 351"/>
              <a:gd name="T69" fmla="*/ 291 h 469"/>
              <a:gd name="T70" fmla="*/ 350 w 351"/>
              <a:gd name="T71" fmla="*/ 195 h 469"/>
              <a:gd name="T72" fmla="*/ 337 w 351"/>
              <a:gd name="T73" fmla="*/ 108 h 469"/>
              <a:gd name="T74" fmla="*/ 287 w 351"/>
              <a:gd name="T75" fmla="*/ 40 h 469"/>
              <a:gd name="T76" fmla="*/ 211 w 351"/>
              <a:gd name="T77" fmla="*/ 4 h 469"/>
              <a:gd name="T78" fmla="*/ 193 w 351"/>
              <a:gd name="T79" fmla="*/ 259 h 469"/>
              <a:gd name="T80" fmla="*/ 231 w 351"/>
              <a:gd name="T81" fmla="*/ 240 h 469"/>
              <a:gd name="T82" fmla="*/ 256 w 351"/>
              <a:gd name="T83" fmla="*/ 207 h 469"/>
              <a:gd name="T84" fmla="*/ 263 w 351"/>
              <a:gd name="T85" fmla="*/ 163 h 469"/>
              <a:gd name="T86" fmla="*/ 248 w 351"/>
              <a:gd name="T87" fmla="*/ 124 h 469"/>
              <a:gd name="T88" fmla="*/ 218 w 351"/>
              <a:gd name="T89" fmla="*/ 95 h 469"/>
              <a:gd name="T90" fmla="*/ 176 w 351"/>
              <a:gd name="T91" fmla="*/ 84 h 469"/>
              <a:gd name="T92" fmla="*/ 133 w 351"/>
              <a:gd name="T93" fmla="*/ 95 h 469"/>
              <a:gd name="T94" fmla="*/ 103 w 351"/>
              <a:gd name="T95" fmla="*/ 124 h 469"/>
              <a:gd name="T96" fmla="*/ 88 w 351"/>
              <a:gd name="T97" fmla="*/ 163 h 469"/>
              <a:gd name="T98" fmla="*/ 94 w 351"/>
              <a:gd name="T99" fmla="*/ 207 h 469"/>
              <a:gd name="T100" fmla="*/ 120 w 351"/>
              <a:gd name="T101" fmla="*/ 240 h 469"/>
              <a:gd name="T102" fmla="*/ 158 w 351"/>
              <a:gd name="T103" fmla="*/ 25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1" h="469">
                <a:moveTo>
                  <a:pt x="176" y="99"/>
                </a:moveTo>
                <a:lnTo>
                  <a:pt x="183" y="99"/>
                </a:lnTo>
                <a:lnTo>
                  <a:pt x="190" y="100"/>
                </a:lnTo>
                <a:lnTo>
                  <a:pt x="198" y="103"/>
                </a:lnTo>
                <a:lnTo>
                  <a:pt x="204" y="105"/>
                </a:lnTo>
                <a:lnTo>
                  <a:pt x="210" y="108"/>
                </a:lnTo>
                <a:lnTo>
                  <a:pt x="216" y="111"/>
                </a:lnTo>
                <a:lnTo>
                  <a:pt x="222" y="116"/>
                </a:lnTo>
                <a:lnTo>
                  <a:pt x="227" y="120"/>
                </a:lnTo>
                <a:lnTo>
                  <a:pt x="232" y="126"/>
                </a:lnTo>
                <a:lnTo>
                  <a:pt x="236" y="131"/>
                </a:lnTo>
                <a:lnTo>
                  <a:pt x="240" y="137"/>
                </a:lnTo>
                <a:lnTo>
                  <a:pt x="243" y="144"/>
                </a:lnTo>
                <a:lnTo>
                  <a:pt x="246" y="151"/>
                </a:lnTo>
                <a:lnTo>
                  <a:pt x="247" y="157"/>
                </a:lnTo>
                <a:lnTo>
                  <a:pt x="248" y="165"/>
                </a:lnTo>
                <a:lnTo>
                  <a:pt x="248" y="172"/>
                </a:lnTo>
                <a:lnTo>
                  <a:pt x="248" y="179"/>
                </a:lnTo>
                <a:lnTo>
                  <a:pt x="247" y="187"/>
                </a:lnTo>
                <a:lnTo>
                  <a:pt x="246" y="194"/>
                </a:lnTo>
                <a:lnTo>
                  <a:pt x="243" y="200"/>
                </a:lnTo>
                <a:lnTo>
                  <a:pt x="240" y="208"/>
                </a:lnTo>
                <a:lnTo>
                  <a:pt x="236" y="213"/>
                </a:lnTo>
                <a:lnTo>
                  <a:pt x="232" y="219"/>
                </a:lnTo>
                <a:lnTo>
                  <a:pt x="227" y="224"/>
                </a:lnTo>
                <a:lnTo>
                  <a:pt x="222" y="229"/>
                </a:lnTo>
                <a:lnTo>
                  <a:pt x="216" y="233"/>
                </a:lnTo>
                <a:lnTo>
                  <a:pt x="210" y="236"/>
                </a:lnTo>
                <a:lnTo>
                  <a:pt x="204" y="240"/>
                </a:lnTo>
                <a:lnTo>
                  <a:pt x="198" y="242"/>
                </a:lnTo>
                <a:lnTo>
                  <a:pt x="190" y="244"/>
                </a:lnTo>
                <a:lnTo>
                  <a:pt x="183" y="245"/>
                </a:lnTo>
                <a:lnTo>
                  <a:pt x="176" y="246"/>
                </a:lnTo>
                <a:lnTo>
                  <a:pt x="168" y="245"/>
                </a:lnTo>
                <a:lnTo>
                  <a:pt x="161" y="244"/>
                </a:lnTo>
                <a:lnTo>
                  <a:pt x="153" y="242"/>
                </a:lnTo>
                <a:lnTo>
                  <a:pt x="147" y="240"/>
                </a:lnTo>
                <a:lnTo>
                  <a:pt x="141" y="236"/>
                </a:lnTo>
                <a:lnTo>
                  <a:pt x="135" y="233"/>
                </a:lnTo>
                <a:lnTo>
                  <a:pt x="129" y="229"/>
                </a:lnTo>
                <a:lnTo>
                  <a:pt x="124" y="224"/>
                </a:lnTo>
                <a:lnTo>
                  <a:pt x="119" y="219"/>
                </a:lnTo>
                <a:lnTo>
                  <a:pt x="115" y="213"/>
                </a:lnTo>
                <a:lnTo>
                  <a:pt x="111" y="208"/>
                </a:lnTo>
                <a:lnTo>
                  <a:pt x="108" y="200"/>
                </a:lnTo>
                <a:lnTo>
                  <a:pt x="105" y="194"/>
                </a:lnTo>
                <a:lnTo>
                  <a:pt x="104" y="187"/>
                </a:lnTo>
                <a:lnTo>
                  <a:pt x="103" y="179"/>
                </a:lnTo>
                <a:lnTo>
                  <a:pt x="103" y="172"/>
                </a:lnTo>
                <a:lnTo>
                  <a:pt x="103" y="165"/>
                </a:lnTo>
                <a:lnTo>
                  <a:pt x="104" y="157"/>
                </a:lnTo>
                <a:lnTo>
                  <a:pt x="105" y="151"/>
                </a:lnTo>
                <a:lnTo>
                  <a:pt x="108" y="144"/>
                </a:lnTo>
                <a:lnTo>
                  <a:pt x="111" y="137"/>
                </a:lnTo>
                <a:lnTo>
                  <a:pt x="115" y="131"/>
                </a:lnTo>
                <a:lnTo>
                  <a:pt x="119" y="126"/>
                </a:lnTo>
                <a:lnTo>
                  <a:pt x="124" y="120"/>
                </a:lnTo>
                <a:lnTo>
                  <a:pt x="129" y="116"/>
                </a:lnTo>
                <a:lnTo>
                  <a:pt x="135" y="111"/>
                </a:lnTo>
                <a:lnTo>
                  <a:pt x="141" y="108"/>
                </a:lnTo>
                <a:lnTo>
                  <a:pt x="147" y="105"/>
                </a:lnTo>
                <a:lnTo>
                  <a:pt x="153" y="103"/>
                </a:lnTo>
                <a:lnTo>
                  <a:pt x="161" y="100"/>
                </a:lnTo>
                <a:lnTo>
                  <a:pt x="168" y="99"/>
                </a:lnTo>
                <a:lnTo>
                  <a:pt x="176" y="99"/>
                </a:lnTo>
                <a:close/>
                <a:moveTo>
                  <a:pt x="177" y="438"/>
                </a:moveTo>
                <a:lnTo>
                  <a:pt x="177" y="439"/>
                </a:lnTo>
                <a:lnTo>
                  <a:pt x="176" y="439"/>
                </a:lnTo>
                <a:lnTo>
                  <a:pt x="174" y="439"/>
                </a:lnTo>
                <a:lnTo>
                  <a:pt x="173" y="438"/>
                </a:lnTo>
                <a:lnTo>
                  <a:pt x="152" y="413"/>
                </a:lnTo>
                <a:lnTo>
                  <a:pt x="129" y="385"/>
                </a:lnTo>
                <a:lnTo>
                  <a:pt x="104" y="353"/>
                </a:lnTo>
                <a:lnTo>
                  <a:pt x="80" y="319"/>
                </a:lnTo>
                <a:lnTo>
                  <a:pt x="70" y="302"/>
                </a:lnTo>
                <a:lnTo>
                  <a:pt x="61" y="285"/>
                </a:lnTo>
                <a:lnTo>
                  <a:pt x="52" y="267"/>
                </a:lnTo>
                <a:lnTo>
                  <a:pt x="45" y="249"/>
                </a:lnTo>
                <a:lnTo>
                  <a:pt x="37" y="230"/>
                </a:lnTo>
                <a:lnTo>
                  <a:pt x="33" y="213"/>
                </a:lnTo>
                <a:lnTo>
                  <a:pt x="30" y="194"/>
                </a:lnTo>
                <a:lnTo>
                  <a:pt x="28" y="176"/>
                </a:lnTo>
                <a:lnTo>
                  <a:pt x="30" y="161"/>
                </a:lnTo>
                <a:lnTo>
                  <a:pt x="32" y="146"/>
                </a:lnTo>
                <a:lnTo>
                  <a:pt x="36" y="132"/>
                </a:lnTo>
                <a:lnTo>
                  <a:pt x="41" y="119"/>
                </a:lnTo>
                <a:lnTo>
                  <a:pt x="47" y="106"/>
                </a:lnTo>
                <a:lnTo>
                  <a:pt x="54" y="94"/>
                </a:lnTo>
                <a:lnTo>
                  <a:pt x="62" y="83"/>
                </a:lnTo>
                <a:lnTo>
                  <a:pt x="72" y="72"/>
                </a:lnTo>
                <a:lnTo>
                  <a:pt x="83" y="63"/>
                </a:lnTo>
                <a:lnTo>
                  <a:pt x="94" y="54"/>
                </a:lnTo>
                <a:lnTo>
                  <a:pt x="105" y="47"/>
                </a:lnTo>
                <a:lnTo>
                  <a:pt x="119" y="41"/>
                </a:lnTo>
                <a:lnTo>
                  <a:pt x="132" y="36"/>
                </a:lnTo>
                <a:lnTo>
                  <a:pt x="146" y="32"/>
                </a:lnTo>
                <a:lnTo>
                  <a:pt x="161" y="30"/>
                </a:lnTo>
                <a:lnTo>
                  <a:pt x="176" y="30"/>
                </a:lnTo>
                <a:lnTo>
                  <a:pt x="190" y="30"/>
                </a:lnTo>
                <a:lnTo>
                  <a:pt x="205" y="32"/>
                </a:lnTo>
                <a:lnTo>
                  <a:pt x="219" y="36"/>
                </a:lnTo>
                <a:lnTo>
                  <a:pt x="232" y="41"/>
                </a:lnTo>
                <a:lnTo>
                  <a:pt x="245" y="47"/>
                </a:lnTo>
                <a:lnTo>
                  <a:pt x="257" y="54"/>
                </a:lnTo>
                <a:lnTo>
                  <a:pt x="268" y="63"/>
                </a:lnTo>
                <a:lnTo>
                  <a:pt x="279" y="72"/>
                </a:lnTo>
                <a:lnTo>
                  <a:pt x="288" y="83"/>
                </a:lnTo>
                <a:lnTo>
                  <a:pt x="297" y="94"/>
                </a:lnTo>
                <a:lnTo>
                  <a:pt x="304" y="106"/>
                </a:lnTo>
                <a:lnTo>
                  <a:pt x="310" y="119"/>
                </a:lnTo>
                <a:lnTo>
                  <a:pt x="315" y="132"/>
                </a:lnTo>
                <a:lnTo>
                  <a:pt x="319" y="146"/>
                </a:lnTo>
                <a:lnTo>
                  <a:pt x="321" y="161"/>
                </a:lnTo>
                <a:lnTo>
                  <a:pt x="321" y="176"/>
                </a:lnTo>
                <a:lnTo>
                  <a:pt x="321" y="194"/>
                </a:lnTo>
                <a:lnTo>
                  <a:pt x="318" y="213"/>
                </a:lnTo>
                <a:lnTo>
                  <a:pt x="313" y="230"/>
                </a:lnTo>
                <a:lnTo>
                  <a:pt x="307" y="249"/>
                </a:lnTo>
                <a:lnTo>
                  <a:pt x="299" y="267"/>
                </a:lnTo>
                <a:lnTo>
                  <a:pt x="290" y="285"/>
                </a:lnTo>
                <a:lnTo>
                  <a:pt x="281" y="302"/>
                </a:lnTo>
                <a:lnTo>
                  <a:pt x="269" y="319"/>
                </a:lnTo>
                <a:lnTo>
                  <a:pt x="247" y="353"/>
                </a:lnTo>
                <a:lnTo>
                  <a:pt x="222" y="385"/>
                </a:lnTo>
                <a:lnTo>
                  <a:pt x="199" y="413"/>
                </a:lnTo>
                <a:lnTo>
                  <a:pt x="177" y="438"/>
                </a:lnTo>
                <a:close/>
                <a:moveTo>
                  <a:pt x="176" y="0"/>
                </a:moveTo>
                <a:lnTo>
                  <a:pt x="157" y="1"/>
                </a:lnTo>
                <a:lnTo>
                  <a:pt x="140" y="4"/>
                </a:lnTo>
                <a:lnTo>
                  <a:pt x="124" y="7"/>
                </a:lnTo>
                <a:lnTo>
                  <a:pt x="108" y="14"/>
                </a:lnTo>
                <a:lnTo>
                  <a:pt x="91" y="21"/>
                </a:lnTo>
                <a:lnTo>
                  <a:pt x="77" y="30"/>
                </a:lnTo>
                <a:lnTo>
                  <a:pt x="63" y="40"/>
                </a:lnTo>
                <a:lnTo>
                  <a:pt x="51" y="51"/>
                </a:lnTo>
                <a:lnTo>
                  <a:pt x="40" y="64"/>
                </a:lnTo>
                <a:lnTo>
                  <a:pt x="30" y="77"/>
                </a:lnTo>
                <a:lnTo>
                  <a:pt x="21" y="92"/>
                </a:lnTo>
                <a:lnTo>
                  <a:pt x="14" y="108"/>
                </a:lnTo>
                <a:lnTo>
                  <a:pt x="7" y="124"/>
                </a:lnTo>
                <a:lnTo>
                  <a:pt x="4" y="140"/>
                </a:lnTo>
                <a:lnTo>
                  <a:pt x="0" y="158"/>
                </a:lnTo>
                <a:lnTo>
                  <a:pt x="0" y="176"/>
                </a:lnTo>
                <a:lnTo>
                  <a:pt x="0" y="195"/>
                </a:lnTo>
                <a:lnTo>
                  <a:pt x="4" y="214"/>
                </a:lnTo>
                <a:lnTo>
                  <a:pt x="9" y="234"/>
                </a:lnTo>
                <a:lnTo>
                  <a:pt x="15" y="252"/>
                </a:lnTo>
                <a:lnTo>
                  <a:pt x="22" y="272"/>
                </a:lnTo>
                <a:lnTo>
                  <a:pt x="31" y="291"/>
                </a:lnTo>
                <a:lnTo>
                  <a:pt x="41" y="309"/>
                </a:lnTo>
                <a:lnTo>
                  <a:pt x="52" y="328"/>
                </a:lnTo>
                <a:lnTo>
                  <a:pt x="75" y="362"/>
                </a:lnTo>
                <a:lnTo>
                  <a:pt x="101" y="397"/>
                </a:lnTo>
                <a:lnTo>
                  <a:pt x="126" y="428"/>
                </a:lnTo>
                <a:lnTo>
                  <a:pt x="152" y="458"/>
                </a:lnTo>
                <a:lnTo>
                  <a:pt x="153" y="459"/>
                </a:lnTo>
                <a:lnTo>
                  <a:pt x="158" y="464"/>
                </a:lnTo>
                <a:lnTo>
                  <a:pt x="162" y="465"/>
                </a:lnTo>
                <a:lnTo>
                  <a:pt x="166" y="468"/>
                </a:lnTo>
                <a:lnTo>
                  <a:pt x="171" y="469"/>
                </a:lnTo>
                <a:lnTo>
                  <a:pt x="174" y="469"/>
                </a:lnTo>
                <a:lnTo>
                  <a:pt x="176" y="469"/>
                </a:lnTo>
                <a:lnTo>
                  <a:pt x="176" y="469"/>
                </a:lnTo>
                <a:lnTo>
                  <a:pt x="180" y="469"/>
                </a:lnTo>
                <a:lnTo>
                  <a:pt x="185" y="468"/>
                </a:lnTo>
                <a:lnTo>
                  <a:pt x="189" y="465"/>
                </a:lnTo>
                <a:lnTo>
                  <a:pt x="193" y="464"/>
                </a:lnTo>
                <a:lnTo>
                  <a:pt x="198" y="459"/>
                </a:lnTo>
                <a:lnTo>
                  <a:pt x="199" y="458"/>
                </a:lnTo>
                <a:lnTo>
                  <a:pt x="224" y="428"/>
                </a:lnTo>
                <a:lnTo>
                  <a:pt x="250" y="397"/>
                </a:lnTo>
                <a:lnTo>
                  <a:pt x="276" y="362"/>
                </a:lnTo>
                <a:lnTo>
                  <a:pt x="299" y="328"/>
                </a:lnTo>
                <a:lnTo>
                  <a:pt x="310" y="309"/>
                </a:lnTo>
                <a:lnTo>
                  <a:pt x="320" y="291"/>
                </a:lnTo>
                <a:lnTo>
                  <a:pt x="329" y="272"/>
                </a:lnTo>
                <a:lnTo>
                  <a:pt x="336" y="252"/>
                </a:lnTo>
                <a:lnTo>
                  <a:pt x="342" y="234"/>
                </a:lnTo>
                <a:lnTo>
                  <a:pt x="347" y="214"/>
                </a:lnTo>
                <a:lnTo>
                  <a:pt x="350" y="195"/>
                </a:lnTo>
                <a:lnTo>
                  <a:pt x="351" y="176"/>
                </a:lnTo>
                <a:lnTo>
                  <a:pt x="350" y="158"/>
                </a:lnTo>
                <a:lnTo>
                  <a:pt x="347" y="140"/>
                </a:lnTo>
                <a:lnTo>
                  <a:pt x="344" y="124"/>
                </a:lnTo>
                <a:lnTo>
                  <a:pt x="337" y="108"/>
                </a:lnTo>
                <a:lnTo>
                  <a:pt x="330" y="92"/>
                </a:lnTo>
                <a:lnTo>
                  <a:pt x="321" y="77"/>
                </a:lnTo>
                <a:lnTo>
                  <a:pt x="311" y="64"/>
                </a:lnTo>
                <a:lnTo>
                  <a:pt x="299" y="51"/>
                </a:lnTo>
                <a:lnTo>
                  <a:pt x="287" y="40"/>
                </a:lnTo>
                <a:lnTo>
                  <a:pt x="273" y="30"/>
                </a:lnTo>
                <a:lnTo>
                  <a:pt x="260" y="21"/>
                </a:lnTo>
                <a:lnTo>
                  <a:pt x="243" y="14"/>
                </a:lnTo>
                <a:lnTo>
                  <a:pt x="227" y="7"/>
                </a:lnTo>
                <a:lnTo>
                  <a:pt x="211" y="4"/>
                </a:lnTo>
                <a:lnTo>
                  <a:pt x="193" y="1"/>
                </a:lnTo>
                <a:lnTo>
                  <a:pt x="176" y="0"/>
                </a:lnTo>
                <a:close/>
                <a:moveTo>
                  <a:pt x="176" y="260"/>
                </a:moveTo>
                <a:lnTo>
                  <a:pt x="184" y="260"/>
                </a:lnTo>
                <a:lnTo>
                  <a:pt x="193" y="259"/>
                </a:lnTo>
                <a:lnTo>
                  <a:pt x="201" y="256"/>
                </a:lnTo>
                <a:lnTo>
                  <a:pt x="210" y="254"/>
                </a:lnTo>
                <a:lnTo>
                  <a:pt x="218" y="250"/>
                </a:lnTo>
                <a:lnTo>
                  <a:pt x="225" y="245"/>
                </a:lnTo>
                <a:lnTo>
                  <a:pt x="231" y="240"/>
                </a:lnTo>
                <a:lnTo>
                  <a:pt x="237" y="235"/>
                </a:lnTo>
                <a:lnTo>
                  <a:pt x="243" y="228"/>
                </a:lnTo>
                <a:lnTo>
                  <a:pt x="248" y="221"/>
                </a:lnTo>
                <a:lnTo>
                  <a:pt x="252" y="214"/>
                </a:lnTo>
                <a:lnTo>
                  <a:pt x="256" y="207"/>
                </a:lnTo>
                <a:lnTo>
                  <a:pt x="260" y="198"/>
                </a:lnTo>
                <a:lnTo>
                  <a:pt x="262" y="191"/>
                </a:lnTo>
                <a:lnTo>
                  <a:pt x="263" y="182"/>
                </a:lnTo>
                <a:lnTo>
                  <a:pt x="263" y="172"/>
                </a:lnTo>
                <a:lnTo>
                  <a:pt x="263" y="163"/>
                </a:lnTo>
                <a:lnTo>
                  <a:pt x="262" y="155"/>
                </a:lnTo>
                <a:lnTo>
                  <a:pt x="260" y="146"/>
                </a:lnTo>
                <a:lnTo>
                  <a:pt x="256" y="139"/>
                </a:lnTo>
                <a:lnTo>
                  <a:pt x="252" y="130"/>
                </a:lnTo>
                <a:lnTo>
                  <a:pt x="248" y="124"/>
                </a:lnTo>
                <a:lnTo>
                  <a:pt x="243" y="116"/>
                </a:lnTo>
                <a:lnTo>
                  <a:pt x="237" y="110"/>
                </a:lnTo>
                <a:lnTo>
                  <a:pt x="231" y="104"/>
                </a:lnTo>
                <a:lnTo>
                  <a:pt x="225" y="99"/>
                </a:lnTo>
                <a:lnTo>
                  <a:pt x="218" y="95"/>
                </a:lnTo>
                <a:lnTo>
                  <a:pt x="210" y="92"/>
                </a:lnTo>
                <a:lnTo>
                  <a:pt x="201" y="88"/>
                </a:lnTo>
                <a:lnTo>
                  <a:pt x="193" y="87"/>
                </a:lnTo>
                <a:lnTo>
                  <a:pt x="184" y="85"/>
                </a:lnTo>
                <a:lnTo>
                  <a:pt x="176" y="84"/>
                </a:lnTo>
                <a:lnTo>
                  <a:pt x="167" y="85"/>
                </a:lnTo>
                <a:lnTo>
                  <a:pt x="158" y="87"/>
                </a:lnTo>
                <a:lnTo>
                  <a:pt x="150" y="88"/>
                </a:lnTo>
                <a:lnTo>
                  <a:pt x="141" y="92"/>
                </a:lnTo>
                <a:lnTo>
                  <a:pt x="133" y="95"/>
                </a:lnTo>
                <a:lnTo>
                  <a:pt x="126" y="99"/>
                </a:lnTo>
                <a:lnTo>
                  <a:pt x="120" y="104"/>
                </a:lnTo>
                <a:lnTo>
                  <a:pt x="114" y="110"/>
                </a:lnTo>
                <a:lnTo>
                  <a:pt x="108" y="116"/>
                </a:lnTo>
                <a:lnTo>
                  <a:pt x="103" y="124"/>
                </a:lnTo>
                <a:lnTo>
                  <a:pt x="98" y="130"/>
                </a:lnTo>
                <a:lnTo>
                  <a:pt x="94" y="139"/>
                </a:lnTo>
                <a:lnTo>
                  <a:pt x="91" y="146"/>
                </a:lnTo>
                <a:lnTo>
                  <a:pt x="89" y="155"/>
                </a:lnTo>
                <a:lnTo>
                  <a:pt x="88" y="163"/>
                </a:lnTo>
                <a:lnTo>
                  <a:pt x="88" y="172"/>
                </a:lnTo>
                <a:lnTo>
                  <a:pt x="88" y="182"/>
                </a:lnTo>
                <a:lnTo>
                  <a:pt x="89" y="191"/>
                </a:lnTo>
                <a:lnTo>
                  <a:pt x="91" y="198"/>
                </a:lnTo>
                <a:lnTo>
                  <a:pt x="94" y="207"/>
                </a:lnTo>
                <a:lnTo>
                  <a:pt x="98" y="214"/>
                </a:lnTo>
                <a:lnTo>
                  <a:pt x="103" y="221"/>
                </a:lnTo>
                <a:lnTo>
                  <a:pt x="108" y="228"/>
                </a:lnTo>
                <a:lnTo>
                  <a:pt x="114" y="235"/>
                </a:lnTo>
                <a:lnTo>
                  <a:pt x="120" y="240"/>
                </a:lnTo>
                <a:lnTo>
                  <a:pt x="126" y="245"/>
                </a:lnTo>
                <a:lnTo>
                  <a:pt x="133" y="250"/>
                </a:lnTo>
                <a:lnTo>
                  <a:pt x="141" y="254"/>
                </a:lnTo>
                <a:lnTo>
                  <a:pt x="150" y="256"/>
                </a:lnTo>
                <a:lnTo>
                  <a:pt x="158" y="259"/>
                </a:lnTo>
                <a:lnTo>
                  <a:pt x="167" y="260"/>
                </a:lnTo>
                <a:lnTo>
                  <a:pt x="176" y="26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7" name="Freeform 36">
            <a:extLst>
              <a:ext uri="{FF2B5EF4-FFF2-40B4-BE49-F238E27FC236}">
                <a16:creationId xmlns:a16="http://schemas.microsoft.com/office/drawing/2014/main" id="{E6DE8225-F0C9-FDEA-C2EA-6A671FAA8584}"/>
              </a:ext>
            </a:extLst>
          </p:cNvPr>
          <p:cNvSpPr>
            <a:spLocks noEditPoints="1"/>
          </p:cNvSpPr>
          <p:nvPr/>
        </p:nvSpPr>
        <p:spPr bwMode="auto">
          <a:xfrm>
            <a:off x="10167938" y="7192921"/>
            <a:ext cx="371475" cy="349250"/>
          </a:xfrm>
          <a:custGeom>
            <a:avLst/>
            <a:gdLst>
              <a:gd name="T0" fmla="*/ 73 w 469"/>
              <a:gd name="T1" fmla="*/ 278 h 439"/>
              <a:gd name="T2" fmla="*/ 396 w 469"/>
              <a:gd name="T3" fmla="*/ 73 h 439"/>
              <a:gd name="T4" fmla="*/ 439 w 469"/>
              <a:gd name="T5" fmla="*/ 338 h 439"/>
              <a:gd name="T6" fmla="*/ 435 w 469"/>
              <a:gd name="T7" fmla="*/ 347 h 439"/>
              <a:gd name="T8" fmla="*/ 424 w 469"/>
              <a:gd name="T9" fmla="*/ 351 h 439"/>
              <a:gd name="T10" fmla="*/ 176 w 469"/>
              <a:gd name="T11" fmla="*/ 351 h 439"/>
              <a:gd name="T12" fmla="*/ 39 w 469"/>
              <a:gd name="T13" fmla="*/ 350 h 439"/>
              <a:gd name="T14" fmla="*/ 30 w 469"/>
              <a:gd name="T15" fmla="*/ 343 h 439"/>
              <a:gd name="T16" fmla="*/ 29 w 469"/>
              <a:gd name="T17" fmla="*/ 43 h 439"/>
              <a:gd name="T18" fmla="*/ 34 w 469"/>
              <a:gd name="T19" fmla="*/ 33 h 439"/>
              <a:gd name="T20" fmla="*/ 44 w 469"/>
              <a:gd name="T21" fmla="*/ 30 h 439"/>
              <a:gd name="T22" fmla="*/ 430 w 469"/>
              <a:gd name="T23" fmla="*/ 31 h 439"/>
              <a:gd name="T24" fmla="*/ 438 w 469"/>
              <a:gd name="T25" fmla="*/ 38 h 439"/>
              <a:gd name="T26" fmla="*/ 439 w 469"/>
              <a:gd name="T27" fmla="*/ 338 h 439"/>
              <a:gd name="T28" fmla="*/ 44 w 469"/>
              <a:gd name="T29" fmla="*/ 0 h 439"/>
              <a:gd name="T30" fmla="*/ 26 w 469"/>
              <a:gd name="T31" fmla="*/ 4 h 439"/>
              <a:gd name="T32" fmla="*/ 13 w 469"/>
              <a:gd name="T33" fmla="*/ 12 h 439"/>
              <a:gd name="T34" fmla="*/ 3 w 469"/>
              <a:gd name="T35" fmla="*/ 27 h 439"/>
              <a:gd name="T36" fmla="*/ 0 w 469"/>
              <a:gd name="T37" fmla="*/ 43 h 439"/>
              <a:gd name="T38" fmla="*/ 0 w 469"/>
              <a:gd name="T39" fmla="*/ 346 h 439"/>
              <a:gd name="T40" fmla="*/ 8 w 469"/>
              <a:gd name="T41" fmla="*/ 361 h 439"/>
              <a:gd name="T42" fmla="*/ 19 w 469"/>
              <a:gd name="T43" fmla="*/ 373 h 439"/>
              <a:gd name="T44" fmla="*/ 35 w 469"/>
              <a:gd name="T45" fmla="*/ 380 h 439"/>
              <a:gd name="T46" fmla="*/ 191 w 469"/>
              <a:gd name="T47" fmla="*/ 381 h 439"/>
              <a:gd name="T48" fmla="*/ 99 w 469"/>
              <a:gd name="T49" fmla="*/ 411 h 439"/>
              <a:gd name="T50" fmla="*/ 90 w 469"/>
              <a:gd name="T51" fmla="*/ 416 h 439"/>
              <a:gd name="T52" fmla="*/ 88 w 469"/>
              <a:gd name="T53" fmla="*/ 425 h 439"/>
              <a:gd name="T54" fmla="*/ 92 w 469"/>
              <a:gd name="T55" fmla="*/ 435 h 439"/>
              <a:gd name="T56" fmla="*/ 103 w 469"/>
              <a:gd name="T57" fmla="*/ 439 h 439"/>
              <a:gd name="T58" fmla="*/ 371 w 469"/>
              <a:gd name="T59" fmla="*/ 439 h 439"/>
              <a:gd name="T60" fmla="*/ 380 w 469"/>
              <a:gd name="T61" fmla="*/ 430 h 439"/>
              <a:gd name="T62" fmla="*/ 380 w 469"/>
              <a:gd name="T63" fmla="*/ 420 h 439"/>
              <a:gd name="T64" fmla="*/ 373 w 469"/>
              <a:gd name="T65" fmla="*/ 413 h 439"/>
              <a:gd name="T66" fmla="*/ 278 w 469"/>
              <a:gd name="T67" fmla="*/ 399 h 439"/>
              <a:gd name="T68" fmla="*/ 424 w 469"/>
              <a:gd name="T69" fmla="*/ 381 h 439"/>
              <a:gd name="T70" fmla="*/ 441 w 469"/>
              <a:gd name="T71" fmla="*/ 377 h 439"/>
              <a:gd name="T72" fmla="*/ 455 w 469"/>
              <a:gd name="T73" fmla="*/ 369 h 439"/>
              <a:gd name="T74" fmla="*/ 465 w 469"/>
              <a:gd name="T75" fmla="*/ 354 h 439"/>
              <a:gd name="T76" fmla="*/ 469 w 469"/>
              <a:gd name="T77" fmla="*/ 338 h 439"/>
              <a:gd name="T78" fmla="*/ 467 w 469"/>
              <a:gd name="T79" fmla="*/ 34 h 439"/>
              <a:gd name="T80" fmla="*/ 461 w 469"/>
              <a:gd name="T81" fmla="*/ 20 h 439"/>
              <a:gd name="T82" fmla="*/ 449 w 469"/>
              <a:gd name="T83" fmla="*/ 7 h 439"/>
              <a:gd name="T84" fmla="*/ 433 w 469"/>
              <a:gd name="T85" fmla="*/ 1 h 439"/>
              <a:gd name="T86" fmla="*/ 396 w 469"/>
              <a:gd name="T87" fmla="*/ 58 h 439"/>
              <a:gd name="T88" fmla="*/ 67 w 469"/>
              <a:gd name="T89" fmla="*/ 59 h 439"/>
              <a:gd name="T90" fmla="*/ 60 w 469"/>
              <a:gd name="T91" fmla="*/ 68 h 439"/>
              <a:gd name="T92" fmla="*/ 58 w 469"/>
              <a:gd name="T93" fmla="*/ 278 h 439"/>
              <a:gd name="T94" fmla="*/ 62 w 469"/>
              <a:gd name="T95" fmla="*/ 288 h 439"/>
              <a:gd name="T96" fmla="*/ 73 w 469"/>
              <a:gd name="T97" fmla="*/ 293 h 439"/>
              <a:gd name="T98" fmla="*/ 401 w 469"/>
              <a:gd name="T99" fmla="*/ 292 h 439"/>
              <a:gd name="T100" fmla="*/ 408 w 469"/>
              <a:gd name="T101" fmla="*/ 284 h 439"/>
              <a:gd name="T102" fmla="*/ 409 w 469"/>
              <a:gd name="T103" fmla="*/ 73 h 439"/>
              <a:gd name="T104" fmla="*/ 406 w 469"/>
              <a:gd name="T105" fmla="*/ 63 h 439"/>
              <a:gd name="T106" fmla="*/ 396 w 469"/>
              <a:gd name="T107" fmla="*/ 5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9" h="439">
                <a:moveTo>
                  <a:pt x="396" y="278"/>
                </a:moveTo>
                <a:lnTo>
                  <a:pt x="73" y="278"/>
                </a:lnTo>
                <a:lnTo>
                  <a:pt x="73" y="73"/>
                </a:lnTo>
                <a:lnTo>
                  <a:pt x="396" y="73"/>
                </a:lnTo>
                <a:lnTo>
                  <a:pt x="396" y="278"/>
                </a:lnTo>
                <a:close/>
                <a:moveTo>
                  <a:pt x="439" y="338"/>
                </a:moveTo>
                <a:lnTo>
                  <a:pt x="438" y="343"/>
                </a:lnTo>
                <a:lnTo>
                  <a:pt x="435" y="347"/>
                </a:lnTo>
                <a:lnTo>
                  <a:pt x="430" y="350"/>
                </a:lnTo>
                <a:lnTo>
                  <a:pt x="424" y="351"/>
                </a:lnTo>
                <a:lnTo>
                  <a:pt x="293" y="351"/>
                </a:lnTo>
                <a:lnTo>
                  <a:pt x="176" y="351"/>
                </a:lnTo>
                <a:lnTo>
                  <a:pt x="44" y="351"/>
                </a:lnTo>
                <a:lnTo>
                  <a:pt x="39" y="350"/>
                </a:lnTo>
                <a:lnTo>
                  <a:pt x="34" y="347"/>
                </a:lnTo>
                <a:lnTo>
                  <a:pt x="30" y="343"/>
                </a:lnTo>
                <a:lnTo>
                  <a:pt x="29" y="338"/>
                </a:lnTo>
                <a:lnTo>
                  <a:pt x="29" y="43"/>
                </a:lnTo>
                <a:lnTo>
                  <a:pt x="30" y="38"/>
                </a:lnTo>
                <a:lnTo>
                  <a:pt x="34" y="33"/>
                </a:lnTo>
                <a:lnTo>
                  <a:pt x="39" y="31"/>
                </a:lnTo>
                <a:lnTo>
                  <a:pt x="44" y="30"/>
                </a:lnTo>
                <a:lnTo>
                  <a:pt x="424" y="30"/>
                </a:lnTo>
                <a:lnTo>
                  <a:pt x="430" y="31"/>
                </a:lnTo>
                <a:lnTo>
                  <a:pt x="435" y="33"/>
                </a:lnTo>
                <a:lnTo>
                  <a:pt x="438" y="38"/>
                </a:lnTo>
                <a:lnTo>
                  <a:pt x="439" y="43"/>
                </a:lnTo>
                <a:lnTo>
                  <a:pt x="439" y="338"/>
                </a:lnTo>
                <a:close/>
                <a:moveTo>
                  <a:pt x="424" y="0"/>
                </a:moveTo>
                <a:lnTo>
                  <a:pt x="44" y="0"/>
                </a:lnTo>
                <a:lnTo>
                  <a:pt x="35" y="1"/>
                </a:lnTo>
                <a:lnTo>
                  <a:pt x="26" y="4"/>
                </a:lnTo>
                <a:lnTo>
                  <a:pt x="19" y="7"/>
                </a:lnTo>
                <a:lnTo>
                  <a:pt x="13" y="12"/>
                </a:lnTo>
                <a:lnTo>
                  <a:pt x="8" y="20"/>
                </a:lnTo>
                <a:lnTo>
                  <a:pt x="3" y="27"/>
                </a:lnTo>
                <a:lnTo>
                  <a:pt x="0" y="34"/>
                </a:lnTo>
                <a:lnTo>
                  <a:pt x="0" y="43"/>
                </a:lnTo>
                <a:lnTo>
                  <a:pt x="0" y="338"/>
                </a:lnTo>
                <a:lnTo>
                  <a:pt x="0" y="346"/>
                </a:lnTo>
                <a:lnTo>
                  <a:pt x="3" y="354"/>
                </a:lnTo>
                <a:lnTo>
                  <a:pt x="8" y="361"/>
                </a:lnTo>
                <a:lnTo>
                  <a:pt x="13" y="369"/>
                </a:lnTo>
                <a:lnTo>
                  <a:pt x="19" y="373"/>
                </a:lnTo>
                <a:lnTo>
                  <a:pt x="26" y="377"/>
                </a:lnTo>
                <a:lnTo>
                  <a:pt x="35" y="380"/>
                </a:lnTo>
                <a:lnTo>
                  <a:pt x="44" y="381"/>
                </a:lnTo>
                <a:lnTo>
                  <a:pt x="191" y="381"/>
                </a:lnTo>
                <a:lnTo>
                  <a:pt x="191" y="399"/>
                </a:lnTo>
                <a:lnTo>
                  <a:pt x="99" y="411"/>
                </a:lnTo>
                <a:lnTo>
                  <a:pt x="94" y="413"/>
                </a:lnTo>
                <a:lnTo>
                  <a:pt x="90" y="416"/>
                </a:lnTo>
                <a:lnTo>
                  <a:pt x="88" y="420"/>
                </a:lnTo>
                <a:lnTo>
                  <a:pt x="88" y="425"/>
                </a:lnTo>
                <a:lnTo>
                  <a:pt x="89" y="430"/>
                </a:lnTo>
                <a:lnTo>
                  <a:pt x="92" y="435"/>
                </a:lnTo>
                <a:lnTo>
                  <a:pt x="97" y="439"/>
                </a:lnTo>
                <a:lnTo>
                  <a:pt x="103" y="439"/>
                </a:lnTo>
                <a:lnTo>
                  <a:pt x="366" y="439"/>
                </a:lnTo>
                <a:lnTo>
                  <a:pt x="371" y="439"/>
                </a:lnTo>
                <a:lnTo>
                  <a:pt x="376" y="435"/>
                </a:lnTo>
                <a:lnTo>
                  <a:pt x="380" y="430"/>
                </a:lnTo>
                <a:lnTo>
                  <a:pt x="381" y="425"/>
                </a:lnTo>
                <a:lnTo>
                  <a:pt x="380" y="420"/>
                </a:lnTo>
                <a:lnTo>
                  <a:pt x="377" y="416"/>
                </a:lnTo>
                <a:lnTo>
                  <a:pt x="373" y="413"/>
                </a:lnTo>
                <a:lnTo>
                  <a:pt x="370" y="411"/>
                </a:lnTo>
                <a:lnTo>
                  <a:pt x="278" y="399"/>
                </a:lnTo>
                <a:lnTo>
                  <a:pt x="278" y="381"/>
                </a:lnTo>
                <a:lnTo>
                  <a:pt x="424" y="381"/>
                </a:lnTo>
                <a:lnTo>
                  <a:pt x="434" y="380"/>
                </a:lnTo>
                <a:lnTo>
                  <a:pt x="441" y="377"/>
                </a:lnTo>
                <a:lnTo>
                  <a:pt x="449" y="373"/>
                </a:lnTo>
                <a:lnTo>
                  <a:pt x="455" y="369"/>
                </a:lnTo>
                <a:lnTo>
                  <a:pt x="461" y="361"/>
                </a:lnTo>
                <a:lnTo>
                  <a:pt x="465" y="354"/>
                </a:lnTo>
                <a:lnTo>
                  <a:pt x="467" y="346"/>
                </a:lnTo>
                <a:lnTo>
                  <a:pt x="469" y="338"/>
                </a:lnTo>
                <a:lnTo>
                  <a:pt x="469" y="43"/>
                </a:lnTo>
                <a:lnTo>
                  <a:pt x="467" y="34"/>
                </a:lnTo>
                <a:lnTo>
                  <a:pt x="465" y="27"/>
                </a:lnTo>
                <a:lnTo>
                  <a:pt x="461" y="20"/>
                </a:lnTo>
                <a:lnTo>
                  <a:pt x="455" y="12"/>
                </a:lnTo>
                <a:lnTo>
                  <a:pt x="449" y="7"/>
                </a:lnTo>
                <a:lnTo>
                  <a:pt x="441" y="4"/>
                </a:lnTo>
                <a:lnTo>
                  <a:pt x="433" y="1"/>
                </a:lnTo>
                <a:lnTo>
                  <a:pt x="424" y="0"/>
                </a:lnTo>
                <a:close/>
                <a:moveTo>
                  <a:pt x="396" y="58"/>
                </a:moveTo>
                <a:lnTo>
                  <a:pt x="73" y="58"/>
                </a:lnTo>
                <a:lnTo>
                  <a:pt x="67" y="59"/>
                </a:lnTo>
                <a:lnTo>
                  <a:pt x="62" y="63"/>
                </a:lnTo>
                <a:lnTo>
                  <a:pt x="60" y="68"/>
                </a:lnTo>
                <a:lnTo>
                  <a:pt x="58" y="73"/>
                </a:lnTo>
                <a:lnTo>
                  <a:pt x="58" y="278"/>
                </a:lnTo>
                <a:lnTo>
                  <a:pt x="60" y="284"/>
                </a:lnTo>
                <a:lnTo>
                  <a:pt x="62" y="288"/>
                </a:lnTo>
                <a:lnTo>
                  <a:pt x="67" y="292"/>
                </a:lnTo>
                <a:lnTo>
                  <a:pt x="73" y="293"/>
                </a:lnTo>
                <a:lnTo>
                  <a:pt x="396" y="293"/>
                </a:lnTo>
                <a:lnTo>
                  <a:pt x="401" y="292"/>
                </a:lnTo>
                <a:lnTo>
                  <a:pt x="406" y="288"/>
                </a:lnTo>
                <a:lnTo>
                  <a:pt x="408" y="284"/>
                </a:lnTo>
                <a:lnTo>
                  <a:pt x="409" y="278"/>
                </a:lnTo>
                <a:lnTo>
                  <a:pt x="409" y="73"/>
                </a:lnTo>
                <a:lnTo>
                  <a:pt x="408" y="67"/>
                </a:lnTo>
                <a:lnTo>
                  <a:pt x="406" y="63"/>
                </a:lnTo>
                <a:lnTo>
                  <a:pt x="401" y="59"/>
                </a:lnTo>
                <a:lnTo>
                  <a:pt x="396" y="5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8" name="Freeform 37">
            <a:extLst>
              <a:ext uri="{FF2B5EF4-FFF2-40B4-BE49-F238E27FC236}">
                <a16:creationId xmlns:a16="http://schemas.microsoft.com/office/drawing/2014/main" id="{BAEBDCE8-A546-5485-15EF-D18D0BF02622}"/>
              </a:ext>
            </a:extLst>
          </p:cNvPr>
          <p:cNvSpPr>
            <a:spLocks noEditPoints="1"/>
          </p:cNvSpPr>
          <p:nvPr/>
        </p:nvSpPr>
        <p:spPr bwMode="auto">
          <a:xfrm>
            <a:off x="9359900" y="7181808"/>
            <a:ext cx="373063" cy="371475"/>
          </a:xfrm>
          <a:custGeom>
            <a:avLst/>
            <a:gdLst>
              <a:gd name="T0" fmla="*/ 397 w 470"/>
              <a:gd name="T1" fmla="*/ 188 h 469"/>
              <a:gd name="T2" fmla="*/ 384 w 470"/>
              <a:gd name="T3" fmla="*/ 146 h 469"/>
              <a:gd name="T4" fmla="*/ 359 w 470"/>
              <a:gd name="T5" fmla="*/ 110 h 469"/>
              <a:gd name="T6" fmla="*/ 319 w 470"/>
              <a:gd name="T7" fmla="*/ 83 h 469"/>
              <a:gd name="T8" fmla="*/ 272 w 470"/>
              <a:gd name="T9" fmla="*/ 73 h 469"/>
              <a:gd name="T10" fmla="*/ 312 w 470"/>
              <a:gd name="T11" fmla="*/ 37 h 469"/>
              <a:gd name="T12" fmla="*/ 338 w 470"/>
              <a:gd name="T13" fmla="*/ 30 h 469"/>
              <a:gd name="T14" fmla="*/ 371 w 470"/>
              <a:gd name="T15" fmla="*/ 33 h 469"/>
              <a:gd name="T16" fmla="*/ 403 w 470"/>
              <a:gd name="T17" fmla="*/ 52 h 469"/>
              <a:gd name="T18" fmla="*/ 428 w 470"/>
              <a:gd name="T19" fmla="*/ 80 h 469"/>
              <a:gd name="T20" fmla="*/ 439 w 470"/>
              <a:gd name="T21" fmla="*/ 111 h 469"/>
              <a:gd name="T22" fmla="*/ 438 w 470"/>
              <a:gd name="T23" fmla="*/ 142 h 469"/>
              <a:gd name="T24" fmla="*/ 425 w 470"/>
              <a:gd name="T25" fmla="*/ 167 h 469"/>
              <a:gd name="T26" fmla="*/ 129 w 470"/>
              <a:gd name="T27" fmla="*/ 406 h 469"/>
              <a:gd name="T28" fmla="*/ 116 w 470"/>
              <a:gd name="T29" fmla="*/ 376 h 469"/>
              <a:gd name="T30" fmla="*/ 94 w 470"/>
              <a:gd name="T31" fmla="*/ 354 h 469"/>
              <a:gd name="T32" fmla="*/ 66 w 470"/>
              <a:gd name="T33" fmla="*/ 341 h 469"/>
              <a:gd name="T34" fmla="*/ 68 w 470"/>
              <a:gd name="T35" fmla="*/ 281 h 469"/>
              <a:gd name="T36" fmla="*/ 89 w 470"/>
              <a:gd name="T37" fmla="*/ 267 h 469"/>
              <a:gd name="T38" fmla="*/ 116 w 470"/>
              <a:gd name="T39" fmla="*/ 264 h 469"/>
              <a:gd name="T40" fmla="*/ 158 w 470"/>
              <a:gd name="T41" fmla="*/ 277 h 469"/>
              <a:gd name="T42" fmla="*/ 183 w 470"/>
              <a:gd name="T43" fmla="*/ 299 h 469"/>
              <a:gd name="T44" fmla="*/ 200 w 470"/>
              <a:gd name="T45" fmla="*/ 327 h 469"/>
              <a:gd name="T46" fmla="*/ 207 w 470"/>
              <a:gd name="T47" fmla="*/ 358 h 469"/>
              <a:gd name="T48" fmla="*/ 202 w 470"/>
              <a:gd name="T49" fmla="*/ 385 h 469"/>
              <a:gd name="T50" fmla="*/ 188 w 470"/>
              <a:gd name="T51" fmla="*/ 405 h 469"/>
              <a:gd name="T52" fmla="*/ 57 w 470"/>
              <a:gd name="T53" fmla="*/ 439 h 469"/>
              <a:gd name="T54" fmla="*/ 40 w 470"/>
              <a:gd name="T55" fmla="*/ 437 h 469"/>
              <a:gd name="T56" fmla="*/ 30 w 470"/>
              <a:gd name="T57" fmla="*/ 422 h 469"/>
              <a:gd name="T58" fmla="*/ 47 w 470"/>
              <a:gd name="T59" fmla="*/ 354 h 469"/>
              <a:gd name="T60" fmla="*/ 72 w 470"/>
              <a:gd name="T61" fmla="*/ 359 h 469"/>
              <a:gd name="T62" fmla="*/ 95 w 470"/>
              <a:gd name="T63" fmla="*/ 374 h 469"/>
              <a:gd name="T64" fmla="*/ 111 w 470"/>
              <a:gd name="T65" fmla="*/ 398 h 469"/>
              <a:gd name="T66" fmla="*/ 116 w 470"/>
              <a:gd name="T67" fmla="*/ 424 h 469"/>
              <a:gd name="T68" fmla="*/ 134 w 470"/>
              <a:gd name="T69" fmla="*/ 236 h 469"/>
              <a:gd name="T70" fmla="*/ 232 w 470"/>
              <a:gd name="T71" fmla="*/ 115 h 469"/>
              <a:gd name="T72" fmla="*/ 265 w 470"/>
              <a:gd name="T73" fmla="*/ 103 h 469"/>
              <a:gd name="T74" fmla="*/ 155 w 470"/>
              <a:gd name="T75" fmla="*/ 242 h 469"/>
              <a:gd name="T76" fmla="*/ 190 w 470"/>
              <a:gd name="T77" fmla="*/ 266 h 469"/>
              <a:gd name="T78" fmla="*/ 308 w 470"/>
              <a:gd name="T79" fmla="*/ 110 h 469"/>
              <a:gd name="T80" fmla="*/ 339 w 470"/>
              <a:gd name="T81" fmla="*/ 131 h 469"/>
              <a:gd name="T82" fmla="*/ 357 w 470"/>
              <a:gd name="T83" fmla="*/ 157 h 469"/>
              <a:gd name="T84" fmla="*/ 231 w 470"/>
              <a:gd name="T85" fmla="*/ 329 h 469"/>
              <a:gd name="T86" fmla="*/ 366 w 470"/>
              <a:gd name="T87" fmla="*/ 182 h 469"/>
              <a:gd name="T88" fmla="*/ 363 w 470"/>
              <a:gd name="T89" fmla="*/ 221 h 469"/>
              <a:gd name="T90" fmla="*/ 349 w 470"/>
              <a:gd name="T91" fmla="*/ 245 h 469"/>
              <a:gd name="T92" fmla="*/ 235 w 470"/>
              <a:gd name="T93" fmla="*/ 355 h 469"/>
              <a:gd name="T94" fmla="*/ 412 w 470"/>
              <a:gd name="T95" fmla="*/ 22 h 469"/>
              <a:gd name="T96" fmla="*/ 367 w 470"/>
              <a:gd name="T97" fmla="*/ 2 h 469"/>
              <a:gd name="T98" fmla="*/ 325 w 470"/>
              <a:gd name="T99" fmla="*/ 1 h 469"/>
              <a:gd name="T100" fmla="*/ 291 w 470"/>
              <a:gd name="T101" fmla="*/ 16 h 469"/>
              <a:gd name="T102" fmla="*/ 204 w 470"/>
              <a:gd name="T103" fmla="*/ 100 h 469"/>
              <a:gd name="T104" fmla="*/ 204 w 470"/>
              <a:gd name="T105" fmla="*/ 100 h 469"/>
              <a:gd name="T106" fmla="*/ 40 w 470"/>
              <a:gd name="T107" fmla="*/ 271 h 469"/>
              <a:gd name="T108" fmla="*/ 0 w 470"/>
              <a:gd name="T109" fmla="*/ 418 h 469"/>
              <a:gd name="T110" fmla="*/ 16 w 470"/>
              <a:gd name="T111" fmla="*/ 454 h 469"/>
              <a:gd name="T112" fmla="*/ 52 w 470"/>
              <a:gd name="T113" fmla="*/ 469 h 469"/>
              <a:gd name="T114" fmla="*/ 200 w 470"/>
              <a:gd name="T115" fmla="*/ 432 h 469"/>
              <a:gd name="T116" fmla="*/ 441 w 470"/>
              <a:gd name="T117" fmla="*/ 193 h 469"/>
              <a:gd name="T118" fmla="*/ 464 w 470"/>
              <a:gd name="T119" fmla="*/ 158 h 469"/>
              <a:gd name="T120" fmla="*/ 470 w 470"/>
              <a:gd name="T121" fmla="*/ 118 h 469"/>
              <a:gd name="T122" fmla="*/ 459 w 470"/>
              <a:gd name="T123" fmla="*/ 75 h 469"/>
              <a:gd name="T124" fmla="*/ 431 w 470"/>
              <a:gd name="T125" fmla="*/ 3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0" h="469">
                <a:moveTo>
                  <a:pt x="422" y="173"/>
                </a:moveTo>
                <a:lnTo>
                  <a:pt x="397" y="198"/>
                </a:lnTo>
                <a:lnTo>
                  <a:pt x="397" y="193"/>
                </a:lnTo>
                <a:lnTo>
                  <a:pt x="397" y="188"/>
                </a:lnTo>
                <a:lnTo>
                  <a:pt x="394" y="177"/>
                </a:lnTo>
                <a:lnTo>
                  <a:pt x="392" y="167"/>
                </a:lnTo>
                <a:lnTo>
                  <a:pt x="389" y="156"/>
                </a:lnTo>
                <a:lnTo>
                  <a:pt x="384" y="146"/>
                </a:lnTo>
                <a:lnTo>
                  <a:pt x="380" y="137"/>
                </a:lnTo>
                <a:lnTo>
                  <a:pt x="373" y="127"/>
                </a:lnTo>
                <a:lnTo>
                  <a:pt x="367" y="119"/>
                </a:lnTo>
                <a:lnTo>
                  <a:pt x="359" y="110"/>
                </a:lnTo>
                <a:lnTo>
                  <a:pt x="350" y="101"/>
                </a:lnTo>
                <a:lnTo>
                  <a:pt x="340" y="94"/>
                </a:lnTo>
                <a:lnTo>
                  <a:pt x="329" y="88"/>
                </a:lnTo>
                <a:lnTo>
                  <a:pt x="319" y="83"/>
                </a:lnTo>
                <a:lnTo>
                  <a:pt x="307" y="78"/>
                </a:lnTo>
                <a:lnTo>
                  <a:pt x="296" y="75"/>
                </a:lnTo>
                <a:lnTo>
                  <a:pt x="284" y="73"/>
                </a:lnTo>
                <a:lnTo>
                  <a:pt x="272" y="73"/>
                </a:lnTo>
                <a:lnTo>
                  <a:pt x="297" y="48"/>
                </a:lnTo>
                <a:lnTo>
                  <a:pt x="302" y="45"/>
                </a:lnTo>
                <a:lnTo>
                  <a:pt x="307" y="40"/>
                </a:lnTo>
                <a:lnTo>
                  <a:pt x="312" y="37"/>
                </a:lnTo>
                <a:lnTo>
                  <a:pt x="318" y="35"/>
                </a:lnTo>
                <a:lnTo>
                  <a:pt x="324" y="32"/>
                </a:lnTo>
                <a:lnTo>
                  <a:pt x="330" y="31"/>
                </a:lnTo>
                <a:lnTo>
                  <a:pt x="338" y="30"/>
                </a:lnTo>
                <a:lnTo>
                  <a:pt x="344" y="30"/>
                </a:lnTo>
                <a:lnTo>
                  <a:pt x="354" y="30"/>
                </a:lnTo>
                <a:lnTo>
                  <a:pt x="362" y="31"/>
                </a:lnTo>
                <a:lnTo>
                  <a:pt x="371" y="33"/>
                </a:lnTo>
                <a:lnTo>
                  <a:pt x="380" y="37"/>
                </a:lnTo>
                <a:lnTo>
                  <a:pt x="387" y="41"/>
                </a:lnTo>
                <a:lnTo>
                  <a:pt x="396" y="46"/>
                </a:lnTo>
                <a:lnTo>
                  <a:pt x="403" y="52"/>
                </a:lnTo>
                <a:lnTo>
                  <a:pt x="410" y="58"/>
                </a:lnTo>
                <a:lnTo>
                  <a:pt x="417" y="66"/>
                </a:lnTo>
                <a:lnTo>
                  <a:pt x="423" y="73"/>
                </a:lnTo>
                <a:lnTo>
                  <a:pt x="428" y="80"/>
                </a:lnTo>
                <a:lnTo>
                  <a:pt x="431" y="88"/>
                </a:lnTo>
                <a:lnTo>
                  <a:pt x="435" y="95"/>
                </a:lnTo>
                <a:lnTo>
                  <a:pt x="438" y="104"/>
                </a:lnTo>
                <a:lnTo>
                  <a:pt x="439" y="111"/>
                </a:lnTo>
                <a:lnTo>
                  <a:pt x="440" y="120"/>
                </a:lnTo>
                <a:lnTo>
                  <a:pt x="440" y="127"/>
                </a:lnTo>
                <a:lnTo>
                  <a:pt x="439" y="135"/>
                </a:lnTo>
                <a:lnTo>
                  <a:pt x="438" y="142"/>
                </a:lnTo>
                <a:lnTo>
                  <a:pt x="436" y="148"/>
                </a:lnTo>
                <a:lnTo>
                  <a:pt x="433" y="156"/>
                </a:lnTo>
                <a:lnTo>
                  <a:pt x="430" y="162"/>
                </a:lnTo>
                <a:lnTo>
                  <a:pt x="425" y="167"/>
                </a:lnTo>
                <a:lnTo>
                  <a:pt x="422" y="173"/>
                </a:lnTo>
                <a:close/>
                <a:moveTo>
                  <a:pt x="131" y="419"/>
                </a:moveTo>
                <a:lnTo>
                  <a:pt x="130" y="413"/>
                </a:lnTo>
                <a:lnTo>
                  <a:pt x="129" y="406"/>
                </a:lnTo>
                <a:lnTo>
                  <a:pt x="127" y="398"/>
                </a:lnTo>
                <a:lnTo>
                  <a:pt x="125" y="391"/>
                </a:lnTo>
                <a:lnTo>
                  <a:pt x="121" y="384"/>
                </a:lnTo>
                <a:lnTo>
                  <a:pt x="116" y="376"/>
                </a:lnTo>
                <a:lnTo>
                  <a:pt x="111" y="370"/>
                </a:lnTo>
                <a:lnTo>
                  <a:pt x="106" y="364"/>
                </a:lnTo>
                <a:lnTo>
                  <a:pt x="100" y="359"/>
                </a:lnTo>
                <a:lnTo>
                  <a:pt x="94" y="354"/>
                </a:lnTo>
                <a:lnTo>
                  <a:pt x="87" y="349"/>
                </a:lnTo>
                <a:lnTo>
                  <a:pt x="80" y="346"/>
                </a:lnTo>
                <a:lnTo>
                  <a:pt x="73" y="343"/>
                </a:lnTo>
                <a:lnTo>
                  <a:pt x="66" y="341"/>
                </a:lnTo>
                <a:lnTo>
                  <a:pt x="58" y="339"/>
                </a:lnTo>
                <a:lnTo>
                  <a:pt x="51" y="339"/>
                </a:lnTo>
                <a:lnTo>
                  <a:pt x="66" y="286"/>
                </a:lnTo>
                <a:lnTo>
                  <a:pt x="68" y="281"/>
                </a:lnTo>
                <a:lnTo>
                  <a:pt x="72" y="276"/>
                </a:lnTo>
                <a:lnTo>
                  <a:pt x="77" y="272"/>
                </a:lnTo>
                <a:lnTo>
                  <a:pt x="83" y="270"/>
                </a:lnTo>
                <a:lnTo>
                  <a:pt x="89" y="267"/>
                </a:lnTo>
                <a:lnTo>
                  <a:pt x="95" y="265"/>
                </a:lnTo>
                <a:lnTo>
                  <a:pt x="103" y="264"/>
                </a:lnTo>
                <a:lnTo>
                  <a:pt x="109" y="264"/>
                </a:lnTo>
                <a:lnTo>
                  <a:pt x="116" y="264"/>
                </a:lnTo>
                <a:lnTo>
                  <a:pt x="124" y="265"/>
                </a:lnTo>
                <a:lnTo>
                  <a:pt x="137" y="268"/>
                </a:lnTo>
                <a:lnTo>
                  <a:pt x="152" y="273"/>
                </a:lnTo>
                <a:lnTo>
                  <a:pt x="158" y="277"/>
                </a:lnTo>
                <a:lnTo>
                  <a:pt x="164" y="282"/>
                </a:lnTo>
                <a:lnTo>
                  <a:pt x="171" y="287"/>
                </a:lnTo>
                <a:lnTo>
                  <a:pt x="177" y="292"/>
                </a:lnTo>
                <a:lnTo>
                  <a:pt x="183" y="299"/>
                </a:lnTo>
                <a:lnTo>
                  <a:pt x="188" y="306"/>
                </a:lnTo>
                <a:lnTo>
                  <a:pt x="193" y="313"/>
                </a:lnTo>
                <a:lnTo>
                  <a:pt x="197" y="319"/>
                </a:lnTo>
                <a:lnTo>
                  <a:pt x="200" y="327"/>
                </a:lnTo>
                <a:lnTo>
                  <a:pt x="203" y="334"/>
                </a:lnTo>
                <a:lnTo>
                  <a:pt x="204" y="341"/>
                </a:lnTo>
                <a:lnTo>
                  <a:pt x="205" y="350"/>
                </a:lnTo>
                <a:lnTo>
                  <a:pt x="207" y="358"/>
                </a:lnTo>
                <a:lnTo>
                  <a:pt x="207" y="365"/>
                </a:lnTo>
                <a:lnTo>
                  <a:pt x="205" y="371"/>
                </a:lnTo>
                <a:lnTo>
                  <a:pt x="204" y="379"/>
                </a:lnTo>
                <a:lnTo>
                  <a:pt x="202" y="385"/>
                </a:lnTo>
                <a:lnTo>
                  <a:pt x="198" y="392"/>
                </a:lnTo>
                <a:lnTo>
                  <a:pt x="194" y="398"/>
                </a:lnTo>
                <a:lnTo>
                  <a:pt x="190" y="403"/>
                </a:lnTo>
                <a:lnTo>
                  <a:pt x="188" y="405"/>
                </a:lnTo>
                <a:lnTo>
                  <a:pt x="184" y="406"/>
                </a:lnTo>
                <a:lnTo>
                  <a:pt x="131" y="419"/>
                </a:lnTo>
                <a:close/>
                <a:moveTo>
                  <a:pt x="62" y="438"/>
                </a:moveTo>
                <a:lnTo>
                  <a:pt x="57" y="439"/>
                </a:lnTo>
                <a:lnTo>
                  <a:pt x="52" y="440"/>
                </a:lnTo>
                <a:lnTo>
                  <a:pt x="47" y="439"/>
                </a:lnTo>
                <a:lnTo>
                  <a:pt x="43" y="438"/>
                </a:lnTo>
                <a:lnTo>
                  <a:pt x="40" y="437"/>
                </a:lnTo>
                <a:lnTo>
                  <a:pt x="36" y="433"/>
                </a:lnTo>
                <a:lnTo>
                  <a:pt x="33" y="431"/>
                </a:lnTo>
                <a:lnTo>
                  <a:pt x="32" y="427"/>
                </a:lnTo>
                <a:lnTo>
                  <a:pt x="30" y="422"/>
                </a:lnTo>
                <a:lnTo>
                  <a:pt x="30" y="418"/>
                </a:lnTo>
                <a:lnTo>
                  <a:pt x="31" y="413"/>
                </a:lnTo>
                <a:lnTo>
                  <a:pt x="31" y="409"/>
                </a:lnTo>
                <a:lnTo>
                  <a:pt x="47" y="354"/>
                </a:lnTo>
                <a:lnTo>
                  <a:pt x="53" y="354"/>
                </a:lnTo>
                <a:lnTo>
                  <a:pt x="59" y="355"/>
                </a:lnTo>
                <a:lnTo>
                  <a:pt x="66" y="356"/>
                </a:lnTo>
                <a:lnTo>
                  <a:pt x="72" y="359"/>
                </a:lnTo>
                <a:lnTo>
                  <a:pt x="78" y="361"/>
                </a:lnTo>
                <a:lnTo>
                  <a:pt x="84" y="365"/>
                </a:lnTo>
                <a:lnTo>
                  <a:pt x="90" y="369"/>
                </a:lnTo>
                <a:lnTo>
                  <a:pt x="95" y="374"/>
                </a:lnTo>
                <a:lnTo>
                  <a:pt x="100" y="380"/>
                </a:lnTo>
                <a:lnTo>
                  <a:pt x="105" y="386"/>
                </a:lnTo>
                <a:lnTo>
                  <a:pt x="109" y="392"/>
                </a:lnTo>
                <a:lnTo>
                  <a:pt x="111" y="398"/>
                </a:lnTo>
                <a:lnTo>
                  <a:pt x="114" y="405"/>
                </a:lnTo>
                <a:lnTo>
                  <a:pt x="115" y="411"/>
                </a:lnTo>
                <a:lnTo>
                  <a:pt x="116" y="417"/>
                </a:lnTo>
                <a:lnTo>
                  <a:pt x="116" y="424"/>
                </a:lnTo>
                <a:lnTo>
                  <a:pt x="62" y="438"/>
                </a:lnTo>
                <a:close/>
                <a:moveTo>
                  <a:pt x="155" y="242"/>
                </a:moveTo>
                <a:lnTo>
                  <a:pt x="143" y="239"/>
                </a:lnTo>
                <a:lnTo>
                  <a:pt x="134" y="236"/>
                </a:lnTo>
                <a:lnTo>
                  <a:pt x="122" y="235"/>
                </a:lnTo>
                <a:lnTo>
                  <a:pt x="113" y="234"/>
                </a:lnTo>
                <a:lnTo>
                  <a:pt x="225" y="120"/>
                </a:lnTo>
                <a:lnTo>
                  <a:pt x="232" y="115"/>
                </a:lnTo>
                <a:lnTo>
                  <a:pt x="240" y="110"/>
                </a:lnTo>
                <a:lnTo>
                  <a:pt x="247" y="106"/>
                </a:lnTo>
                <a:lnTo>
                  <a:pt x="256" y="104"/>
                </a:lnTo>
                <a:lnTo>
                  <a:pt x="265" y="103"/>
                </a:lnTo>
                <a:lnTo>
                  <a:pt x="273" y="103"/>
                </a:lnTo>
                <a:lnTo>
                  <a:pt x="283" y="103"/>
                </a:lnTo>
                <a:lnTo>
                  <a:pt x="292" y="105"/>
                </a:lnTo>
                <a:lnTo>
                  <a:pt x="155" y="242"/>
                </a:lnTo>
                <a:close/>
                <a:moveTo>
                  <a:pt x="218" y="297"/>
                </a:moveTo>
                <a:lnTo>
                  <a:pt x="209" y="283"/>
                </a:lnTo>
                <a:lnTo>
                  <a:pt x="198" y="272"/>
                </a:lnTo>
                <a:lnTo>
                  <a:pt x="190" y="266"/>
                </a:lnTo>
                <a:lnTo>
                  <a:pt x="184" y="260"/>
                </a:lnTo>
                <a:lnTo>
                  <a:pt x="176" y="255"/>
                </a:lnTo>
                <a:lnTo>
                  <a:pt x="168" y="250"/>
                </a:lnTo>
                <a:lnTo>
                  <a:pt x="308" y="110"/>
                </a:lnTo>
                <a:lnTo>
                  <a:pt x="315" y="114"/>
                </a:lnTo>
                <a:lnTo>
                  <a:pt x="324" y="119"/>
                </a:lnTo>
                <a:lnTo>
                  <a:pt x="331" y="125"/>
                </a:lnTo>
                <a:lnTo>
                  <a:pt x="339" y="131"/>
                </a:lnTo>
                <a:lnTo>
                  <a:pt x="344" y="137"/>
                </a:lnTo>
                <a:lnTo>
                  <a:pt x="349" y="144"/>
                </a:lnTo>
                <a:lnTo>
                  <a:pt x="354" y="150"/>
                </a:lnTo>
                <a:lnTo>
                  <a:pt x="357" y="157"/>
                </a:lnTo>
                <a:lnTo>
                  <a:pt x="218" y="297"/>
                </a:lnTo>
                <a:close/>
                <a:moveTo>
                  <a:pt x="235" y="349"/>
                </a:moveTo>
                <a:lnTo>
                  <a:pt x="234" y="339"/>
                </a:lnTo>
                <a:lnTo>
                  <a:pt x="231" y="329"/>
                </a:lnTo>
                <a:lnTo>
                  <a:pt x="229" y="320"/>
                </a:lnTo>
                <a:lnTo>
                  <a:pt x="225" y="311"/>
                </a:lnTo>
                <a:lnTo>
                  <a:pt x="363" y="172"/>
                </a:lnTo>
                <a:lnTo>
                  <a:pt x="366" y="182"/>
                </a:lnTo>
                <a:lnTo>
                  <a:pt x="367" y="192"/>
                </a:lnTo>
                <a:lnTo>
                  <a:pt x="367" y="202"/>
                </a:lnTo>
                <a:lnTo>
                  <a:pt x="366" y="212"/>
                </a:lnTo>
                <a:lnTo>
                  <a:pt x="363" y="221"/>
                </a:lnTo>
                <a:lnTo>
                  <a:pt x="360" y="230"/>
                </a:lnTo>
                <a:lnTo>
                  <a:pt x="355" y="238"/>
                </a:lnTo>
                <a:lnTo>
                  <a:pt x="349" y="245"/>
                </a:lnTo>
                <a:lnTo>
                  <a:pt x="349" y="245"/>
                </a:lnTo>
                <a:lnTo>
                  <a:pt x="349" y="245"/>
                </a:lnTo>
                <a:lnTo>
                  <a:pt x="349" y="246"/>
                </a:lnTo>
                <a:lnTo>
                  <a:pt x="235" y="360"/>
                </a:lnTo>
                <a:lnTo>
                  <a:pt x="235" y="355"/>
                </a:lnTo>
                <a:lnTo>
                  <a:pt x="235" y="349"/>
                </a:lnTo>
                <a:close/>
                <a:moveTo>
                  <a:pt x="431" y="38"/>
                </a:moveTo>
                <a:lnTo>
                  <a:pt x="422" y="30"/>
                </a:lnTo>
                <a:lnTo>
                  <a:pt x="412" y="22"/>
                </a:lnTo>
                <a:lnTo>
                  <a:pt x="402" y="15"/>
                </a:lnTo>
                <a:lnTo>
                  <a:pt x="391" y="10"/>
                </a:lnTo>
                <a:lnTo>
                  <a:pt x="380" y="6"/>
                </a:lnTo>
                <a:lnTo>
                  <a:pt x="367" y="2"/>
                </a:lnTo>
                <a:lnTo>
                  <a:pt x="356" y="1"/>
                </a:lnTo>
                <a:lnTo>
                  <a:pt x="344" y="0"/>
                </a:lnTo>
                <a:lnTo>
                  <a:pt x="334" y="0"/>
                </a:lnTo>
                <a:lnTo>
                  <a:pt x="325" y="1"/>
                </a:lnTo>
                <a:lnTo>
                  <a:pt x="315" y="4"/>
                </a:lnTo>
                <a:lnTo>
                  <a:pt x="307" y="7"/>
                </a:lnTo>
                <a:lnTo>
                  <a:pt x="298" y="11"/>
                </a:lnTo>
                <a:lnTo>
                  <a:pt x="291" y="16"/>
                </a:lnTo>
                <a:lnTo>
                  <a:pt x="283" y="21"/>
                </a:lnTo>
                <a:lnTo>
                  <a:pt x="276" y="27"/>
                </a:lnTo>
                <a:lnTo>
                  <a:pt x="204" y="99"/>
                </a:lnTo>
                <a:lnTo>
                  <a:pt x="204" y="100"/>
                </a:lnTo>
                <a:lnTo>
                  <a:pt x="204" y="100"/>
                </a:lnTo>
                <a:lnTo>
                  <a:pt x="204" y="100"/>
                </a:lnTo>
                <a:lnTo>
                  <a:pt x="204" y="100"/>
                </a:lnTo>
                <a:lnTo>
                  <a:pt x="204" y="100"/>
                </a:lnTo>
                <a:lnTo>
                  <a:pt x="52" y="254"/>
                </a:lnTo>
                <a:lnTo>
                  <a:pt x="47" y="259"/>
                </a:lnTo>
                <a:lnTo>
                  <a:pt x="43" y="265"/>
                </a:lnTo>
                <a:lnTo>
                  <a:pt x="40" y="271"/>
                </a:lnTo>
                <a:lnTo>
                  <a:pt x="37" y="278"/>
                </a:lnTo>
                <a:lnTo>
                  <a:pt x="3" y="403"/>
                </a:lnTo>
                <a:lnTo>
                  <a:pt x="1" y="408"/>
                </a:lnTo>
                <a:lnTo>
                  <a:pt x="0" y="418"/>
                </a:lnTo>
                <a:lnTo>
                  <a:pt x="1" y="428"/>
                </a:lnTo>
                <a:lnTo>
                  <a:pt x="5" y="438"/>
                </a:lnTo>
                <a:lnTo>
                  <a:pt x="10" y="447"/>
                </a:lnTo>
                <a:lnTo>
                  <a:pt x="16" y="454"/>
                </a:lnTo>
                <a:lnTo>
                  <a:pt x="24" y="460"/>
                </a:lnTo>
                <a:lnTo>
                  <a:pt x="32" y="465"/>
                </a:lnTo>
                <a:lnTo>
                  <a:pt x="42" y="469"/>
                </a:lnTo>
                <a:lnTo>
                  <a:pt x="52" y="469"/>
                </a:lnTo>
                <a:lnTo>
                  <a:pt x="62" y="468"/>
                </a:lnTo>
                <a:lnTo>
                  <a:pt x="69" y="466"/>
                </a:lnTo>
                <a:lnTo>
                  <a:pt x="193" y="434"/>
                </a:lnTo>
                <a:lnTo>
                  <a:pt x="200" y="432"/>
                </a:lnTo>
                <a:lnTo>
                  <a:pt x="207" y="428"/>
                </a:lnTo>
                <a:lnTo>
                  <a:pt x="213" y="424"/>
                </a:lnTo>
                <a:lnTo>
                  <a:pt x="218" y="419"/>
                </a:lnTo>
                <a:lnTo>
                  <a:pt x="441" y="193"/>
                </a:lnTo>
                <a:lnTo>
                  <a:pt x="449" y="186"/>
                </a:lnTo>
                <a:lnTo>
                  <a:pt x="455" y="177"/>
                </a:lnTo>
                <a:lnTo>
                  <a:pt x="460" y="168"/>
                </a:lnTo>
                <a:lnTo>
                  <a:pt x="464" y="158"/>
                </a:lnTo>
                <a:lnTo>
                  <a:pt x="466" y="148"/>
                </a:lnTo>
                <a:lnTo>
                  <a:pt x="469" y="139"/>
                </a:lnTo>
                <a:lnTo>
                  <a:pt x="470" y="129"/>
                </a:lnTo>
                <a:lnTo>
                  <a:pt x="470" y="118"/>
                </a:lnTo>
                <a:lnTo>
                  <a:pt x="469" y="108"/>
                </a:lnTo>
                <a:lnTo>
                  <a:pt x="466" y="96"/>
                </a:lnTo>
                <a:lnTo>
                  <a:pt x="462" y="87"/>
                </a:lnTo>
                <a:lnTo>
                  <a:pt x="459" y="75"/>
                </a:lnTo>
                <a:lnTo>
                  <a:pt x="452" y="66"/>
                </a:lnTo>
                <a:lnTo>
                  <a:pt x="446" y="56"/>
                </a:lnTo>
                <a:lnTo>
                  <a:pt x="439" y="47"/>
                </a:lnTo>
                <a:lnTo>
                  <a:pt x="431" y="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39" name="Freeform 38">
            <a:extLst>
              <a:ext uri="{FF2B5EF4-FFF2-40B4-BE49-F238E27FC236}">
                <a16:creationId xmlns:a16="http://schemas.microsoft.com/office/drawing/2014/main" id="{2D4858FE-8C44-F381-A175-02AF0EC21698}"/>
              </a:ext>
            </a:extLst>
          </p:cNvPr>
          <p:cNvSpPr>
            <a:spLocks noEditPoints="1"/>
          </p:cNvSpPr>
          <p:nvPr/>
        </p:nvSpPr>
        <p:spPr bwMode="auto">
          <a:xfrm>
            <a:off x="8612188" y="7181808"/>
            <a:ext cx="255588" cy="371475"/>
          </a:xfrm>
          <a:custGeom>
            <a:avLst/>
            <a:gdLst>
              <a:gd name="T0" fmla="*/ 81 w 322"/>
              <a:gd name="T1" fmla="*/ 285 h 469"/>
              <a:gd name="T2" fmla="*/ 41 w 322"/>
              <a:gd name="T3" fmla="*/ 209 h 469"/>
              <a:gd name="T4" fmla="*/ 29 w 322"/>
              <a:gd name="T5" fmla="*/ 161 h 469"/>
              <a:gd name="T6" fmla="*/ 40 w 322"/>
              <a:gd name="T7" fmla="*/ 110 h 469"/>
              <a:gd name="T8" fmla="*/ 68 w 322"/>
              <a:gd name="T9" fmla="*/ 68 h 469"/>
              <a:gd name="T10" fmla="*/ 109 w 322"/>
              <a:gd name="T11" fmla="*/ 40 h 469"/>
              <a:gd name="T12" fmla="*/ 161 w 322"/>
              <a:gd name="T13" fmla="*/ 30 h 469"/>
              <a:gd name="T14" fmla="*/ 212 w 322"/>
              <a:gd name="T15" fmla="*/ 40 h 469"/>
              <a:gd name="T16" fmla="*/ 254 w 322"/>
              <a:gd name="T17" fmla="*/ 68 h 469"/>
              <a:gd name="T18" fmla="*/ 282 w 322"/>
              <a:gd name="T19" fmla="*/ 110 h 469"/>
              <a:gd name="T20" fmla="*/ 293 w 322"/>
              <a:gd name="T21" fmla="*/ 161 h 469"/>
              <a:gd name="T22" fmla="*/ 281 w 322"/>
              <a:gd name="T23" fmla="*/ 209 h 469"/>
              <a:gd name="T24" fmla="*/ 241 w 322"/>
              <a:gd name="T25" fmla="*/ 285 h 469"/>
              <a:gd name="T26" fmla="*/ 152 w 322"/>
              <a:gd name="T27" fmla="*/ 74 h 469"/>
              <a:gd name="T28" fmla="*/ 119 w 322"/>
              <a:gd name="T29" fmla="*/ 84 h 469"/>
              <a:gd name="T30" fmla="*/ 93 w 322"/>
              <a:gd name="T31" fmla="*/ 105 h 469"/>
              <a:gd name="T32" fmla="*/ 77 w 322"/>
              <a:gd name="T33" fmla="*/ 135 h 469"/>
              <a:gd name="T34" fmla="*/ 73 w 322"/>
              <a:gd name="T35" fmla="*/ 165 h 469"/>
              <a:gd name="T36" fmla="*/ 83 w 322"/>
              <a:gd name="T37" fmla="*/ 168 h 469"/>
              <a:gd name="T38" fmla="*/ 88 w 322"/>
              <a:gd name="T39" fmla="*/ 153 h 469"/>
              <a:gd name="T40" fmla="*/ 97 w 322"/>
              <a:gd name="T41" fmla="*/ 126 h 469"/>
              <a:gd name="T42" fmla="*/ 114 w 322"/>
              <a:gd name="T43" fmla="*/ 105 h 469"/>
              <a:gd name="T44" fmla="*/ 139 w 322"/>
              <a:gd name="T45" fmla="*/ 92 h 469"/>
              <a:gd name="T46" fmla="*/ 164 w 322"/>
              <a:gd name="T47" fmla="*/ 88 h 469"/>
              <a:gd name="T48" fmla="*/ 167 w 322"/>
              <a:gd name="T49" fmla="*/ 78 h 469"/>
              <a:gd name="T50" fmla="*/ 161 w 322"/>
              <a:gd name="T51" fmla="*/ 440 h 469"/>
              <a:gd name="T52" fmla="*/ 138 w 322"/>
              <a:gd name="T53" fmla="*/ 432 h 469"/>
              <a:gd name="T54" fmla="*/ 191 w 322"/>
              <a:gd name="T55" fmla="*/ 422 h 469"/>
              <a:gd name="T56" fmla="*/ 177 w 322"/>
              <a:gd name="T57" fmla="*/ 438 h 469"/>
              <a:gd name="T58" fmla="*/ 113 w 322"/>
              <a:gd name="T59" fmla="*/ 365 h 469"/>
              <a:gd name="T60" fmla="*/ 215 w 322"/>
              <a:gd name="T61" fmla="*/ 345 h 469"/>
              <a:gd name="T62" fmla="*/ 126 w 322"/>
              <a:gd name="T63" fmla="*/ 408 h 469"/>
              <a:gd name="T64" fmla="*/ 118 w 322"/>
              <a:gd name="T65" fmla="*/ 380 h 469"/>
              <a:gd name="T66" fmla="*/ 202 w 322"/>
              <a:gd name="T67" fmla="*/ 391 h 469"/>
              <a:gd name="T68" fmla="*/ 129 w 322"/>
              <a:gd name="T69" fmla="*/ 4 h 469"/>
              <a:gd name="T70" fmla="*/ 71 w 322"/>
              <a:gd name="T71" fmla="*/ 27 h 469"/>
              <a:gd name="T72" fmla="*/ 28 w 322"/>
              <a:gd name="T73" fmla="*/ 72 h 469"/>
              <a:gd name="T74" fmla="*/ 3 w 322"/>
              <a:gd name="T75" fmla="*/ 129 h 469"/>
              <a:gd name="T76" fmla="*/ 2 w 322"/>
              <a:gd name="T77" fmla="*/ 183 h 469"/>
              <a:gd name="T78" fmla="*/ 29 w 322"/>
              <a:gd name="T79" fmla="*/ 251 h 469"/>
              <a:gd name="T80" fmla="*/ 73 w 322"/>
              <a:gd name="T81" fmla="*/ 338 h 469"/>
              <a:gd name="T82" fmla="*/ 114 w 322"/>
              <a:gd name="T83" fmla="*/ 449 h 469"/>
              <a:gd name="T84" fmla="*/ 141 w 322"/>
              <a:gd name="T85" fmla="*/ 468 h 469"/>
              <a:gd name="T86" fmla="*/ 181 w 322"/>
              <a:gd name="T87" fmla="*/ 468 h 469"/>
              <a:gd name="T88" fmla="*/ 208 w 322"/>
              <a:gd name="T89" fmla="*/ 449 h 469"/>
              <a:gd name="T90" fmla="*/ 249 w 322"/>
              <a:gd name="T91" fmla="*/ 339 h 469"/>
              <a:gd name="T92" fmla="*/ 292 w 322"/>
              <a:gd name="T93" fmla="*/ 251 h 469"/>
              <a:gd name="T94" fmla="*/ 319 w 322"/>
              <a:gd name="T95" fmla="*/ 183 h 469"/>
              <a:gd name="T96" fmla="*/ 319 w 322"/>
              <a:gd name="T97" fmla="*/ 129 h 469"/>
              <a:gd name="T98" fmla="*/ 295 w 322"/>
              <a:gd name="T99" fmla="*/ 72 h 469"/>
              <a:gd name="T100" fmla="*/ 251 w 322"/>
              <a:gd name="T101" fmla="*/ 27 h 469"/>
              <a:gd name="T102" fmla="*/ 193 w 322"/>
              <a:gd name="T103" fmla="*/ 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469">
                <a:moveTo>
                  <a:pt x="229" y="308"/>
                </a:moveTo>
                <a:lnTo>
                  <a:pt x="93" y="308"/>
                </a:lnTo>
                <a:lnTo>
                  <a:pt x="87" y="296"/>
                </a:lnTo>
                <a:lnTo>
                  <a:pt x="81" y="285"/>
                </a:lnTo>
                <a:lnTo>
                  <a:pt x="75" y="272"/>
                </a:lnTo>
                <a:lnTo>
                  <a:pt x="68" y="261"/>
                </a:lnTo>
                <a:lnTo>
                  <a:pt x="54" y="235"/>
                </a:lnTo>
                <a:lnTo>
                  <a:pt x="41" y="209"/>
                </a:lnTo>
                <a:lnTo>
                  <a:pt x="36" y="197"/>
                </a:lnTo>
                <a:lnTo>
                  <a:pt x="33" y="184"/>
                </a:lnTo>
                <a:lnTo>
                  <a:pt x="30" y="173"/>
                </a:lnTo>
                <a:lnTo>
                  <a:pt x="29" y="161"/>
                </a:lnTo>
                <a:lnTo>
                  <a:pt x="30" y="148"/>
                </a:lnTo>
                <a:lnTo>
                  <a:pt x="31" y="135"/>
                </a:lnTo>
                <a:lnTo>
                  <a:pt x="35" y="122"/>
                </a:lnTo>
                <a:lnTo>
                  <a:pt x="40" y="110"/>
                </a:lnTo>
                <a:lnTo>
                  <a:pt x="45" y="99"/>
                </a:lnTo>
                <a:lnTo>
                  <a:pt x="51" y="88"/>
                </a:lnTo>
                <a:lnTo>
                  <a:pt x="60" y="78"/>
                </a:lnTo>
                <a:lnTo>
                  <a:pt x="68" y="68"/>
                </a:lnTo>
                <a:lnTo>
                  <a:pt x="77" y="59"/>
                </a:lnTo>
                <a:lnTo>
                  <a:pt x="87" y="52"/>
                </a:lnTo>
                <a:lnTo>
                  <a:pt x="98" y="46"/>
                </a:lnTo>
                <a:lnTo>
                  <a:pt x="109" y="40"/>
                </a:lnTo>
                <a:lnTo>
                  <a:pt x="122" y="36"/>
                </a:lnTo>
                <a:lnTo>
                  <a:pt x="134" y="32"/>
                </a:lnTo>
                <a:lnTo>
                  <a:pt x="147" y="30"/>
                </a:lnTo>
                <a:lnTo>
                  <a:pt x="161" y="30"/>
                </a:lnTo>
                <a:lnTo>
                  <a:pt x="175" y="30"/>
                </a:lnTo>
                <a:lnTo>
                  <a:pt x="187" y="32"/>
                </a:lnTo>
                <a:lnTo>
                  <a:pt x="201" y="36"/>
                </a:lnTo>
                <a:lnTo>
                  <a:pt x="212" y="40"/>
                </a:lnTo>
                <a:lnTo>
                  <a:pt x="224" y="46"/>
                </a:lnTo>
                <a:lnTo>
                  <a:pt x="235" y="52"/>
                </a:lnTo>
                <a:lnTo>
                  <a:pt x="245" y="59"/>
                </a:lnTo>
                <a:lnTo>
                  <a:pt x="254" y="68"/>
                </a:lnTo>
                <a:lnTo>
                  <a:pt x="262" y="78"/>
                </a:lnTo>
                <a:lnTo>
                  <a:pt x="270" y="88"/>
                </a:lnTo>
                <a:lnTo>
                  <a:pt x="277" y="99"/>
                </a:lnTo>
                <a:lnTo>
                  <a:pt x="282" y="110"/>
                </a:lnTo>
                <a:lnTo>
                  <a:pt x="287" y="122"/>
                </a:lnTo>
                <a:lnTo>
                  <a:pt x="290" y="135"/>
                </a:lnTo>
                <a:lnTo>
                  <a:pt x="292" y="148"/>
                </a:lnTo>
                <a:lnTo>
                  <a:pt x="293" y="161"/>
                </a:lnTo>
                <a:lnTo>
                  <a:pt x="292" y="173"/>
                </a:lnTo>
                <a:lnTo>
                  <a:pt x="290" y="184"/>
                </a:lnTo>
                <a:lnTo>
                  <a:pt x="286" y="197"/>
                </a:lnTo>
                <a:lnTo>
                  <a:pt x="281" y="209"/>
                </a:lnTo>
                <a:lnTo>
                  <a:pt x="269" y="235"/>
                </a:lnTo>
                <a:lnTo>
                  <a:pt x="254" y="261"/>
                </a:lnTo>
                <a:lnTo>
                  <a:pt x="248" y="272"/>
                </a:lnTo>
                <a:lnTo>
                  <a:pt x="241" y="285"/>
                </a:lnTo>
                <a:lnTo>
                  <a:pt x="235" y="296"/>
                </a:lnTo>
                <a:lnTo>
                  <a:pt x="229" y="308"/>
                </a:lnTo>
                <a:close/>
                <a:moveTo>
                  <a:pt x="161" y="73"/>
                </a:moveTo>
                <a:lnTo>
                  <a:pt x="152" y="74"/>
                </a:lnTo>
                <a:lnTo>
                  <a:pt x="144" y="75"/>
                </a:lnTo>
                <a:lnTo>
                  <a:pt x="135" y="78"/>
                </a:lnTo>
                <a:lnTo>
                  <a:pt x="126" y="80"/>
                </a:lnTo>
                <a:lnTo>
                  <a:pt x="119" y="84"/>
                </a:lnTo>
                <a:lnTo>
                  <a:pt x="112" y="88"/>
                </a:lnTo>
                <a:lnTo>
                  <a:pt x="105" y="94"/>
                </a:lnTo>
                <a:lnTo>
                  <a:pt x="99" y="99"/>
                </a:lnTo>
                <a:lnTo>
                  <a:pt x="93" y="105"/>
                </a:lnTo>
                <a:lnTo>
                  <a:pt x="88" y="113"/>
                </a:lnTo>
                <a:lnTo>
                  <a:pt x="83" y="120"/>
                </a:lnTo>
                <a:lnTo>
                  <a:pt x="79" y="127"/>
                </a:lnTo>
                <a:lnTo>
                  <a:pt x="77" y="135"/>
                </a:lnTo>
                <a:lnTo>
                  <a:pt x="75" y="144"/>
                </a:lnTo>
                <a:lnTo>
                  <a:pt x="73" y="152"/>
                </a:lnTo>
                <a:lnTo>
                  <a:pt x="73" y="161"/>
                </a:lnTo>
                <a:lnTo>
                  <a:pt x="73" y="165"/>
                </a:lnTo>
                <a:lnTo>
                  <a:pt x="76" y="167"/>
                </a:lnTo>
                <a:lnTo>
                  <a:pt x="77" y="168"/>
                </a:lnTo>
                <a:lnTo>
                  <a:pt x="81" y="168"/>
                </a:lnTo>
                <a:lnTo>
                  <a:pt x="83" y="168"/>
                </a:lnTo>
                <a:lnTo>
                  <a:pt x="86" y="167"/>
                </a:lnTo>
                <a:lnTo>
                  <a:pt x="87" y="165"/>
                </a:lnTo>
                <a:lnTo>
                  <a:pt x="88" y="161"/>
                </a:lnTo>
                <a:lnTo>
                  <a:pt x="88" y="153"/>
                </a:lnTo>
                <a:lnTo>
                  <a:pt x="89" y="146"/>
                </a:lnTo>
                <a:lnTo>
                  <a:pt x="91" y="140"/>
                </a:lnTo>
                <a:lnTo>
                  <a:pt x="93" y="132"/>
                </a:lnTo>
                <a:lnTo>
                  <a:pt x="97" y="126"/>
                </a:lnTo>
                <a:lnTo>
                  <a:pt x="100" y="120"/>
                </a:lnTo>
                <a:lnTo>
                  <a:pt x="104" y="115"/>
                </a:lnTo>
                <a:lnTo>
                  <a:pt x="109" y="110"/>
                </a:lnTo>
                <a:lnTo>
                  <a:pt x="114" y="105"/>
                </a:lnTo>
                <a:lnTo>
                  <a:pt x="120" y="100"/>
                </a:lnTo>
                <a:lnTo>
                  <a:pt x="126" y="96"/>
                </a:lnTo>
                <a:lnTo>
                  <a:pt x="133" y="94"/>
                </a:lnTo>
                <a:lnTo>
                  <a:pt x="139" y="92"/>
                </a:lnTo>
                <a:lnTo>
                  <a:pt x="146" y="89"/>
                </a:lnTo>
                <a:lnTo>
                  <a:pt x="154" y="88"/>
                </a:lnTo>
                <a:lnTo>
                  <a:pt x="161" y="88"/>
                </a:lnTo>
                <a:lnTo>
                  <a:pt x="164" y="88"/>
                </a:lnTo>
                <a:lnTo>
                  <a:pt x="166" y="85"/>
                </a:lnTo>
                <a:lnTo>
                  <a:pt x="167" y="84"/>
                </a:lnTo>
                <a:lnTo>
                  <a:pt x="168" y="80"/>
                </a:lnTo>
                <a:lnTo>
                  <a:pt x="167" y="78"/>
                </a:lnTo>
                <a:lnTo>
                  <a:pt x="166" y="75"/>
                </a:lnTo>
                <a:lnTo>
                  <a:pt x="164" y="74"/>
                </a:lnTo>
                <a:lnTo>
                  <a:pt x="161" y="73"/>
                </a:lnTo>
                <a:close/>
                <a:moveTo>
                  <a:pt x="161" y="440"/>
                </a:moveTo>
                <a:lnTo>
                  <a:pt x="151" y="439"/>
                </a:lnTo>
                <a:lnTo>
                  <a:pt x="144" y="437"/>
                </a:lnTo>
                <a:lnTo>
                  <a:pt x="140" y="434"/>
                </a:lnTo>
                <a:lnTo>
                  <a:pt x="138" y="432"/>
                </a:lnTo>
                <a:lnTo>
                  <a:pt x="135" y="427"/>
                </a:lnTo>
                <a:lnTo>
                  <a:pt x="131" y="422"/>
                </a:lnTo>
                <a:lnTo>
                  <a:pt x="193" y="414"/>
                </a:lnTo>
                <a:lnTo>
                  <a:pt x="191" y="422"/>
                </a:lnTo>
                <a:lnTo>
                  <a:pt x="187" y="428"/>
                </a:lnTo>
                <a:lnTo>
                  <a:pt x="185" y="433"/>
                </a:lnTo>
                <a:lnTo>
                  <a:pt x="181" y="435"/>
                </a:lnTo>
                <a:lnTo>
                  <a:pt x="177" y="438"/>
                </a:lnTo>
                <a:lnTo>
                  <a:pt x="172" y="439"/>
                </a:lnTo>
                <a:lnTo>
                  <a:pt x="167" y="440"/>
                </a:lnTo>
                <a:lnTo>
                  <a:pt x="161" y="440"/>
                </a:lnTo>
                <a:close/>
                <a:moveTo>
                  <a:pt x="113" y="365"/>
                </a:moveTo>
                <a:lnTo>
                  <a:pt x="109" y="351"/>
                </a:lnTo>
                <a:lnTo>
                  <a:pt x="104" y="338"/>
                </a:lnTo>
                <a:lnTo>
                  <a:pt x="218" y="338"/>
                </a:lnTo>
                <a:lnTo>
                  <a:pt x="215" y="345"/>
                </a:lnTo>
                <a:lnTo>
                  <a:pt x="213" y="353"/>
                </a:lnTo>
                <a:lnTo>
                  <a:pt x="113" y="365"/>
                </a:lnTo>
                <a:close/>
                <a:moveTo>
                  <a:pt x="199" y="398"/>
                </a:moveTo>
                <a:lnTo>
                  <a:pt x="126" y="408"/>
                </a:lnTo>
                <a:lnTo>
                  <a:pt x="123" y="396"/>
                </a:lnTo>
                <a:lnTo>
                  <a:pt x="118" y="380"/>
                </a:lnTo>
                <a:lnTo>
                  <a:pt x="118" y="380"/>
                </a:lnTo>
                <a:lnTo>
                  <a:pt x="118" y="380"/>
                </a:lnTo>
                <a:lnTo>
                  <a:pt x="208" y="369"/>
                </a:lnTo>
                <a:lnTo>
                  <a:pt x="206" y="375"/>
                </a:lnTo>
                <a:lnTo>
                  <a:pt x="204" y="381"/>
                </a:lnTo>
                <a:lnTo>
                  <a:pt x="202" y="391"/>
                </a:lnTo>
                <a:lnTo>
                  <a:pt x="199" y="398"/>
                </a:lnTo>
                <a:close/>
                <a:moveTo>
                  <a:pt x="161" y="0"/>
                </a:moveTo>
                <a:lnTo>
                  <a:pt x="145" y="1"/>
                </a:lnTo>
                <a:lnTo>
                  <a:pt x="129" y="4"/>
                </a:lnTo>
                <a:lnTo>
                  <a:pt x="113" y="7"/>
                </a:lnTo>
                <a:lnTo>
                  <a:pt x="98" y="12"/>
                </a:lnTo>
                <a:lnTo>
                  <a:pt x="84" y="20"/>
                </a:lnTo>
                <a:lnTo>
                  <a:pt x="71" y="27"/>
                </a:lnTo>
                <a:lnTo>
                  <a:pt x="58" y="37"/>
                </a:lnTo>
                <a:lnTo>
                  <a:pt x="47" y="47"/>
                </a:lnTo>
                <a:lnTo>
                  <a:pt x="36" y="58"/>
                </a:lnTo>
                <a:lnTo>
                  <a:pt x="28" y="72"/>
                </a:lnTo>
                <a:lnTo>
                  <a:pt x="19" y="84"/>
                </a:lnTo>
                <a:lnTo>
                  <a:pt x="13" y="99"/>
                </a:lnTo>
                <a:lnTo>
                  <a:pt x="7" y="114"/>
                </a:lnTo>
                <a:lnTo>
                  <a:pt x="3" y="129"/>
                </a:lnTo>
                <a:lnTo>
                  <a:pt x="0" y="145"/>
                </a:lnTo>
                <a:lnTo>
                  <a:pt x="0" y="161"/>
                </a:lnTo>
                <a:lnTo>
                  <a:pt x="0" y="172"/>
                </a:lnTo>
                <a:lnTo>
                  <a:pt x="2" y="183"/>
                </a:lnTo>
                <a:lnTo>
                  <a:pt x="5" y="195"/>
                </a:lnTo>
                <a:lnTo>
                  <a:pt x="9" y="207"/>
                </a:lnTo>
                <a:lnTo>
                  <a:pt x="18" y="229"/>
                </a:lnTo>
                <a:lnTo>
                  <a:pt x="29" y="251"/>
                </a:lnTo>
                <a:lnTo>
                  <a:pt x="41" y="273"/>
                </a:lnTo>
                <a:lnTo>
                  <a:pt x="54" y="296"/>
                </a:lnTo>
                <a:lnTo>
                  <a:pt x="65" y="317"/>
                </a:lnTo>
                <a:lnTo>
                  <a:pt x="73" y="338"/>
                </a:lnTo>
                <a:lnTo>
                  <a:pt x="91" y="393"/>
                </a:lnTo>
                <a:lnTo>
                  <a:pt x="105" y="434"/>
                </a:lnTo>
                <a:lnTo>
                  <a:pt x="109" y="443"/>
                </a:lnTo>
                <a:lnTo>
                  <a:pt x="114" y="449"/>
                </a:lnTo>
                <a:lnTo>
                  <a:pt x="119" y="455"/>
                </a:lnTo>
                <a:lnTo>
                  <a:pt x="125" y="460"/>
                </a:lnTo>
                <a:lnTo>
                  <a:pt x="133" y="464"/>
                </a:lnTo>
                <a:lnTo>
                  <a:pt x="141" y="468"/>
                </a:lnTo>
                <a:lnTo>
                  <a:pt x="150" y="469"/>
                </a:lnTo>
                <a:lnTo>
                  <a:pt x="161" y="469"/>
                </a:lnTo>
                <a:lnTo>
                  <a:pt x="172" y="469"/>
                </a:lnTo>
                <a:lnTo>
                  <a:pt x="181" y="468"/>
                </a:lnTo>
                <a:lnTo>
                  <a:pt x="189" y="464"/>
                </a:lnTo>
                <a:lnTo>
                  <a:pt x="197" y="460"/>
                </a:lnTo>
                <a:lnTo>
                  <a:pt x="203" y="455"/>
                </a:lnTo>
                <a:lnTo>
                  <a:pt x="208" y="449"/>
                </a:lnTo>
                <a:lnTo>
                  <a:pt x="213" y="443"/>
                </a:lnTo>
                <a:lnTo>
                  <a:pt x="217" y="434"/>
                </a:lnTo>
                <a:lnTo>
                  <a:pt x="232" y="393"/>
                </a:lnTo>
                <a:lnTo>
                  <a:pt x="249" y="339"/>
                </a:lnTo>
                <a:lnTo>
                  <a:pt x="257" y="318"/>
                </a:lnTo>
                <a:lnTo>
                  <a:pt x="269" y="296"/>
                </a:lnTo>
                <a:lnTo>
                  <a:pt x="281" y="273"/>
                </a:lnTo>
                <a:lnTo>
                  <a:pt x="292" y="251"/>
                </a:lnTo>
                <a:lnTo>
                  <a:pt x="304" y="229"/>
                </a:lnTo>
                <a:lnTo>
                  <a:pt x="313" y="207"/>
                </a:lnTo>
                <a:lnTo>
                  <a:pt x="317" y="194"/>
                </a:lnTo>
                <a:lnTo>
                  <a:pt x="319" y="183"/>
                </a:lnTo>
                <a:lnTo>
                  <a:pt x="322" y="172"/>
                </a:lnTo>
                <a:lnTo>
                  <a:pt x="322" y="161"/>
                </a:lnTo>
                <a:lnTo>
                  <a:pt x="322" y="145"/>
                </a:lnTo>
                <a:lnTo>
                  <a:pt x="319" y="129"/>
                </a:lnTo>
                <a:lnTo>
                  <a:pt x="314" y="114"/>
                </a:lnTo>
                <a:lnTo>
                  <a:pt x="309" y="99"/>
                </a:lnTo>
                <a:lnTo>
                  <a:pt x="303" y="84"/>
                </a:lnTo>
                <a:lnTo>
                  <a:pt x="295" y="72"/>
                </a:lnTo>
                <a:lnTo>
                  <a:pt x="286" y="58"/>
                </a:lnTo>
                <a:lnTo>
                  <a:pt x="275" y="47"/>
                </a:lnTo>
                <a:lnTo>
                  <a:pt x="264" y="37"/>
                </a:lnTo>
                <a:lnTo>
                  <a:pt x="251" y="27"/>
                </a:lnTo>
                <a:lnTo>
                  <a:pt x="238" y="20"/>
                </a:lnTo>
                <a:lnTo>
                  <a:pt x="224" y="12"/>
                </a:lnTo>
                <a:lnTo>
                  <a:pt x="209" y="7"/>
                </a:lnTo>
                <a:lnTo>
                  <a:pt x="193" y="4"/>
                </a:lnTo>
                <a:lnTo>
                  <a:pt x="177" y="1"/>
                </a:lnTo>
                <a:lnTo>
                  <a:pt x="161"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0" name="Freeform 39">
            <a:extLst>
              <a:ext uri="{FF2B5EF4-FFF2-40B4-BE49-F238E27FC236}">
                <a16:creationId xmlns:a16="http://schemas.microsoft.com/office/drawing/2014/main" id="{ED189AB6-BD46-51B7-511B-70076C5F18AE}"/>
              </a:ext>
            </a:extLst>
          </p:cNvPr>
          <p:cNvSpPr>
            <a:spLocks noEditPoints="1"/>
          </p:cNvSpPr>
          <p:nvPr/>
        </p:nvSpPr>
        <p:spPr bwMode="auto">
          <a:xfrm>
            <a:off x="7794625" y="7181808"/>
            <a:ext cx="277813" cy="371475"/>
          </a:xfrm>
          <a:custGeom>
            <a:avLst/>
            <a:gdLst>
              <a:gd name="T0" fmla="*/ 321 w 351"/>
              <a:gd name="T1" fmla="*/ 348 h 469"/>
              <a:gd name="T2" fmla="*/ 304 w 351"/>
              <a:gd name="T3" fmla="*/ 395 h 469"/>
              <a:gd name="T4" fmla="*/ 268 w 351"/>
              <a:gd name="T5" fmla="*/ 428 h 469"/>
              <a:gd name="T6" fmla="*/ 218 w 351"/>
              <a:gd name="T7" fmla="*/ 440 h 469"/>
              <a:gd name="T8" fmla="*/ 91 w 351"/>
              <a:gd name="T9" fmla="*/ 432 h 469"/>
              <a:gd name="T10" fmla="*/ 52 w 351"/>
              <a:gd name="T11" fmla="*/ 402 h 469"/>
              <a:gd name="T12" fmla="*/ 31 w 351"/>
              <a:gd name="T13" fmla="*/ 358 h 469"/>
              <a:gd name="T14" fmla="*/ 28 w 351"/>
              <a:gd name="T15" fmla="*/ 278 h 469"/>
              <a:gd name="T16" fmla="*/ 43 w 351"/>
              <a:gd name="T17" fmla="*/ 220 h 469"/>
              <a:gd name="T18" fmla="*/ 306 w 351"/>
              <a:gd name="T19" fmla="*/ 220 h 469"/>
              <a:gd name="T20" fmla="*/ 321 w 351"/>
              <a:gd name="T21" fmla="*/ 278 h 469"/>
              <a:gd name="T22" fmla="*/ 154 w 351"/>
              <a:gd name="T23" fmla="*/ 287 h 469"/>
              <a:gd name="T24" fmla="*/ 147 w 351"/>
              <a:gd name="T25" fmla="*/ 315 h 469"/>
              <a:gd name="T26" fmla="*/ 163 w 351"/>
              <a:gd name="T27" fmla="*/ 361 h 469"/>
              <a:gd name="T28" fmla="*/ 179 w 351"/>
              <a:gd name="T29" fmla="*/ 366 h 469"/>
              <a:gd name="T30" fmla="*/ 195 w 351"/>
              <a:gd name="T31" fmla="*/ 348 h 469"/>
              <a:gd name="T32" fmla="*/ 204 w 351"/>
              <a:gd name="T33" fmla="*/ 302 h 469"/>
              <a:gd name="T34" fmla="*/ 186 w 351"/>
              <a:gd name="T35" fmla="*/ 281 h 469"/>
              <a:gd name="T36" fmla="*/ 233 w 351"/>
              <a:gd name="T37" fmla="*/ 191 h 469"/>
              <a:gd name="T38" fmla="*/ 121 w 351"/>
              <a:gd name="T39" fmla="*/ 109 h 469"/>
              <a:gd name="T40" fmla="*/ 163 w 351"/>
              <a:gd name="T41" fmla="*/ 74 h 469"/>
              <a:gd name="T42" fmla="*/ 216 w 351"/>
              <a:gd name="T43" fmla="*/ 90 h 469"/>
              <a:gd name="T44" fmla="*/ 73 w 351"/>
              <a:gd name="T45" fmla="*/ 132 h 469"/>
              <a:gd name="T46" fmla="*/ 85 w 351"/>
              <a:gd name="T47" fmla="*/ 83 h 469"/>
              <a:gd name="T48" fmla="*/ 117 w 351"/>
              <a:gd name="T49" fmla="*/ 47 h 469"/>
              <a:gd name="T50" fmla="*/ 164 w 351"/>
              <a:gd name="T51" fmla="*/ 30 h 469"/>
              <a:gd name="T52" fmla="*/ 215 w 351"/>
              <a:gd name="T53" fmla="*/ 37 h 469"/>
              <a:gd name="T54" fmla="*/ 254 w 351"/>
              <a:gd name="T55" fmla="*/ 67 h 469"/>
              <a:gd name="T56" fmla="*/ 275 w 351"/>
              <a:gd name="T57" fmla="*/ 111 h 469"/>
              <a:gd name="T58" fmla="*/ 248 w 351"/>
              <a:gd name="T59" fmla="*/ 132 h 469"/>
              <a:gd name="T60" fmla="*/ 239 w 351"/>
              <a:gd name="T61" fmla="*/ 98 h 469"/>
              <a:gd name="T62" fmla="*/ 216 w 351"/>
              <a:gd name="T63" fmla="*/ 72 h 469"/>
              <a:gd name="T64" fmla="*/ 183 w 351"/>
              <a:gd name="T65" fmla="*/ 59 h 469"/>
              <a:gd name="T66" fmla="*/ 147 w 351"/>
              <a:gd name="T67" fmla="*/ 64 h 469"/>
              <a:gd name="T68" fmla="*/ 118 w 351"/>
              <a:gd name="T69" fmla="*/ 85 h 469"/>
              <a:gd name="T70" fmla="*/ 103 w 351"/>
              <a:gd name="T71" fmla="*/ 118 h 469"/>
              <a:gd name="T72" fmla="*/ 73 w 351"/>
              <a:gd name="T73" fmla="*/ 132 h 469"/>
              <a:gd name="T74" fmla="*/ 301 w 351"/>
              <a:gd name="T75" fmla="*/ 93 h 469"/>
              <a:gd name="T76" fmla="*/ 268 w 351"/>
              <a:gd name="T77" fmla="*/ 38 h 469"/>
              <a:gd name="T78" fmla="*/ 213 w 351"/>
              <a:gd name="T79" fmla="*/ 6 h 469"/>
              <a:gd name="T80" fmla="*/ 148 w 351"/>
              <a:gd name="T81" fmla="*/ 2 h 469"/>
              <a:gd name="T82" fmla="*/ 91 w 351"/>
              <a:gd name="T83" fmla="*/ 30 h 469"/>
              <a:gd name="T84" fmla="*/ 53 w 351"/>
              <a:gd name="T85" fmla="*/ 80 h 469"/>
              <a:gd name="T86" fmla="*/ 43 w 351"/>
              <a:gd name="T87" fmla="*/ 191 h 469"/>
              <a:gd name="T88" fmla="*/ 7 w 351"/>
              <a:gd name="T89" fmla="*/ 210 h 469"/>
              <a:gd name="T90" fmla="*/ 0 w 351"/>
              <a:gd name="T91" fmla="*/ 293 h 469"/>
              <a:gd name="T92" fmla="*/ 5 w 351"/>
              <a:gd name="T93" fmla="*/ 376 h 469"/>
              <a:gd name="T94" fmla="*/ 38 w 351"/>
              <a:gd name="T95" fmla="*/ 431 h 469"/>
              <a:gd name="T96" fmla="*/ 91 w 351"/>
              <a:gd name="T97" fmla="*/ 464 h 469"/>
              <a:gd name="T98" fmla="*/ 232 w 351"/>
              <a:gd name="T99" fmla="*/ 469 h 469"/>
              <a:gd name="T100" fmla="*/ 293 w 351"/>
              <a:gd name="T101" fmla="*/ 447 h 469"/>
              <a:gd name="T102" fmla="*/ 335 w 351"/>
              <a:gd name="T103" fmla="*/ 401 h 469"/>
              <a:gd name="T104" fmla="*/ 351 w 351"/>
              <a:gd name="T105" fmla="*/ 338 h 469"/>
              <a:gd name="T106" fmla="*/ 349 w 351"/>
              <a:gd name="T107" fmla="*/ 226 h 469"/>
              <a:gd name="T108" fmla="*/ 323 w 351"/>
              <a:gd name="T109" fmla="*/ 19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 h="469">
                <a:moveTo>
                  <a:pt x="321" y="278"/>
                </a:moveTo>
                <a:lnTo>
                  <a:pt x="321" y="293"/>
                </a:lnTo>
                <a:lnTo>
                  <a:pt x="321" y="323"/>
                </a:lnTo>
                <a:lnTo>
                  <a:pt x="321" y="338"/>
                </a:lnTo>
                <a:lnTo>
                  <a:pt x="321" y="348"/>
                </a:lnTo>
                <a:lnTo>
                  <a:pt x="320" y="358"/>
                </a:lnTo>
                <a:lnTo>
                  <a:pt x="317" y="367"/>
                </a:lnTo>
                <a:lnTo>
                  <a:pt x="314" y="377"/>
                </a:lnTo>
                <a:lnTo>
                  <a:pt x="309" y="386"/>
                </a:lnTo>
                <a:lnTo>
                  <a:pt x="304" y="395"/>
                </a:lnTo>
                <a:lnTo>
                  <a:pt x="298" y="402"/>
                </a:lnTo>
                <a:lnTo>
                  <a:pt x="291" y="409"/>
                </a:lnTo>
                <a:lnTo>
                  <a:pt x="284" y="417"/>
                </a:lnTo>
                <a:lnTo>
                  <a:pt x="277" y="422"/>
                </a:lnTo>
                <a:lnTo>
                  <a:pt x="268" y="428"/>
                </a:lnTo>
                <a:lnTo>
                  <a:pt x="259" y="432"/>
                </a:lnTo>
                <a:lnTo>
                  <a:pt x="249" y="435"/>
                </a:lnTo>
                <a:lnTo>
                  <a:pt x="239" y="438"/>
                </a:lnTo>
                <a:lnTo>
                  <a:pt x="230" y="439"/>
                </a:lnTo>
                <a:lnTo>
                  <a:pt x="218" y="440"/>
                </a:lnTo>
                <a:lnTo>
                  <a:pt x="131" y="440"/>
                </a:lnTo>
                <a:lnTo>
                  <a:pt x="121" y="439"/>
                </a:lnTo>
                <a:lnTo>
                  <a:pt x="111" y="438"/>
                </a:lnTo>
                <a:lnTo>
                  <a:pt x="101" y="435"/>
                </a:lnTo>
                <a:lnTo>
                  <a:pt x="91" y="432"/>
                </a:lnTo>
                <a:lnTo>
                  <a:pt x="82" y="428"/>
                </a:lnTo>
                <a:lnTo>
                  <a:pt x="74" y="422"/>
                </a:lnTo>
                <a:lnTo>
                  <a:pt x="65" y="417"/>
                </a:lnTo>
                <a:lnTo>
                  <a:pt x="59" y="409"/>
                </a:lnTo>
                <a:lnTo>
                  <a:pt x="52" y="402"/>
                </a:lnTo>
                <a:lnTo>
                  <a:pt x="45" y="395"/>
                </a:lnTo>
                <a:lnTo>
                  <a:pt x="40" y="386"/>
                </a:lnTo>
                <a:lnTo>
                  <a:pt x="37" y="377"/>
                </a:lnTo>
                <a:lnTo>
                  <a:pt x="33" y="367"/>
                </a:lnTo>
                <a:lnTo>
                  <a:pt x="31" y="358"/>
                </a:lnTo>
                <a:lnTo>
                  <a:pt x="29" y="348"/>
                </a:lnTo>
                <a:lnTo>
                  <a:pt x="28" y="338"/>
                </a:lnTo>
                <a:lnTo>
                  <a:pt x="28" y="323"/>
                </a:lnTo>
                <a:lnTo>
                  <a:pt x="28" y="293"/>
                </a:lnTo>
                <a:lnTo>
                  <a:pt x="28" y="278"/>
                </a:lnTo>
                <a:lnTo>
                  <a:pt x="28" y="235"/>
                </a:lnTo>
                <a:lnTo>
                  <a:pt x="29" y="229"/>
                </a:lnTo>
                <a:lnTo>
                  <a:pt x="33" y="224"/>
                </a:lnTo>
                <a:lnTo>
                  <a:pt x="37" y="221"/>
                </a:lnTo>
                <a:lnTo>
                  <a:pt x="43" y="220"/>
                </a:lnTo>
                <a:lnTo>
                  <a:pt x="58" y="220"/>
                </a:lnTo>
                <a:lnTo>
                  <a:pt x="73" y="220"/>
                </a:lnTo>
                <a:lnTo>
                  <a:pt x="278" y="220"/>
                </a:lnTo>
                <a:lnTo>
                  <a:pt x="293" y="220"/>
                </a:lnTo>
                <a:lnTo>
                  <a:pt x="306" y="220"/>
                </a:lnTo>
                <a:lnTo>
                  <a:pt x="312" y="221"/>
                </a:lnTo>
                <a:lnTo>
                  <a:pt x="317" y="224"/>
                </a:lnTo>
                <a:lnTo>
                  <a:pt x="320" y="229"/>
                </a:lnTo>
                <a:lnTo>
                  <a:pt x="321" y="235"/>
                </a:lnTo>
                <a:lnTo>
                  <a:pt x="321" y="278"/>
                </a:lnTo>
                <a:close/>
                <a:moveTo>
                  <a:pt x="175" y="278"/>
                </a:moveTo>
                <a:lnTo>
                  <a:pt x="169" y="280"/>
                </a:lnTo>
                <a:lnTo>
                  <a:pt x="164" y="281"/>
                </a:lnTo>
                <a:lnTo>
                  <a:pt x="159" y="283"/>
                </a:lnTo>
                <a:lnTo>
                  <a:pt x="154" y="287"/>
                </a:lnTo>
                <a:lnTo>
                  <a:pt x="150" y="292"/>
                </a:lnTo>
                <a:lnTo>
                  <a:pt x="148" y="297"/>
                </a:lnTo>
                <a:lnTo>
                  <a:pt x="147" y="302"/>
                </a:lnTo>
                <a:lnTo>
                  <a:pt x="146" y="308"/>
                </a:lnTo>
                <a:lnTo>
                  <a:pt x="147" y="315"/>
                </a:lnTo>
                <a:lnTo>
                  <a:pt x="149" y="325"/>
                </a:lnTo>
                <a:lnTo>
                  <a:pt x="152" y="337"/>
                </a:lnTo>
                <a:lnTo>
                  <a:pt x="155" y="348"/>
                </a:lnTo>
                <a:lnTo>
                  <a:pt x="159" y="355"/>
                </a:lnTo>
                <a:lnTo>
                  <a:pt x="163" y="361"/>
                </a:lnTo>
                <a:lnTo>
                  <a:pt x="165" y="364"/>
                </a:lnTo>
                <a:lnTo>
                  <a:pt x="168" y="365"/>
                </a:lnTo>
                <a:lnTo>
                  <a:pt x="171" y="366"/>
                </a:lnTo>
                <a:lnTo>
                  <a:pt x="175" y="366"/>
                </a:lnTo>
                <a:lnTo>
                  <a:pt x="179" y="366"/>
                </a:lnTo>
                <a:lnTo>
                  <a:pt x="183" y="365"/>
                </a:lnTo>
                <a:lnTo>
                  <a:pt x="185" y="364"/>
                </a:lnTo>
                <a:lnTo>
                  <a:pt x="188" y="361"/>
                </a:lnTo>
                <a:lnTo>
                  <a:pt x="191" y="355"/>
                </a:lnTo>
                <a:lnTo>
                  <a:pt x="195" y="348"/>
                </a:lnTo>
                <a:lnTo>
                  <a:pt x="199" y="337"/>
                </a:lnTo>
                <a:lnTo>
                  <a:pt x="201" y="325"/>
                </a:lnTo>
                <a:lnTo>
                  <a:pt x="204" y="315"/>
                </a:lnTo>
                <a:lnTo>
                  <a:pt x="204" y="308"/>
                </a:lnTo>
                <a:lnTo>
                  <a:pt x="204" y="302"/>
                </a:lnTo>
                <a:lnTo>
                  <a:pt x="202" y="297"/>
                </a:lnTo>
                <a:lnTo>
                  <a:pt x="199" y="292"/>
                </a:lnTo>
                <a:lnTo>
                  <a:pt x="196" y="287"/>
                </a:lnTo>
                <a:lnTo>
                  <a:pt x="191" y="283"/>
                </a:lnTo>
                <a:lnTo>
                  <a:pt x="186" y="281"/>
                </a:lnTo>
                <a:lnTo>
                  <a:pt x="181" y="280"/>
                </a:lnTo>
                <a:lnTo>
                  <a:pt x="175" y="278"/>
                </a:lnTo>
                <a:close/>
                <a:moveTo>
                  <a:pt x="233" y="132"/>
                </a:moveTo>
                <a:lnTo>
                  <a:pt x="233" y="132"/>
                </a:lnTo>
                <a:lnTo>
                  <a:pt x="233" y="191"/>
                </a:lnTo>
                <a:lnTo>
                  <a:pt x="116" y="191"/>
                </a:lnTo>
                <a:lnTo>
                  <a:pt x="116" y="132"/>
                </a:lnTo>
                <a:lnTo>
                  <a:pt x="116" y="132"/>
                </a:lnTo>
                <a:lnTo>
                  <a:pt x="117" y="120"/>
                </a:lnTo>
                <a:lnTo>
                  <a:pt x="121" y="109"/>
                </a:lnTo>
                <a:lnTo>
                  <a:pt x="126" y="99"/>
                </a:lnTo>
                <a:lnTo>
                  <a:pt x="133" y="90"/>
                </a:lnTo>
                <a:lnTo>
                  <a:pt x="142" y="83"/>
                </a:lnTo>
                <a:lnTo>
                  <a:pt x="152" y="78"/>
                </a:lnTo>
                <a:lnTo>
                  <a:pt x="163" y="74"/>
                </a:lnTo>
                <a:lnTo>
                  <a:pt x="175" y="73"/>
                </a:lnTo>
                <a:lnTo>
                  <a:pt x="186" y="74"/>
                </a:lnTo>
                <a:lnTo>
                  <a:pt x="197" y="78"/>
                </a:lnTo>
                <a:lnTo>
                  <a:pt x="207" y="83"/>
                </a:lnTo>
                <a:lnTo>
                  <a:pt x="216" y="90"/>
                </a:lnTo>
                <a:lnTo>
                  <a:pt x="223" y="99"/>
                </a:lnTo>
                <a:lnTo>
                  <a:pt x="228" y="109"/>
                </a:lnTo>
                <a:lnTo>
                  <a:pt x="232" y="120"/>
                </a:lnTo>
                <a:lnTo>
                  <a:pt x="233" y="132"/>
                </a:lnTo>
                <a:close/>
                <a:moveTo>
                  <a:pt x="73" y="132"/>
                </a:moveTo>
                <a:lnTo>
                  <a:pt x="73" y="121"/>
                </a:lnTo>
                <a:lnTo>
                  <a:pt x="74" y="111"/>
                </a:lnTo>
                <a:lnTo>
                  <a:pt x="78" y="101"/>
                </a:lnTo>
                <a:lnTo>
                  <a:pt x="80" y="92"/>
                </a:lnTo>
                <a:lnTo>
                  <a:pt x="85" y="83"/>
                </a:lnTo>
                <a:lnTo>
                  <a:pt x="90" y="74"/>
                </a:lnTo>
                <a:lnTo>
                  <a:pt x="96" y="67"/>
                </a:lnTo>
                <a:lnTo>
                  <a:pt x="102" y="59"/>
                </a:lnTo>
                <a:lnTo>
                  <a:pt x="110" y="53"/>
                </a:lnTo>
                <a:lnTo>
                  <a:pt x="117" y="47"/>
                </a:lnTo>
                <a:lnTo>
                  <a:pt x="126" y="42"/>
                </a:lnTo>
                <a:lnTo>
                  <a:pt x="134" y="37"/>
                </a:lnTo>
                <a:lnTo>
                  <a:pt x="144" y="33"/>
                </a:lnTo>
                <a:lnTo>
                  <a:pt x="154" y="31"/>
                </a:lnTo>
                <a:lnTo>
                  <a:pt x="164" y="30"/>
                </a:lnTo>
                <a:lnTo>
                  <a:pt x="175" y="30"/>
                </a:lnTo>
                <a:lnTo>
                  <a:pt x="185" y="30"/>
                </a:lnTo>
                <a:lnTo>
                  <a:pt x="195" y="31"/>
                </a:lnTo>
                <a:lnTo>
                  <a:pt x="205" y="33"/>
                </a:lnTo>
                <a:lnTo>
                  <a:pt x="215" y="37"/>
                </a:lnTo>
                <a:lnTo>
                  <a:pt x="223" y="42"/>
                </a:lnTo>
                <a:lnTo>
                  <a:pt x="232" y="47"/>
                </a:lnTo>
                <a:lnTo>
                  <a:pt x="241" y="53"/>
                </a:lnTo>
                <a:lnTo>
                  <a:pt x="247" y="59"/>
                </a:lnTo>
                <a:lnTo>
                  <a:pt x="254" y="67"/>
                </a:lnTo>
                <a:lnTo>
                  <a:pt x="260" y="74"/>
                </a:lnTo>
                <a:lnTo>
                  <a:pt x="265" y="83"/>
                </a:lnTo>
                <a:lnTo>
                  <a:pt x="269" y="92"/>
                </a:lnTo>
                <a:lnTo>
                  <a:pt x="273" y="101"/>
                </a:lnTo>
                <a:lnTo>
                  <a:pt x="275" y="111"/>
                </a:lnTo>
                <a:lnTo>
                  <a:pt x="277" y="121"/>
                </a:lnTo>
                <a:lnTo>
                  <a:pt x="278" y="132"/>
                </a:lnTo>
                <a:lnTo>
                  <a:pt x="278" y="191"/>
                </a:lnTo>
                <a:lnTo>
                  <a:pt x="248" y="191"/>
                </a:lnTo>
                <a:lnTo>
                  <a:pt x="248" y="132"/>
                </a:lnTo>
                <a:lnTo>
                  <a:pt x="248" y="125"/>
                </a:lnTo>
                <a:lnTo>
                  <a:pt x="247" y="118"/>
                </a:lnTo>
                <a:lnTo>
                  <a:pt x="244" y="110"/>
                </a:lnTo>
                <a:lnTo>
                  <a:pt x="242" y="104"/>
                </a:lnTo>
                <a:lnTo>
                  <a:pt x="239" y="98"/>
                </a:lnTo>
                <a:lnTo>
                  <a:pt x="236" y="92"/>
                </a:lnTo>
                <a:lnTo>
                  <a:pt x="232" y="85"/>
                </a:lnTo>
                <a:lnTo>
                  <a:pt x="227" y="80"/>
                </a:lnTo>
                <a:lnTo>
                  <a:pt x="221" y="75"/>
                </a:lnTo>
                <a:lnTo>
                  <a:pt x="216" y="72"/>
                </a:lnTo>
                <a:lnTo>
                  <a:pt x="210" y="68"/>
                </a:lnTo>
                <a:lnTo>
                  <a:pt x="204" y="64"/>
                </a:lnTo>
                <a:lnTo>
                  <a:pt x="196" y="62"/>
                </a:lnTo>
                <a:lnTo>
                  <a:pt x="190" y="61"/>
                </a:lnTo>
                <a:lnTo>
                  <a:pt x="183" y="59"/>
                </a:lnTo>
                <a:lnTo>
                  <a:pt x="175" y="58"/>
                </a:lnTo>
                <a:lnTo>
                  <a:pt x="168" y="59"/>
                </a:lnTo>
                <a:lnTo>
                  <a:pt x="160" y="61"/>
                </a:lnTo>
                <a:lnTo>
                  <a:pt x="153" y="62"/>
                </a:lnTo>
                <a:lnTo>
                  <a:pt x="147" y="64"/>
                </a:lnTo>
                <a:lnTo>
                  <a:pt x="141" y="68"/>
                </a:lnTo>
                <a:lnTo>
                  <a:pt x="134" y="72"/>
                </a:lnTo>
                <a:lnTo>
                  <a:pt x="128" y="75"/>
                </a:lnTo>
                <a:lnTo>
                  <a:pt x="123" y="80"/>
                </a:lnTo>
                <a:lnTo>
                  <a:pt x="118" y="85"/>
                </a:lnTo>
                <a:lnTo>
                  <a:pt x="115" y="92"/>
                </a:lnTo>
                <a:lnTo>
                  <a:pt x="111" y="98"/>
                </a:lnTo>
                <a:lnTo>
                  <a:pt x="107" y="104"/>
                </a:lnTo>
                <a:lnTo>
                  <a:pt x="105" y="110"/>
                </a:lnTo>
                <a:lnTo>
                  <a:pt x="103" y="118"/>
                </a:lnTo>
                <a:lnTo>
                  <a:pt x="102" y="125"/>
                </a:lnTo>
                <a:lnTo>
                  <a:pt x="102" y="132"/>
                </a:lnTo>
                <a:lnTo>
                  <a:pt x="102" y="191"/>
                </a:lnTo>
                <a:lnTo>
                  <a:pt x="73" y="191"/>
                </a:lnTo>
                <a:lnTo>
                  <a:pt x="73" y="132"/>
                </a:lnTo>
                <a:close/>
                <a:moveTo>
                  <a:pt x="306" y="191"/>
                </a:moveTo>
                <a:lnTo>
                  <a:pt x="306" y="132"/>
                </a:lnTo>
                <a:lnTo>
                  <a:pt x="306" y="119"/>
                </a:lnTo>
                <a:lnTo>
                  <a:pt x="304" y="105"/>
                </a:lnTo>
                <a:lnTo>
                  <a:pt x="301" y="93"/>
                </a:lnTo>
                <a:lnTo>
                  <a:pt x="296" y="80"/>
                </a:lnTo>
                <a:lnTo>
                  <a:pt x="291" y="69"/>
                </a:lnTo>
                <a:lnTo>
                  <a:pt x="284" y="58"/>
                </a:lnTo>
                <a:lnTo>
                  <a:pt x="277" y="48"/>
                </a:lnTo>
                <a:lnTo>
                  <a:pt x="268" y="38"/>
                </a:lnTo>
                <a:lnTo>
                  <a:pt x="259" y="30"/>
                </a:lnTo>
                <a:lnTo>
                  <a:pt x="248" y="22"/>
                </a:lnTo>
                <a:lnTo>
                  <a:pt x="238" y="16"/>
                </a:lnTo>
                <a:lnTo>
                  <a:pt x="226" y="10"/>
                </a:lnTo>
                <a:lnTo>
                  <a:pt x="213" y="6"/>
                </a:lnTo>
                <a:lnTo>
                  <a:pt x="201" y="2"/>
                </a:lnTo>
                <a:lnTo>
                  <a:pt x="189" y="1"/>
                </a:lnTo>
                <a:lnTo>
                  <a:pt x="175" y="0"/>
                </a:lnTo>
                <a:lnTo>
                  <a:pt x="162" y="1"/>
                </a:lnTo>
                <a:lnTo>
                  <a:pt x="148" y="2"/>
                </a:lnTo>
                <a:lnTo>
                  <a:pt x="136" y="6"/>
                </a:lnTo>
                <a:lnTo>
                  <a:pt x="123" y="10"/>
                </a:lnTo>
                <a:lnTo>
                  <a:pt x="112" y="16"/>
                </a:lnTo>
                <a:lnTo>
                  <a:pt x="101" y="22"/>
                </a:lnTo>
                <a:lnTo>
                  <a:pt x="91" y="30"/>
                </a:lnTo>
                <a:lnTo>
                  <a:pt x="81" y="38"/>
                </a:lnTo>
                <a:lnTo>
                  <a:pt x="73" y="48"/>
                </a:lnTo>
                <a:lnTo>
                  <a:pt x="65" y="58"/>
                </a:lnTo>
                <a:lnTo>
                  <a:pt x="59" y="69"/>
                </a:lnTo>
                <a:lnTo>
                  <a:pt x="53" y="80"/>
                </a:lnTo>
                <a:lnTo>
                  <a:pt x="49" y="93"/>
                </a:lnTo>
                <a:lnTo>
                  <a:pt x="45" y="105"/>
                </a:lnTo>
                <a:lnTo>
                  <a:pt x="44" y="119"/>
                </a:lnTo>
                <a:lnTo>
                  <a:pt x="43" y="132"/>
                </a:lnTo>
                <a:lnTo>
                  <a:pt x="43" y="191"/>
                </a:lnTo>
                <a:lnTo>
                  <a:pt x="34" y="192"/>
                </a:lnTo>
                <a:lnTo>
                  <a:pt x="26" y="194"/>
                </a:lnTo>
                <a:lnTo>
                  <a:pt x="18" y="198"/>
                </a:lnTo>
                <a:lnTo>
                  <a:pt x="12" y="204"/>
                </a:lnTo>
                <a:lnTo>
                  <a:pt x="7" y="210"/>
                </a:lnTo>
                <a:lnTo>
                  <a:pt x="2" y="218"/>
                </a:lnTo>
                <a:lnTo>
                  <a:pt x="0" y="226"/>
                </a:lnTo>
                <a:lnTo>
                  <a:pt x="0" y="235"/>
                </a:lnTo>
                <a:lnTo>
                  <a:pt x="0" y="278"/>
                </a:lnTo>
                <a:lnTo>
                  <a:pt x="0" y="293"/>
                </a:lnTo>
                <a:lnTo>
                  <a:pt x="0" y="323"/>
                </a:lnTo>
                <a:lnTo>
                  <a:pt x="0" y="338"/>
                </a:lnTo>
                <a:lnTo>
                  <a:pt x="0" y="351"/>
                </a:lnTo>
                <a:lnTo>
                  <a:pt x="2" y="364"/>
                </a:lnTo>
                <a:lnTo>
                  <a:pt x="5" y="376"/>
                </a:lnTo>
                <a:lnTo>
                  <a:pt x="10" y="388"/>
                </a:lnTo>
                <a:lnTo>
                  <a:pt x="15" y="401"/>
                </a:lnTo>
                <a:lnTo>
                  <a:pt x="22" y="411"/>
                </a:lnTo>
                <a:lnTo>
                  <a:pt x="29" y="422"/>
                </a:lnTo>
                <a:lnTo>
                  <a:pt x="38" y="431"/>
                </a:lnTo>
                <a:lnTo>
                  <a:pt x="47" y="439"/>
                </a:lnTo>
                <a:lnTo>
                  <a:pt x="58" y="447"/>
                </a:lnTo>
                <a:lnTo>
                  <a:pt x="68" y="454"/>
                </a:lnTo>
                <a:lnTo>
                  <a:pt x="80" y="459"/>
                </a:lnTo>
                <a:lnTo>
                  <a:pt x="91" y="464"/>
                </a:lnTo>
                <a:lnTo>
                  <a:pt x="105" y="466"/>
                </a:lnTo>
                <a:lnTo>
                  <a:pt x="117" y="469"/>
                </a:lnTo>
                <a:lnTo>
                  <a:pt x="131" y="469"/>
                </a:lnTo>
                <a:lnTo>
                  <a:pt x="218" y="469"/>
                </a:lnTo>
                <a:lnTo>
                  <a:pt x="232" y="469"/>
                </a:lnTo>
                <a:lnTo>
                  <a:pt x="246" y="466"/>
                </a:lnTo>
                <a:lnTo>
                  <a:pt x="258" y="464"/>
                </a:lnTo>
                <a:lnTo>
                  <a:pt x="270" y="459"/>
                </a:lnTo>
                <a:lnTo>
                  <a:pt x="281" y="454"/>
                </a:lnTo>
                <a:lnTo>
                  <a:pt x="293" y="447"/>
                </a:lnTo>
                <a:lnTo>
                  <a:pt x="302" y="439"/>
                </a:lnTo>
                <a:lnTo>
                  <a:pt x="312" y="431"/>
                </a:lnTo>
                <a:lnTo>
                  <a:pt x="321" y="422"/>
                </a:lnTo>
                <a:lnTo>
                  <a:pt x="328" y="411"/>
                </a:lnTo>
                <a:lnTo>
                  <a:pt x="335" y="401"/>
                </a:lnTo>
                <a:lnTo>
                  <a:pt x="341" y="388"/>
                </a:lnTo>
                <a:lnTo>
                  <a:pt x="344" y="376"/>
                </a:lnTo>
                <a:lnTo>
                  <a:pt x="348" y="364"/>
                </a:lnTo>
                <a:lnTo>
                  <a:pt x="349" y="351"/>
                </a:lnTo>
                <a:lnTo>
                  <a:pt x="351" y="338"/>
                </a:lnTo>
                <a:lnTo>
                  <a:pt x="351" y="323"/>
                </a:lnTo>
                <a:lnTo>
                  <a:pt x="351" y="293"/>
                </a:lnTo>
                <a:lnTo>
                  <a:pt x="351" y="278"/>
                </a:lnTo>
                <a:lnTo>
                  <a:pt x="351" y="235"/>
                </a:lnTo>
                <a:lnTo>
                  <a:pt x="349" y="226"/>
                </a:lnTo>
                <a:lnTo>
                  <a:pt x="347" y="218"/>
                </a:lnTo>
                <a:lnTo>
                  <a:pt x="343" y="210"/>
                </a:lnTo>
                <a:lnTo>
                  <a:pt x="338" y="204"/>
                </a:lnTo>
                <a:lnTo>
                  <a:pt x="331" y="198"/>
                </a:lnTo>
                <a:lnTo>
                  <a:pt x="323" y="194"/>
                </a:lnTo>
                <a:lnTo>
                  <a:pt x="316" y="192"/>
                </a:lnTo>
                <a:lnTo>
                  <a:pt x="306" y="19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1" name="Freeform 40">
            <a:extLst>
              <a:ext uri="{FF2B5EF4-FFF2-40B4-BE49-F238E27FC236}">
                <a16:creationId xmlns:a16="http://schemas.microsoft.com/office/drawing/2014/main" id="{7E8B6208-A9C3-AF8B-0365-CFD39C8C8C16}"/>
              </a:ext>
            </a:extLst>
          </p:cNvPr>
          <p:cNvSpPr>
            <a:spLocks noEditPoints="1"/>
          </p:cNvSpPr>
          <p:nvPr/>
        </p:nvSpPr>
        <p:spPr bwMode="auto">
          <a:xfrm>
            <a:off x="14198600" y="8035883"/>
            <a:ext cx="373063" cy="279400"/>
          </a:xfrm>
          <a:custGeom>
            <a:avLst/>
            <a:gdLst>
              <a:gd name="T0" fmla="*/ 132 w 469"/>
              <a:gd name="T1" fmla="*/ 63 h 352"/>
              <a:gd name="T2" fmla="*/ 29 w 469"/>
              <a:gd name="T3" fmla="*/ 103 h 352"/>
              <a:gd name="T4" fmla="*/ 377 w 469"/>
              <a:gd name="T5" fmla="*/ 103 h 352"/>
              <a:gd name="T6" fmla="*/ 370 w 469"/>
              <a:gd name="T7" fmla="*/ 35 h 352"/>
              <a:gd name="T8" fmla="*/ 377 w 469"/>
              <a:gd name="T9" fmla="*/ 103 h 352"/>
              <a:gd name="T10" fmla="*/ 427 w 469"/>
              <a:gd name="T11" fmla="*/ 118 h 352"/>
              <a:gd name="T12" fmla="*/ 374 w 469"/>
              <a:gd name="T13" fmla="*/ 118 h 352"/>
              <a:gd name="T14" fmla="*/ 42 w 469"/>
              <a:gd name="T15" fmla="*/ 118 h 352"/>
              <a:gd name="T16" fmla="*/ 186 w 469"/>
              <a:gd name="T17" fmla="*/ 271 h 352"/>
              <a:gd name="T18" fmla="*/ 218 w 469"/>
              <a:gd name="T19" fmla="*/ 297 h 352"/>
              <a:gd name="T20" fmla="*/ 183 w 469"/>
              <a:gd name="T21" fmla="*/ 118 h 352"/>
              <a:gd name="T22" fmla="*/ 179 w 469"/>
              <a:gd name="T23" fmla="*/ 103 h 352"/>
              <a:gd name="T24" fmla="*/ 143 w 469"/>
              <a:gd name="T25" fmla="*/ 72 h 352"/>
              <a:gd name="T26" fmla="*/ 115 w 469"/>
              <a:gd name="T27" fmla="*/ 30 h 352"/>
              <a:gd name="T28" fmla="*/ 142 w 469"/>
              <a:gd name="T29" fmla="*/ 52 h 352"/>
              <a:gd name="T30" fmla="*/ 202 w 469"/>
              <a:gd name="T31" fmla="*/ 30 h 352"/>
              <a:gd name="T32" fmla="*/ 235 w 469"/>
              <a:gd name="T33" fmla="*/ 56 h 352"/>
              <a:gd name="T34" fmla="*/ 354 w 469"/>
              <a:gd name="T35" fmla="*/ 30 h 352"/>
              <a:gd name="T36" fmla="*/ 304 w 469"/>
              <a:gd name="T37" fmla="*/ 30 h 352"/>
              <a:gd name="T38" fmla="*/ 326 w 469"/>
              <a:gd name="T39" fmla="*/ 72 h 352"/>
              <a:gd name="T40" fmla="*/ 290 w 469"/>
              <a:gd name="T41" fmla="*/ 103 h 352"/>
              <a:gd name="T42" fmla="*/ 358 w 469"/>
              <a:gd name="T43" fmla="*/ 118 h 352"/>
              <a:gd name="T44" fmla="*/ 286 w 469"/>
              <a:gd name="T45" fmla="*/ 118 h 352"/>
              <a:gd name="T46" fmla="*/ 235 w 469"/>
              <a:gd name="T47" fmla="*/ 300 h 352"/>
              <a:gd name="T48" fmla="*/ 270 w 469"/>
              <a:gd name="T49" fmla="*/ 118 h 352"/>
              <a:gd name="T50" fmla="*/ 153 w 469"/>
              <a:gd name="T51" fmla="*/ 62 h 352"/>
              <a:gd name="T52" fmla="*/ 223 w 469"/>
              <a:gd name="T53" fmla="*/ 66 h 352"/>
              <a:gd name="T54" fmla="*/ 246 w 469"/>
              <a:gd name="T55" fmla="*/ 66 h 352"/>
              <a:gd name="T56" fmla="*/ 316 w 469"/>
              <a:gd name="T57" fmla="*/ 62 h 352"/>
              <a:gd name="T58" fmla="*/ 246 w 469"/>
              <a:gd name="T59" fmla="*/ 66 h 352"/>
              <a:gd name="T60" fmla="*/ 202 w 469"/>
              <a:gd name="T61" fmla="*/ 103 h 352"/>
              <a:gd name="T62" fmla="*/ 267 w 469"/>
              <a:gd name="T63" fmla="*/ 103 h 352"/>
              <a:gd name="T64" fmla="*/ 385 w 469"/>
              <a:gd name="T65" fmla="*/ 9 h 352"/>
              <a:gd name="T66" fmla="*/ 377 w 469"/>
              <a:gd name="T67" fmla="*/ 3 h 352"/>
              <a:gd name="T68" fmla="*/ 366 w 469"/>
              <a:gd name="T69" fmla="*/ 0 h 352"/>
              <a:gd name="T70" fmla="*/ 99 w 469"/>
              <a:gd name="T71" fmla="*/ 0 h 352"/>
              <a:gd name="T72" fmla="*/ 87 w 469"/>
              <a:gd name="T73" fmla="*/ 5 h 352"/>
              <a:gd name="T74" fmla="*/ 8 w 469"/>
              <a:gd name="T75" fmla="*/ 83 h 352"/>
              <a:gd name="T76" fmla="*/ 2 w 469"/>
              <a:gd name="T77" fmla="*/ 93 h 352"/>
              <a:gd name="T78" fmla="*/ 0 w 469"/>
              <a:gd name="T79" fmla="*/ 104 h 352"/>
              <a:gd name="T80" fmla="*/ 2 w 469"/>
              <a:gd name="T81" fmla="*/ 114 h 352"/>
              <a:gd name="T82" fmla="*/ 7 w 469"/>
              <a:gd name="T83" fmla="*/ 124 h 352"/>
              <a:gd name="T84" fmla="*/ 217 w 469"/>
              <a:gd name="T85" fmla="*/ 347 h 352"/>
              <a:gd name="T86" fmla="*/ 228 w 469"/>
              <a:gd name="T87" fmla="*/ 352 h 352"/>
              <a:gd name="T88" fmla="*/ 241 w 469"/>
              <a:gd name="T89" fmla="*/ 352 h 352"/>
              <a:gd name="T90" fmla="*/ 252 w 469"/>
              <a:gd name="T91" fmla="*/ 347 h 352"/>
              <a:gd name="T92" fmla="*/ 462 w 469"/>
              <a:gd name="T93" fmla="*/ 123 h 352"/>
              <a:gd name="T94" fmla="*/ 467 w 469"/>
              <a:gd name="T95" fmla="*/ 114 h 352"/>
              <a:gd name="T96" fmla="*/ 469 w 469"/>
              <a:gd name="T97" fmla="*/ 104 h 352"/>
              <a:gd name="T98" fmla="*/ 467 w 469"/>
              <a:gd name="T99" fmla="*/ 93 h 352"/>
              <a:gd name="T100" fmla="*/ 461 w 469"/>
              <a:gd name="T101" fmla="*/ 8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9" h="352">
                <a:moveTo>
                  <a:pt x="99" y="35"/>
                </a:moveTo>
                <a:lnTo>
                  <a:pt x="132" y="63"/>
                </a:lnTo>
                <a:lnTo>
                  <a:pt x="92" y="103"/>
                </a:lnTo>
                <a:lnTo>
                  <a:pt x="29" y="103"/>
                </a:lnTo>
                <a:lnTo>
                  <a:pt x="99" y="35"/>
                </a:lnTo>
                <a:close/>
                <a:moveTo>
                  <a:pt x="377" y="103"/>
                </a:moveTo>
                <a:lnTo>
                  <a:pt x="337" y="63"/>
                </a:lnTo>
                <a:lnTo>
                  <a:pt x="370" y="35"/>
                </a:lnTo>
                <a:lnTo>
                  <a:pt x="438" y="103"/>
                </a:lnTo>
                <a:lnTo>
                  <a:pt x="377" y="103"/>
                </a:lnTo>
                <a:close/>
                <a:moveTo>
                  <a:pt x="374" y="118"/>
                </a:moveTo>
                <a:lnTo>
                  <a:pt x="427" y="118"/>
                </a:lnTo>
                <a:lnTo>
                  <a:pt x="283" y="271"/>
                </a:lnTo>
                <a:lnTo>
                  <a:pt x="374" y="118"/>
                </a:lnTo>
                <a:close/>
                <a:moveTo>
                  <a:pt x="186" y="271"/>
                </a:moveTo>
                <a:lnTo>
                  <a:pt x="42" y="118"/>
                </a:lnTo>
                <a:lnTo>
                  <a:pt x="94" y="118"/>
                </a:lnTo>
                <a:lnTo>
                  <a:pt x="186" y="271"/>
                </a:lnTo>
                <a:close/>
                <a:moveTo>
                  <a:pt x="183" y="118"/>
                </a:moveTo>
                <a:lnTo>
                  <a:pt x="218" y="297"/>
                </a:lnTo>
                <a:lnTo>
                  <a:pt x="111" y="118"/>
                </a:lnTo>
                <a:lnTo>
                  <a:pt x="183" y="118"/>
                </a:lnTo>
                <a:close/>
                <a:moveTo>
                  <a:pt x="143" y="72"/>
                </a:moveTo>
                <a:lnTo>
                  <a:pt x="179" y="103"/>
                </a:lnTo>
                <a:lnTo>
                  <a:pt x="113" y="103"/>
                </a:lnTo>
                <a:lnTo>
                  <a:pt x="143" y="72"/>
                </a:lnTo>
                <a:close/>
                <a:moveTo>
                  <a:pt x="142" y="52"/>
                </a:moveTo>
                <a:lnTo>
                  <a:pt x="115" y="30"/>
                </a:lnTo>
                <a:lnTo>
                  <a:pt x="165" y="30"/>
                </a:lnTo>
                <a:lnTo>
                  <a:pt x="142" y="52"/>
                </a:lnTo>
                <a:close/>
                <a:moveTo>
                  <a:pt x="235" y="56"/>
                </a:moveTo>
                <a:lnTo>
                  <a:pt x="202" y="30"/>
                </a:lnTo>
                <a:lnTo>
                  <a:pt x="267" y="30"/>
                </a:lnTo>
                <a:lnTo>
                  <a:pt x="235" y="56"/>
                </a:lnTo>
                <a:close/>
                <a:moveTo>
                  <a:pt x="304" y="30"/>
                </a:moveTo>
                <a:lnTo>
                  <a:pt x="354" y="30"/>
                </a:lnTo>
                <a:lnTo>
                  <a:pt x="327" y="52"/>
                </a:lnTo>
                <a:lnTo>
                  <a:pt x="304" y="30"/>
                </a:lnTo>
                <a:close/>
                <a:moveTo>
                  <a:pt x="290" y="103"/>
                </a:moveTo>
                <a:lnTo>
                  <a:pt x="326" y="72"/>
                </a:lnTo>
                <a:lnTo>
                  <a:pt x="356" y="103"/>
                </a:lnTo>
                <a:lnTo>
                  <a:pt x="290" y="103"/>
                </a:lnTo>
                <a:close/>
                <a:moveTo>
                  <a:pt x="286" y="118"/>
                </a:moveTo>
                <a:lnTo>
                  <a:pt x="358" y="118"/>
                </a:lnTo>
                <a:lnTo>
                  <a:pt x="249" y="297"/>
                </a:lnTo>
                <a:lnTo>
                  <a:pt x="286" y="118"/>
                </a:lnTo>
                <a:close/>
                <a:moveTo>
                  <a:pt x="270" y="118"/>
                </a:moveTo>
                <a:lnTo>
                  <a:pt x="235" y="300"/>
                </a:lnTo>
                <a:lnTo>
                  <a:pt x="197" y="118"/>
                </a:lnTo>
                <a:lnTo>
                  <a:pt x="270" y="118"/>
                </a:lnTo>
                <a:close/>
                <a:moveTo>
                  <a:pt x="190" y="93"/>
                </a:moveTo>
                <a:lnTo>
                  <a:pt x="153" y="62"/>
                </a:lnTo>
                <a:lnTo>
                  <a:pt x="183" y="32"/>
                </a:lnTo>
                <a:lnTo>
                  <a:pt x="223" y="66"/>
                </a:lnTo>
                <a:lnTo>
                  <a:pt x="190" y="93"/>
                </a:lnTo>
                <a:close/>
                <a:moveTo>
                  <a:pt x="246" y="66"/>
                </a:moveTo>
                <a:lnTo>
                  <a:pt x="286" y="32"/>
                </a:lnTo>
                <a:lnTo>
                  <a:pt x="316" y="62"/>
                </a:lnTo>
                <a:lnTo>
                  <a:pt x="278" y="93"/>
                </a:lnTo>
                <a:lnTo>
                  <a:pt x="246" y="66"/>
                </a:lnTo>
                <a:close/>
                <a:moveTo>
                  <a:pt x="267" y="103"/>
                </a:moveTo>
                <a:lnTo>
                  <a:pt x="202" y="103"/>
                </a:lnTo>
                <a:lnTo>
                  <a:pt x="235" y="76"/>
                </a:lnTo>
                <a:lnTo>
                  <a:pt x="267" y="103"/>
                </a:lnTo>
                <a:close/>
                <a:moveTo>
                  <a:pt x="461" y="83"/>
                </a:moveTo>
                <a:lnTo>
                  <a:pt x="385" y="9"/>
                </a:lnTo>
                <a:lnTo>
                  <a:pt x="382" y="5"/>
                </a:lnTo>
                <a:lnTo>
                  <a:pt x="377" y="3"/>
                </a:lnTo>
                <a:lnTo>
                  <a:pt x="370" y="0"/>
                </a:lnTo>
                <a:lnTo>
                  <a:pt x="366" y="0"/>
                </a:lnTo>
                <a:lnTo>
                  <a:pt x="104" y="0"/>
                </a:lnTo>
                <a:lnTo>
                  <a:pt x="99" y="0"/>
                </a:lnTo>
                <a:lnTo>
                  <a:pt x="92" y="3"/>
                </a:lnTo>
                <a:lnTo>
                  <a:pt x="87" y="5"/>
                </a:lnTo>
                <a:lnTo>
                  <a:pt x="83" y="9"/>
                </a:lnTo>
                <a:lnTo>
                  <a:pt x="8" y="83"/>
                </a:lnTo>
                <a:lnTo>
                  <a:pt x="5" y="88"/>
                </a:lnTo>
                <a:lnTo>
                  <a:pt x="2" y="93"/>
                </a:lnTo>
                <a:lnTo>
                  <a:pt x="1" y="98"/>
                </a:lnTo>
                <a:lnTo>
                  <a:pt x="0" y="104"/>
                </a:lnTo>
                <a:lnTo>
                  <a:pt x="1" y="109"/>
                </a:lnTo>
                <a:lnTo>
                  <a:pt x="2" y="114"/>
                </a:lnTo>
                <a:lnTo>
                  <a:pt x="5" y="119"/>
                </a:lnTo>
                <a:lnTo>
                  <a:pt x="7" y="124"/>
                </a:lnTo>
                <a:lnTo>
                  <a:pt x="212" y="342"/>
                </a:lnTo>
                <a:lnTo>
                  <a:pt x="217" y="347"/>
                </a:lnTo>
                <a:lnTo>
                  <a:pt x="222" y="349"/>
                </a:lnTo>
                <a:lnTo>
                  <a:pt x="228" y="352"/>
                </a:lnTo>
                <a:lnTo>
                  <a:pt x="235" y="352"/>
                </a:lnTo>
                <a:lnTo>
                  <a:pt x="241" y="352"/>
                </a:lnTo>
                <a:lnTo>
                  <a:pt x="247" y="349"/>
                </a:lnTo>
                <a:lnTo>
                  <a:pt x="252" y="347"/>
                </a:lnTo>
                <a:lnTo>
                  <a:pt x="257" y="342"/>
                </a:lnTo>
                <a:lnTo>
                  <a:pt x="462" y="123"/>
                </a:lnTo>
                <a:lnTo>
                  <a:pt x="464" y="119"/>
                </a:lnTo>
                <a:lnTo>
                  <a:pt x="467" y="114"/>
                </a:lnTo>
                <a:lnTo>
                  <a:pt x="468" y="109"/>
                </a:lnTo>
                <a:lnTo>
                  <a:pt x="469" y="104"/>
                </a:lnTo>
                <a:lnTo>
                  <a:pt x="468" y="98"/>
                </a:lnTo>
                <a:lnTo>
                  <a:pt x="467" y="93"/>
                </a:lnTo>
                <a:lnTo>
                  <a:pt x="464" y="88"/>
                </a:lnTo>
                <a:lnTo>
                  <a:pt x="461" y="8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2" name="Freeform 41">
            <a:extLst>
              <a:ext uri="{FF2B5EF4-FFF2-40B4-BE49-F238E27FC236}">
                <a16:creationId xmlns:a16="http://schemas.microsoft.com/office/drawing/2014/main" id="{AFB70898-1DEF-6251-2AC3-AC7FDE4C1209}"/>
              </a:ext>
            </a:extLst>
          </p:cNvPr>
          <p:cNvSpPr>
            <a:spLocks noEditPoints="1"/>
          </p:cNvSpPr>
          <p:nvPr/>
        </p:nvSpPr>
        <p:spPr bwMode="auto">
          <a:xfrm>
            <a:off x="15005050" y="8035883"/>
            <a:ext cx="373063" cy="279400"/>
          </a:xfrm>
          <a:custGeom>
            <a:avLst/>
            <a:gdLst>
              <a:gd name="T0" fmla="*/ 357 w 469"/>
              <a:gd name="T1" fmla="*/ 315 h 352"/>
              <a:gd name="T2" fmla="*/ 337 w 469"/>
              <a:gd name="T3" fmla="*/ 323 h 352"/>
              <a:gd name="T4" fmla="*/ 48 w 469"/>
              <a:gd name="T5" fmla="*/ 321 h 352"/>
              <a:gd name="T6" fmla="*/ 34 w 469"/>
              <a:gd name="T7" fmla="*/ 310 h 352"/>
              <a:gd name="T8" fmla="*/ 29 w 469"/>
              <a:gd name="T9" fmla="*/ 294 h 352"/>
              <a:gd name="T10" fmla="*/ 32 w 469"/>
              <a:gd name="T11" fmla="*/ 47 h 352"/>
              <a:gd name="T12" fmla="*/ 43 w 469"/>
              <a:gd name="T13" fmla="*/ 35 h 352"/>
              <a:gd name="T14" fmla="*/ 59 w 469"/>
              <a:gd name="T15" fmla="*/ 29 h 352"/>
              <a:gd name="T16" fmla="*/ 352 w 469"/>
              <a:gd name="T17" fmla="*/ 32 h 352"/>
              <a:gd name="T18" fmla="*/ 435 w 469"/>
              <a:gd name="T19" fmla="*/ 160 h 352"/>
              <a:gd name="T20" fmla="*/ 438 w 469"/>
              <a:gd name="T21" fmla="*/ 183 h 352"/>
              <a:gd name="T22" fmla="*/ 331 w 469"/>
              <a:gd name="T23" fmla="*/ 204 h 352"/>
              <a:gd name="T24" fmla="*/ 316 w 469"/>
              <a:gd name="T25" fmla="*/ 197 h 352"/>
              <a:gd name="T26" fmla="*/ 309 w 469"/>
              <a:gd name="T27" fmla="*/ 182 h 352"/>
              <a:gd name="T28" fmla="*/ 310 w 469"/>
              <a:gd name="T29" fmla="*/ 165 h 352"/>
              <a:gd name="T30" fmla="*/ 321 w 469"/>
              <a:gd name="T31" fmla="*/ 151 h 352"/>
              <a:gd name="T32" fmla="*/ 337 w 469"/>
              <a:gd name="T33" fmla="*/ 146 h 352"/>
              <a:gd name="T34" fmla="*/ 353 w 469"/>
              <a:gd name="T35" fmla="*/ 151 h 352"/>
              <a:gd name="T36" fmla="*/ 364 w 469"/>
              <a:gd name="T37" fmla="*/ 165 h 352"/>
              <a:gd name="T38" fmla="*/ 365 w 469"/>
              <a:gd name="T39" fmla="*/ 182 h 352"/>
              <a:gd name="T40" fmla="*/ 358 w 469"/>
              <a:gd name="T41" fmla="*/ 197 h 352"/>
              <a:gd name="T42" fmla="*/ 343 w 469"/>
              <a:gd name="T43" fmla="*/ 204 h 352"/>
              <a:gd name="T44" fmla="*/ 328 w 469"/>
              <a:gd name="T45" fmla="*/ 133 h 352"/>
              <a:gd name="T46" fmla="*/ 306 w 469"/>
              <a:gd name="T47" fmla="*/ 145 h 352"/>
              <a:gd name="T48" fmla="*/ 294 w 469"/>
              <a:gd name="T49" fmla="*/ 167 h 352"/>
              <a:gd name="T50" fmla="*/ 296 w 469"/>
              <a:gd name="T51" fmla="*/ 193 h 352"/>
              <a:gd name="T52" fmla="*/ 312 w 469"/>
              <a:gd name="T53" fmla="*/ 212 h 352"/>
              <a:gd name="T54" fmla="*/ 337 w 469"/>
              <a:gd name="T55" fmla="*/ 221 h 352"/>
              <a:gd name="T56" fmla="*/ 362 w 469"/>
              <a:gd name="T57" fmla="*/ 212 h 352"/>
              <a:gd name="T58" fmla="*/ 378 w 469"/>
              <a:gd name="T59" fmla="*/ 193 h 352"/>
              <a:gd name="T60" fmla="*/ 380 w 469"/>
              <a:gd name="T61" fmla="*/ 167 h 352"/>
              <a:gd name="T62" fmla="*/ 368 w 469"/>
              <a:gd name="T63" fmla="*/ 145 h 352"/>
              <a:gd name="T64" fmla="*/ 346 w 469"/>
              <a:gd name="T65" fmla="*/ 133 h 352"/>
              <a:gd name="T66" fmla="*/ 386 w 469"/>
              <a:gd name="T67" fmla="*/ 28 h 352"/>
              <a:gd name="T68" fmla="*/ 372 w 469"/>
              <a:gd name="T69" fmla="*/ 11 h 352"/>
              <a:gd name="T70" fmla="*/ 352 w 469"/>
              <a:gd name="T71" fmla="*/ 2 h 352"/>
              <a:gd name="T72" fmla="*/ 59 w 469"/>
              <a:gd name="T73" fmla="*/ 0 h 352"/>
              <a:gd name="T74" fmla="*/ 26 w 469"/>
              <a:gd name="T75" fmla="*/ 10 h 352"/>
              <a:gd name="T76" fmla="*/ 5 w 469"/>
              <a:gd name="T77" fmla="*/ 36 h 352"/>
              <a:gd name="T78" fmla="*/ 0 w 469"/>
              <a:gd name="T79" fmla="*/ 294 h 352"/>
              <a:gd name="T80" fmla="*/ 11 w 469"/>
              <a:gd name="T81" fmla="*/ 326 h 352"/>
              <a:gd name="T82" fmla="*/ 35 w 469"/>
              <a:gd name="T83" fmla="*/ 348 h 352"/>
              <a:gd name="T84" fmla="*/ 337 w 469"/>
              <a:gd name="T85" fmla="*/ 352 h 352"/>
              <a:gd name="T86" fmla="*/ 359 w 469"/>
              <a:gd name="T87" fmla="*/ 348 h 352"/>
              <a:gd name="T88" fmla="*/ 378 w 469"/>
              <a:gd name="T89" fmla="*/ 336 h 352"/>
              <a:gd name="T90" fmla="*/ 459 w 469"/>
              <a:gd name="T91" fmla="*/ 207 h 352"/>
              <a:gd name="T92" fmla="*/ 468 w 469"/>
              <a:gd name="T93" fmla="*/ 185 h 352"/>
              <a:gd name="T94" fmla="*/ 467 w 469"/>
              <a:gd name="T95" fmla="*/ 16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9" h="352">
                <a:moveTo>
                  <a:pt x="435" y="192"/>
                </a:moveTo>
                <a:lnTo>
                  <a:pt x="362" y="308"/>
                </a:lnTo>
                <a:lnTo>
                  <a:pt x="357" y="315"/>
                </a:lnTo>
                <a:lnTo>
                  <a:pt x="352" y="320"/>
                </a:lnTo>
                <a:lnTo>
                  <a:pt x="344" y="322"/>
                </a:lnTo>
                <a:lnTo>
                  <a:pt x="337" y="323"/>
                </a:lnTo>
                <a:lnTo>
                  <a:pt x="59" y="323"/>
                </a:lnTo>
                <a:lnTo>
                  <a:pt x="53" y="322"/>
                </a:lnTo>
                <a:lnTo>
                  <a:pt x="48" y="321"/>
                </a:lnTo>
                <a:lnTo>
                  <a:pt x="43" y="317"/>
                </a:lnTo>
                <a:lnTo>
                  <a:pt x="38" y="315"/>
                </a:lnTo>
                <a:lnTo>
                  <a:pt x="34" y="310"/>
                </a:lnTo>
                <a:lnTo>
                  <a:pt x="32" y="305"/>
                </a:lnTo>
                <a:lnTo>
                  <a:pt x="30" y="300"/>
                </a:lnTo>
                <a:lnTo>
                  <a:pt x="29" y="294"/>
                </a:lnTo>
                <a:lnTo>
                  <a:pt x="29" y="58"/>
                </a:lnTo>
                <a:lnTo>
                  <a:pt x="30" y="52"/>
                </a:lnTo>
                <a:lnTo>
                  <a:pt x="32" y="47"/>
                </a:lnTo>
                <a:lnTo>
                  <a:pt x="34" y="42"/>
                </a:lnTo>
                <a:lnTo>
                  <a:pt x="38" y="37"/>
                </a:lnTo>
                <a:lnTo>
                  <a:pt x="43" y="35"/>
                </a:lnTo>
                <a:lnTo>
                  <a:pt x="48" y="31"/>
                </a:lnTo>
                <a:lnTo>
                  <a:pt x="53" y="30"/>
                </a:lnTo>
                <a:lnTo>
                  <a:pt x="59" y="29"/>
                </a:lnTo>
                <a:lnTo>
                  <a:pt x="337" y="29"/>
                </a:lnTo>
                <a:lnTo>
                  <a:pt x="344" y="30"/>
                </a:lnTo>
                <a:lnTo>
                  <a:pt x="352" y="32"/>
                </a:lnTo>
                <a:lnTo>
                  <a:pt x="357" y="37"/>
                </a:lnTo>
                <a:lnTo>
                  <a:pt x="362" y="44"/>
                </a:lnTo>
                <a:lnTo>
                  <a:pt x="435" y="160"/>
                </a:lnTo>
                <a:lnTo>
                  <a:pt x="438" y="169"/>
                </a:lnTo>
                <a:lnTo>
                  <a:pt x="440" y="176"/>
                </a:lnTo>
                <a:lnTo>
                  <a:pt x="438" y="183"/>
                </a:lnTo>
                <a:lnTo>
                  <a:pt x="435" y="192"/>
                </a:lnTo>
                <a:close/>
                <a:moveTo>
                  <a:pt x="337" y="206"/>
                </a:moveTo>
                <a:lnTo>
                  <a:pt x="331" y="204"/>
                </a:lnTo>
                <a:lnTo>
                  <a:pt x="326" y="203"/>
                </a:lnTo>
                <a:lnTo>
                  <a:pt x="321" y="201"/>
                </a:lnTo>
                <a:lnTo>
                  <a:pt x="316" y="197"/>
                </a:lnTo>
                <a:lnTo>
                  <a:pt x="312" y="192"/>
                </a:lnTo>
                <a:lnTo>
                  <a:pt x="310" y="187"/>
                </a:lnTo>
                <a:lnTo>
                  <a:pt x="309" y="182"/>
                </a:lnTo>
                <a:lnTo>
                  <a:pt x="307" y="176"/>
                </a:lnTo>
                <a:lnTo>
                  <a:pt x="309" y="170"/>
                </a:lnTo>
                <a:lnTo>
                  <a:pt x="310" y="165"/>
                </a:lnTo>
                <a:lnTo>
                  <a:pt x="312" y="160"/>
                </a:lnTo>
                <a:lnTo>
                  <a:pt x="316" y="155"/>
                </a:lnTo>
                <a:lnTo>
                  <a:pt x="321" y="151"/>
                </a:lnTo>
                <a:lnTo>
                  <a:pt x="326" y="149"/>
                </a:lnTo>
                <a:lnTo>
                  <a:pt x="331" y="148"/>
                </a:lnTo>
                <a:lnTo>
                  <a:pt x="337" y="146"/>
                </a:lnTo>
                <a:lnTo>
                  <a:pt x="343" y="148"/>
                </a:lnTo>
                <a:lnTo>
                  <a:pt x="348" y="149"/>
                </a:lnTo>
                <a:lnTo>
                  <a:pt x="353" y="151"/>
                </a:lnTo>
                <a:lnTo>
                  <a:pt x="358" y="155"/>
                </a:lnTo>
                <a:lnTo>
                  <a:pt x="362" y="160"/>
                </a:lnTo>
                <a:lnTo>
                  <a:pt x="364" y="165"/>
                </a:lnTo>
                <a:lnTo>
                  <a:pt x="365" y="170"/>
                </a:lnTo>
                <a:lnTo>
                  <a:pt x="367" y="176"/>
                </a:lnTo>
                <a:lnTo>
                  <a:pt x="365" y="182"/>
                </a:lnTo>
                <a:lnTo>
                  <a:pt x="364" y="187"/>
                </a:lnTo>
                <a:lnTo>
                  <a:pt x="362" y="192"/>
                </a:lnTo>
                <a:lnTo>
                  <a:pt x="358" y="197"/>
                </a:lnTo>
                <a:lnTo>
                  <a:pt x="353" y="201"/>
                </a:lnTo>
                <a:lnTo>
                  <a:pt x="348" y="203"/>
                </a:lnTo>
                <a:lnTo>
                  <a:pt x="343" y="204"/>
                </a:lnTo>
                <a:lnTo>
                  <a:pt x="337" y="206"/>
                </a:lnTo>
                <a:close/>
                <a:moveTo>
                  <a:pt x="337" y="131"/>
                </a:moveTo>
                <a:lnTo>
                  <a:pt x="328" y="133"/>
                </a:lnTo>
                <a:lnTo>
                  <a:pt x="320" y="135"/>
                </a:lnTo>
                <a:lnTo>
                  <a:pt x="312" y="140"/>
                </a:lnTo>
                <a:lnTo>
                  <a:pt x="306" y="145"/>
                </a:lnTo>
                <a:lnTo>
                  <a:pt x="301" y="151"/>
                </a:lnTo>
                <a:lnTo>
                  <a:pt x="296" y="159"/>
                </a:lnTo>
                <a:lnTo>
                  <a:pt x="294" y="167"/>
                </a:lnTo>
                <a:lnTo>
                  <a:pt x="292" y="176"/>
                </a:lnTo>
                <a:lnTo>
                  <a:pt x="294" y="185"/>
                </a:lnTo>
                <a:lnTo>
                  <a:pt x="296" y="193"/>
                </a:lnTo>
                <a:lnTo>
                  <a:pt x="301" y="201"/>
                </a:lnTo>
                <a:lnTo>
                  <a:pt x="306" y="207"/>
                </a:lnTo>
                <a:lnTo>
                  <a:pt x="312" y="212"/>
                </a:lnTo>
                <a:lnTo>
                  <a:pt x="320" y="217"/>
                </a:lnTo>
                <a:lnTo>
                  <a:pt x="328" y="219"/>
                </a:lnTo>
                <a:lnTo>
                  <a:pt x="337" y="221"/>
                </a:lnTo>
                <a:lnTo>
                  <a:pt x="346" y="219"/>
                </a:lnTo>
                <a:lnTo>
                  <a:pt x="354" y="217"/>
                </a:lnTo>
                <a:lnTo>
                  <a:pt x="362" y="212"/>
                </a:lnTo>
                <a:lnTo>
                  <a:pt x="368" y="207"/>
                </a:lnTo>
                <a:lnTo>
                  <a:pt x="374" y="201"/>
                </a:lnTo>
                <a:lnTo>
                  <a:pt x="378" y="193"/>
                </a:lnTo>
                <a:lnTo>
                  <a:pt x="380" y="185"/>
                </a:lnTo>
                <a:lnTo>
                  <a:pt x="381" y="176"/>
                </a:lnTo>
                <a:lnTo>
                  <a:pt x="380" y="167"/>
                </a:lnTo>
                <a:lnTo>
                  <a:pt x="378" y="159"/>
                </a:lnTo>
                <a:lnTo>
                  <a:pt x="374" y="151"/>
                </a:lnTo>
                <a:lnTo>
                  <a:pt x="368" y="145"/>
                </a:lnTo>
                <a:lnTo>
                  <a:pt x="362" y="140"/>
                </a:lnTo>
                <a:lnTo>
                  <a:pt x="354" y="135"/>
                </a:lnTo>
                <a:lnTo>
                  <a:pt x="346" y="133"/>
                </a:lnTo>
                <a:lnTo>
                  <a:pt x="337" y="131"/>
                </a:lnTo>
                <a:close/>
                <a:moveTo>
                  <a:pt x="459" y="145"/>
                </a:moveTo>
                <a:lnTo>
                  <a:pt x="386" y="28"/>
                </a:lnTo>
                <a:lnTo>
                  <a:pt x="383" y="21"/>
                </a:lnTo>
                <a:lnTo>
                  <a:pt x="378" y="16"/>
                </a:lnTo>
                <a:lnTo>
                  <a:pt x="372" y="11"/>
                </a:lnTo>
                <a:lnTo>
                  <a:pt x="365" y="8"/>
                </a:lnTo>
                <a:lnTo>
                  <a:pt x="359" y="4"/>
                </a:lnTo>
                <a:lnTo>
                  <a:pt x="352" y="2"/>
                </a:lnTo>
                <a:lnTo>
                  <a:pt x="344" y="0"/>
                </a:lnTo>
                <a:lnTo>
                  <a:pt x="337" y="0"/>
                </a:lnTo>
                <a:lnTo>
                  <a:pt x="59" y="0"/>
                </a:lnTo>
                <a:lnTo>
                  <a:pt x="47" y="2"/>
                </a:lnTo>
                <a:lnTo>
                  <a:pt x="35" y="4"/>
                </a:lnTo>
                <a:lnTo>
                  <a:pt x="26" y="10"/>
                </a:lnTo>
                <a:lnTo>
                  <a:pt x="17" y="18"/>
                </a:lnTo>
                <a:lnTo>
                  <a:pt x="11" y="26"/>
                </a:lnTo>
                <a:lnTo>
                  <a:pt x="5" y="36"/>
                </a:lnTo>
                <a:lnTo>
                  <a:pt x="1" y="47"/>
                </a:lnTo>
                <a:lnTo>
                  <a:pt x="0" y="58"/>
                </a:lnTo>
                <a:lnTo>
                  <a:pt x="0" y="294"/>
                </a:lnTo>
                <a:lnTo>
                  <a:pt x="1" y="305"/>
                </a:lnTo>
                <a:lnTo>
                  <a:pt x="5" y="316"/>
                </a:lnTo>
                <a:lnTo>
                  <a:pt x="11" y="326"/>
                </a:lnTo>
                <a:lnTo>
                  <a:pt x="17" y="334"/>
                </a:lnTo>
                <a:lnTo>
                  <a:pt x="26" y="342"/>
                </a:lnTo>
                <a:lnTo>
                  <a:pt x="35" y="348"/>
                </a:lnTo>
                <a:lnTo>
                  <a:pt x="47" y="350"/>
                </a:lnTo>
                <a:lnTo>
                  <a:pt x="59" y="352"/>
                </a:lnTo>
                <a:lnTo>
                  <a:pt x="337" y="352"/>
                </a:lnTo>
                <a:lnTo>
                  <a:pt x="344" y="352"/>
                </a:lnTo>
                <a:lnTo>
                  <a:pt x="352" y="350"/>
                </a:lnTo>
                <a:lnTo>
                  <a:pt x="359" y="348"/>
                </a:lnTo>
                <a:lnTo>
                  <a:pt x="365" y="344"/>
                </a:lnTo>
                <a:lnTo>
                  <a:pt x="372" y="341"/>
                </a:lnTo>
                <a:lnTo>
                  <a:pt x="378" y="336"/>
                </a:lnTo>
                <a:lnTo>
                  <a:pt x="383" y="331"/>
                </a:lnTo>
                <a:lnTo>
                  <a:pt x="386" y="324"/>
                </a:lnTo>
                <a:lnTo>
                  <a:pt x="459" y="207"/>
                </a:lnTo>
                <a:lnTo>
                  <a:pt x="464" y="200"/>
                </a:lnTo>
                <a:lnTo>
                  <a:pt x="467" y="192"/>
                </a:lnTo>
                <a:lnTo>
                  <a:pt x="468" y="185"/>
                </a:lnTo>
                <a:lnTo>
                  <a:pt x="469" y="176"/>
                </a:lnTo>
                <a:lnTo>
                  <a:pt x="468" y="167"/>
                </a:lnTo>
                <a:lnTo>
                  <a:pt x="467" y="160"/>
                </a:lnTo>
                <a:lnTo>
                  <a:pt x="464" y="152"/>
                </a:lnTo>
                <a:lnTo>
                  <a:pt x="459" y="14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3" name="Freeform 42">
            <a:extLst>
              <a:ext uri="{FF2B5EF4-FFF2-40B4-BE49-F238E27FC236}">
                <a16:creationId xmlns:a16="http://schemas.microsoft.com/office/drawing/2014/main" id="{697C9C30-CFA2-6AEE-415C-8AC659F66053}"/>
              </a:ext>
            </a:extLst>
          </p:cNvPr>
          <p:cNvSpPr>
            <a:spLocks noEditPoints="1"/>
          </p:cNvSpPr>
          <p:nvPr/>
        </p:nvSpPr>
        <p:spPr bwMode="auto">
          <a:xfrm>
            <a:off x="6134100" y="7211971"/>
            <a:ext cx="371475" cy="314325"/>
          </a:xfrm>
          <a:custGeom>
            <a:avLst/>
            <a:gdLst>
              <a:gd name="T0" fmla="*/ 280 w 468"/>
              <a:gd name="T1" fmla="*/ 295 h 396"/>
              <a:gd name="T2" fmla="*/ 249 w 468"/>
              <a:gd name="T3" fmla="*/ 307 h 396"/>
              <a:gd name="T4" fmla="*/ 216 w 468"/>
              <a:gd name="T5" fmla="*/ 306 h 396"/>
              <a:gd name="T6" fmla="*/ 184 w 468"/>
              <a:gd name="T7" fmla="*/ 292 h 396"/>
              <a:gd name="T8" fmla="*/ 159 w 468"/>
              <a:gd name="T9" fmla="*/ 266 h 396"/>
              <a:gd name="T10" fmla="*/ 147 w 468"/>
              <a:gd name="T11" fmla="*/ 235 h 396"/>
              <a:gd name="T12" fmla="*/ 148 w 468"/>
              <a:gd name="T13" fmla="*/ 202 h 396"/>
              <a:gd name="T14" fmla="*/ 161 w 468"/>
              <a:gd name="T15" fmla="*/ 170 h 396"/>
              <a:gd name="T16" fmla="*/ 187 w 468"/>
              <a:gd name="T17" fmla="*/ 145 h 396"/>
              <a:gd name="T18" fmla="*/ 218 w 468"/>
              <a:gd name="T19" fmla="*/ 132 h 396"/>
              <a:gd name="T20" fmla="*/ 252 w 468"/>
              <a:gd name="T21" fmla="*/ 134 h 396"/>
              <a:gd name="T22" fmla="*/ 284 w 468"/>
              <a:gd name="T23" fmla="*/ 147 h 396"/>
              <a:gd name="T24" fmla="*/ 309 w 468"/>
              <a:gd name="T25" fmla="*/ 173 h 396"/>
              <a:gd name="T26" fmla="*/ 321 w 468"/>
              <a:gd name="T27" fmla="*/ 204 h 396"/>
              <a:gd name="T28" fmla="*/ 320 w 468"/>
              <a:gd name="T29" fmla="*/ 238 h 396"/>
              <a:gd name="T30" fmla="*/ 306 w 468"/>
              <a:gd name="T31" fmla="*/ 270 h 396"/>
              <a:gd name="T32" fmla="*/ 435 w 468"/>
              <a:gd name="T33" fmla="*/ 363 h 396"/>
              <a:gd name="T34" fmla="*/ 38 w 468"/>
              <a:gd name="T35" fmla="*/ 365 h 396"/>
              <a:gd name="T36" fmla="*/ 29 w 468"/>
              <a:gd name="T37" fmla="*/ 131 h 396"/>
              <a:gd name="T38" fmla="*/ 40 w 468"/>
              <a:gd name="T39" fmla="*/ 118 h 396"/>
              <a:gd name="T40" fmla="*/ 153 w 468"/>
              <a:gd name="T41" fmla="*/ 31 h 396"/>
              <a:gd name="T42" fmla="*/ 311 w 468"/>
              <a:gd name="T43" fmla="*/ 30 h 396"/>
              <a:gd name="T44" fmla="*/ 347 w 468"/>
              <a:gd name="T45" fmla="*/ 104 h 396"/>
              <a:gd name="T46" fmla="*/ 438 w 468"/>
              <a:gd name="T47" fmla="*/ 126 h 396"/>
              <a:gd name="T48" fmla="*/ 368 w 468"/>
              <a:gd name="T49" fmla="*/ 78 h 396"/>
              <a:gd name="T50" fmla="*/ 337 w 468"/>
              <a:gd name="T51" fmla="*/ 11 h 396"/>
              <a:gd name="T52" fmla="*/ 313 w 468"/>
              <a:gd name="T53" fmla="*/ 0 h 396"/>
              <a:gd name="T54" fmla="*/ 148 w 468"/>
              <a:gd name="T55" fmla="*/ 1 h 396"/>
              <a:gd name="T56" fmla="*/ 127 w 468"/>
              <a:gd name="T57" fmla="*/ 16 h 396"/>
              <a:gd name="T58" fmla="*/ 37 w 468"/>
              <a:gd name="T59" fmla="*/ 88 h 396"/>
              <a:gd name="T60" fmla="*/ 9 w 468"/>
              <a:gd name="T61" fmla="*/ 103 h 396"/>
              <a:gd name="T62" fmla="*/ 0 w 468"/>
              <a:gd name="T63" fmla="*/ 131 h 396"/>
              <a:gd name="T64" fmla="*/ 7 w 468"/>
              <a:gd name="T65" fmla="*/ 376 h 396"/>
              <a:gd name="T66" fmla="*/ 34 w 468"/>
              <a:gd name="T67" fmla="*/ 395 h 396"/>
              <a:gd name="T68" fmla="*/ 441 w 468"/>
              <a:gd name="T69" fmla="*/ 392 h 396"/>
              <a:gd name="T70" fmla="*/ 464 w 468"/>
              <a:gd name="T71" fmla="*/ 369 h 396"/>
              <a:gd name="T72" fmla="*/ 468 w 468"/>
              <a:gd name="T73" fmla="*/ 124 h 396"/>
              <a:gd name="T74" fmla="*/ 452 w 468"/>
              <a:gd name="T75" fmla="*/ 98 h 396"/>
              <a:gd name="T76" fmla="*/ 233 w 468"/>
              <a:gd name="T77" fmla="*/ 161 h 396"/>
              <a:gd name="T78" fmla="*/ 192 w 468"/>
              <a:gd name="T79" fmla="*/ 178 h 396"/>
              <a:gd name="T80" fmla="*/ 175 w 468"/>
              <a:gd name="T81" fmla="*/ 219 h 396"/>
              <a:gd name="T82" fmla="*/ 180 w 468"/>
              <a:gd name="T83" fmla="*/ 227 h 396"/>
              <a:gd name="T84" fmla="*/ 189 w 468"/>
              <a:gd name="T85" fmla="*/ 223 h 396"/>
              <a:gd name="T86" fmla="*/ 194 w 468"/>
              <a:gd name="T87" fmla="*/ 203 h 396"/>
              <a:gd name="T88" fmla="*/ 217 w 468"/>
              <a:gd name="T89" fmla="*/ 180 h 396"/>
              <a:gd name="T90" fmla="*/ 239 w 468"/>
              <a:gd name="T91" fmla="*/ 173 h 396"/>
              <a:gd name="T92" fmla="*/ 239 w 468"/>
              <a:gd name="T93" fmla="*/ 163 h 396"/>
              <a:gd name="T94" fmla="*/ 222 w 468"/>
              <a:gd name="T95" fmla="*/ 103 h 396"/>
              <a:gd name="T96" fmla="*/ 178 w 468"/>
              <a:gd name="T97" fmla="*/ 116 h 396"/>
              <a:gd name="T98" fmla="*/ 143 w 468"/>
              <a:gd name="T99" fmla="*/ 145 h 396"/>
              <a:gd name="T100" fmla="*/ 122 w 468"/>
              <a:gd name="T101" fmla="*/ 184 h 396"/>
              <a:gd name="T102" fmla="*/ 117 w 468"/>
              <a:gd name="T103" fmla="*/ 231 h 396"/>
              <a:gd name="T104" fmla="*/ 131 w 468"/>
              <a:gd name="T105" fmla="*/ 276 h 396"/>
              <a:gd name="T106" fmla="*/ 159 w 468"/>
              <a:gd name="T107" fmla="*/ 311 h 396"/>
              <a:gd name="T108" fmla="*/ 199 w 468"/>
              <a:gd name="T109" fmla="*/ 332 h 396"/>
              <a:gd name="T110" fmla="*/ 246 w 468"/>
              <a:gd name="T111" fmla="*/ 337 h 396"/>
              <a:gd name="T112" fmla="*/ 290 w 468"/>
              <a:gd name="T113" fmla="*/ 323 h 396"/>
              <a:gd name="T114" fmla="*/ 325 w 468"/>
              <a:gd name="T115" fmla="*/ 295 h 396"/>
              <a:gd name="T116" fmla="*/ 346 w 468"/>
              <a:gd name="T117" fmla="*/ 255 h 396"/>
              <a:gd name="T118" fmla="*/ 351 w 468"/>
              <a:gd name="T119" fmla="*/ 208 h 396"/>
              <a:gd name="T120" fmla="*/ 337 w 468"/>
              <a:gd name="T121" fmla="*/ 163 h 396"/>
              <a:gd name="T122" fmla="*/ 309 w 468"/>
              <a:gd name="T123" fmla="*/ 129 h 396"/>
              <a:gd name="T124" fmla="*/ 269 w 468"/>
              <a:gd name="T125" fmla="*/ 10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396">
                <a:moveTo>
                  <a:pt x="300" y="277"/>
                </a:moveTo>
                <a:lnTo>
                  <a:pt x="294" y="283"/>
                </a:lnTo>
                <a:lnTo>
                  <a:pt x="288" y="290"/>
                </a:lnTo>
                <a:lnTo>
                  <a:pt x="280" y="295"/>
                </a:lnTo>
                <a:lnTo>
                  <a:pt x="273" y="298"/>
                </a:lnTo>
                <a:lnTo>
                  <a:pt x="265" y="302"/>
                </a:lnTo>
                <a:lnTo>
                  <a:pt x="257" y="304"/>
                </a:lnTo>
                <a:lnTo>
                  <a:pt x="249" y="307"/>
                </a:lnTo>
                <a:lnTo>
                  <a:pt x="241" y="307"/>
                </a:lnTo>
                <a:lnTo>
                  <a:pt x="232" y="308"/>
                </a:lnTo>
                <a:lnTo>
                  <a:pt x="223" y="307"/>
                </a:lnTo>
                <a:lnTo>
                  <a:pt x="216" y="306"/>
                </a:lnTo>
                <a:lnTo>
                  <a:pt x="207" y="303"/>
                </a:lnTo>
                <a:lnTo>
                  <a:pt x="199" y="301"/>
                </a:lnTo>
                <a:lnTo>
                  <a:pt x="191" y="297"/>
                </a:lnTo>
                <a:lnTo>
                  <a:pt x="184" y="292"/>
                </a:lnTo>
                <a:lnTo>
                  <a:pt x="176" y="286"/>
                </a:lnTo>
                <a:lnTo>
                  <a:pt x="170" y="280"/>
                </a:lnTo>
                <a:lnTo>
                  <a:pt x="164" y="274"/>
                </a:lnTo>
                <a:lnTo>
                  <a:pt x="159" y="266"/>
                </a:lnTo>
                <a:lnTo>
                  <a:pt x="155" y="259"/>
                </a:lnTo>
                <a:lnTo>
                  <a:pt x="152" y="251"/>
                </a:lnTo>
                <a:lnTo>
                  <a:pt x="149" y="243"/>
                </a:lnTo>
                <a:lnTo>
                  <a:pt x="147" y="235"/>
                </a:lnTo>
                <a:lnTo>
                  <a:pt x="147" y="227"/>
                </a:lnTo>
                <a:lnTo>
                  <a:pt x="145" y="218"/>
                </a:lnTo>
                <a:lnTo>
                  <a:pt x="147" y="209"/>
                </a:lnTo>
                <a:lnTo>
                  <a:pt x="148" y="202"/>
                </a:lnTo>
                <a:lnTo>
                  <a:pt x="150" y="193"/>
                </a:lnTo>
                <a:lnTo>
                  <a:pt x="153" y="184"/>
                </a:lnTo>
                <a:lnTo>
                  <a:pt x="157" y="177"/>
                </a:lnTo>
                <a:lnTo>
                  <a:pt x="161" y="170"/>
                </a:lnTo>
                <a:lnTo>
                  <a:pt x="168" y="162"/>
                </a:lnTo>
                <a:lnTo>
                  <a:pt x="173" y="156"/>
                </a:lnTo>
                <a:lnTo>
                  <a:pt x="180" y="150"/>
                </a:lnTo>
                <a:lnTo>
                  <a:pt x="187" y="145"/>
                </a:lnTo>
                <a:lnTo>
                  <a:pt x="195" y="141"/>
                </a:lnTo>
                <a:lnTo>
                  <a:pt x="202" y="137"/>
                </a:lnTo>
                <a:lnTo>
                  <a:pt x="211" y="135"/>
                </a:lnTo>
                <a:lnTo>
                  <a:pt x="218" y="132"/>
                </a:lnTo>
                <a:lnTo>
                  <a:pt x="227" y="132"/>
                </a:lnTo>
                <a:lnTo>
                  <a:pt x="236" y="131"/>
                </a:lnTo>
                <a:lnTo>
                  <a:pt x="244" y="132"/>
                </a:lnTo>
                <a:lnTo>
                  <a:pt x="252" y="134"/>
                </a:lnTo>
                <a:lnTo>
                  <a:pt x="260" y="136"/>
                </a:lnTo>
                <a:lnTo>
                  <a:pt x="269" y="139"/>
                </a:lnTo>
                <a:lnTo>
                  <a:pt x="276" y="142"/>
                </a:lnTo>
                <a:lnTo>
                  <a:pt x="284" y="147"/>
                </a:lnTo>
                <a:lnTo>
                  <a:pt x="291" y="152"/>
                </a:lnTo>
                <a:lnTo>
                  <a:pt x="297" y="160"/>
                </a:lnTo>
                <a:lnTo>
                  <a:pt x="304" y="166"/>
                </a:lnTo>
                <a:lnTo>
                  <a:pt x="309" y="173"/>
                </a:lnTo>
                <a:lnTo>
                  <a:pt x="312" y="181"/>
                </a:lnTo>
                <a:lnTo>
                  <a:pt x="316" y="188"/>
                </a:lnTo>
                <a:lnTo>
                  <a:pt x="318" y="197"/>
                </a:lnTo>
                <a:lnTo>
                  <a:pt x="321" y="204"/>
                </a:lnTo>
                <a:lnTo>
                  <a:pt x="321" y="213"/>
                </a:lnTo>
                <a:lnTo>
                  <a:pt x="322" y="222"/>
                </a:lnTo>
                <a:lnTo>
                  <a:pt x="321" y="230"/>
                </a:lnTo>
                <a:lnTo>
                  <a:pt x="320" y="238"/>
                </a:lnTo>
                <a:lnTo>
                  <a:pt x="317" y="246"/>
                </a:lnTo>
                <a:lnTo>
                  <a:pt x="315" y="255"/>
                </a:lnTo>
                <a:lnTo>
                  <a:pt x="311" y="262"/>
                </a:lnTo>
                <a:lnTo>
                  <a:pt x="306" y="270"/>
                </a:lnTo>
                <a:lnTo>
                  <a:pt x="300" y="277"/>
                </a:lnTo>
                <a:close/>
                <a:moveTo>
                  <a:pt x="438" y="351"/>
                </a:moveTo>
                <a:lnTo>
                  <a:pt x="437" y="358"/>
                </a:lnTo>
                <a:lnTo>
                  <a:pt x="435" y="363"/>
                </a:lnTo>
                <a:lnTo>
                  <a:pt x="430" y="365"/>
                </a:lnTo>
                <a:lnTo>
                  <a:pt x="425" y="366"/>
                </a:lnTo>
                <a:lnTo>
                  <a:pt x="43" y="366"/>
                </a:lnTo>
                <a:lnTo>
                  <a:pt x="38" y="365"/>
                </a:lnTo>
                <a:lnTo>
                  <a:pt x="33" y="363"/>
                </a:lnTo>
                <a:lnTo>
                  <a:pt x="29" y="358"/>
                </a:lnTo>
                <a:lnTo>
                  <a:pt x="29" y="351"/>
                </a:lnTo>
                <a:lnTo>
                  <a:pt x="29" y="131"/>
                </a:lnTo>
                <a:lnTo>
                  <a:pt x="29" y="126"/>
                </a:lnTo>
                <a:lnTo>
                  <a:pt x="32" y="123"/>
                </a:lnTo>
                <a:lnTo>
                  <a:pt x="37" y="119"/>
                </a:lnTo>
                <a:lnTo>
                  <a:pt x="40" y="118"/>
                </a:lnTo>
                <a:lnTo>
                  <a:pt x="121" y="104"/>
                </a:lnTo>
                <a:lnTo>
                  <a:pt x="147" y="38"/>
                </a:lnTo>
                <a:lnTo>
                  <a:pt x="149" y="35"/>
                </a:lnTo>
                <a:lnTo>
                  <a:pt x="153" y="31"/>
                </a:lnTo>
                <a:lnTo>
                  <a:pt x="157" y="30"/>
                </a:lnTo>
                <a:lnTo>
                  <a:pt x="160" y="29"/>
                </a:lnTo>
                <a:lnTo>
                  <a:pt x="307" y="29"/>
                </a:lnTo>
                <a:lnTo>
                  <a:pt x="311" y="30"/>
                </a:lnTo>
                <a:lnTo>
                  <a:pt x="315" y="31"/>
                </a:lnTo>
                <a:lnTo>
                  <a:pt x="318" y="35"/>
                </a:lnTo>
                <a:lnTo>
                  <a:pt x="321" y="38"/>
                </a:lnTo>
                <a:lnTo>
                  <a:pt x="347" y="104"/>
                </a:lnTo>
                <a:lnTo>
                  <a:pt x="427" y="118"/>
                </a:lnTo>
                <a:lnTo>
                  <a:pt x="431" y="119"/>
                </a:lnTo>
                <a:lnTo>
                  <a:pt x="436" y="123"/>
                </a:lnTo>
                <a:lnTo>
                  <a:pt x="438" y="126"/>
                </a:lnTo>
                <a:lnTo>
                  <a:pt x="438" y="131"/>
                </a:lnTo>
                <a:lnTo>
                  <a:pt x="438" y="351"/>
                </a:lnTo>
                <a:close/>
                <a:moveTo>
                  <a:pt x="431" y="88"/>
                </a:moveTo>
                <a:lnTo>
                  <a:pt x="368" y="78"/>
                </a:lnTo>
                <a:lnTo>
                  <a:pt x="348" y="27"/>
                </a:lnTo>
                <a:lnTo>
                  <a:pt x="344" y="21"/>
                </a:lnTo>
                <a:lnTo>
                  <a:pt x="341" y="16"/>
                </a:lnTo>
                <a:lnTo>
                  <a:pt x="337" y="11"/>
                </a:lnTo>
                <a:lnTo>
                  <a:pt x="332" y="8"/>
                </a:lnTo>
                <a:lnTo>
                  <a:pt x="326" y="4"/>
                </a:lnTo>
                <a:lnTo>
                  <a:pt x="320" y="1"/>
                </a:lnTo>
                <a:lnTo>
                  <a:pt x="313" y="0"/>
                </a:lnTo>
                <a:lnTo>
                  <a:pt x="307" y="0"/>
                </a:lnTo>
                <a:lnTo>
                  <a:pt x="160" y="0"/>
                </a:lnTo>
                <a:lnTo>
                  <a:pt x="154" y="0"/>
                </a:lnTo>
                <a:lnTo>
                  <a:pt x="148" y="1"/>
                </a:lnTo>
                <a:lnTo>
                  <a:pt x="142" y="4"/>
                </a:lnTo>
                <a:lnTo>
                  <a:pt x="136" y="8"/>
                </a:lnTo>
                <a:lnTo>
                  <a:pt x="131" y="11"/>
                </a:lnTo>
                <a:lnTo>
                  <a:pt x="127" y="16"/>
                </a:lnTo>
                <a:lnTo>
                  <a:pt x="123" y="21"/>
                </a:lnTo>
                <a:lnTo>
                  <a:pt x="119" y="27"/>
                </a:lnTo>
                <a:lnTo>
                  <a:pt x="100" y="78"/>
                </a:lnTo>
                <a:lnTo>
                  <a:pt x="37" y="88"/>
                </a:lnTo>
                <a:lnTo>
                  <a:pt x="28" y="90"/>
                </a:lnTo>
                <a:lnTo>
                  <a:pt x="22" y="94"/>
                </a:lnTo>
                <a:lnTo>
                  <a:pt x="16" y="98"/>
                </a:lnTo>
                <a:lnTo>
                  <a:pt x="9" y="103"/>
                </a:lnTo>
                <a:lnTo>
                  <a:pt x="6" y="109"/>
                </a:lnTo>
                <a:lnTo>
                  <a:pt x="2" y="116"/>
                </a:lnTo>
                <a:lnTo>
                  <a:pt x="0" y="124"/>
                </a:lnTo>
                <a:lnTo>
                  <a:pt x="0" y="131"/>
                </a:lnTo>
                <a:lnTo>
                  <a:pt x="0" y="351"/>
                </a:lnTo>
                <a:lnTo>
                  <a:pt x="1" y="360"/>
                </a:lnTo>
                <a:lnTo>
                  <a:pt x="3" y="369"/>
                </a:lnTo>
                <a:lnTo>
                  <a:pt x="7" y="376"/>
                </a:lnTo>
                <a:lnTo>
                  <a:pt x="12" y="382"/>
                </a:lnTo>
                <a:lnTo>
                  <a:pt x="19" y="389"/>
                </a:lnTo>
                <a:lnTo>
                  <a:pt x="27" y="392"/>
                </a:lnTo>
                <a:lnTo>
                  <a:pt x="34" y="395"/>
                </a:lnTo>
                <a:lnTo>
                  <a:pt x="43" y="396"/>
                </a:lnTo>
                <a:lnTo>
                  <a:pt x="425" y="396"/>
                </a:lnTo>
                <a:lnTo>
                  <a:pt x="433" y="395"/>
                </a:lnTo>
                <a:lnTo>
                  <a:pt x="441" y="392"/>
                </a:lnTo>
                <a:lnTo>
                  <a:pt x="448" y="389"/>
                </a:lnTo>
                <a:lnTo>
                  <a:pt x="456" y="382"/>
                </a:lnTo>
                <a:lnTo>
                  <a:pt x="461" y="376"/>
                </a:lnTo>
                <a:lnTo>
                  <a:pt x="464" y="369"/>
                </a:lnTo>
                <a:lnTo>
                  <a:pt x="467" y="360"/>
                </a:lnTo>
                <a:lnTo>
                  <a:pt x="468" y="351"/>
                </a:lnTo>
                <a:lnTo>
                  <a:pt x="468" y="131"/>
                </a:lnTo>
                <a:lnTo>
                  <a:pt x="468" y="124"/>
                </a:lnTo>
                <a:lnTo>
                  <a:pt x="465" y="116"/>
                </a:lnTo>
                <a:lnTo>
                  <a:pt x="462" y="109"/>
                </a:lnTo>
                <a:lnTo>
                  <a:pt x="458" y="103"/>
                </a:lnTo>
                <a:lnTo>
                  <a:pt x="452" y="98"/>
                </a:lnTo>
                <a:lnTo>
                  <a:pt x="446" y="94"/>
                </a:lnTo>
                <a:lnTo>
                  <a:pt x="440" y="90"/>
                </a:lnTo>
                <a:lnTo>
                  <a:pt x="431" y="88"/>
                </a:lnTo>
                <a:close/>
                <a:moveTo>
                  <a:pt x="233" y="161"/>
                </a:moveTo>
                <a:lnTo>
                  <a:pt x="222" y="162"/>
                </a:lnTo>
                <a:lnTo>
                  <a:pt x="211" y="166"/>
                </a:lnTo>
                <a:lnTo>
                  <a:pt x="201" y="171"/>
                </a:lnTo>
                <a:lnTo>
                  <a:pt x="192" y="178"/>
                </a:lnTo>
                <a:lnTo>
                  <a:pt x="185" y="187"/>
                </a:lnTo>
                <a:lnTo>
                  <a:pt x="180" y="197"/>
                </a:lnTo>
                <a:lnTo>
                  <a:pt x="176" y="208"/>
                </a:lnTo>
                <a:lnTo>
                  <a:pt x="175" y="219"/>
                </a:lnTo>
                <a:lnTo>
                  <a:pt x="175" y="219"/>
                </a:lnTo>
                <a:lnTo>
                  <a:pt x="176" y="223"/>
                </a:lnTo>
                <a:lnTo>
                  <a:pt x="178" y="225"/>
                </a:lnTo>
                <a:lnTo>
                  <a:pt x="180" y="227"/>
                </a:lnTo>
                <a:lnTo>
                  <a:pt x="182" y="227"/>
                </a:lnTo>
                <a:lnTo>
                  <a:pt x="185" y="227"/>
                </a:lnTo>
                <a:lnTo>
                  <a:pt x="187" y="225"/>
                </a:lnTo>
                <a:lnTo>
                  <a:pt x="189" y="223"/>
                </a:lnTo>
                <a:lnTo>
                  <a:pt x="190" y="219"/>
                </a:lnTo>
                <a:lnTo>
                  <a:pt x="190" y="219"/>
                </a:lnTo>
                <a:lnTo>
                  <a:pt x="191" y="210"/>
                </a:lnTo>
                <a:lnTo>
                  <a:pt x="194" y="203"/>
                </a:lnTo>
                <a:lnTo>
                  <a:pt x="197" y="196"/>
                </a:lnTo>
                <a:lnTo>
                  <a:pt x="202" y="188"/>
                </a:lnTo>
                <a:lnTo>
                  <a:pt x="210" y="183"/>
                </a:lnTo>
                <a:lnTo>
                  <a:pt x="217" y="180"/>
                </a:lnTo>
                <a:lnTo>
                  <a:pt x="225" y="177"/>
                </a:lnTo>
                <a:lnTo>
                  <a:pt x="233" y="176"/>
                </a:lnTo>
                <a:lnTo>
                  <a:pt x="237" y="175"/>
                </a:lnTo>
                <a:lnTo>
                  <a:pt x="239" y="173"/>
                </a:lnTo>
                <a:lnTo>
                  <a:pt x="241" y="171"/>
                </a:lnTo>
                <a:lnTo>
                  <a:pt x="241" y="168"/>
                </a:lnTo>
                <a:lnTo>
                  <a:pt x="241" y="166"/>
                </a:lnTo>
                <a:lnTo>
                  <a:pt x="239" y="163"/>
                </a:lnTo>
                <a:lnTo>
                  <a:pt x="237" y="162"/>
                </a:lnTo>
                <a:lnTo>
                  <a:pt x="233" y="161"/>
                </a:lnTo>
                <a:close/>
                <a:moveTo>
                  <a:pt x="233" y="103"/>
                </a:moveTo>
                <a:lnTo>
                  <a:pt x="222" y="103"/>
                </a:lnTo>
                <a:lnTo>
                  <a:pt x="210" y="105"/>
                </a:lnTo>
                <a:lnTo>
                  <a:pt x="199" y="108"/>
                </a:lnTo>
                <a:lnTo>
                  <a:pt x="189" y="111"/>
                </a:lnTo>
                <a:lnTo>
                  <a:pt x="178" y="116"/>
                </a:lnTo>
                <a:lnTo>
                  <a:pt x="168" y="123"/>
                </a:lnTo>
                <a:lnTo>
                  <a:pt x="159" y="129"/>
                </a:lnTo>
                <a:lnTo>
                  <a:pt x="150" y="136"/>
                </a:lnTo>
                <a:lnTo>
                  <a:pt x="143" y="145"/>
                </a:lnTo>
                <a:lnTo>
                  <a:pt x="137" y="154"/>
                </a:lnTo>
                <a:lnTo>
                  <a:pt x="131" y="163"/>
                </a:lnTo>
                <a:lnTo>
                  <a:pt x="126" y="175"/>
                </a:lnTo>
                <a:lnTo>
                  <a:pt x="122" y="184"/>
                </a:lnTo>
                <a:lnTo>
                  <a:pt x="119" y="196"/>
                </a:lnTo>
                <a:lnTo>
                  <a:pt x="117" y="208"/>
                </a:lnTo>
                <a:lnTo>
                  <a:pt x="117" y="219"/>
                </a:lnTo>
                <a:lnTo>
                  <a:pt x="117" y="231"/>
                </a:lnTo>
                <a:lnTo>
                  <a:pt x="119" y="244"/>
                </a:lnTo>
                <a:lnTo>
                  <a:pt x="122" y="255"/>
                </a:lnTo>
                <a:lnTo>
                  <a:pt x="126" y="265"/>
                </a:lnTo>
                <a:lnTo>
                  <a:pt x="131" y="276"/>
                </a:lnTo>
                <a:lnTo>
                  <a:pt x="137" y="286"/>
                </a:lnTo>
                <a:lnTo>
                  <a:pt x="143" y="295"/>
                </a:lnTo>
                <a:lnTo>
                  <a:pt x="150" y="303"/>
                </a:lnTo>
                <a:lnTo>
                  <a:pt x="159" y="311"/>
                </a:lnTo>
                <a:lnTo>
                  <a:pt x="168" y="317"/>
                </a:lnTo>
                <a:lnTo>
                  <a:pt x="178" y="323"/>
                </a:lnTo>
                <a:lnTo>
                  <a:pt x="189" y="328"/>
                </a:lnTo>
                <a:lnTo>
                  <a:pt x="199" y="332"/>
                </a:lnTo>
                <a:lnTo>
                  <a:pt x="210" y="334"/>
                </a:lnTo>
                <a:lnTo>
                  <a:pt x="222" y="337"/>
                </a:lnTo>
                <a:lnTo>
                  <a:pt x="233" y="337"/>
                </a:lnTo>
                <a:lnTo>
                  <a:pt x="246" y="337"/>
                </a:lnTo>
                <a:lnTo>
                  <a:pt x="258" y="334"/>
                </a:lnTo>
                <a:lnTo>
                  <a:pt x="269" y="332"/>
                </a:lnTo>
                <a:lnTo>
                  <a:pt x="279" y="328"/>
                </a:lnTo>
                <a:lnTo>
                  <a:pt x="290" y="323"/>
                </a:lnTo>
                <a:lnTo>
                  <a:pt x="300" y="317"/>
                </a:lnTo>
                <a:lnTo>
                  <a:pt x="309" y="311"/>
                </a:lnTo>
                <a:lnTo>
                  <a:pt x="317" y="303"/>
                </a:lnTo>
                <a:lnTo>
                  <a:pt x="325" y="295"/>
                </a:lnTo>
                <a:lnTo>
                  <a:pt x="331" y="286"/>
                </a:lnTo>
                <a:lnTo>
                  <a:pt x="337" y="276"/>
                </a:lnTo>
                <a:lnTo>
                  <a:pt x="342" y="265"/>
                </a:lnTo>
                <a:lnTo>
                  <a:pt x="346" y="255"/>
                </a:lnTo>
                <a:lnTo>
                  <a:pt x="348" y="244"/>
                </a:lnTo>
                <a:lnTo>
                  <a:pt x="351" y="231"/>
                </a:lnTo>
                <a:lnTo>
                  <a:pt x="351" y="219"/>
                </a:lnTo>
                <a:lnTo>
                  <a:pt x="351" y="208"/>
                </a:lnTo>
                <a:lnTo>
                  <a:pt x="348" y="196"/>
                </a:lnTo>
                <a:lnTo>
                  <a:pt x="346" y="184"/>
                </a:lnTo>
                <a:lnTo>
                  <a:pt x="342" y="175"/>
                </a:lnTo>
                <a:lnTo>
                  <a:pt x="337" y="163"/>
                </a:lnTo>
                <a:lnTo>
                  <a:pt x="331" y="154"/>
                </a:lnTo>
                <a:lnTo>
                  <a:pt x="325" y="145"/>
                </a:lnTo>
                <a:lnTo>
                  <a:pt x="317" y="136"/>
                </a:lnTo>
                <a:lnTo>
                  <a:pt x="309" y="129"/>
                </a:lnTo>
                <a:lnTo>
                  <a:pt x="300" y="123"/>
                </a:lnTo>
                <a:lnTo>
                  <a:pt x="290" y="116"/>
                </a:lnTo>
                <a:lnTo>
                  <a:pt x="279" y="111"/>
                </a:lnTo>
                <a:lnTo>
                  <a:pt x="269" y="108"/>
                </a:lnTo>
                <a:lnTo>
                  <a:pt x="258" y="105"/>
                </a:lnTo>
                <a:lnTo>
                  <a:pt x="246" y="103"/>
                </a:lnTo>
                <a:lnTo>
                  <a:pt x="233" y="10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4" name="Freeform 43">
            <a:extLst>
              <a:ext uri="{FF2B5EF4-FFF2-40B4-BE49-F238E27FC236}">
                <a16:creationId xmlns:a16="http://schemas.microsoft.com/office/drawing/2014/main" id="{3C9037E8-1440-24DF-7D73-7AEA64F2D25F}"/>
              </a:ext>
            </a:extLst>
          </p:cNvPr>
          <p:cNvSpPr>
            <a:spLocks noEditPoints="1"/>
          </p:cNvSpPr>
          <p:nvPr/>
        </p:nvSpPr>
        <p:spPr bwMode="auto">
          <a:xfrm>
            <a:off x="6940550" y="7181808"/>
            <a:ext cx="371475" cy="371475"/>
          </a:xfrm>
          <a:custGeom>
            <a:avLst/>
            <a:gdLst>
              <a:gd name="T0" fmla="*/ 364 w 469"/>
              <a:gd name="T1" fmla="*/ 306 h 469"/>
              <a:gd name="T2" fmla="*/ 319 w 469"/>
              <a:gd name="T3" fmla="*/ 365 h 469"/>
              <a:gd name="T4" fmla="*/ 270 w 469"/>
              <a:gd name="T5" fmla="*/ 381 h 469"/>
              <a:gd name="T6" fmla="*/ 193 w 469"/>
              <a:gd name="T7" fmla="*/ 376 h 469"/>
              <a:gd name="T8" fmla="*/ 146 w 469"/>
              <a:gd name="T9" fmla="*/ 366 h 469"/>
              <a:gd name="T10" fmla="*/ 103 w 469"/>
              <a:gd name="T11" fmla="*/ 298 h 469"/>
              <a:gd name="T12" fmla="*/ 30 w 469"/>
              <a:gd name="T13" fmla="*/ 215 h 469"/>
              <a:gd name="T14" fmla="*/ 106 w 469"/>
              <a:gd name="T15" fmla="*/ 163 h 469"/>
              <a:gd name="T16" fmla="*/ 150 w 469"/>
              <a:gd name="T17" fmla="*/ 104 h 469"/>
              <a:gd name="T18" fmla="*/ 199 w 469"/>
              <a:gd name="T19" fmla="*/ 88 h 469"/>
              <a:gd name="T20" fmla="*/ 276 w 469"/>
              <a:gd name="T21" fmla="*/ 93 h 469"/>
              <a:gd name="T22" fmla="*/ 324 w 469"/>
              <a:gd name="T23" fmla="*/ 103 h 469"/>
              <a:gd name="T24" fmla="*/ 366 w 469"/>
              <a:gd name="T25" fmla="*/ 171 h 469"/>
              <a:gd name="T26" fmla="*/ 440 w 469"/>
              <a:gd name="T27" fmla="*/ 255 h 469"/>
              <a:gd name="T28" fmla="*/ 194 w 469"/>
              <a:gd name="T29" fmla="*/ 252 h 469"/>
              <a:gd name="T30" fmla="*/ 218 w 469"/>
              <a:gd name="T31" fmla="*/ 194 h 469"/>
              <a:gd name="T32" fmla="*/ 275 w 469"/>
              <a:gd name="T33" fmla="*/ 218 h 469"/>
              <a:gd name="T34" fmla="*/ 251 w 469"/>
              <a:gd name="T35" fmla="*/ 275 h 469"/>
              <a:gd name="T36" fmla="*/ 186 w 469"/>
              <a:gd name="T37" fmla="*/ 202 h 469"/>
              <a:gd name="T38" fmla="*/ 202 w 469"/>
              <a:gd name="T39" fmla="*/ 283 h 469"/>
              <a:gd name="T40" fmla="*/ 283 w 469"/>
              <a:gd name="T41" fmla="*/ 267 h 469"/>
              <a:gd name="T42" fmla="*/ 267 w 469"/>
              <a:gd name="T43" fmla="*/ 186 h 469"/>
              <a:gd name="T44" fmla="*/ 199 w 469"/>
              <a:gd name="T45" fmla="*/ 318 h 469"/>
              <a:gd name="T46" fmla="*/ 152 w 469"/>
              <a:gd name="T47" fmla="*/ 270 h 469"/>
              <a:gd name="T48" fmla="*/ 152 w 469"/>
              <a:gd name="T49" fmla="*/ 199 h 469"/>
              <a:gd name="T50" fmla="*/ 199 w 469"/>
              <a:gd name="T51" fmla="*/ 152 h 469"/>
              <a:gd name="T52" fmla="*/ 270 w 469"/>
              <a:gd name="T53" fmla="*/ 152 h 469"/>
              <a:gd name="T54" fmla="*/ 318 w 469"/>
              <a:gd name="T55" fmla="*/ 199 h 469"/>
              <a:gd name="T56" fmla="*/ 318 w 469"/>
              <a:gd name="T57" fmla="*/ 270 h 469"/>
              <a:gd name="T58" fmla="*/ 270 w 469"/>
              <a:gd name="T59" fmla="*/ 318 h 469"/>
              <a:gd name="T60" fmla="*/ 204 w 469"/>
              <a:gd name="T61" fmla="*/ 136 h 469"/>
              <a:gd name="T62" fmla="*/ 145 w 469"/>
              <a:gd name="T63" fmla="*/ 186 h 469"/>
              <a:gd name="T64" fmla="*/ 136 w 469"/>
              <a:gd name="T65" fmla="*/ 265 h 469"/>
              <a:gd name="T66" fmla="*/ 186 w 469"/>
              <a:gd name="T67" fmla="*/ 325 h 469"/>
              <a:gd name="T68" fmla="*/ 265 w 469"/>
              <a:gd name="T69" fmla="*/ 333 h 469"/>
              <a:gd name="T70" fmla="*/ 325 w 469"/>
              <a:gd name="T71" fmla="*/ 283 h 469"/>
              <a:gd name="T72" fmla="*/ 333 w 469"/>
              <a:gd name="T73" fmla="*/ 204 h 469"/>
              <a:gd name="T74" fmla="*/ 283 w 469"/>
              <a:gd name="T75" fmla="*/ 145 h 469"/>
              <a:gd name="T76" fmla="*/ 397 w 469"/>
              <a:gd name="T77" fmla="*/ 167 h 469"/>
              <a:gd name="T78" fmla="*/ 421 w 469"/>
              <a:gd name="T79" fmla="*/ 92 h 469"/>
              <a:gd name="T80" fmla="*/ 361 w 469"/>
              <a:gd name="T81" fmla="*/ 46 h 469"/>
              <a:gd name="T82" fmla="*/ 282 w 469"/>
              <a:gd name="T83" fmla="*/ 19 h 469"/>
              <a:gd name="T84" fmla="*/ 216 w 469"/>
              <a:gd name="T85" fmla="*/ 0 h 469"/>
              <a:gd name="T86" fmla="*/ 186 w 469"/>
              <a:gd name="T87" fmla="*/ 24 h 469"/>
              <a:gd name="T88" fmla="*/ 104 w 469"/>
              <a:gd name="T89" fmla="*/ 46 h 469"/>
              <a:gd name="T90" fmla="*/ 47 w 469"/>
              <a:gd name="T91" fmla="*/ 95 h 469"/>
              <a:gd name="T92" fmla="*/ 68 w 469"/>
              <a:gd name="T93" fmla="*/ 177 h 469"/>
              <a:gd name="T94" fmla="*/ 0 w 469"/>
              <a:gd name="T95" fmla="*/ 209 h 469"/>
              <a:gd name="T96" fmla="*/ 14 w 469"/>
              <a:gd name="T97" fmla="*/ 280 h 469"/>
              <a:gd name="T98" fmla="*/ 47 w 469"/>
              <a:gd name="T99" fmla="*/ 359 h 469"/>
              <a:gd name="T100" fmla="*/ 88 w 469"/>
              <a:gd name="T101" fmla="*/ 418 h 469"/>
              <a:gd name="T102" fmla="*/ 159 w 469"/>
              <a:gd name="T103" fmla="*/ 393 h 469"/>
              <a:gd name="T104" fmla="*/ 201 w 469"/>
              <a:gd name="T105" fmla="*/ 465 h 469"/>
              <a:gd name="T106" fmla="*/ 274 w 469"/>
              <a:gd name="T107" fmla="*/ 463 h 469"/>
              <a:gd name="T108" fmla="*/ 349 w 469"/>
              <a:gd name="T109" fmla="*/ 418 h 469"/>
              <a:gd name="T110" fmla="*/ 386 w 469"/>
              <a:gd name="T111" fmla="*/ 414 h 469"/>
              <a:gd name="T112" fmla="*/ 421 w 469"/>
              <a:gd name="T113" fmla="*/ 354 h 469"/>
              <a:gd name="T114" fmla="*/ 459 w 469"/>
              <a:gd name="T115" fmla="*/ 277 h 469"/>
              <a:gd name="T116" fmla="*/ 468 w 469"/>
              <a:gd name="T117" fmla="*/ 20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9" h="469">
                <a:moveTo>
                  <a:pt x="395" y="264"/>
                </a:moveTo>
                <a:lnTo>
                  <a:pt x="387" y="266"/>
                </a:lnTo>
                <a:lnTo>
                  <a:pt x="381" y="270"/>
                </a:lnTo>
                <a:lnTo>
                  <a:pt x="376" y="276"/>
                </a:lnTo>
                <a:lnTo>
                  <a:pt x="372" y="283"/>
                </a:lnTo>
                <a:lnTo>
                  <a:pt x="370" y="291"/>
                </a:lnTo>
                <a:lnTo>
                  <a:pt x="366" y="298"/>
                </a:lnTo>
                <a:lnTo>
                  <a:pt x="364" y="306"/>
                </a:lnTo>
                <a:lnTo>
                  <a:pt x="364" y="313"/>
                </a:lnTo>
                <a:lnTo>
                  <a:pt x="365" y="320"/>
                </a:lnTo>
                <a:lnTo>
                  <a:pt x="369" y="328"/>
                </a:lnTo>
                <a:lnTo>
                  <a:pt x="393" y="366"/>
                </a:lnTo>
                <a:lnTo>
                  <a:pt x="366" y="393"/>
                </a:lnTo>
                <a:lnTo>
                  <a:pt x="328" y="369"/>
                </a:lnTo>
                <a:lnTo>
                  <a:pt x="324" y="366"/>
                </a:lnTo>
                <a:lnTo>
                  <a:pt x="319" y="365"/>
                </a:lnTo>
                <a:lnTo>
                  <a:pt x="316" y="364"/>
                </a:lnTo>
                <a:lnTo>
                  <a:pt x="312" y="364"/>
                </a:lnTo>
                <a:lnTo>
                  <a:pt x="304" y="364"/>
                </a:lnTo>
                <a:lnTo>
                  <a:pt x="298" y="366"/>
                </a:lnTo>
                <a:lnTo>
                  <a:pt x="291" y="370"/>
                </a:lnTo>
                <a:lnTo>
                  <a:pt x="282" y="374"/>
                </a:lnTo>
                <a:lnTo>
                  <a:pt x="276" y="376"/>
                </a:lnTo>
                <a:lnTo>
                  <a:pt x="270" y="381"/>
                </a:lnTo>
                <a:lnTo>
                  <a:pt x="266" y="387"/>
                </a:lnTo>
                <a:lnTo>
                  <a:pt x="264" y="395"/>
                </a:lnTo>
                <a:lnTo>
                  <a:pt x="255" y="440"/>
                </a:lnTo>
                <a:lnTo>
                  <a:pt x="216" y="440"/>
                </a:lnTo>
                <a:lnTo>
                  <a:pt x="206" y="395"/>
                </a:lnTo>
                <a:lnTo>
                  <a:pt x="203" y="387"/>
                </a:lnTo>
                <a:lnTo>
                  <a:pt x="199" y="381"/>
                </a:lnTo>
                <a:lnTo>
                  <a:pt x="193" y="376"/>
                </a:lnTo>
                <a:lnTo>
                  <a:pt x="187" y="374"/>
                </a:lnTo>
                <a:lnTo>
                  <a:pt x="178" y="370"/>
                </a:lnTo>
                <a:lnTo>
                  <a:pt x="171" y="366"/>
                </a:lnTo>
                <a:lnTo>
                  <a:pt x="165" y="364"/>
                </a:lnTo>
                <a:lnTo>
                  <a:pt x="159" y="364"/>
                </a:lnTo>
                <a:lnTo>
                  <a:pt x="154" y="364"/>
                </a:lnTo>
                <a:lnTo>
                  <a:pt x="150" y="365"/>
                </a:lnTo>
                <a:lnTo>
                  <a:pt x="146" y="366"/>
                </a:lnTo>
                <a:lnTo>
                  <a:pt x="143" y="369"/>
                </a:lnTo>
                <a:lnTo>
                  <a:pt x="104" y="393"/>
                </a:lnTo>
                <a:lnTo>
                  <a:pt x="76" y="366"/>
                </a:lnTo>
                <a:lnTo>
                  <a:pt x="101" y="328"/>
                </a:lnTo>
                <a:lnTo>
                  <a:pt x="104" y="320"/>
                </a:lnTo>
                <a:lnTo>
                  <a:pt x="106" y="313"/>
                </a:lnTo>
                <a:lnTo>
                  <a:pt x="106" y="306"/>
                </a:lnTo>
                <a:lnTo>
                  <a:pt x="103" y="298"/>
                </a:lnTo>
                <a:lnTo>
                  <a:pt x="99" y="291"/>
                </a:lnTo>
                <a:lnTo>
                  <a:pt x="97" y="283"/>
                </a:lnTo>
                <a:lnTo>
                  <a:pt x="93" y="276"/>
                </a:lnTo>
                <a:lnTo>
                  <a:pt x="88" y="270"/>
                </a:lnTo>
                <a:lnTo>
                  <a:pt x="82" y="266"/>
                </a:lnTo>
                <a:lnTo>
                  <a:pt x="75" y="264"/>
                </a:lnTo>
                <a:lnTo>
                  <a:pt x="30" y="255"/>
                </a:lnTo>
                <a:lnTo>
                  <a:pt x="30" y="215"/>
                </a:lnTo>
                <a:lnTo>
                  <a:pt x="75" y="205"/>
                </a:lnTo>
                <a:lnTo>
                  <a:pt x="82" y="203"/>
                </a:lnTo>
                <a:lnTo>
                  <a:pt x="88" y="199"/>
                </a:lnTo>
                <a:lnTo>
                  <a:pt x="93" y="193"/>
                </a:lnTo>
                <a:lnTo>
                  <a:pt x="97" y="187"/>
                </a:lnTo>
                <a:lnTo>
                  <a:pt x="99" y="178"/>
                </a:lnTo>
                <a:lnTo>
                  <a:pt x="103" y="171"/>
                </a:lnTo>
                <a:lnTo>
                  <a:pt x="106" y="163"/>
                </a:lnTo>
                <a:lnTo>
                  <a:pt x="106" y="156"/>
                </a:lnTo>
                <a:lnTo>
                  <a:pt x="104" y="148"/>
                </a:lnTo>
                <a:lnTo>
                  <a:pt x="101" y="142"/>
                </a:lnTo>
                <a:lnTo>
                  <a:pt x="76" y="104"/>
                </a:lnTo>
                <a:lnTo>
                  <a:pt x="104" y="75"/>
                </a:lnTo>
                <a:lnTo>
                  <a:pt x="143" y="100"/>
                </a:lnTo>
                <a:lnTo>
                  <a:pt x="146" y="103"/>
                </a:lnTo>
                <a:lnTo>
                  <a:pt x="150" y="104"/>
                </a:lnTo>
                <a:lnTo>
                  <a:pt x="154" y="105"/>
                </a:lnTo>
                <a:lnTo>
                  <a:pt x="159" y="105"/>
                </a:lnTo>
                <a:lnTo>
                  <a:pt x="165" y="105"/>
                </a:lnTo>
                <a:lnTo>
                  <a:pt x="171" y="103"/>
                </a:lnTo>
                <a:lnTo>
                  <a:pt x="178" y="99"/>
                </a:lnTo>
                <a:lnTo>
                  <a:pt x="187" y="96"/>
                </a:lnTo>
                <a:lnTo>
                  <a:pt x="193" y="93"/>
                </a:lnTo>
                <a:lnTo>
                  <a:pt x="199" y="88"/>
                </a:lnTo>
                <a:lnTo>
                  <a:pt x="203" y="82"/>
                </a:lnTo>
                <a:lnTo>
                  <a:pt x="206" y="74"/>
                </a:lnTo>
                <a:lnTo>
                  <a:pt x="216" y="30"/>
                </a:lnTo>
                <a:lnTo>
                  <a:pt x="255" y="30"/>
                </a:lnTo>
                <a:lnTo>
                  <a:pt x="264" y="74"/>
                </a:lnTo>
                <a:lnTo>
                  <a:pt x="266" y="82"/>
                </a:lnTo>
                <a:lnTo>
                  <a:pt x="270" y="88"/>
                </a:lnTo>
                <a:lnTo>
                  <a:pt x="276" y="93"/>
                </a:lnTo>
                <a:lnTo>
                  <a:pt x="282" y="96"/>
                </a:lnTo>
                <a:lnTo>
                  <a:pt x="291" y="99"/>
                </a:lnTo>
                <a:lnTo>
                  <a:pt x="298" y="103"/>
                </a:lnTo>
                <a:lnTo>
                  <a:pt x="304" y="105"/>
                </a:lnTo>
                <a:lnTo>
                  <a:pt x="312" y="105"/>
                </a:lnTo>
                <a:lnTo>
                  <a:pt x="316" y="105"/>
                </a:lnTo>
                <a:lnTo>
                  <a:pt x="319" y="104"/>
                </a:lnTo>
                <a:lnTo>
                  <a:pt x="324" y="103"/>
                </a:lnTo>
                <a:lnTo>
                  <a:pt x="328" y="100"/>
                </a:lnTo>
                <a:lnTo>
                  <a:pt x="366" y="75"/>
                </a:lnTo>
                <a:lnTo>
                  <a:pt x="393" y="104"/>
                </a:lnTo>
                <a:lnTo>
                  <a:pt x="369" y="142"/>
                </a:lnTo>
                <a:lnTo>
                  <a:pt x="365" y="148"/>
                </a:lnTo>
                <a:lnTo>
                  <a:pt x="364" y="156"/>
                </a:lnTo>
                <a:lnTo>
                  <a:pt x="364" y="163"/>
                </a:lnTo>
                <a:lnTo>
                  <a:pt x="366" y="171"/>
                </a:lnTo>
                <a:lnTo>
                  <a:pt x="370" y="178"/>
                </a:lnTo>
                <a:lnTo>
                  <a:pt x="372" y="187"/>
                </a:lnTo>
                <a:lnTo>
                  <a:pt x="376" y="193"/>
                </a:lnTo>
                <a:lnTo>
                  <a:pt x="381" y="199"/>
                </a:lnTo>
                <a:lnTo>
                  <a:pt x="387" y="203"/>
                </a:lnTo>
                <a:lnTo>
                  <a:pt x="395" y="205"/>
                </a:lnTo>
                <a:lnTo>
                  <a:pt x="440" y="215"/>
                </a:lnTo>
                <a:lnTo>
                  <a:pt x="440" y="255"/>
                </a:lnTo>
                <a:lnTo>
                  <a:pt x="395" y="264"/>
                </a:lnTo>
                <a:close/>
                <a:moveTo>
                  <a:pt x="235" y="278"/>
                </a:moveTo>
                <a:lnTo>
                  <a:pt x="225" y="278"/>
                </a:lnTo>
                <a:lnTo>
                  <a:pt x="218" y="275"/>
                </a:lnTo>
                <a:lnTo>
                  <a:pt x="211" y="271"/>
                </a:lnTo>
                <a:lnTo>
                  <a:pt x="204" y="266"/>
                </a:lnTo>
                <a:lnTo>
                  <a:pt x="198" y="260"/>
                </a:lnTo>
                <a:lnTo>
                  <a:pt x="194" y="252"/>
                </a:lnTo>
                <a:lnTo>
                  <a:pt x="192" y="244"/>
                </a:lnTo>
                <a:lnTo>
                  <a:pt x="191" y="235"/>
                </a:lnTo>
                <a:lnTo>
                  <a:pt x="192" y="226"/>
                </a:lnTo>
                <a:lnTo>
                  <a:pt x="194" y="218"/>
                </a:lnTo>
                <a:lnTo>
                  <a:pt x="198" y="210"/>
                </a:lnTo>
                <a:lnTo>
                  <a:pt x="204" y="204"/>
                </a:lnTo>
                <a:lnTo>
                  <a:pt x="211" y="198"/>
                </a:lnTo>
                <a:lnTo>
                  <a:pt x="218" y="194"/>
                </a:lnTo>
                <a:lnTo>
                  <a:pt x="225" y="192"/>
                </a:lnTo>
                <a:lnTo>
                  <a:pt x="235" y="191"/>
                </a:lnTo>
                <a:lnTo>
                  <a:pt x="244" y="192"/>
                </a:lnTo>
                <a:lnTo>
                  <a:pt x="251" y="194"/>
                </a:lnTo>
                <a:lnTo>
                  <a:pt x="260" y="198"/>
                </a:lnTo>
                <a:lnTo>
                  <a:pt x="266" y="204"/>
                </a:lnTo>
                <a:lnTo>
                  <a:pt x="271" y="210"/>
                </a:lnTo>
                <a:lnTo>
                  <a:pt x="275" y="218"/>
                </a:lnTo>
                <a:lnTo>
                  <a:pt x="277" y="226"/>
                </a:lnTo>
                <a:lnTo>
                  <a:pt x="279" y="235"/>
                </a:lnTo>
                <a:lnTo>
                  <a:pt x="277" y="244"/>
                </a:lnTo>
                <a:lnTo>
                  <a:pt x="275" y="252"/>
                </a:lnTo>
                <a:lnTo>
                  <a:pt x="271" y="260"/>
                </a:lnTo>
                <a:lnTo>
                  <a:pt x="266" y="266"/>
                </a:lnTo>
                <a:lnTo>
                  <a:pt x="260" y="271"/>
                </a:lnTo>
                <a:lnTo>
                  <a:pt x="251" y="275"/>
                </a:lnTo>
                <a:lnTo>
                  <a:pt x="244" y="278"/>
                </a:lnTo>
                <a:lnTo>
                  <a:pt x="235" y="278"/>
                </a:lnTo>
                <a:close/>
                <a:moveTo>
                  <a:pt x="235" y="176"/>
                </a:moveTo>
                <a:lnTo>
                  <a:pt x="223" y="177"/>
                </a:lnTo>
                <a:lnTo>
                  <a:pt x="212" y="181"/>
                </a:lnTo>
                <a:lnTo>
                  <a:pt x="202" y="186"/>
                </a:lnTo>
                <a:lnTo>
                  <a:pt x="193" y="193"/>
                </a:lnTo>
                <a:lnTo>
                  <a:pt x="186" y="202"/>
                </a:lnTo>
                <a:lnTo>
                  <a:pt x="181" y="212"/>
                </a:lnTo>
                <a:lnTo>
                  <a:pt x="177" y="223"/>
                </a:lnTo>
                <a:lnTo>
                  <a:pt x="176" y="235"/>
                </a:lnTo>
                <a:lnTo>
                  <a:pt x="177" y="246"/>
                </a:lnTo>
                <a:lnTo>
                  <a:pt x="181" y="257"/>
                </a:lnTo>
                <a:lnTo>
                  <a:pt x="186" y="267"/>
                </a:lnTo>
                <a:lnTo>
                  <a:pt x="193" y="276"/>
                </a:lnTo>
                <a:lnTo>
                  <a:pt x="202" y="283"/>
                </a:lnTo>
                <a:lnTo>
                  <a:pt x="212" y="288"/>
                </a:lnTo>
                <a:lnTo>
                  <a:pt x="223" y="292"/>
                </a:lnTo>
                <a:lnTo>
                  <a:pt x="235" y="293"/>
                </a:lnTo>
                <a:lnTo>
                  <a:pt x="246" y="292"/>
                </a:lnTo>
                <a:lnTo>
                  <a:pt x="258" y="288"/>
                </a:lnTo>
                <a:lnTo>
                  <a:pt x="267" y="283"/>
                </a:lnTo>
                <a:lnTo>
                  <a:pt x="276" y="276"/>
                </a:lnTo>
                <a:lnTo>
                  <a:pt x="283" y="267"/>
                </a:lnTo>
                <a:lnTo>
                  <a:pt x="288" y="257"/>
                </a:lnTo>
                <a:lnTo>
                  <a:pt x="292" y="246"/>
                </a:lnTo>
                <a:lnTo>
                  <a:pt x="293" y="235"/>
                </a:lnTo>
                <a:lnTo>
                  <a:pt x="292" y="223"/>
                </a:lnTo>
                <a:lnTo>
                  <a:pt x="288" y="212"/>
                </a:lnTo>
                <a:lnTo>
                  <a:pt x="283" y="202"/>
                </a:lnTo>
                <a:lnTo>
                  <a:pt x="276" y="193"/>
                </a:lnTo>
                <a:lnTo>
                  <a:pt x="267" y="186"/>
                </a:lnTo>
                <a:lnTo>
                  <a:pt x="258" y="181"/>
                </a:lnTo>
                <a:lnTo>
                  <a:pt x="246" y="177"/>
                </a:lnTo>
                <a:lnTo>
                  <a:pt x="235" y="176"/>
                </a:lnTo>
                <a:close/>
                <a:moveTo>
                  <a:pt x="235" y="324"/>
                </a:moveTo>
                <a:lnTo>
                  <a:pt x="225" y="324"/>
                </a:lnTo>
                <a:lnTo>
                  <a:pt x="217" y="323"/>
                </a:lnTo>
                <a:lnTo>
                  <a:pt x="208" y="320"/>
                </a:lnTo>
                <a:lnTo>
                  <a:pt x="199" y="318"/>
                </a:lnTo>
                <a:lnTo>
                  <a:pt x="192" y="314"/>
                </a:lnTo>
                <a:lnTo>
                  <a:pt x="185" y="309"/>
                </a:lnTo>
                <a:lnTo>
                  <a:pt x="177" y="304"/>
                </a:lnTo>
                <a:lnTo>
                  <a:pt x="171" y="298"/>
                </a:lnTo>
                <a:lnTo>
                  <a:pt x="166" y="292"/>
                </a:lnTo>
                <a:lnTo>
                  <a:pt x="160" y="285"/>
                </a:lnTo>
                <a:lnTo>
                  <a:pt x="156" y="277"/>
                </a:lnTo>
                <a:lnTo>
                  <a:pt x="152" y="270"/>
                </a:lnTo>
                <a:lnTo>
                  <a:pt x="149" y="261"/>
                </a:lnTo>
                <a:lnTo>
                  <a:pt x="148" y="252"/>
                </a:lnTo>
                <a:lnTo>
                  <a:pt x="145" y="244"/>
                </a:lnTo>
                <a:lnTo>
                  <a:pt x="145" y="235"/>
                </a:lnTo>
                <a:lnTo>
                  <a:pt x="145" y="225"/>
                </a:lnTo>
                <a:lnTo>
                  <a:pt x="148" y="217"/>
                </a:lnTo>
                <a:lnTo>
                  <a:pt x="149" y="208"/>
                </a:lnTo>
                <a:lnTo>
                  <a:pt x="152" y="199"/>
                </a:lnTo>
                <a:lnTo>
                  <a:pt x="156" y="192"/>
                </a:lnTo>
                <a:lnTo>
                  <a:pt x="160" y="184"/>
                </a:lnTo>
                <a:lnTo>
                  <a:pt x="166" y="178"/>
                </a:lnTo>
                <a:lnTo>
                  <a:pt x="171" y="171"/>
                </a:lnTo>
                <a:lnTo>
                  <a:pt x="177" y="166"/>
                </a:lnTo>
                <a:lnTo>
                  <a:pt x="185" y="160"/>
                </a:lnTo>
                <a:lnTo>
                  <a:pt x="192" y="156"/>
                </a:lnTo>
                <a:lnTo>
                  <a:pt x="199" y="152"/>
                </a:lnTo>
                <a:lnTo>
                  <a:pt x="208" y="148"/>
                </a:lnTo>
                <a:lnTo>
                  <a:pt x="217" y="147"/>
                </a:lnTo>
                <a:lnTo>
                  <a:pt x="225" y="145"/>
                </a:lnTo>
                <a:lnTo>
                  <a:pt x="235" y="145"/>
                </a:lnTo>
                <a:lnTo>
                  <a:pt x="244" y="145"/>
                </a:lnTo>
                <a:lnTo>
                  <a:pt x="253" y="147"/>
                </a:lnTo>
                <a:lnTo>
                  <a:pt x="261" y="148"/>
                </a:lnTo>
                <a:lnTo>
                  <a:pt x="270" y="152"/>
                </a:lnTo>
                <a:lnTo>
                  <a:pt x="277" y="156"/>
                </a:lnTo>
                <a:lnTo>
                  <a:pt x="285" y="160"/>
                </a:lnTo>
                <a:lnTo>
                  <a:pt x="292" y="166"/>
                </a:lnTo>
                <a:lnTo>
                  <a:pt x="298" y="171"/>
                </a:lnTo>
                <a:lnTo>
                  <a:pt x="304" y="178"/>
                </a:lnTo>
                <a:lnTo>
                  <a:pt x="309" y="184"/>
                </a:lnTo>
                <a:lnTo>
                  <a:pt x="313" y="192"/>
                </a:lnTo>
                <a:lnTo>
                  <a:pt x="318" y="199"/>
                </a:lnTo>
                <a:lnTo>
                  <a:pt x="321" y="208"/>
                </a:lnTo>
                <a:lnTo>
                  <a:pt x="323" y="217"/>
                </a:lnTo>
                <a:lnTo>
                  <a:pt x="324" y="225"/>
                </a:lnTo>
                <a:lnTo>
                  <a:pt x="324" y="235"/>
                </a:lnTo>
                <a:lnTo>
                  <a:pt x="324" y="244"/>
                </a:lnTo>
                <a:lnTo>
                  <a:pt x="323" y="252"/>
                </a:lnTo>
                <a:lnTo>
                  <a:pt x="321" y="261"/>
                </a:lnTo>
                <a:lnTo>
                  <a:pt x="318" y="270"/>
                </a:lnTo>
                <a:lnTo>
                  <a:pt x="313" y="277"/>
                </a:lnTo>
                <a:lnTo>
                  <a:pt x="309" y="285"/>
                </a:lnTo>
                <a:lnTo>
                  <a:pt x="304" y="292"/>
                </a:lnTo>
                <a:lnTo>
                  <a:pt x="298" y="298"/>
                </a:lnTo>
                <a:lnTo>
                  <a:pt x="292" y="304"/>
                </a:lnTo>
                <a:lnTo>
                  <a:pt x="285" y="309"/>
                </a:lnTo>
                <a:lnTo>
                  <a:pt x="277" y="314"/>
                </a:lnTo>
                <a:lnTo>
                  <a:pt x="270" y="318"/>
                </a:lnTo>
                <a:lnTo>
                  <a:pt x="261" y="320"/>
                </a:lnTo>
                <a:lnTo>
                  <a:pt x="253" y="323"/>
                </a:lnTo>
                <a:lnTo>
                  <a:pt x="244" y="324"/>
                </a:lnTo>
                <a:lnTo>
                  <a:pt x="235" y="324"/>
                </a:lnTo>
                <a:close/>
                <a:moveTo>
                  <a:pt x="235" y="132"/>
                </a:moveTo>
                <a:lnTo>
                  <a:pt x="224" y="132"/>
                </a:lnTo>
                <a:lnTo>
                  <a:pt x="214" y="134"/>
                </a:lnTo>
                <a:lnTo>
                  <a:pt x="204" y="136"/>
                </a:lnTo>
                <a:lnTo>
                  <a:pt x="194" y="140"/>
                </a:lnTo>
                <a:lnTo>
                  <a:pt x="186" y="145"/>
                </a:lnTo>
                <a:lnTo>
                  <a:pt x="177" y="150"/>
                </a:lnTo>
                <a:lnTo>
                  <a:pt x="170" y="156"/>
                </a:lnTo>
                <a:lnTo>
                  <a:pt x="162" y="162"/>
                </a:lnTo>
                <a:lnTo>
                  <a:pt x="156" y="169"/>
                </a:lnTo>
                <a:lnTo>
                  <a:pt x="150" y="177"/>
                </a:lnTo>
                <a:lnTo>
                  <a:pt x="145" y="186"/>
                </a:lnTo>
                <a:lnTo>
                  <a:pt x="140" y="194"/>
                </a:lnTo>
                <a:lnTo>
                  <a:pt x="136" y="204"/>
                </a:lnTo>
                <a:lnTo>
                  <a:pt x="134" y="214"/>
                </a:lnTo>
                <a:lnTo>
                  <a:pt x="133" y="224"/>
                </a:lnTo>
                <a:lnTo>
                  <a:pt x="133" y="235"/>
                </a:lnTo>
                <a:lnTo>
                  <a:pt x="133" y="245"/>
                </a:lnTo>
                <a:lnTo>
                  <a:pt x="134" y="255"/>
                </a:lnTo>
                <a:lnTo>
                  <a:pt x="136" y="265"/>
                </a:lnTo>
                <a:lnTo>
                  <a:pt x="140" y="275"/>
                </a:lnTo>
                <a:lnTo>
                  <a:pt x="145" y="283"/>
                </a:lnTo>
                <a:lnTo>
                  <a:pt x="150" y="292"/>
                </a:lnTo>
                <a:lnTo>
                  <a:pt x="156" y="299"/>
                </a:lnTo>
                <a:lnTo>
                  <a:pt x="162" y="307"/>
                </a:lnTo>
                <a:lnTo>
                  <a:pt x="170" y="314"/>
                </a:lnTo>
                <a:lnTo>
                  <a:pt x="177" y="320"/>
                </a:lnTo>
                <a:lnTo>
                  <a:pt x="186" y="325"/>
                </a:lnTo>
                <a:lnTo>
                  <a:pt x="194" y="329"/>
                </a:lnTo>
                <a:lnTo>
                  <a:pt x="204" y="333"/>
                </a:lnTo>
                <a:lnTo>
                  <a:pt x="214" y="335"/>
                </a:lnTo>
                <a:lnTo>
                  <a:pt x="224" y="337"/>
                </a:lnTo>
                <a:lnTo>
                  <a:pt x="235" y="338"/>
                </a:lnTo>
                <a:lnTo>
                  <a:pt x="245" y="337"/>
                </a:lnTo>
                <a:lnTo>
                  <a:pt x="255" y="335"/>
                </a:lnTo>
                <a:lnTo>
                  <a:pt x="265" y="333"/>
                </a:lnTo>
                <a:lnTo>
                  <a:pt x="275" y="329"/>
                </a:lnTo>
                <a:lnTo>
                  <a:pt x="283" y="325"/>
                </a:lnTo>
                <a:lnTo>
                  <a:pt x="292" y="320"/>
                </a:lnTo>
                <a:lnTo>
                  <a:pt x="300" y="314"/>
                </a:lnTo>
                <a:lnTo>
                  <a:pt x="307" y="307"/>
                </a:lnTo>
                <a:lnTo>
                  <a:pt x="314" y="299"/>
                </a:lnTo>
                <a:lnTo>
                  <a:pt x="319" y="292"/>
                </a:lnTo>
                <a:lnTo>
                  <a:pt x="325" y="283"/>
                </a:lnTo>
                <a:lnTo>
                  <a:pt x="329" y="275"/>
                </a:lnTo>
                <a:lnTo>
                  <a:pt x="333" y="265"/>
                </a:lnTo>
                <a:lnTo>
                  <a:pt x="335" y="255"/>
                </a:lnTo>
                <a:lnTo>
                  <a:pt x="337" y="245"/>
                </a:lnTo>
                <a:lnTo>
                  <a:pt x="338" y="235"/>
                </a:lnTo>
                <a:lnTo>
                  <a:pt x="337" y="224"/>
                </a:lnTo>
                <a:lnTo>
                  <a:pt x="335" y="214"/>
                </a:lnTo>
                <a:lnTo>
                  <a:pt x="333" y="204"/>
                </a:lnTo>
                <a:lnTo>
                  <a:pt x="329" y="194"/>
                </a:lnTo>
                <a:lnTo>
                  <a:pt x="325" y="186"/>
                </a:lnTo>
                <a:lnTo>
                  <a:pt x="319" y="177"/>
                </a:lnTo>
                <a:lnTo>
                  <a:pt x="314" y="169"/>
                </a:lnTo>
                <a:lnTo>
                  <a:pt x="307" y="162"/>
                </a:lnTo>
                <a:lnTo>
                  <a:pt x="300" y="156"/>
                </a:lnTo>
                <a:lnTo>
                  <a:pt x="292" y="150"/>
                </a:lnTo>
                <a:lnTo>
                  <a:pt x="283" y="145"/>
                </a:lnTo>
                <a:lnTo>
                  <a:pt x="275" y="140"/>
                </a:lnTo>
                <a:lnTo>
                  <a:pt x="265" y="136"/>
                </a:lnTo>
                <a:lnTo>
                  <a:pt x="255" y="134"/>
                </a:lnTo>
                <a:lnTo>
                  <a:pt x="245" y="132"/>
                </a:lnTo>
                <a:lnTo>
                  <a:pt x="235" y="132"/>
                </a:lnTo>
                <a:close/>
                <a:moveTo>
                  <a:pt x="445" y="186"/>
                </a:moveTo>
                <a:lnTo>
                  <a:pt x="401" y="177"/>
                </a:lnTo>
                <a:lnTo>
                  <a:pt x="397" y="167"/>
                </a:lnTo>
                <a:lnTo>
                  <a:pt x="393" y="158"/>
                </a:lnTo>
                <a:lnTo>
                  <a:pt x="418" y="120"/>
                </a:lnTo>
                <a:lnTo>
                  <a:pt x="421" y="115"/>
                </a:lnTo>
                <a:lnTo>
                  <a:pt x="422" y="110"/>
                </a:lnTo>
                <a:lnTo>
                  <a:pt x="423" y="105"/>
                </a:lnTo>
                <a:lnTo>
                  <a:pt x="423" y="100"/>
                </a:lnTo>
                <a:lnTo>
                  <a:pt x="422" y="95"/>
                </a:lnTo>
                <a:lnTo>
                  <a:pt x="421" y="92"/>
                </a:lnTo>
                <a:lnTo>
                  <a:pt x="418" y="87"/>
                </a:lnTo>
                <a:lnTo>
                  <a:pt x="414" y="83"/>
                </a:lnTo>
                <a:lnTo>
                  <a:pt x="386" y="54"/>
                </a:lnTo>
                <a:lnTo>
                  <a:pt x="382" y="51"/>
                </a:lnTo>
                <a:lnTo>
                  <a:pt x="377" y="48"/>
                </a:lnTo>
                <a:lnTo>
                  <a:pt x="371" y="47"/>
                </a:lnTo>
                <a:lnTo>
                  <a:pt x="366" y="46"/>
                </a:lnTo>
                <a:lnTo>
                  <a:pt x="361" y="46"/>
                </a:lnTo>
                <a:lnTo>
                  <a:pt x="358" y="47"/>
                </a:lnTo>
                <a:lnTo>
                  <a:pt x="354" y="48"/>
                </a:lnTo>
                <a:lnTo>
                  <a:pt x="349" y="51"/>
                </a:lnTo>
                <a:lnTo>
                  <a:pt x="312" y="77"/>
                </a:lnTo>
                <a:lnTo>
                  <a:pt x="302" y="72"/>
                </a:lnTo>
                <a:lnTo>
                  <a:pt x="292" y="68"/>
                </a:lnTo>
                <a:lnTo>
                  <a:pt x="283" y="24"/>
                </a:lnTo>
                <a:lnTo>
                  <a:pt x="282" y="19"/>
                </a:lnTo>
                <a:lnTo>
                  <a:pt x="280" y="14"/>
                </a:lnTo>
                <a:lnTo>
                  <a:pt x="277" y="10"/>
                </a:lnTo>
                <a:lnTo>
                  <a:pt x="274" y="6"/>
                </a:lnTo>
                <a:lnTo>
                  <a:pt x="269" y="4"/>
                </a:lnTo>
                <a:lnTo>
                  <a:pt x="265" y="1"/>
                </a:lnTo>
                <a:lnTo>
                  <a:pt x="260" y="0"/>
                </a:lnTo>
                <a:lnTo>
                  <a:pt x="255" y="0"/>
                </a:lnTo>
                <a:lnTo>
                  <a:pt x="216" y="0"/>
                </a:lnTo>
                <a:lnTo>
                  <a:pt x="209" y="0"/>
                </a:lnTo>
                <a:lnTo>
                  <a:pt x="204" y="1"/>
                </a:lnTo>
                <a:lnTo>
                  <a:pt x="201" y="4"/>
                </a:lnTo>
                <a:lnTo>
                  <a:pt x="196" y="6"/>
                </a:lnTo>
                <a:lnTo>
                  <a:pt x="193" y="10"/>
                </a:lnTo>
                <a:lnTo>
                  <a:pt x="190" y="14"/>
                </a:lnTo>
                <a:lnTo>
                  <a:pt x="187" y="19"/>
                </a:lnTo>
                <a:lnTo>
                  <a:pt x="186" y="24"/>
                </a:lnTo>
                <a:lnTo>
                  <a:pt x="177" y="68"/>
                </a:lnTo>
                <a:lnTo>
                  <a:pt x="167" y="72"/>
                </a:lnTo>
                <a:lnTo>
                  <a:pt x="159" y="77"/>
                </a:lnTo>
                <a:lnTo>
                  <a:pt x="120" y="51"/>
                </a:lnTo>
                <a:lnTo>
                  <a:pt x="117" y="48"/>
                </a:lnTo>
                <a:lnTo>
                  <a:pt x="112" y="47"/>
                </a:lnTo>
                <a:lnTo>
                  <a:pt x="108" y="46"/>
                </a:lnTo>
                <a:lnTo>
                  <a:pt x="104" y="46"/>
                </a:lnTo>
                <a:lnTo>
                  <a:pt x="98" y="47"/>
                </a:lnTo>
                <a:lnTo>
                  <a:pt x="93" y="48"/>
                </a:lnTo>
                <a:lnTo>
                  <a:pt x="88" y="51"/>
                </a:lnTo>
                <a:lnTo>
                  <a:pt x="83" y="54"/>
                </a:lnTo>
                <a:lnTo>
                  <a:pt x="55" y="83"/>
                </a:lnTo>
                <a:lnTo>
                  <a:pt x="51" y="87"/>
                </a:lnTo>
                <a:lnTo>
                  <a:pt x="49" y="92"/>
                </a:lnTo>
                <a:lnTo>
                  <a:pt x="47" y="95"/>
                </a:lnTo>
                <a:lnTo>
                  <a:pt x="46" y="100"/>
                </a:lnTo>
                <a:lnTo>
                  <a:pt x="46" y="105"/>
                </a:lnTo>
                <a:lnTo>
                  <a:pt x="47" y="110"/>
                </a:lnTo>
                <a:lnTo>
                  <a:pt x="49" y="115"/>
                </a:lnTo>
                <a:lnTo>
                  <a:pt x="51" y="120"/>
                </a:lnTo>
                <a:lnTo>
                  <a:pt x="77" y="158"/>
                </a:lnTo>
                <a:lnTo>
                  <a:pt x="72" y="167"/>
                </a:lnTo>
                <a:lnTo>
                  <a:pt x="68" y="177"/>
                </a:lnTo>
                <a:lnTo>
                  <a:pt x="24" y="186"/>
                </a:lnTo>
                <a:lnTo>
                  <a:pt x="19" y="187"/>
                </a:lnTo>
                <a:lnTo>
                  <a:pt x="14" y="189"/>
                </a:lnTo>
                <a:lnTo>
                  <a:pt x="10" y="193"/>
                </a:lnTo>
                <a:lnTo>
                  <a:pt x="7" y="197"/>
                </a:lnTo>
                <a:lnTo>
                  <a:pt x="4" y="200"/>
                </a:lnTo>
                <a:lnTo>
                  <a:pt x="2" y="204"/>
                </a:lnTo>
                <a:lnTo>
                  <a:pt x="0" y="209"/>
                </a:lnTo>
                <a:lnTo>
                  <a:pt x="0" y="215"/>
                </a:lnTo>
                <a:lnTo>
                  <a:pt x="0" y="255"/>
                </a:lnTo>
                <a:lnTo>
                  <a:pt x="0" y="260"/>
                </a:lnTo>
                <a:lnTo>
                  <a:pt x="2" y="265"/>
                </a:lnTo>
                <a:lnTo>
                  <a:pt x="4" y="270"/>
                </a:lnTo>
                <a:lnTo>
                  <a:pt x="7" y="273"/>
                </a:lnTo>
                <a:lnTo>
                  <a:pt x="10" y="277"/>
                </a:lnTo>
                <a:lnTo>
                  <a:pt x="14" y="280"/>
                </a:lnTo>
                <a:lnTo>
                  <a:pt x="19" y="282"/>
                </a:lnTo>
                <a:lnTo>
                  <a:pt x="24" y="283"/>
                </a:lnTo>
                <a:lnTo>
                  <a:pt x="68" y="292"/>
                </a:lnTo>
                <a:lnTo>
                  <a:pt x="72" y="302"/>
                </a:lnTo>
                <a:lnTo>
                  <a:pt x="77" y="312"/>
                </a:lnTo>
                <a:lnTo>
                  <a:pt x="51" y="349"/>
                </a:lnTo>
                <a:lnTo>
                  <a:pt x="49" y="354"/>
                </a:lnTo>
                <a:lnTo>
                  <a:pt x="47" y="359"/>
                </a:lnTo>
                <a:lnTo>
                  <a:pt x="46" y="364"/>
                </a:lnTo>
                <a:lnTo>
                  <a:pt x="46" y="369"/>
                </a:lnTo>
                <a:lnTo>
                  <a:pt x="47" y="374"/>
                </a:lnTo>
                <a:lnTo>
                  <a:pt x="49" y="379"/>
                </a:lnTo>
                <a:lnTo>
                  <a:pt x="51" y="382"/>
                </a:lnTo>
                <a:lnTo>
                  <a:pt x="55" y="386"/>
                </a:lnTo>
                <a:lnTo>
                  <a:pt x="83" y="414"/>
                </a:lnTo>
                <a:lnTo>
                  <a:pt x="88" y="418"/>
                </a:lnTo>
                <a:lnTo>
                  <a:pt x="93" y="421"/>
                </a:lnTo>
                <a:lnTo>
                  <a:pt x="98" y="423"/>
                </a:lnTo>
                <a:lnTo>
                  <a:pt x="104" y="423"/>
                </a:lnTo>
                <a:lnTo>
                  <a:pt x="108" y="423"/>
                </a:lnTo>
                <a:lnTo>
                  <a:pt x="112" y="422"/>
                </a:lnTo>
                <a:lnTo>
                  <a:pt x="117" y="421"/>
                </a:lnTo>
                <a:lnTo>
                  <a:pt x="120" y="418"/>
                </a:lnTo>
                <a:lnTo>
                  <a:pt x="159" y="393"/>
                </a:lnTo>
                <a:lnTo>
                  <a:pt x="167" y="397"/>
                </a:lnTo>
                <a:lnTo>
                  <a:pt x="177" y="401"/>
                </a:lnTo>
                <a:lnTo>
                  <a:pt x="186" y="445"/>
                </a:lnTo>
                <a:lnTo>
                  <a:pt x="187" y="450"/>
                </a:lnTo>
                <a:lnTo>
                  <a:pt x="190" y="455"/>
                </a:lnTo>
                <a:lnTo>
                  <a:pt x="193" y="459"/>
                </a:lnTo>
                <a:lnTo>
                  <a:pt x="196" y="463"/>
                </a:lnTo>
                <a:lnTo>
                  <a:pt x="201" y="465"/>
                </a:lnTo>
                <a:lnTo>
                  <a:pt x="204" y="468"/>
                </a:lnTo>
                <a:lnTo>
                  <a:pt x="209" y="469"/>
                </a:lnTo>
                <a:lnTo>
                  <a:pt x="216" y="469"/>
                </a:lnTo>
                <a:lnTo>
                  <a:pt x="255" y="469"/>
                </a:lnTo>
                <a:lnTo>
                  <a:pt x="260" y="469"/>
                </a:lnTo>
                <a:lnTo>
                  <a:pt x="265" y="468"/>
                </a:lnTo>
                <a:lnTo>
                  <a:pt x="269" y="465"/>
                </a:lnTo>
                <a:lnTo>
                  <a:pt x="274" y="463"/>
                </a:lnTo>
                <a:lnTo>
                  <a:pt x="277" y="459"/>
                </a:lnTo>
                <a:lnTo>
                  <a:pt x="280" y="455"/>
                </a:lnTo>
                <a:lnTo>
                  <a:pt x="282" y="450"/>
                </a:lnTo>
                <a:lnTo>
                  <a:pt x="283" y="445"/>
                </a:lnTo>
                <a:lnTo>
                  <a:pt x="292" y="401"/>
                </a:lnTo>
                <a:lnTo>
                  <a:pt x="302" y="397"/>
                </a:lnTo>
                <a:lnTo>
                  <a:pt x="312" y="393"/>
                </a:lnTo>
                <a:lnTo>
                  <a:pt x="349" y="418"/>
                </a:lnTo>
                <a:lnTo>
                  <a:pt x="354" y="421"/>
                </a:lnTo>
                <a:lnTo>
                  <a:pt x="358" y="422"/>
                </a:lnTo>
                <a:lnTo>
                  <a:pt x="361" y="423"/>
                </a:lnTo>
                <a:lnTo>
                  <a:pt x="366" y="423"/>
                </a:lnTo>
                <a:lnTo>
                  <a:pt x="371" y="423"/>
                </a:lnTo>
                <a:lnTo>
                  <a:pt x="377" y="421"/>
                </a:lnTo>
                <a:lnTo>
                  <a:pt x="382" y="418"/>
                </a:lnTo>
                <a:lnTo>
                  <a:pt x="386" y="414"/>
                </a:lnTo>
                <a:lnTo>
                  <a:pt x="414" y="386"/>
                </a:lnTo>
                <a:lnTo>
                  <a:pt x="418" y="382"/>
                </a:lnTo>
                <a:lnTo>
                  <a:pt x="421" y="379"/>
                </a:lnTo>
                <a:lnTo>
                  <a:pt x="422" y="374"/>
                </a:lnTo>
                <a:lnTo>
                  <a:pt x="423" y="369"/>
                </a:lnTo>
                <a:lnTo>
                  <a:pt x="423" y="364"/>
                </a:lnTo>
                <a:lnTo>
                  <a:pt x="422" y="359"/>
                </a:lnTo>
                <a:lnTo>
                  <a:pt x="421" y="354"/>
                </a:lnTo>
                <a:lnTo>
                  <a:pt x="418" y="349"/>
                </a:lnTo>
                <a:lnTo>
                  <a:pt x="393" y="312"/>
                </a:lnTo>
                <a:lnTo>
                  <a:pt x="397" y="302"/>
                </a:lnTo>
                <a:lnTo>
                  <a:pt x="401" y="292"/>
                </a:lnTo>
                <a:lnTo>
                  <a:pt x="445" y="283"/>
                </a:lnTo>
                <a:lnTo>
                  <a:pt x="450" y="282"/>
                </a:lnTo>
                <a:lnTo>
                  <a:pt x="455" y="280"/>
                </a:lnTo>
                <a:lnTo>
                  <a:pt x="459" y="277"/>
                </a:lnTo>
                <a:lnTo>
                  <a:pt x="463" y="273"/>
                </a:lnTo>
                <a:lnTo>
                  <a:pt x="465" y="270"/>
                </a:lnTo>
                <a:lnTo>
                  <a:pt x="468" y="265"/>
                </a:lnTo>
                <a:lnTo>
                  <a:pt x="469" y="260"/>
                </a:lnTo>
                <a:lnTo>
                  <a:pt x="469" y="255"/>
                </a:lnTo>
                <a:lnTo>
                  <a:pt x="469" y="215"/>
                </a:lnTo>
                <a:lnTo>
                  <a:pt x="469" y="209"/>
                </a:lnTo>
                <a:lnTo>
                  <a:pt x="468" y="204"/>
                </a:lnTo>
                <a:lnTo>
                  <a:pt x="465" y="200"/>
                </a:lnTo>
                <a:lnTo>
                  <a:pt x="463" y="197"/>
                </a:lnTo>
                <a:lnTo>
                  <a:pt x="459" y="193"/>
                </a:lnTo>
                <a:lnTo>
                  <a:pt x="455" y="189"/>
                </a:lnTo>
                <a:lnTo>
                  <a:pt x="450" y="187"/>
                </a:lnTo>
                <a:lnTo>
                  <a:pt x="445" y="1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5" name="Freeform 44">
            <a:extLst>
              <a:ext uri="{FF2B5EF4-FFF2-40B4-BE49-F238E27FC236}">
                <a16:creationId xmlns:a16="http://schemas.microsoft.com/office/drawing/2014/main" id="{BC6EA508-822A-674B-9318-A87CC374B769}"/>
              </a:ext>
            </a:extLst>
          </p:cNvPr>
          <p:cNvSpPr>
            <a:spLocks noEditPoints="1"/>
          </p:cNvSpPr>
          <p:nvPr/>
        </p:nvSpPr>
        <p:spPr bwMode="auto">
          <a:xfrm>
            <a:off x="13392150" y="7181808"/>
            <a:ext cx="373063" cy="371475"/>
          </a:xfrm>
          <a:custGeom>
            <a:avLst/>
            <a:gdLst>
              <a:gd name="T0" fmla="*/ 249 w 468"/>
              <a:gd name="T1" fmla="*/ 315 h 469"/>
              <a:gd name="T2" fmla="*/ 200 w 468"/>
              <a:gd name="T3" fmla="*/ 289 h 469"/>
              <a:gd name="T4" fmla="*/ 164 w 468"/>
              <a:gd name="T5" fmla="*/ 246 h 469"/>
              <a:gd name="T6" fmla="*/ 147 w 468"/>
              <a:gd name="T7" fmla="*/ 191 h 469"/>
              <a:gd name="T8" fmla="*/ 153 w 468"/>
              <a:gd name="T9" fmla="*/ 132 h 469"/>
              <a:gd name="T10" fmla="*/ 180 w 468"/>
              <a:gd name="T11" fmla="*/ 83 h 469"/>
              <a:gd name="T12" fmla="*/ 224 w 468"/>
              <a:gd name="T13" fmla="*/ 47 h 469"/>
              <a:gd name="T14" fmla="*/ 278 w 468"/>
              <a:gd name="T15" fmla="*/ 30 h 469"/>
              <a:gd name="T16" fmla="*/ 336 w 468"/>
              <a:gd name="T17" fmla="*/ 36 h 469"/>
              <a:gd name="T18" fmla="*/ 387 w 468"/>
              <a:gd name="T19" fmla="*/ 63 h 469"/>
              <a:gd name="T20" fmla="*/ 421 w 468"/>
              <a:gd name="T21" fmla="*/ 106 h 469"/>
              <a:gd name="T22" fmla="*/ 439 w 468"/>
              <a:gd name="T23" fmla="*/ 161 h 469"/>
              <a:gd name="T24" fmla="*/ 432 w 468"/>
              <a:gd name="T25" fmla="*/ 220 h 469"/>
              <a:gd name="T26" fmla="*/ 406 w 468"/>
              <a:gd name="T27" fmla="*/ 270 h 469"/>
              <a:gd name="T28" fmla="*/ 363 w 468"/>
              <a:gd name="T29" fmla="*/ 306 h 469"/>
              <a:gd name="T30" fmla="*/ 308 w 468"/>
              <a:gd name="T31" fmla="*/ 322 h 469"/>
              <a:gd name="T32" fmla="*/ 272 w 468"/>
              <a:gd name="T33" fmla="*/ 75 h 469"/>
              <a:gd name="T34" fmla="*/ 236 w 468"/>
              <a:gd name="T35" fmla="*/ 90 h 469"/>
              <a:gd name="T36" fmla="*/ 207 w 468"/>
              <a:gd name="T37" fmla="*/ 119 h 469"/>
              <a:gd name="T38" fmla="*/ 193 w 468"/>
              <a:gd name="T39" fmla="*/ 156 h 469"/>
              <a:gd name="T40" fmla="*/ 193 w 468"/>
              <a:gd name="T41" fmla="*/ 181 h 469"/>
              <a:gd name="T42" fmla="*/ 202 w 468"/>
              <a:gd name="T43" fmla="*/ 181 h 469"/>
              <a:gd name="T44" fmla="*/ 207 w 468"/>
              <a:gd name="T45" fmla="*/ 158 h 469"/>
              <a:gd name="T46" fmla="*/ 220 w 468"/>
              <a:gd name="T47" fmla="*/ 127 h 469"/>
              <a:gd name="T48" fmla="*/ 243 w 468"/>
              <a:gd name="T49" fmla="*/ 103 h 469"/>
              <a:gd name="T50" fmla="*/ 275 w 468"/>
              <a:gd name="T51" fmla="*/ 90 h 469"/>
              <a:gd name="T52" fmla="*/ 298 w 468"/>
              <a:gd name="T53" fmla="*/ 85 h 469"/>
              <a:gd name="T54" fmla="*/ 298 w 468"/>
              <a:gd name="T55" fmla="*/ 75 h 469"/>
              <a:gd name="T56" fmla="*/ 67 w 468"/>
              <a:gd name="T57" fmla="*/ 439 h 469"/>
              <a:gd name="T58" fmla="*/ 47 w 468"/>
              <a:gd name="T59" fmla="*/ 443 h 469"/>
              <a:gd name="T60" fmla="*/ 31 w 468"/>
              <a:gd name="T61" fmla="*/ 432 h 469"/>
              <a:gd name="T62" fmla="*/ 27 w 468"/>
              <a:gd name="T63" fmla="*/ 412 h 469"/>
              <a:gd name="T64" fmla="*/ 33 w 468"/>
              <a:gd name="T65" fmla="*/ 398 h 469"/>
              <a:gd name="T66" fmla="*/ 178 w 468"/>
              <a:gd name="T67" fmla="*/ 309 h 469"/>
              <a:gd name="T68" fmla="*/ 275 w 468"/>
              <a:gd name="T69" fmla="*/ 1 h 469"/>
              <a:gd name="T70" fmla="*/ 209 w 468"/>
              <a:gd name="T71" fmla="*/ 21 h 469"/>
              <a:gd name="T72" fmla="*/ 157 w 468"/>
              <a:gd name="T73" fmla="*/ 64 h 469"/>
              <a:gd name="T74" fmla="*/ 125 w 468"/>
              <a:gd name="T75" fmla="*/ 124 h 469"/>
              <a:gd name="T76" fmla="*/ 117 w 468"/>
              <a:gd name="T77" fmla="*/ 187 h 469"/>
              <a:gd name="T78" fmla="*/ 126 w 468"/>
              <a:gd name="T79" fmla="*/ 229 h 469"/>
              <a:gd name="T80" fmla="*/ 16 w 468"/>
              <a:gd name="T81" fmla="*/ 381 h 469"/>
              <a:gd name="T82" fmla="*/ 1 w 468"/>
              <a:gd name="T83" fmla="*/ 407 h 469"/>
              <a:gd name="T84" fmla="*/ 8 w 468"/>
              <a:gd name="T85" fmla="*/ 447 h 469"/>
              <a:gd name="T86" fmla="*/ 42 w 468"/>
              <a:gd name="T87" fmla="*/ 469 h 469"/>
              <a:gd name="T88" fmla="*/ 81 w 468"/>
              <a:gd name="T89" fmla="*/ 460 h 469"/>
              <a:gd name="T90" fmla="*/ 220 w 468"/>
              <a:gd name="T91" fmla="*/ 337 h 469"/>
              <a:gd name="T92" fmla="*/ 261 w 468"/>
              <a:gd name="T93" fmla="*/ 349 h 469"/>
              <a:gd name="T94" fmla="*/ 311 w 468"/>
              <a:gd name="T95" fmla="*/ 351 h 469"/>
              <a:gd name="T96" fmla="*/ 377 w 468"/>
              <a:gd name="T97" fmla="*/ 330 h 469"/>
              <a:gd name="T98" fmla="*/ 429 w 468"/>
              <a:gd name="T99" fmla="*/ 288 h 469"/>
              <a:gd name="T100" fmla="*/ 461 w 468"/>
              <a:gd name="T101" fmla="*/ 229 h 469"/>
              <a:gd name="T102" fmla="*/ 468 w 468"/>
              <a:gd name="T103" fmla="*/ 158 h 469"/>
              <a:gd name="T104" fmla="*/ 447 w 468"/>
              <a:gd name="T105" fmla="*/ 92 h 469"/>
              <a:gd name="T106" fmla="*/ 405 w 468"/>
              <a:gd name="T107" fmla="*/ 41 h 469"/>
              <a:gd name="T108" fmla="*/ 345 w 468"/>
              <a:gd name="T109" fmla="*/ 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8" h="469">
                <a:moveTo>
                  <a:pt x="293" y="323"/>
                </a:moveTo>
                <a:lnTo>
                  <a:pt x="278" y="322"/>
                </a:lnTo>
                <a:lnTo>
                  <a:pt x="263" y="319"/>
                </a:lnTo>
                <a:lnTo>
                  <a:pt x="249" y="315"/>
                </a:lnTo>
                <a:lnTo>
                  <a:pt x="236" y="311"/>
                </a:lnTo>
                <a:lnTo>
                  <a:pt x="224" y="306"/>
                </a:lnTo>
                <a:lnTo>
                  <a:pt x="211" y="298"/>
                </a:lnTo>
                <a:lnTo>
                  <a:pt x="200" y="289"/>
                </a:lnTo>
                <a:lnTo>
                  <a:pt x="189" y="280"/>
                </a:lnTo>
                <a:lnTo>
                  <a:pt x="180" y="270"/>
                </a:lnTo>
                <a:lnTo>
                  <a:pt x="172" y="259"/>
                </a:lnTo>
                <a:lnTo>
                  <a:pt x="164" y="246"/>
                </a:lnTo>
                <a:lnTo>
                  <a:pt x="158" y="233"/>
                </a:lnTo>
                <a:lnTo>
                  <a:pt x="153" y="220"/>
                </a:lnTo>
                <a:lnTo>
                  <a:pt x="149" y="205"/>
                </a:lnTo>
                <a:lnTo>
                  <a:pt x="147" y="191"/>
                </a:lnTo>
                <a:lnTo>
                  <a:pt x="147" y="176"/>
                </a:lnTo>
                <a:lnTo>
                  <a:pt x="147" y="161"/>
                </a:lnTo>
                <a:lnTo>
                  <a:pt x="149" y="146"/>
                </a:lnTo>
                <a:lnTo>
                  <a:pt x="153" y="132"/>
                </a:lnTo>
                <a:lnTo>
                  <a:pt x="158" y="119"/>
                </a:lnTo>
                <a:lnTo>
                  <a:pt x="164" y="106"/>
                </a:lnTo>
                <a:lnTo>
                  <a:pt x="172" y="94"/>
                </a:lnTo>
                <a:lnTo>
                  <a:pt x="180" y="83"/>
                </a:lnTo>
                <a:lnTo>
                  <a:pt x="189" y="72"/>
                </a:lnTo>
                <a:lnTo>
                  <a:pt x="200" y="63"/>
                </a:lnTo>
                <a:lnTo>
                  <a:pt x="211" y="54"/>
                </a:lnTo>
                <a:lnTo>
                  <a:pt x="224" y="47"/>
                </a:lnTo>
                <a:lnTo>
                  <a:pt x="236" y="41"/>
                </a:lnTo>
                <a:lnTo>
                  <a:pt x="249" y="36"/>
                </a:lnTo>
                <a:lnTo>
                  <a:pt x="263" y="32"/>
                </a:lnTo>
                <a:lnTo>
                  <a:pt x="278" y="30"/>
                </a:lnTo>
                <a:lnTo>
                  <a:pt x="293" y="30"/>
                </a:lnTo>
                <a:lnTo>
                  <a:pt x="308" y="30"/>
                </a:lnTo>
                <a:lnTo>
                  <a:pt x="322" y="32"/>
                </a:lnTo>
                <a:lnTo>
                  <a:pt x="336" y="36"/>
                </a:lnTo>
                <a:lnTo>
                  <a:pt x="350" y="41"/>
                </a:lnTo>
                <a:lnTo>
                  <a:pt x="363" y="47"/>
                </a:lnTo>
                <a:lnTo>
                  <a:pt x="374" y="54"/>
                </a:lnTo>
                <a:lnTo>
                  <a:pt x="387" y="63"/>
                </a:lnTo>
                <a:lnTo>
                  <a:pt x="397" y="72"/>
                </a:lnTo>
                <a:lnTo>
                  <a:pt x="406" y="83"/>
                </a:lnTo>
                <a:lnTo>
                  <a:pt x="414" y="94"/>
                </a:lnTo>
                <a:lnTo>
                  <a:pt x="421" y="106"/>
                </a:lnTo>
                <a:lnTo>
                  <a:pt x="427" y="119"/>
                </a:lnTo>
                <a:lnTo>
                  <a:pt x="432" y="132"/>
                </a:lnTo>
                <a:lnTo>
                  <a:pt x="436" y="146"/>
                </a:lnTo>
                <a:lnTo>
                  <a:pt x="439" y="161"/>
                </a:lnTo>
                <a:lnTo>
                  <a:pt x="440" y="176"/>
                </a:lnTo>
                <a:lnTo>
                  <a:pt x="439" y="191"/>
                </a:lnTo>
                <a:lnTo>
                  <a:pt x="436" y="205"/>
                </a:lnTo>
                <a:lnTo>
                  <a:pt x="432" y="220"/>
                </a:lnTo>
                <a:lnTo>
                  <a:pt x="427" y="233"/>
                </a:lnTo>
                <a:lnTo>
                  <a:pt x="421" y="246"/>
                </a:lnTo>
                <a:lnTo>
                  <a:pt x="414" y="259"/>
                </a:lnTo>
                <a:lnTo>
                  <a:pt x="406" y="270"/>
                </a:lnTo>
                <a:lnTo>
                  <a:pt x="397" y="280"/>
                </a:lnTo>
                <a:lnTo>
                  <a:pt x="387" y="289"/>
                </a:lnTo>
                <a:lnTo>
                  <a:pt x="374" y="298"/>
                </a:lnTo>
                <a:lnTo>
                  <a:pt x="363" y="306"/>
                </a:lnTo>
                <a:lnTo>
                  <a:pt x="350" y="311"/>
                </a:lnTo>
                <a:lnTo>
                  <a:pt x="336" y="315"/>
                </a:lnTo>
                <a:lnTo>
                  <a:pt x="322" y="319"/>
                </a:lnTo>
                <a:lnTo>
                  <a:pt x="308" y="322"/>
                </a:lnTo>
                <a:lnTo>
                  <a:pt x="293" y="323"/>
                </a:lnTo>
                <a:close/>
                <a:moveTo>
                  <a:pt x="293" y="73"/>
                </a:moveTo>
                <a:lnTo>
                  <a:pt x="283" y="74"/>
                </a:lnTo>
                <a:lnTo>
                  <a:pt x="272" y="75"/>
                </a:lnTo>
                <a:lnTo>
                  <a:pt x="263" y="78"/>
                </a:lnTo>
                <a:lnTo>
                  <a:pt x="253" y="82"/>
                </a:lnTo>
                <a:lnTo>
                  <a:pt x="245" y="85"/>
                </a:lnTo>
                <a:lnTo>
                  <a:pt x="236" y="90"/>
                </a:lnTo>
                <a:lnTo>
                  <a:pt x="227" y="96"/>
                </a:lnTo>
                <a:lnTo>
                  <a:pt x="221" y="104"/>
                </a:lnTo>
                <a:lnTo>
                  <a:pt x="214" y="110"/>
                </a:lnTo>
                <a:lnTo>
                  <a:pt x="207" y="119"/>
                </a:lnTo>
                <a:lnTo>
                  <a:pt x="202" y="127"/>
                </a:lnTo>
                <a:lnTo>
                  <a:pt x="199" y="136"/>
                </a:lnTo>
                <a:lnTo>
                  <a:pt x="195" y="146"/>
                </a:lnTo>
                <a:lnTo>
                  <a:pt x="193" y="156"/>
                </a:lnTo>
                <a:lnTo>
                  <a:pt x="191" y="166"/>
                </a:lnTo>
                <a:lnTo>
                  <a:pt x="190" y="176"/>
                </a:lnTo>
                <a:lnTo>
                  <a:pt x="191" y="179"/>
                </a:lnTo>
                <a:lnTo>
                  <a:pt x="193" y="181"/>
                </a:lnTo>
                <a:lnTo>
                  <a:pt x="195" y="183"/>
                </a:lnTo>
                <a:lnTo>
                  <a:pt x="198" y="183"/>
                </a:lnTo>
                <a:lnTo>
                  <a:pt x="200" y="183"/>
                </a:lnTo>
                <a:lnTo>
                  <a:pt x="202" y="181"/>
                </a:lnTo>
                <a:lnTo>
                  <a:pt x="205" y="179"/>
                </a:lnTo>
                <a:lnTo>
                  <a:pt x="205" y="176"/>
                </a:lnTo>
                <a:lnTo>
                  <a:pt x="205" y="167"/>
                </a:lnTo>
                <a:lnTo>
                  <a:pt x="207" y="158"/>
                </a:lnTo>
                <a:lnTo>
                  <a:pt x="209" y="150"/>
                </a:lnTo>
                <a:lnTo>
                  <a:pt x="212" y="142"/>
                </a:lnTo>
                <a:lnTo>
                  <a:pt x="216" y="134"/>
                </a:lnTo>
                <a:lnTo>
                  <a:pt x="220" y="127"/>
                </a:lnTo>
                <a:lnTo>
                  <a:pt x="225" y="120"/>
                </a:lnTo>
                <a:lnTo>
                  <a:pt x="231" y="114"/>
                </a:lnTo>
                <a:lnTo>
                  <a:pt x="237" y="108"/>
                </a:lnTo>
                <a:lnTo>
                  <a:pt x="243" y="103"/>
                </a:lnTo>
                <a:lnTo>
                  <a:pt x="251" y="99"/>
                </a:lnTo>
                <a:lnTo>
                  <a:pt x="259" y="95"/>
                </a:lnTo>
                <a:lnTo>
                  <a:pt x="267" y="92"/>
                </a:lnTo>
                <a:lnTo>
                  <a:pt x="275" y="90"/>
                </a:lnTo>
                <a:lnTo>
                  <a:pt x="284" y="89"/>
                </a:lnTo>
                <a:lnTo>
                  <a:pt x="293" y="88"/>
                </a:lnTo>
                <a:lnTo>
                  <a:pt x="295" y="88"/>
                </a:lnTo>
                <a:lnTo>
                  <a:pt x="298" y="85"/>
                </a:lnTo>
                <a:lnTo>
                  <a:pt x="300" y="84"/>
                </a:lnTo>
                <a:lnTo>
                  <a:pt x="300" y="80"/>
                </a:lnTo>
                <a:lnTo>
                  <a:pt x="300" y="78"/>
                </a:lnTo>
                <a:lnTo>
                  <a:pt x="298" y="75"/>
                </a:lnTo>
                <a:lnTo>
                  <a:pt x="295" y="74"/>
                </a:lnTo>
                <a:lnTo>
                  <a:pt x="293" y="73"/>
                </a:lnTo>
                <a:close/>
                <a:moveTo>
                  <a:pt x="70" y="435"/>
                </a:moveTo>
                <a:lnTo>
                  <a:pt x="67" y="439"/>
                </a:lnTo>
                <a:lnTo>
                  <a:pt x="62" y="442"/>
                </a:lnTo>
                <a:lnTo>
                  <a:pt x="57" y="443"/>
                </a:lnTo>
                <a:lnTo>
                  <a:pt x="52" y="443"/>
                </a:lnTo>
                <a:lnTo>
                  <a:pt x="47" y="443"/>
                </a:lnTo>
                <a:lnTo>
                  <a:pt x="42" y="442"/>
                </a:lnTo>
                <a:lnTo>
                  <a:pt x="37" y="439"/>
                </a:lnTo>
                <a:lnTo>
                  <a:pt x="33" y="435"/>
                </a:lnTo>
                <a:lnTo>
                  <a:pt x="31" y="432"/>
                </a:lnTo>
                <a:lnTo>
                  <a:pt x="28" y="428"/>
                </a:lnTo>
                <a:lnTo>
                  <a:pt x="26" y="423"/>
                </a:lnTo>
                <a:lnTo>
                  <a:pt x="26" y="418"/>
                </a:lnTo>
                <a:lnTo>
                  <a:pt x="27" y="412"/>
                </a:lnTo>
                <a:lnTo>
                  <a:pt x="28" y="407"/>
                </a:lnTo>
                <a:lnTo>
                  <a:pt x="31" y="403"/>
                </a:lnTo>
                <a:lnTo>
                  <a:pt x="34" y="400"/>
                </a:lnTo>
                <a:lnTo>
                  <a:pt x="33" y="398"/>
                </a:lnTo>
                <a:lnTo>
                  <a:pt x="152" y="281"/>
                </a:lnTo>
                <a:lnTo>
                  <a:pt x="160" y="291"/>
                </a:lnTo>
                <a:lnTo>
                  <a:pt x="169" y="301"/>
                </a:lnTo>
                <a:lnTo>
                  <a:pt x="178" y="309"/>
                </a:lnTo>
                <a:lnTo>
                  <a:pt x="189" y="317"/>
                </a:lnTo>
                <a:lnTo>
                  <a:pt x="70" y="435"/>
                </a:lnTo>
                <a:close/>
                <a:moveTo>
                  <a:pt x="293" y="0"/>
                </a:moveTo>
                <a:lnTo>
                  <a:pt x="275" y="1"/>
                </a:lnTo>
                <a:lnTo>
                  <a:pt x="258" y="4"/>
                </a:lnTo>
                <a:lnTo>
                  <a:pt x="241" y="7"/>
                </a:lnTo>
                <a:lnTo>
                  <a:pt x="225" y="14"/>
                </a:lnTo>
                <a:lnTo>
                  <a:pt x="209" y="21"/>
                </a:lnTo>
                <a:lnTo>
                  <a:pt x="195" y="30"/>
                </a:lnTo>
                <a:lnTo>
                  <a:pt x="181" y="41"/>
                </a:lnTo>
                <a:lnTo>
                  <a:pt x="169" y="52"/>
                </a:lnTo>
                <a:lnTo>
                  <a:pt x="157" y="64"/>
                </a:lnTo>
                <a:lnTo>
                  <a:pt x="147" y="78"/>
                </a:lnTo>
                <a:lnTo>
                  <a:pt x="138" y="92"/>
                </a:lnTo>
                <a:lnTo>
                  <a:pt x="131" y="108"/>
                </a:lnTo>
                <a:lnTo>
                  <a:pt x="125" y="124"/>
                </a:lnTo>
                <a:lnTo>
                  <a:pt x="121" y="141"/>
                </a:lnTo>
                <a:lnTo>
                  <a:pt x="118" y="158"/>
                </a:lnTo>
                <a:lnTo>
                  <a:pt x="117" y="176"/>
                </a:lnTo>
                <a:lnTo>
                  <a:pt x="117" y="187"/>
                </a:lnTo>
                <a:lnTo>
                  <a:pt x="118" y="198"/>
                </a:lnTo>
                <a:lnTo>
                  <a:pt x="120" y="209"/>
                </a:lnTo>
                <a:lnTo>
                  <a:pt x="122" y="219"/>
                </a:lnTo>
                <a:lnTo>
                  <a:pt x="126" y="229"/>
                </a:lnTo>
                <a:lnTo>
                  <a:pt x="128" y="239"/>
                </a:lnTo>
                <a:lnTo>
                  <a:pt x="133" y="249"/>
                </a:lnTo>
                <a:lnTo>
                  <a:pt x="137" y="259"/>
                </a:lnTo>
                <a:lnTo>
                  <a:pt x="16" y="381"/>
                </a:lnTo>
                <a:lnTo>
                  <a:pt x="16" y="381"/>
                </a:lnTo>
                <a:lnTo>
                  <a:pt x="8" y="388"/>
                </a:lnTo>
                <a:lnTo>
                  <a:pt x="5" y="397"/>
                </a:lnTo>
                <a:lnTo>
                  <a:pt x="1" y="407"/>
                </a:lnTo>
                <a:lnTo>
                  <a:pt x="0" y="418"/>
                </a:lnTo>
                <a:lnTo>
                  <a:pt x="1" y="428"/>
                </a:lnTo>
                <a:lnTo>
                  <a:pt x="4" y="438"/>
                </a:lnTo>
                <a:lnTo>
                  <a:pt x="8" y="447"/>
                </a:lnTo>
                <a:lnTo>
                  <a:pt x="15" y="454"/>
                </a:lnTo>
                <a:lnTo>
                  <a:pt x="23" y="460"/>
                </a:lnTo>
                <a:lnTo>
                  <a:pt x="32" y="465"/>
                </a:lnTo>
                <a:lnTo>
                  <a:pt x="42" y="469"/>
                </a:lnTo>
                <a:lnTo>
                  <a:pt x="52" y="469"/>
                </a:lnTo>
                <a:lnTo>
                  <a:pt x="62" y="468"/>
                </a:lnTo>
                <a:lnTo>
                  <a:pt x="71" y="465"/>
                </a:lnTo>
                <a:lnTo>
                  <a:pt x="81" y="460"/>
                </a:lnTo>
                <a:lnTo>
                  <a:pt x="89" y="454"/>
                </a:lnTo>
                <a:lnTo>
                  <a:pt x="89" y="454"/>
                </a:lnTo>
                <a:lnTo>
                  <a:pt x="211" y="332"/>
                </a:lnTo>
                <a:lnTo>
                  <a:pt x="220" y="337"/>
                </a:lnTo>
                <a:lnTo>
                  <a:pt x="230" y="340"/>
                </a:lnTo>
                <a:lnTo>
                  <a:pt x="240" y="344"/>
                </a:lnTo>
                <a:lnTo>
                  <a:pt x="249" y="346"/>
                </a:lnTo>
                <a:lnTo>
                  <a:pt x="261" y="349"/>
                </a:lnTo>
                <a:lnTo>
                  <a:pt x="270" y="350"/>
                </a:lnTo>
                <a:lnTo>
                  <a:pt x="282" y="351"/>
                </a:lnTo>
                <a:lnTo>
                  <a:pt x="293" y="353"/>
                </a:lnTo>
                <a:lnTo>
                  <a:pt x="311" y="351"/>
                </a:lnTo>
                <a:lnTo>
                  <a:pt x="329" y="349"/>
                </a:lnTo>
                <a:lnTo>
                  <a:pt x="345" y="344"/>
                </a:lnTo>
                <a:lnTo>
                  <a:pt x="362" y="338"/>
                </a:lnTo>
                <a:lnTo>
                  <a:pt x="377" y="330"/>
                </a:lnTo>
                <a:lnTo>
                  <a:pt x="392" y="322"/>
                </a:lnTo>
                <a:lnTo>
                  <a:pt x="405" y="312"/>
                </a:lnTo>
                <a:lnTo>
                  <a:pt x="418" y="301"/>
                </a:lnTo>
                <a:lnTo>
                  <a:pt x="429" y="288"/>
                </a:lnTo>
                <a:lnTo>
                  <a:pt x="439" y="275"/>
                </a:lnTo>
                <a:lnTo>
                  <a:pt x="447" y="260"/>
                </a:lnTo>
                <a:lnTo>
                  <a:pt x="455" y="245"/>
                </a:lnTo>
                <a:lnTo>
                  <a:pt x="461" y="229"/>
                </a:lnTo>
                <a:lnTo>
                  <a:pt x="466" y="212"/>
                </a:lnTo>
                <a:lnTo>
                  <a:pt x="468" y="194"/>
                </a:lnTo>
                <a:lnTo>
                  <a:pt x="468" y="176"/>
                </a:lnTo>
                <a:lnTo>
                  <a:pt x="468" y="158"/>
                </a:lnTo>
                <a:lnTo>
                  <a:pt x="466" y="141"/>
                </a:lnTo>
                <a:lnTo>
                  <a:pt x="461" y="124"/>
                </a:lnTo>
                <a:lnTo>
                  <a:pt x="455" y="108"/>
                </a:lnTo>
                <a:lnTo>
                  <a:pt x="447" y="92"/>
                </a:lnTo>
                <a:lnTo>
                  <a:pt x="439" y="78"/>
                </a:lnTo>
                <a:lnTo>
                  <a:pt x="429" y="64"/>
                </a:lnTo>
                <a:lnTo>
                  <a:pt x="418" y="52"/>
                </a:lnTo>
                <a:lnTo>
                  <a:pt x="405" y="41"/>
                </a:lnTo>
                <a:lnTo>
                  <a:pt x="392" y="30"/>
                </a:lnTo>
                <a:lnTo>
                  <a:pt x="377" y="21"/>
                </a:lnTo>
                <a:lnTo>
                  <a:pt x="362" y="14"/>
                </a:lnTo>
                <a:lnTo>
                  <a:pt x="345" y="7"/>
                </a:lnTo>
                <a:lnTo>
                  <a:pt x="329" y="4"/>
                </a:lnTo>
                <a:lnTo>
                  <a:pt x="311" y="1"/>
                </a:lnTo>
                <a:lnTo>
                  <a:pt x="293"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6" name="Freeform 45">
            <a:extLst>
              <a:ext uri="{FF2B5EF4-FFF2-40B4-BE49-F238E27FC236}">
                <a16:creationId xmlns:a16="http://schemas.microsoft.com/office/drawing/2014/main" id="{B850BEB0-2BB7-CBB1-DAFE-080204E0E60B}"/>
              </a:ext>
            </a:extLst>
          </p:cNvPr>
          <p:cNvSpPr>
            <a:spLocks noEditPoints="1"/>
          </p:cNvSpPr>
          <p:nvPr/>
        </p:nvSpPr>
        <p:spPr bwMode="auto">
          <a:xfrm>
            <a:off x="12585700" y="7181808"/>
            <a:ext cx="373063" cy="371475"/>
          </a:xfrm>
          <a:custGeom>
            <a:avLst/>
            <a:gdLst>
              <a:gd name="T0" fmla="*/ 277 w 468"/>
              <a:gd name="T1" fmla="*/ 255 h 469"/>
              <a:gd name="T2" fmla="*/ 214 w 468"/>
              <a:gd name="T3" fmla="*/ 297 h 469"/>
              <a:gd name="T4" fmla="*/ 205 w 468"/>
              <a:gd name="T5" fmla="*/ 318 h 469"/>
              <a:gd name="T6" fmla="*/ 164 w 468"/>
              <a:gd name="T7" fmla="*/ 354 h 469"/>
              <a:gd name="T8" fmla="*/ 148 w 468"/>
              <a:gd name="T9" fmla="*/ 370 h 469"/>
              <a:gd name="T10" fmla="*/ 112 w 468"/>
              <a:gd name="T11" fmla="*/ 411 h 469"/>
              <a:gd name="T12" fmla="*/ 91 w 468"/>
              <a:gd name="T13" fmla="*/ 419 h 469"/>
              <a:gd name="T14" fmla="*/ 200 w 468"/>
              <a:gd name="T15" fmla="*/ 228 h 469"/>
              <a:gd name="T16" fmla="*/ 215 w 468"/>
              <a:gd name="T17" fmla="*/ 192 h 469"/>
              <a:gd name="T18" fmla="*/ 205 w 468"/>
              <a:gd name="T19" fmla="*/ 135 h 469"/>
              <a:gd name="T20" fmla="*/ 219 w 468"/>
              <a:gd name="T21" fmla="*/ 90 h 469"/>
              <a:gd name="T22" fmla="*/ 247 w 468"/>
              <a:gd name="T23" fmla="*/ 56 h 469"/>
              <a:gd name="T24" fmla="*/ 288 w 468"/>
              <a:gd name="T25" fmla="*/ 35 h 469"/>
              <a:gd name="T26" fmla="*/ 334 w 468"/>
              <a:gd name="T27" fmla="*/ 30 h 469"/>
              <a:gd name="T28" fmla="*/ 378 w 468"/>
              <a:gd name="T29" fmla="*/ 43 h 469"/>
              <a:gd name="T30" fmla="*/ 413 w 468"/>
              <a:gd name="T31" fmla="*/ 72 h 469"/>
              <a:gd name="T32" fmla="*/ 434 w 468"/>
              <a:gd name="T33" fmla="*/ 111 h 469"/>
              <a:gd name="T34" fmla="*/ 439 w 468"/>
              <a:gd name="T35" fmla="*/ 158 h 469"/>
              <a:gd name="T36" fmla="*/ 425 w 468"/>
              <a:gd name="T37" fmla="*/ 203 h 469"/>
              <a:gd name="T38" fmla="*/ 397 w 468"/>
              <a:gd name="T39" fmla="*/ 238 h 469"/>
              <a:gd name="T40" fmla="*/ 357 w 468"/>
              <a:gd name="T41" fmla="*/ 259 h 469"/>
              <a:gd name="T42" fmla="*/ 363 w 468"/>
              <a:gd name="T43" fmla="*/ 162 h 469"/>
              <a:gd name="T44" fmla="*/ 308 w 468"/>
              <a:gd name="T45" fmla="*/ 106 h 469"/>
              <a:gd name="T46" fmla="*/ 320 w 468"/>
              <a:gd name="T47" fmla="*/ 85 h 469"/>
              <a:gd name="T48" fmla="*/ 340 w 468"/>
              <a:gd name="T49" fmla="*/ 73 h 469"/>
              <a:gd name="T50" fmla="*/ 395 w 468"/>
              <a:gd name="T51" fmla="*/ 129 h 469"/>
              <a:gd name="T52" fmla="*/ 383 w 468"/>
              <a:gd name="T53" fmla="*/ 150 h 469"/>
              <a:gd name="T54" fmla="*/ 363 w 468"/>
              <a:gd name="T55" fmla="*/ 162 h 469"/>
              <a:gd name="T56" fmla="*/ 365 w 468"/>
              <a:gd name="T57" fmla="*/ 74 h 469"/>
              <a:gd name="T58" fmla="*/ 339 w 468"/>
              <a:gd name="T59" fmla="*/ 59 h 469"/>
              <a:gd name="T60" fmla="*/ 315 w 468"/>
              <a:gd name="T61" fmla="*/ 71 h 469"/>
              <a:gd name="T62" fmla="*/ 297 w 468"/>
              <a:gd name="T63" fmla="*/ 94 h 469"/>
              <a:gd name="T64" fmla="*/ 294 w 468"/>
              <a:gd name="T65" fmla="*/ 110 h 469"/>
              <a:gd name="T66" fmla="*/ 339 w 468"/>
              <a:gd name="T67" fmla="*/ 161 h 469"/>
              <a:gd name="T68" fmla="*/ 365 w 468"/>
              <a:gd name="T69" fmla="*/ 176 h 469"/>
              <a:gd name="T70" fmla="*/ 388 w 468"/>
              <a:gd name="T71" fmla="*/ 165 h 469"/>
              <a:gd name="T72" fmla="*/ 407 w 468"/>
              <a:gd name="T73" fmla="*/ 141 h 469"/>
              <a:gd name="T74" fmla="*/ 409 w 468"/>
              <a:gd name="T75" fmla="*/ 125 h 469"/>
              <a:gd name="T76" fmla="*/ 293 w 468"/>
              <a:gd name="T77" fmla="*/ 2 h 469"/>
              <a:gd name="T78" fmla="*/ 241 w 468"/>
              <a:gd name="T79" fmla="*/ 25 h 469"/>
              <a:gd name="T80" fmla="*/ 200 w 468"/>
              <a:gd name="T81" fmla="*/ 64 h 469"/>
              <a:gd name="T82" fmla="*/ 179 w 468"/>
              <a:gd name="T83" fmla="*/ 118 h 469"/>
              <a:gd name="T84" fmla="*/ 179 w 468"/>
              <a:gd name="T85" fmla="*/ 174 h 469"/>
              <a:gd name="T86" fmla="*/ 5 w 468"/>
              <a:gd name="T87" fmla="*/ 382 h 469"/>
              <a:gd name="T88" fmla="*/ 0 w 468"/>
              <a:gd name="T89" fmla="*/ 440 h 469"/>
              <a:gd name="T90" fmla="*/ 9 w 468"/>
              <a:gd name="T91" fmla="*/ 460 h 469"/>
              <a:gd name="T92" fmla="*/ 30 w 468"/>
              <a:gd name="T93" fmla="*/ 469 h 469"/>
              <a:gd name="T94" fmla="*/ 88 w 468"/>
              <a:gd name="T95" fmla="*/ 464 h 469"/>
              <a:gd name="T96" fmla="*/ 152 w 468"/>
              <a:gd name="T97" fmla="*/ 439 h 469"/>
              <a:gd name="T98" fmla="*/ 170 w 468"/>
              <a:gd name="T99" fmla="*/ 427 h 469"/>
              <a:gd name="T100" fmla="*/ 175 w 468"/>
              <a:gd name="T101" fmla="*/ 381 h 469"/>
              <a:gd name="T102" fmla="*/ 221 w 468"/>
              <a:gd name="T103" fmla="*/ 376 h 469"/>
              <a:gd name="T104" fmla="*/ 234 w 468"/>
              <a:gd name="T105" fmla="*/ 358 h 469"/>
              <a:gd name="T106" fmla="*/ 282 w 468"/>
              <a:gd name="T107" fmla="*/ 287 h 469"/>
              <a:gd name="T108" fmla="*/ 337 w 468"/>
              <a:gd name="T109" fmla="*/ 292 h 469"/>
              <a:gd name="T110" fmla="*/ 392 w 468"/>
              <a:gd name="T111" fmla="*/ 276 h 469"/>
              <a:gd name="T112" fmla="*/ 435 w 468"/>
              <a:gd name="T113" fmla="*/ 240 h 469"/>
              <a:gd name="T114" fmla="*/ 462 w 468"/>
              <a:gd name="T115" fmla="*/ 191 h 469"/>
              <a:gd name="T116" fmla="*/ 468 w 468"/>
              <a:gd name="T117" fmla="*/ 131 h 469"/>
              <a:gd name="T118" fmla="*/ 451 w 468"/>
              <a:gd name="T119" fmla="*/ 77 h 469"/>
              <a:gd name="T120" fmla="*/ 415 w 468"/>
              <a:gd name="T121" fmla="*/ 33 h 469"/>
              <a:gd name="T122" fmla="*/ 366 w 468"/>
              <a:gd name="T123" fmla="*/ 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9">
                <a:moveTo>
                  <a:pt x="322" y="264"/>
                </a:moveTo>
                <a:lnTo>
                  <a:pt x="306" y="262"/>
                </a:lnTo>
                <a:lnTo>
                  <a:pt x="292" y="260"/>
                </a:lnTo>
                <a:lnTo>
                  <a:pt x="277" y="255"/>
                </a:lnTo>
                <a:lnTo>
                  <a:pt x="263" y="247"/>
                </a:lnTo>
                <a:lnTo>
                  <a:pt x="258" y="252"/>
                </a:lnTo>
                <a:lnTo>
                  <a:pt x="241" y="268"/>
                </a:lnTo>
                <a:lnTo>
                  <a:pt x="214" y="297"/>
                </a:lnTo>
                <a:lnTo>
                  <a:pt x="210" y="302"/>
                </a:lnTo>
                <a:lnTo>
                  <a:pt x="208" y="307"/>
                </a:lnTo>
                <a:lnTo>
                  <a:pt x="205" y="312"/>
                </a:lnTo>
                <a:lnTo>
                  <a:pt x="205" y="318"/>
                </a:lnTo>
                <a:lnTo>
                  <a:pt x="205" y="353"/>
                </a:lnTo>
                <a:lnTo>
                  <a:pt x="175" y="353"/>
                </a:lnTo>
                <a:lnTo>
                  <a:pt x="169" y="353"/>
                </a:lnTo>
                <a:lnTo>
                  <a:pt x="164" y="354"/>
                </a:lnTo>
                <a:lnTo>
                  <a:pt x="159" y="358"/>
                </a:lnTo>
                <a:lnTo>
                  <a:pt x="154" y="360"/>
                </a:lnTo>
                <a:lnTo>
                  <a:pt x="152" y="365"/>
                </a:lnTo>
                <a:lnTo>
                  <a:pt x="148" y="370"/>
                </a:lnTo>
                <a:lnTo>
                  <a:pt x="147" y="375"/>
                </a:lnTo>
                <a:lnTo>
                  <a:pt x="147" y="381"/>
                </a:lnTo>
                <a:lnTo>
                  <a:pt x="147" y="411"/>
                </a:lnTo>
                <a:lnTo>
                  <a:pt x="112" y="411"/>
                </a:lnTo>
                <a:lnTo>
                  <a:pt x="106" y="411"/>
                </a:lnTo>
                <a:lnTo>
                  <a:pt x="101" y="413"/>
                </a:lnTo>
                <a:lnTo>
                  <a:pt x="96" y="416"/>
                </a:lnTo>
                <a:lnTo>
                  <a:pt x="91" y="419"/>
                </a:lnTo>
                <a:lnTo>
                  <a:pt x="70" y="440"/>
                </a:lnTo>
                <a:lnTo>
                  <a:pt x="30" y="440"/>
                </a:lnTo>
                <a:lnTo>
                  <a:pt x="30" y="398"/>
                </a:lnTo>
                <a:lnTo>
                  <a:pt x="200" y="228"/>
                </a:lnTo>
                <a:lnTo>
                  <a:pt x="200" y="228"/>
                </a:lnTo>
                <a:lnTo>
                  <a:pt x="200" y="228"/>
                </a:lnTo>
                <a:lnTo>
                  <a:pt x="221" y="205"/>
                </a:lnTo>
                <a:lnTo>
                  <a:pt x="215" y="192"/>
                </a:lnTo>
                <a:lnTo>
                  <a:pt x="210" y="178"/>
                </a:lnTo>
                <a:lnTo>
                  <a:pt x="206" y="162"/>
                </a:lnTo>
                <a:lnTo>
                  <a:pt x="205" y="147"/>
                </a:lnTo>
                <a:lnTo>
                  <a:pt x="205" y="135"/>
                </a:lnTo>
                <a:lnTo>
                  <a:pt x="208" y="122"/>
                </a:lnTo>
                <a:lnTo>
                  <a:pt x="210" y="111"/>
                </a:lnTo>
                <a:lnTo>
                  <a:pt x="214" y="101"/>
                </a:lnTo>
                <a:lnTo>
                  <a:pt x="219" y="90"/>
                </a:lnTo>
                <a:lnTo>
                  <a:pt x="225" y="82"/>
                </a:lnTo>
                <a:lnTo>
                  <a:pt x="232" y="72"/>
                </a:lnTo>
                <a:lnTo>
                  <a:pt x="240" y="64"/>
                </a:lnTo>
                <a:lnTo>
                  <a:pt x="247" y="56"/>
                </a:lnTo>
                <a:lnTo>
                  <a:pt x="257" y="49"/>
                </a:lnTo>
                <a:lnTo>
                  <a:pt x="267" y="43"/>
                </a:lnTo>
                <a:lnTo>
                  <a:pt x="277" y="38"/>
                </a:lnTo>
                <a:lnTo>
                  <a:pt x="288" y="35"/>
                </a:lnTo>
                <a:lnTo>
                  <a:pt x="299" y="32"/>
                </a:lnTo>
                <a:lnTo>
                  <a:pt x="310" y="30"/>
                </a:lnTo>
                <a:lnTo>
                  <a:pt x="322" y="30"/>
                </a:lnTo>
                <a:lnTo>
                  <a:pt x="334" y="30"/>
                </a:lnTo>
                <a:lnTo>
                  <a:pt x="346" y="32"/>
                </a:lnTo>
                <a:lnTo>
                  <a:pt x="357" y="35"/>
                </a:lnTo>
                <a:lnTo>
                  <a:pt x="368" y="38"/>
                </a:lnTo>
                <a:lnTo>
                  <a:pt x="378" y="43"/>
                </a:lnTo>
                <a:lnTo>
                  <a:pt x="388" y="49"/>
                </a:lnTo>
                <a:lnTo>
                  <a:pt x="397" y="56"/>
                </a:lnTo>
                <a:lnTo>
                  <a:pt x="405" y="64"/>
                </a:lnTo>
                <a:lnTo>
                  <a:pt x="413" y="72"/>
                </a:lnTo>
                <a:lnTo>
                  <a:pt x="419" y="82"/>
                </a:lnTo>
                <a:lnTo>
                  <a:pt x="425" y="90"/>
                </a:lnTo>
                <a:lnTo>
                  <a:pt x="430" y="101"/>
                </a:lnTo>
                <a:lnTo>
                  <a:pt x="434" y="111"/>
                </a:lnTo>
                <a:lnTo>
                  <a:pt x="437" y="122"/>
                </a:lnTo>
                <a:lnTo>
                  <a:pt x="439" y="135"/>
                </a:lnTo>
                <a:lnTo>
                  <a:pt x="440" y="147"/>
                </a:lnTo>
                <a:lnTo>
                  <a:pt x="439" y="158"/>
                </a:lnTo>
                <a:lnTo>
                  <a:pt x="437" y="171"/>
                </a:lnTo>
                <a:lnTo>
                  <a:pt x="434" y="182"/>
                </a:lnTo>
                <a:lnTo>
                  <a:pt x="430" y="192"/>
                </a:lnTo>
                <a:lnTo>
                  <a:pt x="425" y="203"/>
                </a:lnTo>
                <a:lnTo>
                  <a:pt x="419" y="213"/>
                </a:lnTo>
                <a:lnTo>
                  <a:pt x="413" y="221"/>
                </a:lnTo>
                <a:lnTo>
                  <a:pt x="405" y="230"/>
                </a:lnTo>
                <a:lnTo>
                  <a:pt x="397" y="238"/>
                </a:lnTo>
                <a:lnTo>
                  <a:pt x="388" y="244"/>
                </a:lnTo>
                <a:lnTo>
                  <a:pt x="378" y="250"/>
                </a:lnTo>
                <a:lnTo>
                  <a:pt x="368" y="255"/>
                </a:lnTo>
                <a:lnTo>
                  <a:pt x="357" y="259"/>
                </a:lnTo>
                <a:lnTo>
                  <a:pt x="346" y="261"/>
                </a:lnTo>
                <a:lnTo>
                  <a:pt x="334" y="264"/>
                </a:lnTo>
                <a:lnTo>
                  <a:pt x="322" y="264"/>
                </a:lnTo>
                <a:close/>
                <a:moveTo>
                  <a:pt x="363" y="162"/>
                </a:moveTo>
                <a:lnTo>
                  <a:pt x="347" y="150"/>
                </a:lnTo>
                <a:lnTo>
                  <a:pt x="334" y="136"/>
                </a:lnTo>
                <a:lnTo>
                  <a:pt x="320" y="121"/>
                </a:lnTo>
                <a:lnTo>
                  <a:pt x="308" y="106"/>
                </a:lnTo>
                <a:lnTo>
                  <a:pt x="310" y="100"/>
                </a:lnTo>
                <a:lnTo>
                  <a:pt x="313" y="95"/>
                </a:lnTo>
                <a:lnTo>
                  <a:pt x="316" y="90"/>
                </a:lnTo>
                <a:lnTo>
                  <a:pt x="320" y="85"/>
                </a:lnTo>
                <a:lnTo>
                  <a:pt x="324" y="82"/>
                </a:lnTo>
                <a:lnTo>
                  <a:pt x="329" y="78"/>
                </a:lnTo>
                <a:lnTo>
                  <a:pt x="334" y="75"/>
                </a:lnTo>
                <a:lnTo>
                  <a:pt x="340" y="73"/>
                </a:lnTo>
                <a:lnTo>
                  <a:pt x="355" y="85"/>
                </a:lnTo>
                <a:lnTo>
                  <a:pt x="369" y="99"/>
                </a:lnTo>
                <a:lnTo>
                  <a:pt x="383" y="114"/>
                </a:lnTo>
                <a:lnTo>
                  <a:pt x="395" y="129"/>
                </a:lnTo>
                <a:lnTo>
                  <a:pt x="393" y="135"/>
                </a:lnTo>
                <a:lnTo>
                  <a:pt x="390" y="140"/>
                </a:lnTo>
                <a:lnTo>
                  <a:pt x="387" y="145"/>
                </a:lnTo>
                <a:lnTo>
                  <a:pt x="383" y="150"/>
                </a:lnTo>
                <a:lnTo>
                  <a:pt x="379" y="153"/>
                </a:lnTo>
                <a:lnTo>
                  <a:pt x="374" y="156"/>
                </a:lnTo>
                <a:lnTo>
                  <a:pt x="369" y="160"/>
                </a:lnTo>
                <a:lnTo>
                  <a:pt x="363" y="162"/>
                </a:lnTo>
                <a:close/>
                <a:moveTo>
                  <a:pt x="408" y="121"/>
                </a:moveTo>
                <a:lnTo>
                  <a:pt x="394" y="104"/>
                </a:lnTo>
                <a:lnTo>
                  <a:pt x="381" y="89"/>
                </a:lnTo>
                <a:lnTo>
                  <a:pt x="365" y="74"/>
                </a:lnTo>
                <a:lnTo>
                  <a:pt x="348" y="62"/>
                </a:lnTo>
                <a:lnTo>
                  <a:pt x="345" y="59"/>
                </a:lnTo>
                <a:lnTo>
                  <a:pt x="342" y="59"/>
                </a:lnTo>
                <a:lnTo>
                  <a:pt x="339" y="59"/>
                </a:lnTo>
                <a:lnTo>
                  <a:pt x="335" y="59"/>
                </a:lnTo>
                <a:lnTo>
                  <a:pt x="327" y="63"/>
                </a:lnTo>
                <a:lnTo>
                  <a:pt x="321" y="67"/>
                </a:lnTo>
                <a:lnTo>
                  <a:pt x="315" y="71"/>
                </a:lnTo>
                <a:lnTo>
                  <a:pt x="309" y="75"/>
                </a:lnTo>
                <a:lnTo>
                  <a:pt x="304" y="80"/>
                </a:lnTo>
                <a:lnTo>
                  <a:pt x="300" y="87"/>
                </a:lnTo>
                <a:lnTo>
                  <a:pt x="297" y="94"/>
                </a:lnTo>
                <a:lnTo>
                  <a:pt x="294" y="101"/>
                </a:lnTo>
                <a:lnTo>
                  <a:pt x="293" y="104"/>
                </a:lnTo>
                <a:lnTo>
                  <a:pt x="293" y="105"/>
                </a:lnTo>
                <a:lnTo>
                  <a:pt x="294" y="110"/>
                </a:lnTo>
                <a:lnTo>
                  <a:pt x="295" y="114"/>
                </a:lnTo>
                <a:lnTo>
                  <a:pt x="309" y="131"/>
                </a:lnTo>
                <a:lnTo>
                  <a:pt x="322" y="146"/>
                </a:lnTo>
                <a:lnTo>
                  <a:pt x="339" y="161"/>
                </a:lnTo>
                <a:lnTo>
                  <a:pt x="355" y="173"/>
                </a:lnTo>
                <a:lnTo>
                  <a:pt x="358" y="174"/>
                </a:lnTo>
                <a:lnTo>
                  <a:pt x="361" y="176"/>
                </a:lnTo>
                <a:lnTo>
                  <a:pt x="365" y="176"/>
                </a:lnTo>
                <a:lnTo>
                  <a:pt x="368" y="176"/>
                </a:lnTo>
                <a:lnTo>
                  <a:pt x="376" y="172"/>
                </a:lnTo>
                <a:lnTo>
                  <a:pt x="382" y="168"/>
                </a:lnTo>
                <a:lnTo>
                  <a:pt x="388" y="165"/>
                </a:lnTo>
                <a:lnTo>
                  <a:pt x="393" y="160"/>
                </a:lnTo>
                <a:lnTo>
                  <a:pt x="398" y="155"/>
                </a:lnTo>
                <a:lnTo>
                  <a:pt x="403" y="148"/>
                </a:lnTo>
                <a:lnTo>
                  <a:pt x="407" y="141"/>
                </a:lnTo>
                <a:lnTo>
                  <a:pt x="409" y="134"/>
                </a:lnTo>
                <a:lnTo>
                  <a:pt x="410" y="131"/>
                </a:lnTo>
                <a:lnTo>
                  <a:pt x="410" y="129"/>
                </a:lnTo>
                <a:lnTo>
                  <a:pt x="409" y="125"/>
                </a:lnTo>
                <a:lnTo>
                  <a:pt x="408" y="121"/>
                </a:lnTo>
                <a:close/>
                <a:moveTo>
                  <a:pt x="322" y="0"/>
                </a:moveTo>
                <a:lnTo>
                  <a:pt x="308" y="1"/>
                </a:lnTo>
                <a:lnTo>
                  <a:pt x="293" y="2"/>
                </a:lnTo>
                <a:lnTo>
                  <a:pt x="279" y="6"/>
                </a:lnTo>
                <a:lnTo>
                  <a:pt x="266" y="11"/>
                </a:lnTo>
                <a:lnTo>
                  <a:pt x="252" y="17"/>
                </a:lnTo>
                <a:lnTo>
                  <a:pt x="241" y="25"/>
                </a:lnTo>
                <a:lnTo>
                  <a:pt x="229" y="33"/>
                </a:lnTo>
                <a:lnTo>
                  <a:pt x="219" y="43"/>
                </a:lnTo>
                <a:lnTo>
                  <a:pt x="209" y="53"/>
                </a:lnTo>
                <a:lnTo>
                  <a:pt x="200" y="64"/>
                </a:lnTo>
                <a:lnTo>
                  <a:pt x="194" y="77"/>
                </a:lnTo>
                <a:lnTo>
                  <a:pt x="188" y="89"/>
                </a:lnTo>
                <a:lnTo>
                  <a:pt x="183" y="103"/>
                </a:lnTo>
                <a:lnTo>
                  <a:pt x="179" y="118"/>
                </a:lnTo>
                <a:lnTo>
                  <a:pt x="177" y="131"/>
                </a:lnTo>
                <a:lnTo>
                  <a:pt x="175" y="147"/>
                </a:lnTo>
                <a:lnTo>
                  <a:pt x="177" y="161"/>
                </a:lnTo>
                <a:lnTo>
                  <a:pt x="179" y="174"/>
                </a:lnTo>
                <a:lnTo>
                  <a:pt x="182" y="187"/>
                </a:lnTo>
                <a:lnTo>
                  <a:pt x="187" y="200"/>
                </a:lnTo>
                <a:lnTo>
                  <a:pt x="9" y="379"/>
                </a:lnTo>
                <a:lnTo>
                  <a:pt x="5" y="382"/>
                </a:lnTo>
                <a:lnTo>
                  <a:pt x="2" y="386"/>
                </a:lnTo>
                <a:lnTo>
                  <a:pt x="0" y="391"/>
                </a:lnTo>
                <a:lnTo>
                  <a:pt x="0" y="396"/>
                </a:lnTo>
                <a:lnTo>
                  <a:pt x="0" y="440"/>
                </a:lnTo>
                <a:lnTo>
                  <a:pt x="0" y="445"/>
                </a:lnTo>
                <a:lnTo>
                  <a:pt x="2" y="452"/>
                </a:lnTo>
                <a:lnTo>
                  <a:pt x="5" y="457"/>
                </a:lnTo>
                <a:lnTo>
                  <a:pt x="9" y="460"/>
                </a:lnTo>
                <a:lnTo>
                  <a:pt x="14" y="464"/>
                </a:lnTo>
                <a:lnTo>
                  <a:pt x="18" y="466"/>
                </a:lnTo>
                <a:lnTo>
                  <a:pt x="23" y="469"/>
                </a:lnTo>
                <a:lnTo>
                  <a:pt x="30" y="469"/>
                </a:lnTo>
                <a:lnTo>
                  <a:pt x="73" y="469"/>
                </a:lnTo>
                <a:lnTo>
                  <a:pt x="79" y="469"/>
                </a:lnTo>
                <a:lnTo>
                  <a:pt x="83" y="468"/>
                </a:lnTo>
                <a:lnTo>
                  <a:pt x="88" y="464"/>
                </a:lnTo>
                <a:lnTo>
                  <a:pt x="91" y="461"/>
                </a:lnTo>
                <a:lnTo>
                  <a:pt x="112" y="440"/>
                </a:lnTo>
                <a:lnTo>
                  <a:pt x="147" y="440"/>
                </a:lnTo>
                <a:lnTo>
                  <a:pt x="152" y="439"/>
                </a:lnTo>
                <a:lnTo>
                  <a:pt x="158" y="438"/>
                </a:lnTo>
                <a:lnTo>
                  <a:pt x="163" y="435"/>
                </a:lnTo>
                <a:lnTo>
                  <a:pt x="167" y="432"/>
                </a:lnTo>
                <a:lnTo>
                  <a:pt x="170" y="427"/>
                </a:lnTo>
                <a:lnTo>
                  <a:pt x="173" y="422"/>
                </a:lnTo>
                <a:lnTo>
                  <a:pt x="175" y="417"/>
                </a:lnTo>
                <a:lnTo>
                  <a:pt x="175" y="411"/>
                </a:lnTo>
                <a:lnTo>
                  <a:pt x="175" y="381"/>
                </a:lnTo>
                <a:lnTo>
                  <a:pt x="205" y="381"/>
                </a:lnTo>
                <a:lnTo>
                  <a:pt x="211" y="381"/>
                </a:lnTo>
                <a:lnTo>
                  <a:pt x="216" y="379"/>
                </a:lnTo>
                <a:lnTo>
                  <a:pt x="221" y="376"/>
                </a:lnTo>
                <a:lnTo>
                  <a:pt x="226" y="372"/>
                </a:lnTo>
                <a:lnTo>
                  <a:pt x="230" y="369"/>
                </a:lnTo>
                <a:lnTo>
                  <a:pt x="232" y="364"/>
                </a:lnTo>
                <a:lnTo>
                  <a:pt x="234" y="358"/>
                </a:lnTo>
                <a:lnTo>
                  <a:pt x="235" y="353"/>
                </a:lnTo>
                <a:lnTo>
                  <a:pt x="235" y="318"/>
                </a:lnTo>
                <a:lnTo>
                  <a:pt x="269" y="283"/>
                </a:lnTo>
                <a:lnTo>
                  <a:pt x="282" y="287"/>
                </a:lnTo>
                <a:lnTo>
                  <a:pt x="295" y="291"/>
                </a:lnTo>
                <a:lnTo>
                  <a:pt x="309" y="293"/>
                </a:lnTo>
                <a:lnTo>
                  <a:pt x="322" y="293"/>
                </a:lnTo>
                <a:lnTo>
                  <a:pt x="337" y="292"/>
                </a:lnTo>
                <a:lnTo>
                  <a:pt x="352" y="291"/>
                </a:lnTo>
                <a:lnTo>
                  <a:pt x="366" y="287"/>
                </a:lnTo>
                <a:lnTo>
                  <a:pt x="379" y="282"/>
                </a:lnTo>
                <a:lnTo>
                  <a:pt x="392" y="276"/>
                </a:lnTo>
                <a:lnTo>
                  <a:pt x="404" y="268"/>
                </a:lnTo>
                <a:lnTo>
                  <a:pt x="415" y="260"/>
                </a:lnTo>
                <a:lnTo>
                  <a:pt x="426" y="250"/>
                </a:lnTo>
                <a:lnTo>
                  <a:pt x="435" y="240"/>
                </a:lnTo>
                <a:lnTo>
                  <a:pt x="444" y="229"/>
                </a:lnTo>
                <a:lnTo>
                  <a:pt x="451" y="217"/>
                </a:lnTo>
                <a:lnTo>
                  <a:pt x="457" y="204"/>
                </a:lnTo>
                <a:lnTo>
                  <a:pt x="462" y="191"/>
                </a:lnTo>
                <a:lnTo>
                  <a:pt x="466" y="176"/>
                </a:lnTo>
                <a:lnTo>
                  <a:pt x="468" y="162"/>
                </a:lnTo>
                <a:lnTo>
                  <a:pt x="468" y="147"/>
                </a:lnTo>
                <a:lnTo>
                  <a:pt x="468" y="131"/>
                </a:lnTo>
                <a:lnTo>
                  <a:pt x="466" y="118"/>
                </a:lnTo>
                <a:lnTo>
                  <a:pt x="462" y="103"/>
                </a:lnTo>
                <a:lnTo>
                  <a:pt x="457" y="89"/>
                </a:lnTo>
                <a:lnTo>
                  <a:pt x="451" y="77"/>
                </a:lnTo>
                <a:lnTo>
                  <a:pt x="444" y="64"/>
                </a:lnTo>
                <a:lnTo>
                  <a:pt x="435" y="53"/>
                </a:lnTo>
                <a:lnTo>
                  <a:pt x="426" y="43"/>
                </a:lnTo>
                <a:lnTo>
                  <a:pt x="415" y="33"/>
                </a:lnTo>
                <a:lnTo>
                  <a:pt x="404" y="25"/>
                </a:lnTo>
                <a:lnTo>
                  <a:pt x="392" y="17"/>
                </a:lnTo>
                <a:lnTo>
                  <a:pt x="379" y="11"/>
                </a:lnTo>
                <a:lnTo>
                  <a:pt x="366" y="6"/>
                </a:lnTo>
                <a:lnTo>
                  <a:pt x="352" y="2"/>
                </a:lnTo>
                <a:lnTo>
                  <a:pt x="337" y="1"/>
                </a:lnTo>
                <a:lnTo>
                  <a:pt x="32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47" name="Freeform 46">
            <a:extLst>
              <a:ext uri="{FF2B5EF4-FFF2-40B4-BE49-F238E27FC236}">
                <a16:creationId xmlns:a16="http://schemas.microsoft.com/office/drawing/2014/main" id="{8687A944-B512-A29B-860A-6A8247FD9130}"/>
              </a:ext>
            </a:extLst>
          </p:cNvPr>
          <p:cNvSpPr>
            <a:spLocks noEditPoints="1"/>
          </p:cNvSpPr>
          <p:nvPr/>
        </p:nvSpPr>
        <p:spPr bwMode="auto">
          <a:xfrm>
            <a:off x="11780838" y="7181808"/>
            <a:ext cx="371475" cy="371475"/>
          </a:xfrm>
          <a:custGeom>
            <a:avLst/>
            <a:gdLst>
              <a:gd name="T0" fmla="*/ 83 w 468"/>
              <a:gd name="T1" fmla="*/ 412 h 469"/>
              <a:gd name="T2" fmla="*/ 192 w 468"/>
              <a:gd name="T3" fmla="*/ 382 h 469"/>
              <a:gd name="T4" fmla="*/ 235 w 468"/>
              <a:gd name="T5" fmla="*/ 396 h 469"/>
              <a:gd name="T6" fmla="*/ 277 w 468"/>
              <a:gd name="T7" fmla="*/ 382 h 469"/>
              <a:gd name="T8" fmla="*/ 384 w 468"/>
              <a:gd name="T9" fmla="*/ 412 h 469"/>
              <a:gd name="T10" fmla="*/ 30 w 468"/>
              <a:gd name="T11" fmla="*/ 440 h 469"/>
              <a:gd name="T12" fmla="*/ 278 w 468"/>
              <a:gd name="T13" fmla="*/ 362 h 469"/>
              <a:gd name="T14" fmla="*/ 250 w 468"/>
              <a:gd name="T15" fmla="*/ 377 h 469"/>
              <a:gd name="T16" fmla="*/ 219 w 468"/>
              <a:gd name="T17" fmla="*/ 377 h 469"/>
              <a:gd name="T18" fmla="*/ 190 w 468"/>
              <a:gd name="T19" fmla="*/ 362 h 469"/>
              <a:gd name="T20" fmla="*/ 157 w 468"/>
              <a:gd name="T21" fmla="*/ 323 h 469"/>
              <a:gd name="T22" fmla="*/ 124 w 468"/>
              <a:gd name="T23" fmla="*/ 244 h 469"/>
              <a:gd name="T24" fmla="*/ 117 w 468"/>
              <a:gd name="T25" fmla="*/ 194 h 469"/>
              <a:gd name="T26" fmla="*/ 121 w 468"/>
              <a:gd name="T27" fmla="*/ 146 h 469"/>
              <a:gd name="T28" fmla="*/ 135 w 468"/>
              <a:gd name="T29" fmla="*/ 100 h 469"/>
              <a:gd name="T30" fmla="*/ 161 w 468"/>
              <a:gd name="T31" fmla="*/ 62 h 469"/>
              <a:gd name="T32" fmla="*/ 198 w 468"/>
              <a:gd name="T33" fmla="*/ 36 h 469"/>
              <a:gd name="T34" fmla="*/ 247 w 468"/>
              <a:gd name="T35" fmla="*/ 30 h 469"/>
              <a:gd name="T36" fmla="*/ 290 w 468"/>
              <a:gd name="T37" fmla="*/ 47 h 469"/>
              <a:gd name="T38" fmla="*/ 321 w 468"/>
              <a:gd name="T39" fmla="*/ 79 h 469"/>
              <a:gd name="T40" fmla="*/ 341 w 468"/>
              <a:gd name="T41" fmla="*/ 122 h 469"/>
              <a:gd name="T42" fmla="*/ 350 w 468"/>
              <a:gd name="T43" fmla="*/ 169 h 469"/>
              <a:gd name="T44" fmla="*/ 347 w 468"/>
              <a:gd name="T45" fmla="*/ 231 h 469"/>
              <a:gd name="T46" fmla="*/ 311 w 468"/>
              <a:gd name="T47" fmla="*/ 323 h 469"/>
              <a:gd name="T48" fmla="*/ 417 w 468"/>
              <a:gd name="T49" fmla="*/ 395 h 469"/>
              <a:gd name="T50" fmla="*/ 320 w 468"/>
              <a:gd name="T51" fmla="*/ 361 h 469"/>
              <a:gd name="T52" fmla="*/ 356 w 468"/>
              <a:gd name="T53" fmla="*/ 299 h 469"/>
              <a:gd name="T54" fmla="*/ 376 w 468"/>
              <a:gd name="T55" fmla="*/ 241 h 469"/>
              <a:gd name="T56" fmla="*/ 377 w 468"/>
              <a:gd name="T57" fmla="*/ 150 h 469"/>
              <a:gd name="T58" fmla="*/ 365 w 468"/>
              <a:gd name="T59" fmla="*/ 96 h 469"/>
              <a:gd name="T60" fmla="*/ 339 w 468"/>
              <a:gd name="T61" fmla="*/ 49 h 469"/>
              <a:gd name="T62" fmla="*/ 293 w 468"/>
              <a:gd name="T63" fmla="*/ 12 h 469"/>
              <a:gd name="T64" fmla="*/ 235 w 468"/>
              <a:gd name="T65" fmla="*/ 0 h 469"/>
              <a:gd name="T66" fmla="*/ 176 w 468"/>
              <a:gd name="T67" fmla="*/ 12 h 469"/>
              <a:gd name="T68" fmla="*/ 130 w 468"/>
              <a:gd name="T69" fmla="*/ 49 h 469"/>
              <a:gd name="T70" fmla="*/ 104 w 468"/>
              <a:gd name="T71" fmla="*/ 96 h 469"/>
              <a:gd name="T72" fmla="*/ 91 w 468"/>
              <a:gd name="T73" fmla="*/ 150 h 469"/>
              <a:gd name="T74" fmla="*/ 93 w 468"/>
              <a:gd name="T75" fmla="*/ 241 h 469"/>
              <a:gd name="T76" fmla="*/ 112 w 468"/>
              <a:gd name="T77" fmla="*/ 299 h 469"/>
              <a:gd name="T78" fmla="*/ 148 w 468"/>
              <a:gd name="T79" fmla="*/ 361 h 469"/>
              <a:gd name="T80" fmla="*/ 52 w 468"/>
              <a:gd name="T81" fmla="*/ 395 h 469"/>
              <a:gd name="T82" fmla="*/ 6 w 468"/>
              <a:gd name="T83" fmla="*/ 422 h 469"/>
              <a:gd name="T84" fmla="*/ 0 w 468"/>
              <a:gd name="T85" fmla="*/ 439 h 469"/>
              <a:gd name="T86" fmla="*/ 5 w 468"/>
              <a:gd name="T87" fmla="*/ 457 h 469"/>
              <a:gd name="T88" fmla="*/ 20 w 468"/>
              <a:gd name="T89" fmla="*/ 468 h 469"/>
              <a:gd name="T90" fmla="*/ 444 w 468"/>
              <a:gd name="T91" fmla="*/ 469 h 469"/>
              <a:gd name="T92" fmla="*/ 460 w 468"/>
              <a:gd name="T93" fmla="*/ 460 h 469"/>
              <a:gd name="T94" fmla="*/ 468 w 468"/>
              <a:gd name="T95" fmla="*/ 444 h 469"/>
              <a:gd name="T96" fmla="*/ 465 w 468"/>
              <a:gd name="T97" fmla="*/ 42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8" h="469">
                <a:moveTo>
                  <a:pt x="30" y="440"/>
                </a:moveTo>
                <a:lnTo>
                  <a:pt x="40" y="434"/>
                </a:lnTo>
                <a:lnTo>
                  <a:pt x="66" y="421"/>
                </a:lnTo>
                <a:lnTo>
                  <a:pt x="83" y="412"/>
                </a:lnTo>
                <a:lnTo>
                  <a:pt x="104" y="405"/>
                </a:lnTo>
                <a:lnTo>
                  <a:pt x="129" y="397"/>
                </a:lnTo>
                <a:lnTo>
                  <a:pt x="155" y="390"/>
                </a:lnTo>
                <a:lnTo>
                  <a:pt x="192" y="382"/>
                </a:lnTo>
                <a:lnTo>
                  <a:pt x="201" y="388"/>
                </a:lnTo>
                <a:lnTo>
                  <a:pt x="211" y="392"/>
                </a:lnTo>
                <a:lnTo>
                  <a:pt x="222" y="395"/>
                </a:lnTo>
                <a:lnTo>
                  <a:pt x="235" y="396"/>
                </a:lnTo>
                <a:lnTo>
                  <a:pt x="246" y="395"/>
                </a:lnTo>
                <a:lnTo>
                  <a:pt x="257" y="392"/>
                </a:lnTo>
                <a:lnTo>
                  <a:pt x="267" y="388"/>
                </a:lnTo>
                <a:lnTo>
                  <a:pt x="277" y="382"/>
                </a:lnTo>
                <a:lnTo>
                  <a:pt x="314" y="390"/>
                </a:lnTo>
                <a:lnTo>
                  <a:pt x="340" y="397"/>
                </a:lnTo>
                <a:lnTo>
                  <a:pt x="363" y="405"/>
                </a:lnTo>
                <a:lnTo>
                  <a:pt x="384" y="412"/>
                </a:lnTo>
                <a:lnTo>
                  <a:pt x="403" y="421"/>
                </a:lnTo>
                <a:lnTo>
                  <a:pt x="429" y="434"/>
                </a:lnTo>
                <a:lnTo>
                  <a:pt x="439" y="440"/>
                </a:lnTo>
                <a:lnTo>
                  <a:pt x="30" y="440"/>
                </a:lnTo>
                <a:close/>
                <a:moveTo>
                  <a:pt x="297" y="343"/>
                </a:moveTo>
                <a:lnTo>
                  <a:pt x="292" y="349"/>
                </a:lnTo>
                <a:lnTo>
                  <a:pt x="286" y="356"/>
                </a:lnTo>
                <a:lnTo>
                  <a:pt x="278" y="362"/>
                </a:lnTo>
                <a:lnTo>
                  <a:pt x="271" y="367"/>
                </a:lnTo>
                <a:lnTo>
                  <a:pt x="265" y="372"/>
                </a:lnTo>
                <a:lnTo>
                  <a:pt x="257" y="375"/>
                </a:lnTo>
                <a:lnTo>
                  <a:pt x="250" y="377"/>
                </a:lnTo>
                <a:lnTo>
                  <a:pt x="242" y="379"/>
                </a:lnTo>
                <a:lnTo>
                  <a:pt x="235" y="380"/>
                </a:lnTo>
                <a:lnTo>
                  <a:pt x="226" y="379"/>
                </a:lnTo>
                <a:lnTo>
                  <a:pt x="219" y="377"/>
                </a:lnTo>
                <a:lnTo>
                  <a:pt x="211" y="375"/>
                </a:lnTo>
                <a:lnTo>
                  <a:pt x="204" y="372"/>
                </a:lnTo>
                <a:lnTo>
                  <a:pt x="197" y="367"/>
                </a:lnTo>
                <a:lnTo>
                  <a:pt x="190" y="362"/>
                </a:lnTo>
                <a:lnTo>
                  <a:pt x="183" y="356"/>
                </a:lnTo>
                <a:lnTo>
                  <a:pt x="177" y="349"/>
                </a:lnTo>
                <a:lnTo>
                  <a:pt x="172" y="343"/>
                </a:lnTo>
                <a:lnTo>
                  <a:pt x="157" y="323"/>
                </a:lnTo>
                <a:lnTo>
                  <a:pt x="145" y="302"/>
                </a:lnTo>
                <a:lnTo>
                  <a:pt x="135" y="278"/>
                </a:lnTo>
                <a:lnTo>
                  <a:pt x="127" y="256"/>
                </a:lnTo>
                <a:lnTo>
                  <a:pt x="124" y="244"/>
                </a:lnTo>
                <a:lnTo>
                  <a:pt x="121" y="231"/>
                </a:lnTo>
                <a:lnTo>
                  <a:pt x="120" y="219"/>
                </a:lnTo>
                <a:lnTo>
                  <a:pt x="119" y="207"/>
                </a:lnTo>
                <a:lnTo>
                  <a:pt x="117" y="194"/>
                </a:lnTo>
                <a:lnTo>
                  <a:pt x="117" y="182"/>
                </a:lnTo>
                <a:lnTo>
                  <a:pt x="119" y="169"/>
                </a:lnTo>
                <a:lnTo>
                  <a:pt x="120" y="157"/>
                </a:lnTo>
                <a:lnTo>
                  <a:pt x="121" y="146"/>
                </a:lnTo>
                <a:lnTo>
                  <a:pt x="124" y="134"/>
                </a:lnTo>
                <a:lnTo>
                  <a:pt x="127" y="122"/>
                </a:lnTo>
                <a:lnTo>
                  <a:pt x="131" y="111"/>
                </a:lnTo>
                <a:lnTo>
                  <a:pt x="135" y="100"/>
                </a:lnTo>
                <a:lnTo>
                  <a:pt x="141" y="89"/>
                </a:lnTo>
                <a:lnTo>
                  <a:pt x="147" y="79"/>
                </a:lnTo>
                <a:lnTo>
                  <a:pt x="153" y="71"/>
                </a:lnTo>
                <a:lnTo>
                  <a:pt x="161" y="62"/>
                </a:lnTo>
                <a:lnTo>
                  <a:pt x="169" y="53"/>
                </a:lnTo>
                <a:lnTo>
                  <a:pt x="178" y="47"/>
                </a:lnTo>
                <a:lnTo>
                  <a:pt x="188" y="41"/>
                </a:lnTo>
                <a:lnTo>
                  <a:pt x="198" y="36"/>
                </a:lnTo>
                <a:lnTo>
                  <a:pt x="209" y="32"/>
                </a:lnTo>
                <a:lnTo>
                  <a:pt x="221" y="30"/>
                </a:lnTo>
                <a:lnTo>
                  <a:pt x="235" y="30"/>
                </a:lnTo>
                <a:lnTo>
                  <a:pt x="247" y="30"/>
                </a:lnTo>
                <a:lnTo>
                  <a:pt x="260" y="32"/>
                </a:lnTo>
                <a:lnTo>
                  <a:pt x="271" y="36"/>
                </a:lnTo>
                <a:lnTo>
                  <a:pt x="281" y="41"/>
                </a:lnTo>
                <a:lnTo>
                  <a:pt x="290" y="47"/>
                </a:lnTo>
                <a:lnTo>
                  <a:pt x="299" y="53"/>
                </a:lnTo>
                <a:lnTo>
                  <a:pt x="308" y="62"/>
                </a:lnTo>
                <a:lnTo>
                  <a:pt x="315" y="71"/>
                </a:lnTo>
                <a:lnTo>
                  <a:pt x="321" y="79"/>
                </a:lnTo>
                <a:lnTo>
                  <a:pt x="328" y="89"/>
                </a:lnTo>
                <a:lnTo>
                  <a:pt x="334" y="100"/>
                </a:lnTo>
                <a:lnTo>
                  <a:pt x="337" y="111"/>
                </a:lnTo>
                <a:lnTo>
                  <a:pt x="341" y="122"/>
                </a:lnTo>
                <a:lnTo>
                  <a:pt x="345" y="134"/>
                </a:lnTo>
                <a:lnTo>
                  <a:pt x="347" y="146"/>
                </a:lnTo>
                <a:lnTo>
                  <a:pt x="349" y="157"/>
                </a:lnTo>
                <a:lnTo>
                  <a:pt x="350" y="169"/>
                </a:lnTo>
                <a:lnTo>
                  <a:pt x="351" y="182"/>
                </a:lnTo>
                <a:lnTo>
                  <a:pt x="351" y="194"/>
                </a:lnTo>
                <a:lnTo>
                  <a:pt x="350" y="207"/>
                </a:lnTo>
                <a:lnTo>
                  <a:pt x="347" y="231"/>
                </a:lnTo>
                <a:lnTo>
                  <a:pt x="341" y="256"/>
                </a:lnTo>
                <a:lnTo>
                  <a:pt x="334" y="278"/>
                </a:lnTo>
                <a:lnTo>
                  <a:pt x="324" y="302"/>
                </a:lnTo>
                <a:lnTo>
                  <a:pt x="311" y="323"/>
                </a:lnTo>
                <a:lnTo>
                  <a:pt x="297" y="343"/>
                </a:lnTo>
                <a:close/>
                <a:moveTo>
                  <a:pt x="456" y="416"/>
                </a:moveTo>
                <a:lnTo>
                  <a:pt x="444" y="408"/>
                </a:lnTo>
                <a:lnTo>
                  <a:pt x="417" y="395"/>
                </a:lnTo>
                <a:lnTo>
                  <a:pt x="397" y="386"/>
                </a:lnTo>
                <a:lnTo>
                  <a:pt x="375" y="377"/>
                </a:lnTo>
                <a:lnTo>
                  <a:pt x="349" y="369"/>
                </a:lnTo>
                <a:lnTo>
                  <a:pt x="320" y="361"/>
                </a:lnTo>
                <a:lnTo>
                  <a:pt x="330" y="346"/>
                </a:lnTo>
                <a:lnTo>
                  <a:pt x="340" y="332"/>
                </a:lnTo>
                <a:lnTo>
                  <a:pt x="349" y="315"/>
                </a:lnTo>
                <a:lnTo>
                  <a:pt x="356" y="299"/>
                </a:lnTo>
                <a:lnTo>
                  <a:pt x="362" y="285"/>
                </a:lnTo>
                <a:lnTo>
                  <a:pt x="367" y="268"/>
                </a:lnTo>
                <a:lnTo>
                  <a:pt x="372" y="255"/>
                </a:lnTo>
                <a:lnTo>
                  <a:pt x="376" y="241"/>
                </a:lnTo>
                <a:lnTo>
                  <a:pt x="379" y="223"/>
                </a:lnTo>
                <a:lnTo>
                  <a:pt x="381" y="200"/>
                </a:lnTo>
                <a:lnTo>
                  <a:pt x="381" y="176"/>
                </a:lnTo>
                <a:lnTo>
                  <a:pt x="377" y="150"/>
                </a:lnTo>
                <a:lnTo>
                  <a:pt x="376" y="136"/>
                </a:lnTo>
                <a:lnTo>
                  <a:pt x="372" y="122"/>
                </a:lnTo>
                <a:lnTo>
                  <a:pt x="368" y="110"/>
                </a:lnTo>
                <a:lnTo>
                  <a:pt x="365" y="96"/>
                </a:lnTo>
                <a:lnTo>
                  <a:pt x="358" y="84"/>
                </a:lnTo>
                <a:lnTo>
                  <a:pt x="353" y="73"/>
                </a:lnTo>
                <a:lnTo>
                  <a:pt x="346" y="61"/>
                </a:lnTo>
                <a:lnTo>
                  <a:pt x="339" y="49"/>
                </a:lnTo>
                <a:lnTo>
                  <a:pt x="328" y="38"/>
                </a:lnTo>
                <a:lnTo>
                  <a:pt x="318" y="28"/>
                </a:lnTo>
                <a:lnTo>
                  <a:pt x="305" y="20"/>
                </a:lnTo>
                <a:lnTo>
                  <a:pt x="293" y="12"/>
                </a:lnTo>
                <a:lnTo>
                  <a:pt x="279" y="7"/>
                </a:lnTo>
                <a:lnTo>
                  <a:pt x="265" y="4"/>
                </a:lnTo>
                <a:lnTo>
                  <a:pt x="250" y="1"/>
                </a:lnTo>
                <a:lnTo>
                  <a:pt x="235" y="0"/>
                </a:lnTo>
                <a:lnTo>
                  <a:pt x="219" y="1"/>
                </a:lnTo>
                <a:lnTo>
                  <a:pt x="204" y="4"/>
                </a:lnTo>
                <a:lnTo>
                  <a:pt x="189" y="7"/>
                </a:lnTo>
                <a:lnTo>
                  <a:pt x="176" y="12"/>
                </a:lnTo>
                <a:lnTo>
                  <a:pt x="163" y="20"/>
                </a:lnTo>
                <a:lnTo>
                  <a:pt x="151" y="28"/>
                </a:lnTo>
                <a:lnTo>
                  <a:pt x="140" y="38"/>
                </a:lnTo>
                <a:lnTo>
                  <a:pt x="130" y="49"/>
                </a:lnTo>
                <a:lnTo>
                  <a:pt x="122" y="61"/>
                </a:lnTo>
                <a:lnTo>
                  <a:pt x="115" y="73"/>
                </a:lnTo>
                <a:lnTo>
                  <a:pt x="110" y="84"/>
                </a:lnTo>
                <a:lnTo>
                  <a:pt x="104" y="96"/>
                </a:lnTo>
                <a:lnTo>
                  <a:pt x="100" y="110"/>
                </a:lnTo>
                <a:lnTo>
                  <a:pt x="96" y="122"/>
                </a:lnTo>
                <a:lnTo>
                  <a:pt x="93" y="136"/>
                </a:lnTo>
                <a:lnTo>
                  <a:pt x="91" y="150"/>
                </a:lnTo>
                <a:lnTo>
                  <a:pt x="88" y="176"/>
                </a:lnTo>
                <a:lnTo>
                  <a:pt x="88" y="200"/>
                </a:lnTo>
                <a:lnTo>
                  <a:pt x="89" y="223"/>
                </a:lnTo>
                <a:lnTo>
                  <a:pt x="93" y="241"/>
                </a:lnTo>
                <a:lnTo>
                  <a:pt x="96" y="255"/>
                </a:lnTo>
                <a:lnTo>
                  <a:pt x="101" y="268"/>
                </a:lnTo>
                <a:lnTo>
                  <a:pt x="106" y="285"/>
                </a:lnTo>
                <a:lnTo>
                  <a:pt x="112" y="299"/>
                </a:lnTo>
                <a:lnTo>
                  <a:pt x="120" y="315"/>
                </a:lnTo>
                <a:lnTo>
                  <a:pt x="129" y="332"/>
                </a:lnTo>
                <a:lnTo>
                  <a:pt x="138" y="346"/>
                </a:lnTo>
                <a:lnTo>
                  <a:pt x="148" y="361"/>
                </a:lnTo>
                <a:lnTo>
                  <a:pt x="120" y="369"/>
                </a:lnTo>
                <a:lnTo>
                  <a:pt x="94" y="377"/>
                </a:lnTo>
                <a:lnTo>
                  <a:pt x="72" y="386"/>
                </a:lnTo>
                <a:lnTo>
                  <a:pt x="52" y="395"/>
                </a:lnTo>
                <a:lnTo>
                  <a:pt x="25" y="408"/>
                </a:lnTo>
                <a:lnTo>
                  <a:pt x="12" y="416"/>
                </a:lnTo>
                <a:lnTo>
                  <a:pt x="9" y="418"/>
                </a:lnTo>
                <a:lnTo>
                  <a:pt x="6" y="422"/>
                </a:lnTo>
                <a:lnTo>
                  <a:pt x="4" y="426"/>
                </a:lnTo>
                <a:lnTo>
                  <a:pt x="1" y="431"/>
                </a:lnTo>
                <a:lnTo>
                  <a:pt x="0" y="434"/>
                </a:lnTo>
                <a:lnTo>
                  <a:pt x="0" y="439"/>
                </a:lnTo>
                <a:lnTo>
                  <a:pt x="0" y="444"/>
                </a:lnTo>
                <a:lnTo>
                  <a:pt x="1" y="449"/>
                </a:lnTo>
                <a:lnTo>
                  <a:pt x="3" y="453"/>
                </a:lnTo>
                <a:lnTo>
                  <a:pt x="5" y="457"/>
                </a:lnTo>
                <a:lnTo>
                  <a:pt x="9" y="460"/>
                </a:lnTo>
                <a:lnTo>
                  <a:pt x="11" y="464"/>
                </a:lnTo>
                <a:lnTo>
                  <a:pt x="16" y="466"/>
                </a:lnTo>
                <a:lnTo>
                  <a:pt x="20" y="468"/>
                </a:lnTo>
                <a:lnTo>
                  <a:pt x="25" y="469"/>
                </a:lnTo>
                <a:lnTo>
                  <a:pt x="30" y="469"/>
                </a:lnTo>
                <a:lnTo>
                  <a:pt x="439" y="469"/>
                </a:lnTo>
                <a:lnTo>
                  <a:pt x="444" y="469"/>
                </a:lnTo>
                <a:lnTo>
                  <a:pt x="449" y="468"/>
                </a:lnTo>
                <a:lnTo>
                  <a:pt x="452" y="466"/>
                </a:lnTo>
                <a:lnTo>
                  <a:pt x="457" y="464"/>
                </a:lnTo>
                <a:lnTo>
                  <a:pt x="460" y="460"/>
                </a:lnTo>
                <a:lnTo>
                  <a:pt x="463" y="457"/>
                </a:lnTo>
                <a:lnTo>
                  <a:pt x="466" y="453"/>
                </a:lnTo>
                <a:lnTo>
                  <a:pt x="467" y="449"/>
                </a:lnTo>
                <a:lnTo>
                  <a:pt x="468" y="444"/>
                </a:lnTo>
                <a:lnTo>
                  <a:pt x="468" y="439"/>
                </a:lnTo>
                <a:lnTo>
                  <a:pt x="468" y="434"/>
                </a:lnTo>
                <a:lnTo>
                  <a:pt x="467" y="431"/>
                </a:lnTo>
                <a:lnTo>
                  <a:pt x="465" y="426"/>
                </a:lnTo>
                <a:lnTo>
                  <a:pt x="462" y="422"/>
                </a:lnTo>
                <a:lnTo>
                  <a:pt x="460" y="418"/>
                </a:lnTo>
                <a:lnTo>
                  <a:pt x="456" y="41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54" name="Freeform 47">
            <a:extLst>
              <a:ext uri="{FF2B5EF4-FFF2-40B4-BE49-F238E27FC236}">
                <a16:creationId xmlns:a16="http://schemas.microsoft.com/office/drawing/2014/main" id="{05CBFBDA-19ED-2B0E-7BDE-8CE3DAC02BAE}"/>
              </a:ext>
            </a:extLst>
          </p:cNvPr>
          <p:cNvSpPr>
            <a:spLocks noEditPoints="1"/>
          </p:cNvSpPr>
          <p:nvPr/>
        </p:nvSpPr>
        <p:spPr bwMode="auto">
          <a:xfrm>
            <a:off x="10996613" y="7181808"/>
            <a:ext cx="325438" cy="371475"/>
          </a:xfrm>
          <a:custGeom>
            <a:avLst/>
            <a:gdLst>
              <a:gd name="T0" fmla="*/ 29 w 410"/>
              <a:gd name="T1" fmla="*/ 118 h 469"/>
              <a:gd name="T2" fmla="*/ 38 w 410"/>
              <a:gd name="T3" fmla="*/ 89 h 469"/>
              <a:gd name="T4" fmla="*/ 377 w 410"/>
              <a:gd name="T5" fmla="*/ 93 h 469"/>
              <a:gd name="T6" fmla="*/ 279 w 410"/>
              <a:gd name="T7" fmla="*/ 205 h 469"/>
              <a:gd name="T8" fmla="*/ 279 w 410"/>
              <a:gd name="T9" fmla="*/ 205 h 469"/>
              <a:gd name="T10" fmla="*/ 318 w 410"/>
              <a:gd name="T11" fmla="*/ 407 h 469"/>
              <a:gd name="T12" fmla="*/ 321 w 410"/>
              <a:gd name="T13" fmla="*/ 199 h 469"/>
              <a:gd name="T14" fmla="*/ 279 w 410"/>
              <a:gd name="T15" fmla="*/ 191 h 469"/>
              <a:gd name="T16" fmla="*/ 264 w 410"/>
              <a:gd name="T17" fmla="*/ 205 h 469"/>
              <a:gd name="T18" fmla="*/ 273 w 410"/>
              <a:gd name="T19" fmla="*/ 409 h 469"/>
              <a:gd name="T20" fmla="*/ 220 w 410"/>
              <a:gd name="T21" fmla="*/ 396 h 469"/>
              <a:gd name="T22" fmla="*/ 220 w 410"/>
              <a:gd name="T23" fmla="*/ 411 h 469"/>
              <a:gd name="T24" fmla="*/ 234 w 410"/>
              <a:gd name="T25" fmla="*/ 396 h 469"/>
              <a:gd name="T26" fmla="*/ 226 w 410"/>
              <a:gd name="T27" fmla="*/ 192 h 469"/>
              <a:gd name="T28" fmla="*/ 180 w 410"/>
              <a:gd name="T29" fmla="*/ 195 h 469"/>
              <a:gd name="T30" fmla="*/ 178 w 410"/>
              <a:gd name="T31" fmla="*/ 402 h 469"/>
              <a:gd name="T32" fmla="*/ 102 w 410"/>
              <a:gd name="T33" fmla="*/ 205 h 469"/>
              <a:gd name="T34" fmla="*/ 102 w 410"/>
              <a:gd name="T35" fmla="*/ 205 h 469"/>
              <a:gd name="T36" fmla="*/ 142 w 410"/>
              <a:gd name="T37" fmla="*/ 407 h 469"/>
              <a:gd name="T38" fmla="*/ 145 w 410"/>
              <a:gd name="T39" fmla="*/ 199 h 469"/>
              <a:gd name="T40" fmla="*/ 102 w 410"/>
              <a:gd name="T41" fmla="*/ 191 h 469"/>
              <a:gd name="T42" fmla="*/ 89 w 410"/>
              <a:gd name="T43" fmla="*/ 205 h 469"/>
              <a:gd name="T44" fmla="*/ 97 w 410"/>
              <a:gd name="T45" fmla="*/ 409 h 469"/>
              <a:gd name="T46" fmla="*/ 349 w 410"/>
              <a:gd name="T47" fmla="*/ 422 h 469"/>
              <a:gd name="T48" fmla="*/ 333 w 410"/>
              <a:gd name="T49" fmla="*/ 438 h 469"/>
              <a:gd name="T50" fmla="*/ 82 w 410"/>
              <a:gd name="T51" fmla="*/ 439 h 469"/>
              <a:gd name="T52" fmla="*/ 64 w 410"/>
              <a:gd name="T53" fmla="*/ 427 h 469"/>
              <a:gd name="T54" fmla="*/ 59 w 410"/>
              <a:gd name="T55" fmla="*/ 161 h 469"/>
              <a:gd name="T56" fmla="*/ 118 w 410"/>
              <a:gd name="T57" fmla="*/ 38 h 469"/>
              <a:gd name="T58" fmla="*/ 279 w 410"/>
              <a:gd name="T59" fmla="*/ 30 h 469"/>
              <a:gd name="T60" fmla="*/ 292 w 410"/>
              <a:gd name="T61" fmla="*/ 45 h 469"/>
              <a:gd name="T62" fmla="*/ 410 w 410"/>
              <a:gd name="T63" fmla="*/ 100 h 469"/>
              <a:gd name="T64" fmla="*/ 396 w 410"/>
              <a:gd name="T65" fmla="*/ 71 h 469"/>
              <a:gd name="T66" fmla="*/ 367 w 410"/>
              <a:gd name="T67" fmla="*/ 58 h 469"/>
              <a:gd name="T68" fmla="*/ 318 w 410"/>
              <a:gd name="T69" fmla="*/ 27 h 469"/>
              <a:gd name="T70" fmla="*/ 295 w 410"/>
              <a:gd name="T71" fmla="*/ 4 h 469"/>
              <a:gd name="T72" fmla="*/ 123 w 410"/>
              <a:gd name="T73" fmla="*/ 1 h 469"/>
              <a:gd name="T74" fmla="*/ 96 w 410"/>
              <a:gd name="T75" fmla="*/ 20 h 469"/>
              <a:gd name="T76" fmla="*/ 89 w 410"/>
              <a:gd name="T77" fmla="*/ 58 h 469"/>
              <a:gd name="T78" fmla="*/ 21 w 410"/>
              <a:gd name="T79" fmla="*/ 66 h 469"/>
              <a:gd name="T80" fmla="*/ 2 w 410"/>
              <a:gd name="T81" fmla="*/ 92 h 469"/>
              <a:gd name="T82" fmla="*/ 0 w 410"/>
              <a:gd name="T83" fmla="*/ 132 h 469"/>
              <a:gd name="T84" fmla="*/ 8 w 410"/>
              <a:gd name="T85" fmla="*/ 152 h 469"/>
              <a:gd name="T86" fmla="*/ 29 w 410"/>
              <a:gd name="T87" fmla="*/ 161 h 469"/>
              <a:gd name="T88" fmla="*/ 34 w 410"/>
              <a:gd name="T89" fmla="*/ 433 h 469"/>
              <a:gd name="T90" fmla="*/ 65 w 410"/>
              <a:gd name="T91" fmla="*/ 465 h 469"/>
              <a:gd name="T92" fmla="*/ 334 w 410"/>
              <a:gd name="T93" fmla="*/ 468 h 469"/>
              <a:gd name="T94" fmla="*/ 370 w 410"/>
              <a:gd name="T95" fmla="*/ 443 h 469"/>
              <a:gd name="T96" fmla="*/ 381 w 410"/>
              <a:gd name="T97" fmla="*/ 161 h 469"/>
              <a:gd name="T98" fmla="*/ 401 w 410"/>
              <a:gd name="T99" fmla="*/ 152 h 469"/>
              <a:gd name="T100" fmla="*/ 410 w 410"/>
              <a:gd name="T101" fmla="*/ 132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0" h="469">
                <a:moveTo>
                  <a:pt x="381" y="118"/>
                </a:moveTo>
                <a:lnTo>
                  <a:pt x="381" y="132"/>
                </a:lnTo>
                <a:lnTo>
                  <a:pt x="29" y="132"/>
                </a:lnTo>
                <a:lnTo>
                  <a:pt x="29" y="118"/>
                </a:lnTo>
                <a:lnTo>
                  <a:pt x="29" y="103"/>
                </a:lnTo>
                <a:lnTo>
                  <a:pt x="30" y="96"/>
                </a:lnTo>
                <a:lnTo>
                  <a:pt x="34" y="93"/>
                </a:lnTo>
                <a:lnTo>
                  <a:pt x="38" y="89"/>
                </a:lnTo>
                <a:lnTo>
                  <a:pt x="44" y="88"/>
                </a:lnTo>
                <a:lnTo>
                  <a:pt x="367" y="88"/>
                </a:lnTo>
                <a:lnTo>
                  <a:pt x="372" y="89"/>
                </a:lnTo>
                <a:lnTo>
                  <a:pt x="377" y="93"/>
                </a:lnTo>
                <a:lnTo>
                  <a:pt x="380" y="96"/>
                </a:lnTo>
                <a:lnTo>
                  <a:pt x="381" y="103"/>
                </a:lnTo>
                <a:lnTo>
                  <a:pt x="381" y="118"/>
                </a:lnTo>
                <a:close/>
                <a:moveTo>
                  <a:pt x="279" y="205"/>
                </a:moveTo>
                <a:lnTo>
                  <a:pt x="307" y="205"/>
                </a:lnTo>
                <a:lnTo>
                  <a:pt x="307" y="396"/>
                </a:lnTo>
                <a:lnTo>
                  <a:pt x="279" y="396"/>
                </a:lnTo>
                <a:lnTo>
                  <a:pt x="279" y="205"/>
                </a:lnTo>
                <a:close/>
                <a:moveTo>
                  <a:pt x="279" y="411"/>
                </a:moveTo>
                <a:lnTo>
                  <a:pt x="307" y="411"/>
                </a:lnTo>
                <a:lnTo>
                  <a:pt x="313" y="409"/>
                </a:lnTo>
                <a:lnTo>
                  <a:pt x="318" y="407"/>
                </a:lnTo>
                <a:lnTo>
                  <a:pt x="321" y="402"/>
                </a:lnTo>
                <a:lnTo>
                  <a:pt x="322" y="396"/>
                </a:lnTo>
                <a:lnTo>
                  <a:pt x="322" y="205"/>
                </a:lnTo>
                <a:lnTo>
                  <a:pt x="321" y="199"/>
                </a:lnTo>
                <a:lnTo>
                  <a:pt x="318" y="195"/>
                </a:lnTo>
                <a:lnTo>
                  <a:pt x="313" y="192"/>
                </a:lnTo>
                <a:lnTo>
                  <a:pt x="307" y="191"/>
                </a:lnTo>
                <a:lnTo>
                  <a:pt x="279" y="191"/>
                </a:lnTo>
                <a:lnTo>
                  <a:pt x="273" y="192"/>
                </a:lnTo>
                <a:lnTo>
                  <a:pt x="268" y="195"/>
                </a:lnTo>
                <a:lnTo>
                  <a:pt x="265" y="199"/>
                </a:lnTo>
                <a:lnTo>
                  <a:pt x="264" y="205"/>
                </a:lnTo>
                <a:lnTo>
                  <a:pt x="264" y="396"/>
                </a:lnTo>
                <a:lnTo>
                  <a:pt x="265" y="402"/>
                </a:lnTo>
                <a:lnTo>
                  <a:pt x="268" y="407"/>
                </a:lnTo>
                <a:lnTo>
                  <a:pt x="273" y="409"/>
                </a:lnTo>
                <a:lnTo>
                  <a:pt x="279" y="411"/>
                </a:lnTo>
                <a:close/>
                <a:moveTo>
                  <a:pt x="191" y="205"/>
                </a:moveTo>
                <a:lnTo>
                  <a:pt x="220" y="205"/>
                </a:lnTo>
                <a:lnTo>
                  <a:pt x="220" y="396"/>
                </a:lnTo>
                <a:lnTo>
                  <a:pt x="191" y="396"/>
                </a:lnTo>
                <a:lnTo>
                  <a:pt x="191" y="205"/>
                </a:lnTo>
                <a:close/>
                <a:moveTo>
                  <a:pt x="191" y="411"/>
                </a:moveTo>
                <a:lnTo>
                  <a:pt x="220" y="411"/>
                </a:lnTo>
                <a:lnTo>
                  <a:pt x="226" y="409"/>
                </a:lnTo>
                <a:lnTo>
                  <a:pt x="231" y="407"/>
                </a:lnTo>
                <a:lnTo>
                  <a:pt x="233" y="402"/>
                </a:lnTo>
                <a:lnTo>
                  <a:pt x="234" y="396"/>
                </a:lnTo>
                <a:lnTo>
                  <a:pt x="234" y="205"/>
                </a:lnTo>
                <a:lnTo>
                  <a:pt x="233" y="199"/>
                </a:lnTo>
                <a:lnTo>
                  <a:pt x="231" y="195"/>
                </a:lnTo>
                <a:lnTo>
                  <a:pt x="226" y="192"/>
                </a:lnTo>
                <a:lnTo>
                  <a:pt x="220" y="191"/>
                </a:lnTo>
                <a:lnTo>
                  <a:pt x="191" y="191"/>
                </a:lnTo>
                <a:lnTo>
                  <a:pt x="185" y="192"/>
                </a:lnTo>
                <a:lnTo>
                  <a:pt x="180" y="195"/>
                </a:lnTo>
                <a:lnTo>
                  <a:pt x="178" y="199"/>
                </a:lnTo>
                <a:lnTo>
                  <a:pt x="176" y="205"/>
                </a:lnTo>
                <a:lnTo>
                  <a:pt x="176" y="396"/>
                </a:lnTo>
                <a:lnTo>
                  <a:pt x="178" y="402"/>
                </a:lnTo>
                <a:lnTo>
                  <a:pt x="180" y="407"/>
                </a:lnTo>
                <a:lnTo>
                  <a:pt x="185" y="409"/>
                </a:lnTo>
                <a:lnTo>
                  <a:pt x="191" y="411"/>
                </a:lnTo>
                <a:close/>
                <a:moveTo>
                  <a:pt x="102" y="205"/>
                </a:moveTo>
                <a:lnTo>
                  <a:pt x="132" y="205"/>
                </a:lnTo>
                <a:lnTo>
                  <a:pt x="132" y="396"/>
                </a:lnTo>
                <a:lnTo>
                  <a:pt x="102" y="396"/>
                </a:lnTo>
                <a:lnTo>
                  <a:pt x="102" y="205"/>
                </a:lnTo>
                <a:close/>
                <a:moveTo>
                  <a:pt x="102" y="411"/>
                </a:moveTo>
                <a:lnTo>
                  <a:pt x="132" y="411"/>
                </a:lnTo>
                <a:lnTo>
                  <a:pt x="138" y="409"/>
                </a:lnTo>
                <a:lnTo>
                  <a:pt x="142" y="407"/>
                </a:lnTo>
                <a:lnTo>
                  <a:pt x="145" y="402"/>
                </a:lnTo>
                <a:lnTo>
                  <a:pt x="147" y="396"/>
                </a:lnTo>
                <a:lnTo>
                  <a:pt x="147" y="205"/>
                </a:lnTo>
                <a:lnTo>
                  <a:pt x="145" y="199"/>
                </a:lnTo>
                <a:lnTo>
                  <a:pt x="142" y="195"/>
                </a:lnTo>
                <a:lnTo>
                  <a:pt x="138" y="192"/>
                </a:lnTo>
                <a:lnTo>
                  <a:pt x="132" y="191"/>
                </a:lnTo>
                <a:lnTo>
                  <a:pt x="102" y="191"/>
                </a:lnTo>
                <a:lnTo>
                  <a:pt x="97" y="192"/>
                </a:lnTo>
                <a:lnTo>
                  <a:pt x="92" y="195"/>
                </a:lnTo>
                <a:lnTo>
                  <a:pt x="89" y="199"/>
                </a:lnTo>
                <a:lnTo>
                  <a:pt x="89" y="205"/>
                </a:lnTo>
                <a:lnTo>
                  <a:pt x="89" y="396"/>
                </a:lnTo>
                <a:lnTo>
                  <a:pt x="89" y="402"/>
                </a:lnTo>
                <a:lnTo>
                  <a:pt x="92" y="407"/>
                </a:lnTo>
                <a:lnTo>
                  <a:pt x="97" y="409"/>
                </a:lnTo>
                <a:lnTo>
                  <a:pt x="102" y="411"/>
                </a:lnTo>
                <a:close/>
                <a:moveTo>
                  <a:pt x="352" y="411"/>
                </a:moveTo>
                <a:lnTo>
                  <a:pt x="351" y="417"/>
                </a:lnTo>
                <a:lnTo>
                  <a:pt x="349" y="422"/>
                </a:lnTo>
                <a:lnTo>
                  <a:pt x="347" y="427"/>
                </a:lnTo>
                <a:lnTo>
                  <a:pt x="343" y="432"/>
                </a:lnTo>
                <a:lnTo>
                  <a:pt x="338" y="435"/>
                </a:lnTo>
                <a:lnTo>
                  <a:pt x="333" y="438"/>
                </a:lnTo>
                <a:lnTo>
                  <a:pt x="328" y="439"/>
                </a:lnTo>
                <a:lnTo>
                  <a:pt x="322" y="440"/>
                </a:lnTo>
                <a:lnTo>
                  <a:pt x="89" y="440"/>
                </a:lnTo>
                <a:lnTo>
                  <a:pt x="82" y="439"/>
                </a:lnTo>
                <a:lnTo>
                  <a:pt x="76" y="438"/>
                </a:lnTo>
                <a:lnTo>
                  <a:pt x="71" y="435"/>
                </a:lnTo>
                <a:lnTo>
                  <a:pt x="68" y="432"/>
                </a:lnTo>
                <a:lnTo>
                  <a:pt x="64" y="427"/>
                </a:lnTo>
                <a:lnTo>
                  <a:pt x="61" y="422"/>
                </a:lnTo>
                <a:lnTo>
                  <a:pt x="59" y="417"/>
                </a:lnTo>
                <a:lnTo>
                  <a:pt x="59" y="411"/>
                </a:lnTo>
                <a:lnTo>
                  <a:pt x="59" y="161"/>
                </a:lnTo>
                <a:lnTo>
                  <a:pt x="352" y="161"/>
                </a:lnTo>
                <a:lnTo>
                  <a:pt x="352" y="411"/>
                </a:lnTo>
                <a:close/>
                <a:moveTo>
                  <a:pt x="117" y="45"/>
                </a:moveTo>
                <a:lnTo>
                  <a:pt x="118" y="38"/>
                </a:lnTo>
                <a:lnTo>
                  <a:pt x="122" y="33"/>
                </a:lnTo>
                <a:lnTo>
                  <a:pt x="126" y="31"/>
                </a:lnTo>
                <a:lnTo>
                  <a:pt x="132" y="30"/>
                </a:lnTo>
                <a:lnTo>
                  <a:pt x="279" y="30"/>
                </a:lnTo>
                <a:lnTo>
                  <a:pt x="284" y="31"/>
                </a:lnTo>
                <a:lnTo>
                  <a:pt x="289" y="33"/>
                </a:lnTo>
                <a:lnTo>
                  <a:pt x="292" y="38"/>
                </a:lnTo>
                <a:lnTo>
                  <a:pt x="292" y="45"/>
                </a:lnTo>
                <a:lnTo>
                  <a:pt x="292" y="58"/>
                </a:lnTo>
                <a:lnTo>
                  <a:pt x="117" y="58"/>
                </a:lnTo>
                <a:lnTo>
                  <a:pt x="117" y="45"/>
                </a:lnTo>
                <a:close/>
                <a:moveTo>
                  <a:pt x="410" y="100"/>
                </a:moveTo>
                <a:lnTo>
                  <a:pt x="409" y="92"/>
                </a:lnTo>
                <a:lnTo>
                  <a:pt x="406" y="84"/>
                </a:lnTo>
                <a:lnTo>
                  <a:pt x="401" y="77"/>
                </a:lnTo>
                <a:lnTo>
                  <a:pt x="396" y="71"/>
                </a:lnTo>
                <a:lnTo>
                  <a:pt x="390" y="66"/>
                </a:lnTo>
                <a:lnTo>
                  <a:pt x="383" y="62"/>
                </a:lnTo>
                <a:lnTo>
                  <a:pt x="375" y="59"/>
                </a:lnTo>
                <a:lnTo>
                  <a:pt x="367" y="58"/>
                </a:lnTo>
                <a:lnTo>
                  <a:pt x="322" y="58"/>
                </a:lnTo>
                <a:lnTo>
                  <a:pt x="322" y="45"/>
                </a:lnTo>
                <a:lnTo>
                  <a:pt x="321" y="35"/>
                </a:lnTo>
                <a:lnTo>
                  <a:pt x="318" y="27"/>
                </a:lnTo>
                <a:lnTo>
                  <a:pt x="315" y="20"/>
                </a:lnTo>
                <a:lnTo>
                  <a:pt x="310" y="12"/>
                </a:lnTo>
                <a:lnTo>
                  <a:pt x="302" y="7"/>
                </a:lnTo>
                <a:lnTo>
                  <a:pt x="295" y="4"/>
                </a:lnTo>
                <a:lnTo>
                  <a:pt x="288" y="1"/>
                </a:lnTo>
                <a:lnTo>
                  <a:pt x="279" y="0"/>
                </a:lnTo>
                <a:lnTo>
                  <a:pt x="132" y="0"/>
                </a:lnTo>
                <a:lnTo>
                  <a:pt x="123" y="1"/>
                </a:lnTo>
                <a:lnTo>
                  <a:pt x="115" y="4"/>
                </a:lnTo>
                <a:lnTo>
                  <a:pt x="107" y="7"/>
                </a:lnTo>
                <a:lnTo>
                  <a:pt x="101" y="12"/>
                </a:lnTo>
                <a:lnTo>
                  <a:pt x="96" y="20"/>
                </a:lnTo>
                <a:lnTo>
                  <a:pt x="91" y="27"/>
                </a:lnTo>
                <a:lnTo>
                  <a:pt x="89" y="35"/>
                </a:lnTo>
                <a:lnTo>
                  <a:pt x="89" y="45"/>
                </a:lnTo>
                <a:lnTo>
                  <a:pt x="89" y="58"/>
                </a:lnTo>
                <a:lnTo>
                  <a:pt x="44" y="58"/>
                </a:lnTo>
                <a:lnTo>
                  <a:pt x="35" y="59"/>
                </a:lnTo>
                <a:lnTo>
                  <a:pt x="28" y="62"/>
                </a:lnTo>
                <a:lnTo>
                  <a:pt x="21" y="66"/>
                </a:lnTo>
                <a:lnTo>
                  <a:pt x="14" y="71"/>
                </a:lnTo>
                <a:lnTo>
                  <a:pt x="8" y="77"/>
                </a:lnTo>
                <a:lnTo>
                  <a:pt x="5" y="84"/>
                </a:lnTo>
                <a:lnTo>
                  <a:pt x="2" y="92"/>
                </a:lnTo>
                <a:lnTo>
                  <a:pt x="1" y="100"/>
                </a:lnTo>
                <a:lnTo>
                  <a:pt x="0" y="100"/>
                </a:lnTo>
                <a:lnTo>
                  <a:pt x="0" y="118"/>
                </a:lnTo>
                <a:lnTo>
                  <a:pt x="0" y="132"/>
                </a:lnTo>
                <a:lnTo>
                  <a:pt x="1" y="137"/>
                </a:lnTo>
                <a:lnTo>
                  <a:pt x="2" y="144"/>
                </a:lnTo>
                <a:lnTo>
                  <a:pt x="5" y="148"/>
                </a:lnTo>
                <a:lnTo>
                  <a:pt x="8" y="152"/>
                </a:lnTo>
                <a:lnTo>
                  <a:pt x="13" y="156"/>
                </a:lnTo>
                <a:lnTo>
                  <a:pt x="18" y="160"/>
                </a:lnTo>
                <a:lnTo>
                  <a:pt x="23" y="161"/>
                </a:lnTo>
                <a:lnTo>
                  <a:pt x="29" y="161"/>
                </a:lnTo>
                <a:lnTo>
                  <a:pt x="29" y="161"/>
                </a:lnTo>
                <a:lnTo>
                  <a:pt x="29" y="411"/>
                </a:lnTo>
                <a:lnTo>
                  <a:pt x="30" y="423"/>
                </a:lnTo>
                <a:lnTo>
                  <a:pt x="34" y="433"/>
                </a:lnTo>
                <a:lnTo>
                  <a:pt x="39" y="443"/>
                </a:lnTo>
                <a:lnTo>
                  <a:pt x="47" y="452"/>
                </a:lnTo>
                <a:lnTo>
                  <a:pt x="55" y="459"/>
                </a:lnTo>
                <a:lnTo>
                  <a:pt x="65" y="465"/>
                </a:lnTo>
                <a:lnTo>
                  <a:pt x="76" y="468"/>
                </a:lnTo>
                <a:lnTo>
                  <a:pt x="89" y="469"/>
                </a:lnTo>
                <a:lnTo>
                  <a:pt x="322" y="469"/>
                </a:lnTo>
                <a:lnTo>
                  <a:pt x="334" y="468"/>
                </a:lnTo>
                <a:lnTo>
                  <a:pt x="346" y="465"/>
                </a:lnTo>
                <a:lnTo>
                  <a:pt x="355" y="459"/>
                </a:lnTo>
                <a:lnTo>
                  <a:pt x="364" y="452"/>
                </a:lnTo>
                <a:lnTo>
                  <a:pt x="370" y="443"/>
                </a:lnTo>
                <a:lnTo>
                  <a:pt x="377" y="433"/>
                </a:lnTo>
                <a:lnTo>
                  <a:pt x="380" y="423"/>
                </a:lnTo>
                <a:lnTo>
                  <a:pt x="381" y="411"/>
                </a:lnTo>
                <a:lnTo>
                  <a:pt x="381" y="161"/>
                </a:lnTo>
                <a:lnTo>
                  <a:pt x="386" y="161"/>
                </a:lnTo>
                <a:lnTo>
                  <a:pt x="393" y="160"/>
                </a:lnTo>
                <a:lnTo>
                  <a:pt x="398" y="156"/>
                </a:lnTo>
                <a:lnTo>
                  <a:pt x="401" y="152"/>
                </a:lnTo>
                <a:lnTo>
                  <a:pt x="405" y="148"/>
                </a:lnTo>
                <a:lnTo>
                  <a:pt x="407" y="144"/>
                </a:lnTo>
                <a:lnTo>
                  <a:pt x="410" y="137"/>
                </a:lnTo>
                <a:lnTo>
                  <a:pt x="410" y="132"/>
                </a:lnTo>
                <a:lnTo>
                  <a:pt x="410" y="118"/>
                </a:lnTo>
                <a:lnTo>
                  <a:pt x="410" y="100"/>
                </a:lnTo>
                <a:lnTo>
                  <a:pt x="410" y="10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55" name="Freeform 48">
            <a:extLst>
              <a:ext uri="{FF2B5EF4-FFF2-40B4-BE49-F238E27FC236}">
                <a16:creationId xmlns:a16="http://schemas.microsoft.com/office/drawing/2014/main" id="{408D5EFD-B5BB-0690-9E5E-E7E76E33BB8E}"/>
              </a:ext>
            </a:extLst>
          </p:cNvPr>
          <p:cNvSpPr>
            <a:spLocks noEditPoints="1"/>
          </p:cNvSpPr>
          <p:nvPr/>
        </p:nvSpPr>
        <p:spPr bwMode="auto">
          <a:xfrm>
            <a:off x="5327650" y="7238958"/>
            <a:ext cx="373063" cy="257175"/>
          </a:xfrm>
          <a:custGeom>
            <a:avLst/>
            <a:gdLst>
              <a:gd name="T0" fmla="*/ 426 w 468"/>
              <a:gd name="T1" fmla="*/ 280 h 323"/>
              <a:gd name="T2" fmla="*/ 366 w 468"/>
              <a:gd name="T3" fmla="*/ 220 h 323"/>
              <a:gd name="T4" fmla="*/ 351 w 468"/>
              <a:gd name="T5" fmla="*/ 205 h 323"/>
              <a:gd name="T6" fmla="*/ 424 w 468"/>
              <a:gd name="T7" fmla="*/ 45 h 323"/>
              <a:gd name="T8" fmla="*/ 438 w 468"/>
              <a:gd name="T9" fmla="*/ 45 h 323"/>
              <a:gd name="T10" fmla="*/ 43 w 468"/>
              <a:gd name="T11" fmla="*/ 293 h 323"/>
              <a:gd name="T12" fmla="*/ 33 w 468"/>
              <a:gd name="T13" fmla="*/ 289 h 323"/>
              <a:gd name="T14" fmla="*/ 28 w 468"/>
              <a:gd name="T15" fmla="*/ 280 h 323"/>
              <a:gd name="T16" fmla="*/ 29 w 468"/>
              <a:gd name="T17" fmla="*/ 38 h 323"/>
              <a:gd name="T18" fmla="*/ 38 w 468"/>
              <a:gd name="T19" fmla="*/ 31 h 323"/>
              <a:gd name="T20" fmla="*/ 321 w 468"/>
              <a:gd name="T21" fmla="*/ 30 h 323"/>
              <a:gd name="T22" fmla="*/ 332 w 468"/>
              <a:gd name="T23" fmla="*/ 33 h 323"/>
              <a:gd name="T24" fmla="*/ 336 w 468"/>
              <a:gd name="T25" fmla="*/ 45 h 323"/>
              <a:gd name="T26" fmla="*/ 335 w 468"/>
              <a:gd name="T27" fmla="*/ 285 h 323"/>
              <a:gd name="T28" fmla="*/ 327 w 468"/>
              <a:gd name="T29" fmla="*/ 292 h 323"/>
              <a:gd name="T30" fmla="*/ 43 w 468"/>
              <a:gd name="T31" fmla="*/ 293 h 323"/>
              <a:gd name="T32" fmla="*/ 426 w 468"/>
              <a:gd name="T33" fmla="*/ 15 h 323"/>
              <a:gd name="T34" fmla="*/ 415 w 468"/>
              <a:gd name="T35" fmla="*/ 17 h 323"/>
              <a:gd name="T36" fmla="*/ 405 w 468"/>
              <a:gd name="T37" fmla="*/ 23 h 323"/>
              <a:gd name="T38" fmla="*/ 366 w 468"/>
              <a:gd name="T39" fmla="*/ 45 h 323"/>
              <a:gd name="T40" fmla="*/ 362 w 468"/>
              <a:gd name="T41" fmla="*/ 27 h 323"/>
              <a:gd name="T42" fmla="*/ 353 w 468"/>
              <a:gd name="T43" fmla="*/ 14 h 323"/>
              <a:gd name="T44" fmla="*/ 338 w 468"/>
              <a:gd name="T45" fmla="*/ 4 h 323"/>
              <a:gd name="T46" fmla="*/ 321 w 468"/>
              <a:gd name="T47" fmla="*/ 0 h 323"/>
              <a:gd name="T48" fmla="*/ 34 w 468"/>
              <a:gd name="T49" fmla="*/ 1 h 323"/>
              <a:gd name="T50" fmla="*/ 18 w 468"/>
              <a:gd name="T51" fmla="*/ 7 h 323"/>
              <a:gd name="T52" fmla="*/ 7 w 468"/>
              <a:gd name="T53" fmla="*/ 20 h 323"/>
              <a:gd name="T54" fmla="*/ 0 w 468"/>
              <a:gd name="T55" fmla="*/ 36 h 323"/>
              <a:gd name="T56" fmla="*/ 0 w 468"/>
              <a:gd name="T57" fmla="*/ 146 h 323"/>
              <a:gd name="T58" fmla="*/ 0 w 468"/>
              <a:gd name="T59" fmla="*/ 288 h 323"/>
              <a:gd name="T60" fmla="*/ 7 w 468"/>
              <a:gd name="T61" fmla="*/ 303 h 323"/>
              <a:gd name="T62" fmla="*/ 18 w 468"/>
              <a:gd name="T63" fmla="*/ 315 h 323"/>
              <a:gd name="T64" fmla="*/ 34 w 468"/>
              <a:gd name="T65" fmla="*/ 322 h 323"/>
              <a:gd name="T66" fmla="*/ 321 w 468"/>
              <a:gd name="T67" fmla="*/ 323 h 323"/>
              <a:gd name="T68" fmla="*/ 338 w 468"/>
              <a:gd name="T69" fmla="*/ 319 h 323"/>
              <a:gd name="T70" fmla="*/ 353 w 468"/>
              <a:gd name="T71" fmla="*/ 311 h 323"/>
              <a:gd name="T72" fmla="*/ 362 w 468"/>
              <a:gd name="T73" fmla="*/ 296 h 323"/>
              <a:gd name="T74" fmla="*/ 366 w 468"/>
              <a:gd name="T75" fmla="*/ 280 h 323"/>
              <a:gd name="T76" fmla="*/ 405 w 468"/>
              <a:gd name="T77" fmla="*/ 301 h 323"/>
              <a:gd name="T78" fmla="*/ 415 w 468"/>
              <a:gd name="T79" fmla="*/ 307 h 323"/>
              <a:gd name="T80" fmla="*/ 426 w 468"/>
              <a:gd name="T81" fmla="*/ 309 h 323"/>
              <a:gd name="T82" fmla="*/ 445 w 468"/>
              <a:gd name="T83" fmla="*/ 308 h 323"/>
              <a:gd name="T84" fmla="*/ 456 w 468"/>
              <a:gd name="T85" fmla="*/ 304 h 323"/>
              <a:gd name="T86" fmla="*/ 463 w 468"/>
              <a:gd name="T87" fmla="*/ 296 h 323"/>
              <a:gd name="T88" fmla="*/ 467 w 468"/>
              <a:gd name="T89" fmla="*/ 286 h 323"/>
              <a:gd name="T90" fmla="*/ 468 w 468"/>
              <a:gd name="T91" fmla="*/ 45 h 323"/>
              <a:gd name="T92" fmla="*/ 466 w 468"/>
              <a:gd name="T93" fmla="*/ 33 h 323"/>
              <a:gd name="T94" fmla="*/ 459 w 468"/>
              <a:gd name="T95" fmla="*/ 23 h 323"/>
              <a:gd name="T96" fmla="*/ 450 w 468"/>
              <a:gd name="T97" fmla="*/ 17 h 323"/>
              <a:gd name="T98" fmla="*/ 438 w 468"/>
              <a:gd name="T99" fmla="*/ 1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8" h="323">
                <a:moveTo>
                  <a:pt x="438" y="280"/>
                </a:moveTo>
                <a:lnTo>
                  <a:pt x="426" y="280"/>
                </a:lnTo>
                <a:lnTo>
                  <a:pt x="424" y="280"/>
                </a:lnTo>
                <a:lnTo>
                  <a:pt x="366" y="220"/>
                </a:lnTo>
                <a:lnTo>
                  <a:pt x="366" y="220"/>
                </a:lnTo>
                <a:lnTo>
                  <a:pt x="351" y="205"/>
                </a:lnTo>
                <a:lnTo>
                  <a:pt x="351" y="118"/>
                </a:lnTo>
                <a:lnTo>
                  <a:pt x="424" y="45"/>
                </a:lnTo>
                <a:lnTo>
                  <a:pt x="426" y="45"/>
                </a:lnTo>
                <a:lnTo>
                  <a:pt x="438" y="45"/>
                </a:lnTo>
                <a:lnTo>
                  <a:pt x="438" y="280"/>
                </a:lnTo>
                <a:close/>
                <a:moveTo>
                  <a:pt x="43" y="293"/>
                </a:moveTo>
                <a:lnTo>
                  <a:pt x="38" y="292"/>
                </a:lnTo>
                <a:lnTo>
                  <a:pt x="33" y="289"/>
                </a:lnTo>
                <a:lnTo>
                  <a:pt x="29" y="285"/>
                </a:lnTo>
                <a:lnTo>
                  <a:pt x="28" y="280"/>
                </a:lnTo>
                <a:lnTo>
                  <a:pt x="28" y="45"/>
                </a:lnTo>
                <a:lnTo>
                  <a:pt x="29" y="38"/>
                </a:lnTo>
                <a:lnTo>
                  <a:pt x="33" y="33"/>
                </a:lnTo>
                <a:lnTo>
                  <a:pt x="38" y="31"/>
                </a:lnTo>
                <a:lnTo>
                  <a:pt x="43" y="30"/>
                </a:lnTo>
                <a:lnTo>
                  <a:pt x="321" y="30"/>
                </a:lnTo>
                <a:lnTo>
                  <a:pt x="327" y="31"/>
                </a:lnTo>
                <a:lnTo>
                  <a:pt x="332" y="33"/>
                </a:lnTo>
                <a:lnTo>
                  <a:pt x="335" y="38"/>
                </a:lnTo>
                <a:lnTo>
                  <a:pt x="336" y="45"/>
                </a:lnTo>
                <a:lnTo>
                  <a:pt x="336" y="280"/>
                </a:lnTo>
                <a:lnTo>
                  <a:pt x="335" y="285"/>
                </a:lnTo>
                <a:lnTo>
                  <a:pt x="332" y="289"/>
                </a:lnTo>
                <a:lnTo>
                  <a:pt x="327" y="292"/>
                </a:lnTo>
                <a:lnTo>
                  <a:pt x="321" y="293"/>
                </a:lnTo>
                <a:lnTo>
                  <a:pt x="43" y="293"/>
                </a:lnTo>
                <a:close/>
                <a:moveTo>
                  <a:pt x="438" y="15"/>
                </a:moveTo>
                <a:lnTo>
                  <a:pt x="426" y="15"/>
                </a:lnTo>
                <a:lnTo>
                  <a:pt x="420" y="16"/>
                </a:lnTo>
                <a:lnTo>
                  <a:pt x="415" y="17"/>
                </a:lnTo>
                <a:lnTo>
                  <a:pt x="410" y="20"/>
                </a:lnTo>
                <a:lnTo>
                  <a:pt x="405" y="23"/>
                </a:lnTo>
                <a:lnTo>
                  <a:pt x="366" y="63"/>
                </a:lnTo>
                <a:lnTo>
                  <a:pt x="366" y="45"/>
                </a:lnTo>
                <a:lnTo>
                  <a:pt x="364" y="36"/>
                </a:lnTo>
                <a:lnTo>
                  <a:pt x="362" y="27"/>
                </a:lnTo>
                <a:lnTo>
                  <a:pt x="358" y="20"/>
                </a:lnTo>
                <a:lnTo>
                  <a:pt x="353" y="14"/>
                </a:lnTo>
                <a:lnTo>
                  <a:pt x="346" y="7"/>
                </a:lnTo>
                <a:lnTo>
                  <a:pt x="338" y="4"/>
                </a:lnTo>
                <a:lnTo>
                  <a:pt x="331" y="1"/>
                </a:lnTo>
                <a:lnTo>
                  <a:pt x="321" y="0"/>
                </a:lnTo>
                <a:lnTo>
                  <a:pt x="43" y="0"/>
                </a:lnTo>
                <a:lnTo>
                  <a:pt x="34" y="1"/>
                </a:lnTo>
                <a:lnTo>
                  <a:pt x="26" y="4"/>
                </a:lnTo>
                <a:lnTo>
                  <a:pt x="18" y="7"/>
                </a:lnTo>
                <a:lnTo>
                  <a:pt x="12" y="14"/>
                </a:lnTo>
                <a:lnTo>
                  <a:pt x="7" y="20"/>
                </a:lnTo>
                <a:lnTo>
                  <a:pt x="3" y="27"/>
                </a:lnTo>
                <a:lnTo>
                  <a:pt x="0" y="36"/>
                </a:lnTo>
                <a:lnTo>
                  <a:pt x="0" y="45"/>
                </a:lnTo>
                <a:lnTo>
                  <a:pt x="0" y="146"/>
                </a:lnTo>
                <a:lnTo>
                  <a:pt x="0" y="280"/>
                </a:lnTo>
                <a:lnTo>
                  <a:pt x="0" y="288"/>
                </a:lnTo>
                <a:lnTo>
                  <a:pt x="2" y="296"/>
                </a:lnTo>
                <a:lnTo>
                  <a:pt x="7" y="303"/>
                </a:lnTo>
                <a:lnTo>
                  <a:pt x="12" y="311"/>
                </a:lnTo>
                <a:lnTo>
                  <a:pt x="18" y="315"/>
                </a:lnTo>
                <a:lnTo>
                  <a:pt x="26" y="319"/>
                </a:lnTo>
                <a:lnTo>
                  <a:pt x="34" y="322"/>
                </a:lnTo>
                <a:lnTo>
                  <a:pt x="43" y="323"/>
                </a:lnTo>
                <a:lnTo>
                  <a:pt x="321" y="323"/>
                </a:lnTo>
                <a:lnTo>
                  <a:pt x="331" y="322"/>
                </a:lnTo>
                <a:lnTo>
                  <a:pt x="338" y="319"/>
                </a:lnTo>
                <a:lnTo>
                  <a:pt x="346" y="315"/>
                </a:lnTo>
                <a:lnTo>
                  <a:pt x="353" y="311"/>
                </a:lnTo>
                <a:lnTo>
                  <a:pt x="358" y="303"/>
                </a:lnTo>
                <a:lnTo>
                  <a:pt x="362" y="296"/>
                </a:lnTo>
                <a:lnTo>
                  <a:pt x="364" y="288"/>
                </a:lnTo>
                <a:lnTo>
                  <a:pt x="366" y="280"/>
                </a:lnTo>
                <a:lnTo>
                  <a:pt x="366" y="261"/>
                </a:lnTo>
                <a:lnTo>
                  <a:pt x="405" y="301"/>
                </a:lnTo>
                <a:lnTo>
                  <a:pt x="410" y="304"/>
                </a:lnTo>
                <a:lnTo>
                  <a:pt x="415" y="307"/>
                </a:lnTo>
                <a:lnTo>
                  <a:pt x="420" y="308"/>
                </a:lnTo>
                <a:lnTo>
                  <a:pt x="426" y="309"/>
                </a:lnTo>
                <a:lnTo>
                  <a:pt x="438" y="309"/>
                </a:lnTo>
                <a:lnTo>
                  <a:pt x="445" y="308"/>
                </a:lnTo>
                <a:lnTo>
                  <a:pt x="450" y="307"/>
                </a:lnTo>
                <a:lnTo>
                  <a:pt x="456" y="304"/>
                </a:lnTo>
                <a:lnTo>
                  <a:pt x="459" y="301"/>
                </a:lnTo>
                <a:lnTo>
                  <a:pt x="463" y="296"/>
                </a:lnTo>
                <a:lnTo>
                  <a:pt x="466" y="291"/>
                </a:lnTo>
                <a:lnTo>
                  <a:pt x="467" y="286"/>
                </a:lnTo>
                <a:lnTo>
                  <a:pt x="468" y="280"/>
                </a:lnTo>
                <a:lnTo>
                  <a:pt x="468" y="45"/>
                </a:lnTo>
                <a:lnTo>
                  <a:pt x="467" y="38"/>
                </a:lnTo>
                <a:lnTo>
                  <a:pt x="466" y="33"/>
                </a:lnTo>
                <a:lnTo>
                  <a:pt x="463" y="28"/>
                </a:lnTo>
                <a:lnTo>
                  <a:pt x="459" y="23"/>
                </a:lnTo>
                <a:lnTo>
                  <a:pt x="456" y="20"/>
                </a:lnTo>
                <a:lnTo>
                  <a:pt x="450" y="17"/>
                </a:lnTo>
                <a:lnTo>
                  <a:pt x="445" y="16"/>
                </a:lnTo>
                <a:lnTo>
                  <a:pt x="438" y="1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56" name="Freeform 49">
            <a:extLst>
              <a:ext uri="{FF2B5EF4-FFF2-40B4-BE49-F238E27FC236}">
                <a16:creationId xmlns:a16="http://schemas.microsoft.com/office/drawing/2014/main" id="{9CBA0B72-5C42-565B-42F0-CC3C0A600BD8}"/>
              </a:ext>
            </a:extLst>
          </p:cNvPr>
          <p:cNvSpPr>
            <a:spLocks noEditPoints="1"/>
          </p:cNvSpPr>
          <p:nvPr/>
        </p:nvSpPr>
        <p:spPr bwMode="auto">
          <a:xfrm>
            <a:off x="4521200" y="7181808"/>
            <a:ext cx="373063" cy="371475"/>
          </a:xfrm>
          <a:custGeom>
            <a:avLst/>
            <a:gdLst>
              <a:gd name="T0" fmla="*/ 397 w 468"/>
              <a:gd name="T1" fmla="*/ 210 h 469"/>
              <a:gd name="T2" fmla="*/ 408 w 468"/>
              <a:gd name="T3" fmla="*/ 210 h 469"/>
              <a:gd name="T4" fmla="*/ 409 w 468"/>
              <a:gd name="T5" fmla="*/ 205 h 469"/>
              <a:gd name="T6" fmla="*/ 398 w 468"/>
              <a:gd name="T7" fmla="*/ 148 h 469"/>
              <a:gd name="T8" fmla="*/ 367 w 468"/>
              <a:gd name="T9" fmla="*/ 101 h 469"/>
              <a:gd name="T10" fmla="*/ 320 w 468"/>
              <a:gd name="T11" fmla="*/ 71 h 469"/>
              <a:gd name="T12" fmla="*/ 263 w 468"/>
              <a:gd name="T13" fmla="*/ 58 h 469"/>
              <a:gd name="T14" fmla="*/ 258 w 468"/>
              <a:gd name="T15" fmla="*/ 61 h 469"/>
              <a:gd name="T16" fmla="*/ 258 w 468"/>
              <a:gd name="T17" fmla="*/ 72 h 469"/>
              <a:gd name="T18" fmla="*/ 277 w 468"/>
              <a:gd name="T19" fmla="*/ 74 h 469"/>
              <a:gd name="T20" fmla="*/ 326 w 468"/>
              <a:gd name="T21" fmla="*/ 89 h 469"/>
              <a:gd name="T22" fmla="*/ 364 w 468"/>
              <a:gd name="T23" fmla="*/ 121 h 469"/>
              <a:gd name="T24" fmla="*/ 389 w 468"/>
              <a:gd name="T25" fmla="*/ 166 h 469"/>
              <a:gd name="T26" fmla="*/ 263 w 468"/>
              <a:gd name="T27" fmla="*/ 30 h 469"/>
              <a:gd name="T28" fmla="*/ 315 w 468"/>
              <a:gd name="T29" fmla="*/ 37 h 469"/>
              <a:gd name="T30" fmla="*/ 374 w 468"/>
              <a:gd name="T31" fmla="*/ 69 h 469"/>
              <a:gd name="T32" fmla="*/ 418 w 468"/>
              <a:gd name="T33" fmla="*/ 121 h 469"/>
              <a:gd name="T34" fmla="*/ 437 w 468"/>
              <a:gd name="T35" fmla="*/ 188 h 469"/>
              <a:gd name="T36" fmla="*/ 443 w 468"/>
              <a:gd name="T37" fmla="*/ 215 h 469"/>
              <a:gd name="T38" fmla="*/ 463 w 468"/>
              <a:gd name="T39" fmla="*/ 215 h 469"/>
              <a:gd name="T40" fmla="*/ 468 w 468"/>
              <a:gd name="T41" fmla="*/ 205 h 469"/>
              <a:gd name="T42" fmla="*/ 452 w 468"/>
              <a:gd name="T43" fmla="*/ 125 h 469"/>
              <a:gd name="T44" fmla="*/ 408 w 468"/>
              <a:gd name="T45" fmla="*/ 61 h 469"/>
              <a:gd name="T46" fmla="*/ 343 w 468"/>
              <a:gd name="T47" fmla="*/ 16 h 469"/>
              <a:gd name="T48" fmla="*/ 263 w 468"/>
              <a:gd name="T49" fmla="*/ 0 h 469"/>
              <a:gd name="T50" fmla="*/ 253 w 468"/>
              <a:gd name="T51" fmla="*/ 4 h 469"/>
              <a:gd name="T52" fmla="*/ 253 w 468"/>
              <a:gd name="T53" fmla="*/ 25 h 469"/>
              <a:gd name="T54" fmla="*/ 435 w 468"/>
              <a:gd name="T55" fmla="*/ 376 h 469"/>
              <a:gd name="T56" fmla="*/ 420 w 468"/>
              <a:gd name="T57" fmla="*/ 381 h 469"/>
              <a:gd name="T58" fmla="*/ 90 w 468"/>
              <a:gd name="T59" fmla="*/ 36 h 469"/>
              <a:gd name="T60" fmla="*/ 102 w 468"/>
              <a:gd name="T61" fmla="*/ 30 h 469"/>
              <a:gd name="T62" fmla="*/ 437 w 468"/>
              <a:gd name="T63" fmla="*/ 360 h 469"/>
              <a:gd name="T64" fmla="*/ 222 w 468"/>
              <a:gd name="T65" fmla="*/ 381 h 469"/>
              <a:gd name="T66" fmla="*/ 86 w 468"/>
              <a:gd name="T67" fmla="*/ 249 h 469"/>
              <a:gd name="T68" fmla="*/ 222 w 468"/>
              <a:gd name="T69" fmla="*/ 381 h 469"/>
              <a:gd name="T70" fmla="*/ 146 w 468"/>
              <a:gd name="T71" fmla="*/ 440 h 469"/>
              <a:gd name="T72" fmla="*/ 29 w 468"/>
              <a:gd name="T73" fmla="*/ 328 h 469"/>
              <a:gd name="T74" fmla="*/ 79 w 468"/>
              <a:gd name="T75" fmla="*/ 266 h 469"/>
              <a:gd name="T76" fmla="*/ 202 w 468"/>
              <a:gd name="T77" fmla="*/ 390 h 469"/>
              <a:gd name="T78" fmla="*/ 118 w 468"/>
              <a:gd name="T79" fmla="*/ 4 h 469"/>
              <a:gd name="T80" fmla="*/ 85 w 468"/>
              <a:gd name="T81" fmla="*/ 4 h 469"/>
              <a:gd name="T82" fmla="*/ 65 w 468"/>
              <a:gd name="T83" fmla="*/ 20 h 469"/>
              <a:gd name="T84" fmla="*/ 58 w 468"/>
              <a:gd name="T85" fmla="*/ 45 h 469"/>
              <a:gd name="T86" fmla="*/ 2 w 468"/>
              <a:gd name="T87" fmla="*/ 306 h 469"/>
              <a:gd name="T88" fmla="*/ 2 w 468"/>
              <a:gd name="T89" fmla="*/ 339 h 469"/>
              <a:gd name="T90" fmla="*/ 122 w 468"/>
              <a:gd name="T91" fmla="*/ 463 h 469"/>
              <a:gd name="T92" fmla="*/ 154 w 468"/>
              <a:gd name="T93" fmla="*/ 469 h 469"/>
              <a:gd name="T94" fmla="*/ 222 w 468"/>
              <a:gd name="T95" fmla="*/ 411 h 469"/>
              <a:gd name="T96" fmla="*/ 443 w 468"/>
              <a:gd name="T97" fmla="*/ 407 h 469"/>
              <a:gd name="T98" fmla="*/ 462 w 468"/>
              <a:gd name="T99" fmla="*/ 390 h 469"/>
              <a:gd name="T100" fmla="*/ 468 w 468"/>
              <a:gd name="T101" fmla="*/ 365 h 469"/>
              <a:gd name="T102" fmla="*/ 460 w 468"/>
              <a:gd name="T103" fmla="*/ 34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8" h="469">
                <a:moveTo>
                  <a:pt x="395" y="205"/>
                </a:moveTo>
                <a:lnTo>
                  <a:pt x="395" y="205"/>
                </a:lnTo>
                <a:lnTo>
                  <a:pt x="395" y="208"/>
                </a:lnTo>
                <a:lnTo>
                  <a:pt x="397" y="210"/>
                </a:lnTo>
                <a:lnTo>
                  <a:pt x="399" y="212"/>
                </a:lnTo>
                <a:lnTo>
                  <a:pt x="403" y="213"/>
                </a:lnTo>
                <a:lnTo>
                  <a:pt x="405" y="212"/>
                </a:lnTo>
                <a:lnTo>
                  <a:pt x="408" y="210"/>
                </a:lnTo>
                <a:lnTo>
                  <a:pt x="409" y="208"/>
                </a:lnTo>
                <a:lnTo>
                  <a:pt x="409" y="205"/>
                </a:lnTo>
                <a:lnTo>
                  <a:pt x="409" y="205"/>
                </a:lnTo>
                <a:lnTo>
                  <a:pt x="409" y="205"/>
                </a:lnTo>
                <a:lnTo>
                  <a:pt x="409" y="191"/>
                </a:lnTo>
                <a:lnTo>
                  <a:pt x="406" y="176"/>
                </a:lnTo>
                <a:lnTo>
                  <a:pt x="403" y="162"/>
                </a:lnTo>
                <a:lnTo>
                  <a:pt x="398" y="148"/>
                </a:lnTo>
                <a:lnTo>
                  <a:pt x="392" y="136"/>
                </a:lnTo>
                <a:lnTo>
                  <a:pt x="384" y="124"/>
                </a:lnTo>
                <a:lnTo>
                  <a:pt x="375" y="113"/>
                </a:lnTo>
                <a:lnTo>
                  <a:pt x="367" y="101"/>
                </a:lnTo>
                <a:lnTo>
                  <a:pt x="356" y="93"/>
                </a:lnTo>
                <a:lnTo>
                  <a:pt x="345" y="84"/>
                </a:lnTo>
                <a:lnTo>
                  <a:pt x="333" y="77"/>
                </a:lnTo>
                <a:lnTo>
                  <a:pt x="320" y="71"/>
                </a:lnTo>
                <a:lnTo>
                  <a:pt x="306" y="66"/>
                </a:lnTo>
                <a:lnTo>
                  <a:pt x="293" y="62"/>
                </a:lnTo>
                <a:lnTo>
                  <a:pt x="278" y="59"/>
                </a:lnTo>
                <a:lnTo>
                  <a:pt x="263" y="58"/>
                </a:lnTo>
                <a:lnTo>
                  <a:pt x="263" y="58"/>
                </a:lnTo>
                <a:lnTo>
                  <a:pt x="263" y="58"/>
                </a:lnTo>
                <a:lnTo>
                  <a:pt x="261" y="59"/>
                </a:lnTo>
                <a:lnTo>
                  <a:pt x="258" y="61"/>
                </a:lnTo>
                <a:lnTo>
                  <a:pt x="256" y="63"/>
                </a:lnTo>
                <a:lnTo>
                  <a:pt x="256" y="66"/>
                </a:lnTo>
                <a:lnTo>
                  <a:pt x="256" y="69"/>
                </a:lnTo>
                <a:lnTo>
                  <a:pt x="258" y="72"/>
                </a:lnTo>
                <a:lnTo>
                  <a:pt x="261" y="73"/>
                </a:lnTo>
                <a:lnTo>
                  <a:pt x="263" y="73"/>
                </a:lnTo>
                <a:lnTo>
                  <a:pt x="263" y="73"/>
                </a:lnTo>
                <a:lnTo>
                  <a:pt x="277" y="74"/>
                </a:lnTo>
                <a:lnTo>
                  <a:pt x="289" y="77"/>
                </a:lnTo>
                <a:lnTo>
                  <a:pt x="303" y="79"/>
                </a:lnTo>
                <a:lnTo>
                  <a:pt x="314" y="84"/>
                </a:lnTo>
                <a:lnTo>
                  <a:pt x="326" y="89"/>
                </a:lnTo>
                <a:lnTo>
                  <a:pt x="336" y="96"/>
                </a:lnTo>
                <a:lnTo>
                  <a:pt x="347" y="104"/>
                </a:lnTo>
                <a:lnTo>
                  <a:pt x="356" y="113"/>
                </a:lnTo>
                <a:lnTo>
                  <a:pt x="364" y="121"/>
                </a:lnTo>
                <a:lnTo>
                  <a:pt x="372" y="131"/>
                </a:lnTo>
                <a:lnTo>
                  <a:pt x="379" y="142"/>
                </a:lnTo>
                <a:lnTo>
                  <a:pt x="384" y="155"/>
                </a:lnTo>
                <a:lnTo>
                  <a:pt x="389" y="166"/>
                </a:lnTo>
                <a:lnTo>
                  <a:pt x="392" y="179"/>
                </a:lnTo>
                <a:lnTo>
                  <a:pt x="394" y="192"/>
                </a:lnTo>
                <a:lnTo>
                  <a:pt x="395" y="205"/>
                </a:lnTo>
                <a:close/>
                <a:moveTo>
                  <a:pt x="263" y="30"/>
                </a:moveTo>
                <a:lnTo>
                  <a:pt x="263" y="30"/>
                </a:lnTo>
                <a:lnTo>
                  <a:pt x="280" y="31"/>
                </a:lnTo>
                <a:lnTo>
                  <a:pt x="299" y="33"/>
                </a:lnTo>
                <a:lnTo>
                  <a:pt x="315" y="37"/>
                </a:lnTo>
                <a:lnTo>
                  <a:pt x="331" y="43"/>
                </a:lnTo>
                <a:lnTo>
                  <a:pt x="347" y="51"/>
                </a:lnTo>
                <a:lnTo>
                  <a:pt x="361" y="59"/>
                </a:lnTo>
                <a:lnTo>
                  <a:pt x="374" y="69"/>
                </a:lnTo>
                <a:lnTo>
                  <a:pt x="387" y="80"/>
                </a:lnTo>
                <a:lnTo>
                  <a:pt x="399" y="94"/>
                </a:lnTo>
                <a:lnTo>
                  <a:pt x="409" y="108"/>
                </a:lnTo>
                <a:lnTo>
                  <a:pt x="418" y="121"/>
                </a:lnTo>
                <a:lnTo>
                  <a:pt x="425" y="137"/>
                </a:lnTo>
                <a:lnTo>
                  <a:pt x="431" y="153"/>
                </a:lnTo>
                <a:lnTo>
                  <a:pt x="435" y="169"/>
                </a:lnTo>
                <a:lnTo>
                  <a:pt x="437" y="188"/>
                </a:lnTo>
                <a:lnTo>
                  <a:pt x="439" y="205"/>
                </a:lnTo>
                <a:lnTo>
                  <a:pt x="439" y="205"/>
                </a:lnTo>
                <a:lnTo>
                  <a:pt x="440" y="212"/>
                </a:lnTo>
                <a:lnTo>
                  <a:pt x="443" y="215"/>
                </a:lnTo>
                <a:lnTo>
                  <a:pt x="447" y="219"/>
                </a:lnTo>
                <a:lnTo>
                  <a:pt x="453" y="220"/>
                </a:lnTo>
                <a:lnTo>
                  <a:pt x="460" y="219"/>
                </a:lnTo>
                <a:lnTo>
                  <a:pt x="463" y="215"/>
                </a:lnTo>
                <a:lnTo>
                  <a:pt x="467" y="212"/>
                </a:lnTo>
                <a:lnTo>
                  <a:pt x="468" y="205"/>
                </a:lnTo>
                <a:lnTo>
                  <a:pt x="468" y="205"/>
                </a:lnTo>
                <a:lnTo>
                  <a:pt x="468" y="205"/>
                </a:lnTo>
                <a:lnTo>
                  <a:pt x="467" y="184"/>
                </a:lnTo>
                <a:lnTo>
                  <a:pt x="463" y="165"/>
                </a:lnTo>
                <a:lnTo>
                  <a:pt x="458" y="145"/>
                </a:lnTo>
                <a:lnTo>
                  <a:pt x="452" y="125"/>
                </a:lnTo>
                <a:lnTo>
                  <a:pt x="443" y="108"/>
                </a:lnTo>
                <a:lnTo>
                  <a:pt x="432" y="90"/>
                </a:lnTo>
                <a:lnTo>
                  <a:pt x="421" y="75"/>
                </a:lnTo>
                <a:lnTo>
                  <a:pt x="408" y="61"/>
                </a:lnTo>
                <a:lnTo>
                  <a:pt x="394" y="47"/>
                </a:lnTo>
                <a:lnTo>
                  <a:pt x="378" y="36"/>
                </a:lnTo>
                <a:lnTo>
                  <a:pt x="361" y="25"/>
                </a:lnTo>
                <a:lnTo>
                  <a:pt x="343" y="16"/>
                </a:lnTo>
                <a:lnTo>
                  <a:pt x="324" y="10"/>
                </a:lnTo>
                <a:lnTo>
                  <a:pt x="305" y="5"/>
                </a:lnTo>
                <a:lnTo>
                  <a:pt x="284" y="1"/>
                </a:lnTo>
                <a:lnTo>
                  <a:pt x="263" y="0"/>
                </a:lnTo>
                <a:lnTo>
                  <a:pt x="263" y="0"/>
                </a:lnTo>
                <a:lnTo>
                  <a:pt x="263" y="0"/>
                </a:lnTo>
                <a:lnTo>
                  <a:pt x="257" y="1"/>
                </a:lnTo>
                <a:lnTo>
                  <a:pt x="253" y="4"/>
                </a:lnTo>
                <a:lnTo>
                  <a:pt x="249" y="9"/>
                </a:lnTo>
                <a:lnTo>
                  <a:pt x="248" y="15"/>
                </a:lnTo>
                <a:lnTo>
                  <a:pt x="249" y="20"/>
                </a:lnTo>
                <a:lnTo>
                  <a:pt x="253" y="25"/>
                </a:lnTo>
                <a:lnTo>
                  <a:pt x="257" y="28"/>
                </a:lnTo>
                <a:lnTo>
                  <a:pt x="263" y="30"/>
                </a:lnTo>
                <a:close/>
                <a:moveTo>
                  <a:pt x="437" y="372"/>
                </a:moveTo>
                <a:lnTo>
                  <a:pt x="435" y="376"/>
                </a:lnTo>
                <a:lnTo>
                  <a:pt x="432" y="379"/>
                </a:lnTo>
                <a:lnTo>
                  <a:pt x="429" y="381"/>
                </a:lnTo>
                <a:lnTo>
                  <a:pt x="424" y="381"/>
                </a:lnTo>
                <a:lnTo>
                  <a:pt x="420" y="381"/>
                </a:lnTo>
                <a:lnTo>
                  <a:pt x="88" y="48"/>
                </a:lnTo>
                <a:lnTo>
                  <a:pt x="88" y="45"/>
                </a:lnTo>
                <a:lnTo>
                  <a:pt x="88" y="40"/>
                </a:lnTo>
                <a:lnTo>
                  <a:pt x="90" y="36"/>
                </a:lnTo>
                <a:lnTo>
                  <a:pt x="92" y="32"/>
                </a:lnTo>
                <a:lnTo>
                  <a:pt x="96" y="31"/>
                </a:lnTo>
                <a:lnTo>
                  <a:pt x="99" y="30"/>
                </a:lnTo>
                <a:lnTo>
                  <a:pt x="102" y="30"/>
                </a:lnTo>
                <a:lnTo>
                  <a:pt x="107" y="31"/>
                </a:lnTo>
                <a:lnTo>
                  <a:pt x="112" y="33"/>
                </a:lnTo>
                <a:lnTo>
                  <a:pt x="435" y="356"/>
                </a:lnTo>
                <a:lnTo>
                  <a:pt x="437" y="360"/>
                </a:lnTo>
                <a:lnTo>
                  <a:pt x="439" y="364"/>
                </a:lnTo>
                <a:lnTo>
                  <a:pt x="439" y="369"/>
                </a:lnTo>
                <a:lnTo>
                  <a:pt x="437" y="372"/>
                </a:lnTo>
                <a:close/>
                <a:moveTo>
                  <a:pt x="222" y="381"/>
                </a:moveTo>
                <a:lnTo>
                  <a:pt x="220" y="382"/>
                </a:lnTo>
                <a:lnTo>
                  <a:pt x="216" y="382"/>
                </a:lnTo>
                <a:lnTo>
                  <a:pt x="86" y="252"/>
                </a:lnTo>
                <a:lnTo>
                  <a:pt x="86" y="249"/>
                </a:lnTo>
                <a:lnTo>
                  <a:pt x="88" y="246"/>
                </a:lnTo>
                <a:lnTo>
                  <a:pt x="88" y="69"/>
                </a:lnTo>
                <a:lnTo>
                  <a:pt x="399" y="381"/>
                </a:lnTo>
                <a:lnTo>
                  <a:pt x="222" y="381"/>
                </a:lnTo>
                <a:close/>
                <a:moveTo>
                  <a:pt x="201" y="390"/>
                </a:moveTo>
                <a:lnTo>
                  <a:pt x="156" y="435"/>
                </a:lnTo>
                <a:lnTo>
                  <a:pt x="151" y="439"/>
                </a:lnTo>
                <a:lnTo>
                  <a:pt x="146" y="440"/>
                </a:lnTo>
                <a:lnTo>
                  <a:pt x="141" y="439"/>
                </a:lnTo>
                <a:lnTo>
                  <a:pt x="136" y="435"/>
                </a:lnTo>
                <a:lnTo>
                  <a:pt x="33" y="333"/>
                </a:lnTo>
                <a:lnTo>
                  <a:pt x="29" y="328"/>
                </a:lnTo>
                <a:lnTo>
                  <a:pt x="28" y="323"/>
                </a:lnTo>
                <a:lnTo>
                  <a:pt x="29" y="318"/>
                </a:lnTo>
                <a:lnTo>
                  <a:pt x="33" y="312"/>
                </a:lnTo>
                <a:lnTo>
                  <a:pt x="79" y="266"/>
                </a:lnTo>
                <a:lnTo>
                  <a:pt x="79" y="266"/>
                </a:lnTo>
                <a:lnTo>
                  <a:pt x="79" y="266"/>
                </a:lnTo>
                <a:lnTo>
                  <a:pt x="202" y="390"/>
                </a:lnTo>
                <a:lnTo>
                  <a:pt x="202" y="390"/>
                </a:lnTo>
                <a:lnTo>
                  <a:pt x="201" y="390"/>
                </a:lnTo>
                <a:close/>
                <a:moveTo>
                  <a:pt x="133" y="12"/>
                </a:moveTo>
                <a:lnTo>
                  <a:pt x="126" y="7"/>
                </a:lnTo>
                <a:lnTo>
                  <a:pt x="118" y="4"/>
                </a:lnTo>
                <a:lnTo>
                  <a:pt x="110" y="1"/>
                </a:lnTo>
                <a:lnTo>
                  <a:pt x="102" y="0"/>
                </a:lnTo>
                <a:lnTo>
                  <a:pt x="94" y="1"/>
                </a:lnTo>
                <a:lnTo>
                  <a:pt x="85" y="4"/>
                </a:lnTo>
                <a:lnTo>
                  <a:pt x="79" y="6"/>
                </a:lnTo>
                <a:lnTo>
                  <a:pt x="74" y="10"/>
                </a:lnTo>
                <a:lnTo>
                  <a:pt x="69" y="15"/>
                </a:lnTo>
                <a:lnTo>
                  <a:pt x="65" y="20"/>
                </a:lnTo>
                <a:lnTo>
                  <a:pt x="62" y="25"/>
                </a:lnTo>
                <a:lnTo>
                  <a:pt x="60" y="31"/>
                </a:lnTo>
                <a:lnTo>
                  <a:pt x="58" y="37"/>
                </a:lnTo>
                <a:lnTo>
                  <a:pt x="58" y="45"/>
                </a:lnTo>
                <a:lnTo>
                  <a:pt x="58" y="246"/>
                </a:lnTo>
                <a:lnTo>
                  <a:pt x="12" y="292"/>
                </a:lnTo>
                <a:lnTo>
                  <a:pt x="6" y="298"/>
                </a:lnTo>
                <a:lnTo>
                  <a:pt x="2" y="306"/>
                </a:lnTo>
                <a:lnTo>
                  <a:pt x="0" y="314"/>
                </a:lnTo>
                <a:lnTo>
                  <a:pt x="0" y="323"/>
                </a:lnTo>
                <a:lnTo>
                  <a:pt x="0" y="332"/>
                </a:lnTo>
                <a:lnTo>
                  <a:pt x="2" y="339"/>
                </a:lnTo>
                <a:lnTo>
                  <a:pt x="6" y="346"/>
                </a:lnTo>
                <a:lnTo>
                  <a:pt x="12" y="354"/>
                </a:lnTo>
                <a:lnTo>
                  <a:pt x="115" y="457"/>
                </a:lnTo>
                <a:lnTo>
                  <a:pt x="122" y="463"/>
                </a:lnTo>
                <a:lnTo>
                  <a:pt x="130" y="466"/>
                </a:lnTo>
                <a:lnTo>
                  <a:pt x="137" y="469"/>
                </a:lnTo>
                <a:lnTo>
                  <a:pt x="146" y="469"/>
                </a:lnTo>
                <a:lnTo>
                  <a:pt x="154" y="469"/>
                </a:lnTo>
                <a:lnTo>
                  <a:pt x="162" y="466"/>
                </a:lnTo>
                <a:lnTo>
                  <a:pt x="170" y="463"/>
                </a:lnTo>
                <a:lnTo>
                  <a:pt x="177" y="457"/>
                </a:lnTo>
                <a:lnTo>
                  <a:pt x="222" y="411"/>
                </a:lnTo>
                <a:lnTo>
                  <a:pt x="424" y="411"/>
                </a:lnTo>
                <a:lnTo>
                  <a:pt x="431" y="411"/>
                </a:lnTo>
                <a:lnTo>
                  <a:pt x="437" y="408"/>
                </a:lnTo>
                <a:lnTo>
                  <a:pt x="443" y="407"/>
                </a:lnTo>
                <a:lnTo>
                  <a:pt x="448" y="403"/>
                </a:lnTo>
                <a:lnTo>
                  <a:pt x="453" y="400"/>
                </a:lnTo>
                <a:lnTo>
                  <a:pt x="458" y="395"/>
                </a:lnTo>
                <a:lnTo>
                  <a:pt x="462" y="390"/>
                </a:lnTo>
                <a:lnTo>
                  <a:pt x="464" y="384"/>
                </a:lnTo>
                <a:lnTo>
                  <a:pt x="467" y="377"/>
                </a:lnTo>
                <a:lnTo>
                  <a:pt x="468" y="371"/>
                </a:lnTo>
                <a:lnTo>
                  <a:pt x="468" y="365"/>
                </a:lnTo>
                <a:lnTo>
                  <a:pt x="467" y="358"/>
                </a:lnTo>
                <a:lnTo>
                  <a:pt x="466" y="351"/>
                </a:lnTo>
                <a:lnTo>
                  <a:pt x="463" y="346"/>
                </a:lnTo>
                <a:lnTo>
                  <a:pt x="460" y="340"/>
                </a:lnTo>
                <a:lnTo>
                  <a:pt x="455" y="335"/>
                </a:lnTo>
                <a:lnTo>
                  <a:pt x="133" y="1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57" name="Freeform 50">
            <a:extLst>
              <a:ext uri="{FF2B5EF4-FFF2-40B4-BE49-F238E27FC236}">
                <a16:creationId xmlns:a16="http://schemas.microsoft.com/office/drawing/2014/main" id="{A458D396-7291-EBDA-4890-33B07BD5DFAB}"/>
              </a:ext>
            </a:extLst>
          </p:cNvPr>
          <p:cNvSpPr>
            <a:spLocks noEditPoints="1"/>
          </p:cNvSpPr>
          <p:nvPr/>
        </p:nvSpPr>
        <p:spPr bwMode="auto">
          <a:xfrm>
            <a:off x="3714750" y="7188158"/>
            <a:ext cx="373063" cy="360363"/>
          </a:xfrm>
          <a:custGeom>
            <a:avLst/>
            <a:gdLst>
              <a:gd name="T0" fmla="*/ 341 w 469"/>
              <a:gd name="T1" fmla="*/ 276 h 454"/>
              <a:gd name="T2" fmla="*/ 336 w 469"/>
              <a:gd name="T3" fmla="*/ 290 h 454"/>
              <a:gd name="T4" fmla="*/ 357 w 469"/>
              <a:gd name="T5" fmla="*/ 422 h 454"/>
              <a:gd name="T6" fmla="*/ 243 w 469"/>
              <a:gd name="T7" fmla="*/ 362 h 454"/>
              <a:gd name="T8" fmla="*/ 226 w 469"/>
              <a:gd name="T9" fmla="*/ 362 h 454"/>
              <a:gd name="T10" fmla="*/ 112 w 469"/>
              <a:gd name="T11" fmla="*/ 422 h 454"/>
              <a:gd name="T12" fmla="*/ 133 w 469"/>
              <a:gd name="T13" fmla="*/ 290 h 454"/>
              <a:gd name="T14" fmla="*/ 128 w 469"/>
              <a:gd name="T15" fmla="*/ 276 h 454"/>
              <a:gd name="T16" fmla="*/ 34 w 469"/>
              <a:gd name="T17" fmla="*/ 180 h 454"/>
              <a:gd name="T18" fmla="*/ 164 w 469"/>
              <a:gd name="T19" fmla="*/ 160 h 454"/>
              <a:gd name="T20" fmla="*/ 178 w 469"/>
              <a:gd name="T21" fmla="*/ 150 h 454"/>
              <a:gd name="T22" fmla="*/ 234 w 469"/>
              <a:gd name="T23" fmla="*/ 34 h 454"/>
              <a:gd name="T24" fmla="*/ 293 w 469"/>
              <a:gd name="T25" fmla="*/ 150 h 454"/>
              <a:gd name="T26" fmla="*/ 305 w 469"/>
              <a:gd name="T27" fmla="*/ 160 h 454"/>
              <a:gd name="T28" fmla="*/ 435 w 469"/>
              <a:gd name="T29" fmla="*/ 180 h 454"/>
              <a:gd name="T30" fmla="*/ 467 w 469"/>
              <a:gd name="T31" fmla="*/ 170 h 454"/>
              <a:gd name="T32" fmla="*/ 457 w 469"/>
              <a:gd name="T33" fmla="*/ 155 h 454"/>
              <a:gd name="T34" fmla="*/ 440 w 469"/>
              <a:gd name="T35" fmla="*/ 148 h 454"/>
              <a:gd name="T36" fmla="*/ 265 w 469"/>
              <a:gd name="T37" fmla="*/ 19 h 454"/>
              <a:gd name="T38" fmla="*/ 260 w 469"/>
              <a:gd name="T39" fmla="*/ 12 h 454"/>
              <a:gd name="T40" fmla="*/ 253 w 469"/>
              <a:gd name="T41" fmla="*/ 5 h 454"/>
              <a:gd name="T42" fmla="*/ 244 w 469"/>
              <a:gd name="T43" fmla="*/ 2 h 454"/>
              <a:gd name="T44" fmla="*/ 234 w 469"/>
              <a:gd name="T45" fmla="*/ 0 h 454"/>
              <a:gd name="T46" fmla="*/ 225 w 469"/>
              <a:gd name="T47" fmla="*/ 2 h 454"/>
              <a:gd name="T48" fmla="*/ 216 w 469"/>
              <a:gd name="T49" fmla="*/ 5 h 454"/>
              <a:gd name="T50" fmla="*/ 210 w 469"/>
              <a:gd name="T51" fmla="*/ 12 h 454"/>
              <a:gd name="T52" fmla="*/ 204 w 469"/>
              <a:gd name="T53" fmla="*/ 19 h 454"/>
              <a:gd name="T54" fmla="*/ 29 w 469"/>
              <a:gd name="T55" fmla="*/ 148 h 454"/>
              <a:gd name="T56" fmla="*/ 12 w 469"/>
              <a:gd name="T57" fmla="*/ 155 h 454"/>
              <a:gd name="T58" fmla="*/ 6 w 469"/>
              <a:gd name="T59" fmla="*/ 161 h 454"/>
              <a:gd name="T60" fmla="*/ 2 w 469"/>
              <a:gd name="T61" fmla="*/ 170 h 454"/>
              <a:gd name="T62" fmla="*/ 0 w 469"/>
              <a:gd name="T63" fmla="*/ 179 h 454"/>
              <a:gd name="T64" fmla="*/ 1 w 469"/>
              <a:gd name="T65" fmla="*/ 187 h 454"/>
              <a:gd name="T66" fmla="*/ 5 w 469"/>
              <a:gd name="T67" fmla="*/ 196 h 454"/>
              <a:gd name="T68" fmla="*/ 10 w 469"/>
              <a:gd name="T69" fmla="*/ 203 h 454"/>
              <a:gd name="T70" fmla="*/ 79 w 469"/>
              <a:gd name="T71" fmla="*/ 416 h 454"/>
              <a:gd name="T72" fmla="*/ 79 w 469"/>
              <a:gd name="T73" fmla="*/ 426 h 454"/>
              <a:gd name="T74" fmla="*/ 81 w 469"/>
              <a:gd name="T75" fmla="*/ 435 h 454"/>
              <a:gd name="T76" fmla="*/ 85 w 469"/>
              <a:gd name="T77" fmla="*/ 442 h 454"/>
              <a:gd name="T78" fmla="*/ 92 w 469"/>
              <a:gd name="T79" fmla="*/ 450 h 454"/>
              <a:gd name="T80" fmla="*/ 102 w 469"/>
              <a:gd name="T81" fmla="*/ 453 h 454"/>
              <a:gd name="T82" fmla="*/ 112 w 469"/>
              <a:gd name="T83" fmla="*/ 454 h 454"/>
              <a:gd name="T84" fmla="*/ 128 w 469"/>
              <a:gd name="T85" fmla="*/ 451 h 454"/>
              <a:gd name="T86" fmla="*/ 341 w 469"/>
              <a:gd name="T87" fmla="*/ 451 h 454"/>
              <a:gd name="T88" fmla="*/ 357 w 469"/>
              <a:gd name="T89" fmla="*/ 454 h 454"/>
              <a:gd name="T90" fmla="*/ 368 w 469"/>
              <a:gd name="T91" fmla="*/ 453 h 454"/>
              <a:gd name="T92" fmla="*/ 377 w 469"/>
              <a:gd name="T93" fmla="*/ 450 h 454"/>
              <a:gd name="T94" fmla="*/ 384 w 469"/>
              <a:gd name="T95" fmla="*/ 442 h 454"/>
              <a:gd name="T96" fmla="*/ 389 w 469"/>
              <a:gd name="T97" fmla="*/ 435 h 454"/>
              <a:gd name="T98" fmla="*/ 391 w 469"/>
              <a:gd name="T99" fmla="*/ 426 h 454"/>
              <a:gd name="T100" fmla="*/ 390 w 469"/>
              <a:gd name="T101" fmla="*/ 416 h 454"/>
              <a:gd name="T102" fmla="*/ 459 w 469"/>
              <a:gd name="T103" fmla="*/ 203 h 454"/>
              <a:gd name="T104" fmla="*/ 464 w 469"/>
              <a:gd name="T105" fmla="*/ 196 h 454"/>
              <a:gd name="T106" fmla="*/ 468 w 469"/>
              <a:gd name="T107" fmla="*/ 187 h 454"/>
              <a:gd name="T108" fmla="*/ 469 w 469"/>
              <a:gd name="T109" fmla="*/ 179 h 454"/>
              <a:gd name="T110" fmla="*/ 467 w 469"/>
              <a:gd name="T111" fmla="*/ 1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9" h="454">
                <a:moveTo>
                  <a:pt x="346" y="270"/>
                </a:moveTo>
                <a:lnTo>
                  <a:pt x="341" y="276"/>
                </a:lnTo>
                <a:lnTo>
                  <a:pt x="337" y="282"/>
                </a:lnTo>
                <a:lnTo>
                  <a:pt x="336" y="290"/>
                </a:lnTo>
                <a:lnTo>
                  <a:pt x="337" y="299"/>
                </a:lnTo>
                <a:lnTo>
                  <a:pt x="357" y="422"/>
                </a:lnTo>
                <a:lnTo>
                  <a:pt x="251" y="364"/>
                </a:lnTo>
                <a:lnTo>
                  <a:pt x="243" y="362"/>
                </a:lnTo>
                <a:lnTo>
                  <a:pt x="234" y="360"/>
                </a:lnTo>
                <a:lnTo>
                  <a:pt x="226" y="362"/>
                </a:lnTo>
                <a:lnTo>
                  <a:pt x="218" y="364"/>
                </a:lnTo>
                <a:lnTo>
                  <a:pt x="112" y="422"/>
                </a:lnTo>
                <a:lnTo>
                  <a:pt x="133" y="299"/>
                </a:lnTo>
                <a:lnTo>
                  <a:pt x="133" y="290"/>
                </a:lnTo>
                <a:lnTo>
                  <a:pt x="132" y="282"/>
                </a:lnTo>
                <a:lnTo>
                  <a:pt x="128" y="276"/>
                </a:lnTo>
                <a:lnTo>
                  <a:pt x="123" y="270"/>
                </a:lnTo>
                <a:lnTo>
                  <a:pt x="34" y="180"/>
                </a:lnTo>
                <a:lnTo>
                  <a:pt x="157" y="162"/>
                </a:lnTo>
                <a:lnTo>
                  <a:pt x="164" y="160"/>
                </a:lnTo>
                <a:lnTo>
                  <a:pt x="171" y="156"/>
                </a:lnTo>
                <a:lnTo>
                  <a:pt x="178" y="150"/>
                </a:lnTo>
                <a:lnTo>
                  <a:pt x="181" y="144"/>
                </a:lnTo>
                <a:lnTo>
                  <a:pt x="234" y="34"/>
                </a:lnTo>
                <a:lnTo>
                  <a:pt x="288" y="144"/>
                </a:lnTo>
                <a:lnTo>
                  <a:pt x="293" y="150"/>
                </a:lnTo>
                <a:lnTo>
                  <a:pt x="298" y="156"/>
                </a:lnTo>
                <a:lnTo>
                  <a:pt x="305" y="160"/>
                </a:lnTo>
                <a:lnTo>
                  <a:pt x="314" y="162"/>
                </a:lnTo>
                <a:lnTo>
                  <a:pt x="435" y="180"/>
                </a:lnTo>
                <a:lnTo>
                  <a:pt x="346" y="270"/>
                </a:lnTo>
                <a:close/>
                <a:moveTo>
                  <a:pt x="467" y="170"/>
                </a:moveTo>
                <a:lnTo>
                  <a:pt x="463" y="161"/>
                </a:lnTo>
                <a:lnTo>
                  <a:pt x="457" y="155"/>
                </a:lnTo>
                <a:lnTo>
                  <a:pt x="450" y="150"/>
                </a:lnTo>
                <a:lnTo>
                  <a:pt x="440" y="148"/>
                </a:lnTo>
                <a:lnTo>
                  <a:pt x="319" y="129"/>
                </a:lnTo>
                <a:lnTo>
                  <a:pt x="265" y="19"/>
                </a:lnTo>
                <a:lnTo>
                  <a:pt x="263" y="15"/>
                </a:lnTo>
                <a:lnTo>
                  <a:pt x="260" y="12"/>
                </a:lnTo>
                <a:lnTo>
                  <a:pt x="257" y="8"/>
                </a:lnTo>
                <a:lnTo>
                  <a:pt x="253" y="5"/>
                </a:lnTo>
                <a:lnTo>
                  <a:pt x="248" y="3"/>
                </a:lnTo>
                <a:lnTo>
                  <a:pt x="244" y="2"/>
                </a:lnTo>
                <a:lnTo>
                  <a:pt x="239" y="0"/>
                </a:lnTo>
                <a:lnTo>
                  <a:pt x="234" y="0"/>
                </a:lnTo>
                <a:lnTo>
                  <a:pt x="230" y="0"/>
                </a:lnTo>
                <a:lnTo>
                  <a:pt x="225" y="2"/>
                </a:lnTo>
                <a:lnTo>
                  <a:pt x="221" y="3"/>
                </a:lnTo>
                <a:lnTo>
                  <a:pt x="216" y="5"/>
                </a:lnTo>
                <a:lnTo>
                  <a:pt x="212" y="8"/>
                </a:lnTo>
                <a:lnTo>
                  <a:pt x="210" y="12"/>
                </a:lnTo>
                <a:lnTo>
                  <a:pt x="206" y="15"/>
                </a:lnTo>
                <a:lnTo>
                  <a:pt x="204" y="19"/>
                </a:lnTo>
                <a:lnTo>
                  <a:pt x="150" y="129"/>
                </a:lnTo>
                <a:lnTo>
                  <a:pt x="29" y="148"/>
                </a:lnTo>
                <a:lnTo>
                  <a:pt x="19" y="150"/>
                </a:lnTo>
                <a:lnTo>
                  <a:pt x="12" y="155"/>
                </a:lnTo>
                <a:lnTo>
                  <a:pt x="8" y="159"/>
                </a:lnTo>
                <a:lnTo>
                  <a:pt x="6" y="161"/>
                </a:lnTo>
                <a:lnTo>
                  <a:pt x="3" y="166"/>
                </a:lnTo>
                <a:lnTo>
                  <a:pt x="2" y="170"/>
                </a:lnTo>
                <a:lnTo>
                  <a:pt x="1" y="175"/>
                </a:lnTo>
                <a:lnTo>
                  <a:pt x="0" y="179"/>
                </a:lnTo>
                <a:lnTo>
                  <a:pt x="1" y="184"/>
                </a:lnTo>
                <a:lnTo>
                  <a:pt x="1" y="187"/>
                </a:lnTo>
                <a:lnTo>
                  <a:pt x="2" y="192"/>
                </a:lnTo>
                <a:lnTo>
                  <a:pt x="5" y="196"/>
                </a:lnTo>
                <a:lnTo>
                  <a:pt x="7" y="200"/>
                </a:lnTo>
                <a:lnTo>
                  <a:pt x="10" y="203"/>
                </a:lnTo>
                <a:lnTo>
                  <a:pt x="100" y="292"/>
                </a:lnTo>
                <a:lnTo>
                  <a:pt x="79" y="416"/>
                </a:lnTo>
                <a:lnTo>
                  <a:pt x="78" y="421"/>
                </a:lnTo>
                <a:lnTo>
                  <a:pt x="79" y="426"/>
                </a:lnTo>
                <a:lnTo>
                  <a:pt x="79" y="431"/>
                </a:lnTo>
                <a:lnTo>
                  <a:pt x="81" y="435"/>
                </a:lnTo>
                <a:lnTo>
                  <a:pt x="82" y="438"/>
                </a:lnTo>
                <a:lnTo>
                  <a:pt x="85" y="442"/>
                </a:lnTo>
                <a:lnTo>
                  <a:pt x="89" y="446"/>
                </a:lnTo>
                <a:lnTo>
                  <a:pt x="92" y="450"/>
                </a:lnTo>
                <a:lnTo>
                  <a:pt x="97" y="452"/>
                </a:lnTo>
                <a:lnTo>
                  <a:pt x="102" y="453"/>
                </a:lnTo>
                <a:lnTo>
                  <a:pt x="107" y="454"/>
                </a:lnTo>
                <a:lnTo>
                  <a:pt x="112" y="454"/>
                </a:lnTo>
                <a:lnTo>
                  <a:pt x="121" y="454"/>
                </a:lnTo>
                <a:lnTo>
                  <a:pt x="128" y="451"/>
                </a:lnTo>
                <a:lnTo>
                  <a:pt x="234" y="394"/>
                </a:lnTo>
                <a:lnTo>
                  <a:pt x="341" y="451"/>
                </a:lnTo>
                <a:lnTo>
                  <a:pt x="349" y="454"/>
                </a:lnTo>
                <a:lnTo>
                  <a:pt x="357" y="454"/>
                </a:lnTo>
                <a:lnTo>
                  <a:pt x="362" y="454"/>
                </a:lnTo>
                <a:lnTo>
                  <a:pt x="368" y="453"/>
                </a:lnTo>
                <a:lnTo>
                  <a:pt x="372" y="452"/>
                </a:lnTo>
                <a:lnTo>
                  <a:pt x="377" y="450"/>
                </a:lnTo>
                <a:lnTo>
                  <a:pt x="380" y="446"/>
                </a:lnTo>
                <a:lnTo>
                  <a:pt x="384" y="442"/>
                </a:lnTo>
                <a:lnTo>
                  <a:pt x="386" y="438"/>
                </a:lnTo>
                <a:lnTo>
                  <a:pt x="389" y="435"/>
                </a:lnTo>
                <a:lnTo>
                  <a:pt x="390" y="431"/>
                </a:lnTo>
                <a:lnTo>
                  <a:pt x="391" y="426"/>
                </a:lnTo>
                <a:lnTo>
                  <a:pt x="391" y="421"/>
                </a:lnTo>
                <a:lnTo>
                  <a:pt x="390" y="416"/>
                </a:lnTo>
                <a:lnTo>
                  <a:pt x="370" y="292"/>
                </a:lnTo>
                <a:lnTo>
                  <a:pt x="459" y="203"/>
                </a:lnTo>
                <a:lnTo>
                  <a:pt x="462" y="200"/>
                </a:lnTo>
                <a:lnTo>
                  <a:pt x="464" y="196"/>
                </a:lnTo>
                <a:lnTo>
                  <a:pt x="467" y="192"/>
                </a:lnTo>
                <a:lnTo>
                  <a:pt x="468" y="187"/>
                </a:lnTo>
                <a:lnTo>
                  <a:pt x="469" y="184"/>
                </a:lnTo>
                <a:lnTo>
                  <a:pt x="469" y="179"/>
                </a:lnTo>
                <a:lnTo>
                  <a:pt x="468" y="175"/>
                </a:lnTo>
                <a:lnTo>
                  <a:pt x="467" y="17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58" name="Freeform 51">
            <a:extLst>
              <a:ext uri="{FF2B5EF4-FFF2-40B4-BE49-F238E27FC236}">
                <a16:creationId xmlns:a16="http://schemas.microsoft.com/office/drawing/2014/main" id="{7C52FC71-D0A7-C189-6DC6-5A62FEF05E0D}"/>
              </a:ext>
            </a:extLst>
          </p:cNvPr>
          <p:cNvSpPr>
            <a:spLocks noEditPoints="1"/>
          </p:cNvSpPr>
          <p:nvPr/>
        </p:nvSpPr>
        <p:spPr bwMode="auto">
          <a:xfrm>
            <a:off x="2908300" y="7223083"/>
            <a:ext cx="371475" cy="290513"/>
          </a:xfrm>
          <a:custGeom>
            <a:avLst/>
            <a:gdLst>
              <a:gd name="T0" fmla="*/ 177 w 468"/>
              <a:gd name="T1" fmla="*/ 277 h 366"/>
              <a:gd name="T2" fmla="*/ 74 w 468"/>
              <a:gd name="T3" fmla="*/ 197 h 366"/>
              <a:gd name="T4" fmla="*/ 117 w 468"/>
              <a:gd name="T5" fmla="*/ 77 h 366"/>
              <a:gd name="T6" fmla="*/ 293 w 468"/>
              <a:gd name="T7" fmla="*/ 77 h 366"/>
              <a:gd name="T8" fmla="*/ 336 w 468"/>
              <a:gd name="T9" fmla="*/ 197 h 366"/>
              <a:gd name="T10" fmla="*/ 128 w 468"/>
              <a:gd name="T11" fmla="*/ 120 h 366"/>
              <a:gd name="T12" fmla="*/ 120 w 468"/>
              <a:gd name="T13" fmla="*/ 173 h 366"/>
              <a:gd name="T14" fmla="*/ 132 w 468"/>
              <a:gd name="T15" fmla="*/ 168 h 366"/>
              <a:gd name="T16" fmla="*/ 198 w 468"/>
              <a:gd name="T17" fmla="*/ 129 h 366"/>
              <a:gd name="T18" fmla="*/ 202 w 468"/>
              <a:gd name="T19" fmla="*/ 116 h 366"/>
              <a:gd name="T20" fmla="*/ 368 w 468"/>
              <a:gd name="T21" fmla="*/ 177 h 366"/>
              <a:gd name="T22" fmla="*/ 374 w 468"/>
              <a:gd name="T23" fmla="*/ 190 h 366"/>
              <a:gd name="T24" fmla="*/ 425 w 468"/>
              <a:gd name="T25" fmla="*/ 179 h 366"/>
              <a:gd name="T26" fmla="*/ 371 w 468"/>
              <a:gd name="T27" fmla="*/ 220 h 366"/>
              <a:gd name="T28" fmla="*/ 371 w 468"/>
              <a:gd name="T29" fmla="*/ 234 h 366"/>
              <a:gd name="T30" fmla="*/ 425 w 468"/>
              <a:gd name="T31" fmla="*/ 226 h 366"/>
              <a:gd name="T32" fmla="*/ 359 w 468"/>
              <a:gd name="T33" fmla="*/ 263 h 366"/>
              <a:gd name="T34" fmla="*/ 353 w 468"/>
              <a:gd name="T35" fmla="*/ 276 h 366"/>
              <a:gd name="T36" fmla="*/ 410 w 468"/>
              <a:gd name="T37" fmla="*/ 273 h 366"/>
              <a:gd name="T38" fmla="*/ 388 w 468"/>
              <a:gd name="T39" fmla="*/ 88 h 366"/>
              <a:gd name="T40" fmla="*/ 394 w 468"/>
              <a:gd name="T41" fmla="*/ 100 h 366"/>
              <a:gd name="T42" fmla="*/ 380 w 468"/>
              <a:gd name="T43" fmla="*/ 95 h 366"/>
              <a:gd name="T44" fmla="*/ 393 w 468"/>
              <a:gd name="T45" fmla="*/ 116 h 366"/>
              <a:gd name="T46" fmla="*/ 410 w 468"/>
              <a:gd name="T47" fmla="*/ 99 h 366"/>
              <a:gd name="T48" fmla="*/ 400 w 468"/>
              <a:gd name="T49" fmla="*/ 77 h 366"/>
              <a:gd name="T50" fmla="*/ 375 w 468"/>
              <a:gd name="T51" fmla="*/ 77 h 366"/>
              <a:gd name="T52" fmla="*/ 367 w 468"/>
              <a:gd name="T53" fmla="*/ 99 h 366"/>
              <a:gd name="T54" fmla="*/ 384 w 468"/>
              <a:gd name="T55" fmla="*/ 116 h 366"/>
              <a:gd name="T56" fmla="*/ 235 w 468"/>
              <a:gd name="T57" fmla="*/ 322 h 366"/>
              <a:gd name="T58" fmla="*/ 33 w 468"/>
              <a:gd name="T59" fmla="*/ 242 h 366"/>
              <a:gd name="T60" fmla="*/ 46 w 468"/>
              <a:gd name="T61" fmla="*/ 40 h 366"/>
              <a:gd name="T62" fmla="*/ 329 w 468"/>
              <a:gd name="T63" fmla="*/ 32 h 366"/>
              <a:gd name="T64" fmla="*/ 440 w 468"/>
              <a:gd name="T65" fmla="*/ 176 h 366"/>
              <a:gd name="T66" fmla="*/ 451 w 468"/>
              <a:gd name="T67" fmla="*/ 30 h 366"/>
              <a:gd name="T68" fmla="*/ 431 w 468"/>
              <a:gd name="T69" fmla="*/ 12 h 366"/>
              <a:gd name="T70" fmla="*/ 306 w 468"/>
              <a:gd name="T71" fmla="*/ 1 h 366"/>
              <a:gd name="T72" fmla="*/ 163 w 468"/>
              <a:gd name="T73" fmla="*/ 1 h 366"/>
              <a:gd name="T74" fmla="*/ 38 w 468"/>
              <a:gd name="T75" fmla="*/ 12 h 366"/>
              <a:gd name="T76" fmla="*/ 18 w 468"/>
              <a:gd name="T77" fmla="*/ 30 h 366"/>
              <a:gd name="T78" fmla="*/ 1 w 468"/>
              <a:gd name="T79" fmla="*/ 212 h 366"/>
              <a:gd name="T80" fmla="*/ 23 w 468"/>
              <a:gd name="T81" fmla="*/ 329 h 366"/>
              <a:gd name="T82" fmla="*/ 65 w 468"/>
              <a:gd name="T83" fmla="*/ 343 h 366"/>
              <a:gd name="T84" fmla="*/ 134 w 468"/>
              <a:gd name="T85" fmla="*/ 354 h 366"/>
              <a:gd name="T86" fmla="*/ 274 w 468"/>
              <a:gd name="T87" fmla="*/ 365 h 366"/>
              <a:gd name="T88" fmla="*/ 336 w 468"/>
              <a:gd name="T89" fmla="*/ 350 h 366"/>
              <a:gd name="T90" fmla="*/ 431 w 468"/>
              <a:gd name="T91" fmla="*/ 339 h 366"/>
              <a:gd name="T92" fmla="*/ 451 w 468"/>
              <a:gd name="T93" fmla="*/ 322 h 366"/>
              <a:gd name="T94" fmla="*/ 468 w 468"/>
              <a:gd name="T95" fmla="*/ 140 h 366"/>
              <a:gd name="T96" fmla="*/ 265 w 468"/>
              <a:gd name="T97" fmla="*/ 58 h 366"/>
              <a:gd name="T98" fmla="*/ 85 w 468"/>
              <a:gd name="T99" fmla="*/ 67 h 366"/>
              <a:gd name="T100" fmla="*/ 63 w 468"/>
              <a:gd name="T101" fmla="*/ 125 h 366"/>
              <a:gd name="T102" fmla="*/ 75 w 468"/>
              <a:gd name="T103" fmla="*/ 271 h 366"/>
              <a:gd name="T104" fmla="*/ 146 w 468"/>
              <a:gd name="T105" fmla="*/ 289 h 366"/>
              <a:gd name="T106" fmla="*/ 325 w 468"/>
              <a:gd name="T107" fmla="*/ 281 h 366"/>
              <a:gd name="T108" fmla="*/ 347 w 468"/>
              <a:gd name="T109" fmla="*/ 223 h 366"/>
              <a:gd name="T110" fmla="*/ 336 w 468"/>
              <a:gd name="T111" fmla="*/ 77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8" h="366">
                <a:moveTo>
                  <a:pt x="322" y="266"/>
                </a:moveTo>
                <a:lnTo>
                  <a:pt x="293" y="271"/>
                </a:lnTo>
                <a:lnTo>
                  <a:pt x="263" y="275"/>
                </a:lnTo>
                <a:lnTo>
                  <a:pt x="235" y="277"/>
                </a:lnTo>
                <a:lnTo>
                  <a:pt x="205" y="278"/>
                </a:lnTo>
                <a:lnTo>
                  <a:pt x="177" y="277"/>
                </a:lnTo>
                <a:lnTo>
                  <a:pt x="147" y="275"/>
                </a:lnTo>
                <a:lnTo>
                  <a:pt x="117" y="271"/>
                </a:lnTo>
                <a:lnTo>
                  <a:pt x="89" y="266"/>
                </a:lnTo>
                <a:lnTo>
                  <a:pt x="81" y="242"/>
                </a:lnTo>
                <a:lnTo>
                  <a:pt x="78" y="220"/>
                </a:lnTo>
                <a:lnTo>
                  <a:pt x="74" y="197"/>
                </a:lnTo>
                <a:lnTo>
                  <a:pt x="74" y="173"/>
                </a:lnTo>
                <a:lnTo>
                  <a:pt x="74" y="151"/>
                </a:lnTo>
                <a:lnTo>
                  <a:pt x="78" y="127"/>
                </a:lnTo>
                <a:lnTo>
                  <a:pt x="81" y="105"/>
                </a:lnTo>
                <a:lnTo>
                  <a:pt x="89" y="82"/>
                </a:lnTo>
                <a:lnTo>
                  <a:pt x="117" y="77"/>
                </a:lnTo>
                <a:lnTo>
                  <a:pt x="147" y="73"/>
                </a:lnTo>
                <a:lnTo>
                  <a:pt x="177" y="70"/>
                </a:lnTo>
                <a:lnTo>
                  <a:pt x="205" y="69"/>
                </a:lnTo>
                <a:lnTo>
                  <a:pt x="235" y="70"/>
                </a:lnTo>
                <a:lnTo>
                  <a:pt x="263" y="73"/>
                </a:lnTo>
                <a:lnTo>
                  <a:pt x="293" y="77"/>
                </a:lnTo>
                <a:lnTo>
                  <a:pt x="322" y="82"/>
                </a:lnTo>
                <a:lnTo>
                  <a:pt x="329" y="105"/>
                </a:lnTo>
                <a:lnTo>
                  <a:pt x="333" y="127"/>
                </a:lnTo>
                <a:lnTo>
                  <a:pt x="336" y="151"/>
                </a:lnTo>
                <a:lnTo>
                  <a:pt x="337" y="173"/>
                </a:lnTo>
                <a:lnTo>
                  <a:pt x="336" y="197"/>
                </a:lnTo>
                <a:lnTo>
                  <a:pt x="333" y="220"/>
                </a:lnTo>
                <a:lnTo>
                  <a:pt x="329" y="242"/>
                </a:lnTo>
                <a:lnTo>
                  <a:pt x="322" y="266"/>
                </a:lnTo>
                <a:close/>
                <a:moveTo>
                  <a:pt x="198" y="114"/>
                </a:moveTo>
                <a:lnTo>
                  <a:pt x="131" y="119"/>
                </a:lnTo>
                <a:lnTo>
                  <a:pt x="128" y="120"/>
                </a:lnTo>
                <a:lnTo>
                  <a:pt x="125" y="121"/>
                </a:lnTo>
                <a:lnTo>
                  <a:pt x="123" y="124"/>
                </a:lnTo>
                <a:lnTo>
                  <a:pt x="122" y="127"/>
                </a:lnTo>
                <a:lnTo>
                  <a:pt x="117" y="168"/>
                </a:lnTo>
                <a:lnTo>
                  <a:pt x="118" y="171"/>
                </a:lnTo>
                <a:lnTo>
                  <a:pt x="120" y="173"/>
                </a:lnTo>
                <a:lnTo>
                  <a:pt x="122" y="174"/>
                </a:lnTo>
                <a:lnTo>
                  <a:pt x="125" y="176"/>
                </a:lnTo>
                <a:lnTo>
                  <a:pt x="127" y="174"/>
                </a:lnTo>
                <a:lnTo>
                  <a:pt x="130" y="173"/>
                </a:lnTo>
                <a:lnTo>
                  <a:pt x="132" y="171"/>
                </a:lnTo>
                <a:lnTo>
                  <a:pt x="132" y="168"/>
                </a:lnTo>
                <a:lnTo>
                  <a:pt x="134" y="140"/>
                </a:lnTo>
                <a:lnTo>
                  <a:pt x="136" y="137"/>
                </a:lnTo>
                <a:lnTo>
                  <a:pt x="137" y="135"/>
                </a:lnTo>
                <a:lnTo>
                  <a:pt x="139" y="134"/>
                </a:lnTo>
                <a:lnTo>
                  <a:pt x="143" y="132"/>
                </a:lnTo>
                <a:lnTo>
                  <a:pt x="198" y="129"/>
                </a:lnTo>
                <a:lnTo>
                  <a:pt x="201" y="127"/>
                </a:lnTo>
                <a:lnTo>
                  <a:pt x="202" y="126"/>
                </a:lnTo>
                <a:lnTo>
                  <a:pt x="205" y="124"/>
                </a:lnTo>
                <a:lnTo>
                  <a:pt x="205" y="121"/>
                </a:lnTo>
                <a:lnTo>
                  <a:pt x="205" y="117"/>
                </a:lnTo>
                <a:lnTo>
                  <a:pt x="202" y="116"/>
                </a:lnTo>
                <a:lnTo>
                  <a:pt x="201" y="114"/>
                </a:lnTo>
                <a:lnTo>
                  <a:pt x="198" y="114"/>
                </a:lnTo>
                <a:close/>
                <a:moveTo>
                  <a:pt x="418" y="176"/>
                </a:moveTo>
                <a:lnTo>
                  <a:pt x="374" y="176"/>
                </a:lnTo>
                <a:lnTo>
                  <a:pt x="371" y="176"/>
                </a:lnTo>
                <a:lnTo>
                  <a:pt x="368" y="177"/>
                </a:lnTo>
                <a:lnTo>
                  <a:pt x="367" y="179"/>
                </a:lnTo>
                <a:lnTo>
                  <a:pt x="367" y="183"/>
                </a:lnTo>
                <a:lnTo>
                  <a:pt x="367" y="186"/>
                </a:lnTo>
                <a:lnTo>
                  <a:pt x="368" y="188"/>
                </a:lnTo>
                <a:lnTo>
                  <a:pt x="371" y="189"/>
                </a:lnTo>
                <a:lnTo>
                  <a:pt x="374" y="190"/>
                </a:lnTo>
                <a:lnTo>
                  <a:pt x="418" y="190"/>
                </a:lnTo>
                <a:lnTo>
                  <a:pt x="420" y="189"/>
                </a:lnTo>
                <a:lnTo>
                  <a:pt x="422" y="188"/>
                </a:lnTo>
                <a:lnTo>
                  <a:pt x="425" y="186"/>
                </a:lnTo>
                <a:lnTo>
                  <a:pt x="425" y="183"/>
                </a:lnTo>
                <a:lnTo>
                  <a:pt x="425" y="179"/>
                </a:lnTo>
                <a:lnTo>
                  <a:pt x="422" y="177"/>
                </a:lnTo>
                <a:lnTo>
                  <a:pt x="420" y="176"/>
                </a:lnTo>
                <a:lnTo>
                  <a:pt x="418" y="176"/>
                </a:lnTo>
                <a:close/>
                <a:moveTo>
                  <a:pt x="418" y="219"/>
                </a:moveTo>
                <a:lnTo>
                  <a:pt x="374" y="219"/>
                </a:lnTo>
                <a:lnTo>
                  <a:pt x="371" y="220"/>
                </a:lnTo>
                <a:lnTo>
                  <a:pt x="368" y="221"/>
                </a:lnTo>
                <a:lnTo>
                  <a:pt x="367" y="224"/>
                </a:lnTo>
                <a:lnTo>
                  <a:pt x="367" y="226"/>
                </a:lnTo>
                <a:lnTo>
                  <a:pt x="367" y="230"/>
                </a:lnTo>
                <a:lnTo>
                  <a:pt x="368" y="231"/>
                </a:lnTo>
                <a:lnTo>
                  <a:pt x="371" y="234"/>
                </a:lnTo>
                <a:lnTo>
                  <a:pt x="374" y="234"/>
                </a:lnTo>
                <a:lnTo>
                  <a:pt x="418" y="234"/>
                </a:lnTo>
                <a:lnTo>
                  <a:pt x="420" y="234"/>
                </a:lnTo>
                <a:lnTo>
                  <a:pt x="422" y="231"/>
                </a:lnTo>
                <a:lnTo>
                  <a:pt x="425" y="230"/>
                </a:lnTo>
                <a:lnTo>
                  <a:pt x="425" y="226"/>
                </a:lnTo>
                <a:lnTo>
                  <a:pt x="425" y="224"/>
                </a:lnTo>
                <a:lnTo>
                  <a:pt x="422" y="221"/>
                </a:lnTo>
                <a:lnTo>
                  <a:pt x="420" y="220"/>
                </a:lnTo>
                <a:lnTo>
                  <a:pt x="418" y="219"/>
                </a:lnTo>
                <a:close/>
                <a:moveTo>
                  <a:pt x="403" y="263"/>
                </a:moveTo>
                <a:lnTo>
                  <a:pt x="359" y="263"/>
                </a:lnTo>
                <a:lnTo>
                  <a:pt x="356" y="263"/>
                </a:lnTo>
                <a:lnTo>
                  <a:pt x="353" y="266"/>
                </a:lnTo>
                <a:lnTo>
                  <a:pt x="352" y="268"/>
                </a:lnTo>
                <a:lnTo>
                  <a:pt x="352" y="271"/>
                </a:lnTo>
                <a:lnTo>
                  <a:pt x="352" y="273"/>
                </a:lnTo>
                <a:lnTo>
                  <a:pt x="353" y="276"/>
                </a:lnTo>
                <a:lnTo>
                  <a:pt x="356" y="277"/>
                </a:lnTo>
                <a:lnTo>
                  <a:pt x="359" y="278"/>
                </a:lnTo>
                <a:lnTo>
                  <a:pt x="403" y="278"/>
                </a:lnTo>
                <a:lnTo>
                  <a:pt x="406" y="277"/>
                </a:lnTo>
                <a:lnTo>
                  <a:pt x="408" y="276"/>
                </a:lnTo>
                <a:lnTo>
                  <a:pt x="410" y="273"/>
                </a:lnTo>
                <a:lnTo>
                  <a:pt x="410" y="271"/>
                </a:lnTo>
                <a:lnTo>
                  <a:pt x="410" y="268"/>
                </a:lnTo>
                <a:lnTo>
                  <a:pt x="408" y="266"/>
                </a:lnTo>
                <a:lnTo>
                  <a:pt x="406" y="263"/>
                </a:lnTo>
                <a:lnTo>
                  <a:pt x="403" y="263"/>
                </a:lnTo>
                <a:close/>
                <a:moveTo>
                  <a:pt x="388" y="88"/>
                </a:moveTo>
                <a:lnTo>
                  <a:pt x="392" y="88"/>
                </a:lnTo>
                <a:lnTo>
                  <a:pt x="394" y="89"/>
                </a:lnTo>
                <a:lnTo>
                  <a:pt x="395" y="92"/>
                </a:lnTo>
                <a:lnTo>
                  <a:pt x="395" y="95"/>
                </a:lnTo>
                <a:lnTo>
                  <a:pt x="395" y="98"/>
                </a:lnTo>
                <a:lnTo>
                  <a:pt x="394" y="100"/>
                </a:lnTo>
                <a:lnTo>
                  <a:pt x="392" y="101"/>
                </a:lnTo>
                <a:lnTo>
                  <a:pt x="388" y="101"/>
                </a:lnTo>
                <a:lnTo>
                  <a:pt x="385" y="101"/>
                </a:lnTo>
                <a:lnTo>
                  <a:pt x="383" y="100"/>
                </a:lnTo>
                <a:lnTo>
                  <a:pt x="382" y="98"/>
                </a:lnTo>
                <a:lnTo>
                  <a:pt x="380" y="95"/>
                </a:lnTo>
                <a:lnTo>
                  <a:pt x="382" y="92"/>
                </a:lnTo>
                <a:lnTo>
                  <a:pt x="383" y="89"/>
                </a:lnTo>
                <a:lnTo>
                  <a:pt x="385" y="88"/>
                </a:lnTo>
                <a:lnTo>
                  <a:pt x="388" y="88"/>
                </a:lnTo>
                <a:close/>
                <a:moveTo>
                  <a:pt x="388" y="116"/>
                </a:moveTo>
                <a:lnTo>
                  <a:pt x="393" y="116"/>
                </a:lnTo>
                <a:lnTo>
                  <a:pt x="396" y="115"/>
                </a:lnTo>
                <a:lnTo>
                  <a:pt x="400" y="113"/>
                </a:lnTo>
                <a:lnTo>
                  <a:pt x="404" y="110"/>
                </a:lnTo>
                <a:lnTo>
                  <a:pt x="406" y="108"/>
                </a:lnTo>
                <a:lnTo>
                  <a:pt x="409" y="103"/>
                </a:lnTo>
                <a:lnTo>
                  <a:pt x="410" y="99"/>
                </a:lnTo>
                <a:lnTo>
                  <a:pt x="410" y="95"/>
                </a:lnTo>
                <a:lnTo>
                  <a:pt x="410" y="90"/>
                </a:lnTo>
                <a:lnTo>
                  <a:pt x="409" y="87"/>
                </a:lnTo>
                <a:lnTo>
                  <a:pt x="406" y="83"/>
                </a:lnTo>
                <a:lnTo>
                  <a:pt x="404" y="79"/>
                </a:lnTo>
                <a:lnTo>
                  <a:pt x="400" y="77"/>
                </a:lnTo>
                <a:lnTo>
                  <a:pt x="396" y="74"/>
                </a:lnTo>
                <a:lnTo>
                  <a:pt x="393" y="73"/>
                </a:lnTo>
                <a:lnTo>
                  <a:pt x="388" y="73"/>
                </a:lnTo>
                <a:lnTo>
                  <a:pt x="384" y="73"/>
                </a:lnTo>
                <a:lnTo>
                  <a:pt x="379" y="74"/>
                </a:lnTo>
                <a:lnTo>
                  <a:pt x="375" y="77"/>
                </a:lnTo>
                <a:lnTo>
                  <a:pt x="373" y="79"/>
                </a:lnTo>
                <a:lnTo>
                  <a:pt x="371" y="83"/>
                </a:lnTo>
                <a:lnTo>
                  <a:pt x="368" y="87"/>
                </a:lnTo>
                <a:lnTo>
                  <a:pt x="367" y="90"/>
                </a:lnTo>
                <a:lnTo>
                  <a:pt x="367" y="95"/>
                </a:lnTo>
                <a:lnTo>
                  <a:pt x="367" y="99"/>
                </a:lnTo>
                <a:lnTo>
                  <a:pt x="368" y="103"/>
                </a:lnTo>
                <a:lnTo>
                  <a:pt x="371" y="106"/>
                </a:lnTo>
                <a:lnTo>
                  <a:pt x="373" y="110"/>
                </a:lnTo>
                <a:lnTo>
                  <a:pt x="375" y="113"/>
                </a:lnTo>
                <a:lnTo>
                  <a:pt x="379" y="115"/>
                </a:lnTo>
                <a:lnTo>
                  <a:pt x="384" y="116"/>
                </a:lnTo>
                <a:lnTo>
                  <a:pt x="388" y="116"/>
                </a:lnTo>
                <a:close/>
                <a:moveTo>
                  <a:pt x="424" y="310"/>
                </a:moveTo>
                <a:lnTo>
                  <a:pt x="377" y="315"/>
                </a:lnTo>
                <a:lnTo>
                  <a:pt x="329" y="319"/>
                </a:lnTo>
                <a:lnTo>
                  <a:pt x="282" y="322"/>
                </a:lnTo>
                <a:lnTo>
                  <a:pt x="235" y="322"/>
                </a:lnTo>
                <a:lnTo>
                  <a:pt x="188" y="322"/>
                </a:lnTo>
                <a:lnTo>
                  <a:pt x="139" y="319"/>
                </a:lnTo>
                <a:lnTo>
                  <a:pt x="92" y="315"/>
                </a:lnTo>
                <a:lnTo>
                  <a:pt x="46" y="310"/>
                </a:lnTo>
                <a:lnTo>
                  <a:pt x="38" y="277"/>
                </a:lnTo>
                <a:lnTo>
                  <a:pt x="33" y="242"/>
                </a:lnTo>
                <a:lnTo>
                  <a:pt x="31" y="209"/>
                </a:lnTo>
                <a:lnTo>
                  <a:pt x="29" y="176"/>
                </a:lnTo>
                <a:lnTo>
                  <a:pt x="31" y="141"/>
                </a:lnTo>
                <a:lnTo>
                  <a:pt x="33" y="108"/>
                </a:lnTo>
                <a:lnTo>
                  <a:pt x="38" y="74"/>
                </a:lnTo>
                <a:lnTo>
                  <a:pt x="46" y="40"/>
                </a:lnTo>
                <a:lnTo>
                  <a:pt x="92" y="35"/>
                </a:lnTo>
                <a:lnTo>
                  <a:pt x="139" y="32"/>
                </a:lnTo>
                <a:lnTo>
                  <a:pt x="188" y="30"/>
                </a:lnTo>
                <a:lnTo>
                  <a:pt x="235" y="28"/>
                </a:lnTo>
                <a:lnTo>
                  <a:pt x="282" y="30"/>
                </a:lnTo>
                <a:lnTo>
                  <a:pt x="329" y="32"/>
                </a:lnTo>
                <a:lnTo>
                  <a:pt x="377" y="35"/>
                </a:lnTo>
                <a:lnTo>
                  <a:pt x="424" y="40"/>
                </a:lnTo>
                <a:lnTo>
                  <a:pt x="431" y="74"/>
                </a:lnTo>
                <a:lnTo>
                  <a:pt x="436" y="108"/>
                </a:lnTo>
                <a:lnTo>
                  <a:pt x="439" y="141"/>
                </a:lnTo>
                <a:lnTo>
                  <a:pt x="440" y="176"/>
                </a:lnTo>
                <a:lnTo>
                  <a:pt x="439" y="209"/>
                </a:lnTo>
                <a:lnTo>
                  <a:pt x="436" y="242"/>
                </a:lnTo>
                <a:lnTo>
                  <a:pt x="431" y="277"/>
                </a:lnTo>
                <a:lnTo>
                  <a:pt x="424" y="310"/>
                </a:lnTo>
                <a:close/>
                <a:moveTo>
                  <a:pt x="452" y="33"/>
                </a:moveTo>
                <a:lnTo>
                  <a:pt x="451" y="30"/>
                </a:lnTo>
                <a:lnTo>
                  <a:pt x="448" y="25"/>
                </a:lnTo>
                <a:lnTo>
                  <a:pt x="446" y="21"/>
                </a:lnTo>
                <a:lnTo>
                  <a:pt x="443" y="19"/>
                </a:lnTo>
                <a:lnTo>
                  <a:pt x="440" y="16"/>
                </a:lnTo>
                <a:lnTo>
                  <a:pt x="436" y="14"/>
                </a:lnTo>
                <a:lnTo>
                  <a:pt x="431" y="12"/>
                </a:lnTo>
                <a:lnTo>
                  <a:pt x="427" y="11"/>
                </a:lnTo>
                <a:lnTo>
                  <a:pt x="403" y="9"/>
                </a:lnTo>
                <a:lnTo>
                  <a:pt x="379" y="6"/>
                </a:lnTo>
                <a:lnTo>
                  <a:pt x="354" y="4"/>
                </a:lnTo>
                <a:lnTo>
                  <a:pt x="331" y="2"/>
                </a:lnTo>
                <a:lnTo>
                  <a:pt x="306" y="1"/>
                </a:lnTo>
                <a:lnTo>
                  <a:pt x="283" y="0"/>
                </a:lnTo>
                <a:lnTo>
                  <a:pt x="258" y="0"/>
                </a:lnTo>
                <a:lnTo>
                  <a:pt x="235" y="0"/>
                </a:lnTo>
                <a:lnTo>
                  <a:pt x="210" y="0"/>
                </a:lnTo>
                <a:lnTo>
                  <a:pt x="186" y="0"/>
                </a:lnTo>
                <a:lnTo>
                  <a:pt x="163" y="1"/>
                </a:lnTo>
                <a:lnTo>
                  <a:pt x="138" y="2"/>
                </a:lnTo>
                <a:lnTo>
                  <a:pt x="113" y="4"/>
                </a:lnTo>
                <a:lnTo>
                  <a:pt x="90" y="6"/>
                </a:lnTo>
                <a:lnTo>
                  <a:pt x="67" y="9"/>
                </a:lnTo>
                <a:lnTo>
                  <a:pt x="42" y="11"/>
                </a:lnTo>
                <a:lnTo>
                  <a:pt x="38" y="12"/>
                </a:lnTo>
                <a:lnTo>
                  <a:pt x="33" y="14"/>
                </a:lnTo>
                <a:lnTo>
                  <a:pt x="29" y="16"/>
                </a:lnTo>
                <a:lnTo>
                  <a:pt x="26" y="19"/>
                </a:lnTo>
                <a:lnTo>
                  <a:pt x="23" y="21"/>
                </a:lnTo>
                <a:lnTo>
                  <a:pt x="21" y="25"/>
                </a:lnTo>
                <a:lnTo>
                  <a:pt x="18" y="30"/>
                </a:lnTo>
                <a:lnTo>
                  <a:pt x="17" y="33"/>
                </a:lnTo>
                <a:lnTo>
                  <a:pt x="10" y="69"/>
                </a:lnTo>
                <a:lnTo>
                  <a:pt x="5" y="104"/>
                </a:lnTo>
                <a:lnTo>
                  <a:pt x="1" y="140"/>
                </a:lnTo>
                <a:lnTo>
                  <a:pt x="0" y="176"/>
                </a:lnTo>
                <a:lnTo>
                  <a:pt x="1" y="212"/>
                </a:lnTo>
                <a:lnTo>
                  <a:pt x="5" y="246"/>
                </a:lnTo>
                <a:lnTo>
                  <a:pt x="10" y="282"/>
                </a:lnTo>
                <a:lnTo>
                  <a:pt x="17" y="318"/>
                </a:lnTo>
                <a:lnTo>
                  <a:pt x="18" y="322"/>
                </a:lnTo>
                <a:lnTo>
                  <a:pt x="21" y="325"/>
                </a:lnTo>
                <a:lnTo>
                  <a:pt x="23" y="329"/>
                </a:lnTo>
                <a:lnTo>
                  <a:pt x="26" y="333"/>
                </a:lnTo>
                <a:lnTo>
                  <a:pt x="29" y="335"/>
                </a:lnTo>
                <a:lnTo>
                  <a:pt x="33" y="338"/>
                </a:lnTo>
                <a:lnTo>
                  <a:pt x="38" y="339"/>
                </a:lnTo>
                <a:lnTo>
                  <a:pt x="42" y="340"/>
                </a:lnTo>
                <a:lnTo>
                  <a:pt x="65" y="343"/>
                </a:lnTo>
                <a:lnTo>
                  <a:pt x="89" y="345"/>
                </a:lnTo>
                <a:lnTo>
                  <a:pt x="111" y="346"/>
                </a:lnTo>
                <a:lnTo>
                  <a:pt x="134" y="348"/>
                </a:lnTo>
                <a:lnTo>
                  <a:pt x="133" y="350"/>
                </a:lnTo>
                <a:lnTo>
                  <a:pt x="132" y="351"/>
                </a:lnTo>
                <a:lnTo>
                  <a:pt x="134" y="354"/>
                </a:lnTo>
                <a:lnTo>
                  <a:pt x="139" y="357"/>
                </a:lnTo>
                <a:lnTo>
                  <a:pt x="149" y="360"/>
                </a:lnTo>
                <a:lnTo>
                  <a:pt x="162" y="361"/>
                </a:lnTo>
                <a:lnTo>
                  <a:pt x="195" y="365"/>
                </a:lnTo>
                <a:lnTo>
                  <a:pt x="235" y="366"/>
                </a:lnTo>
                <a:lnTo>
                  <a:pt x="274" y="365"/>
                </a:lnTo>
                <a:lnTo>
                  <a:pt x="308" y="361"/>
                </a:lnTo>
                <a:lnTo>
                  <a:pt x="320" y="360"/>
                </a:lnTo>
                <a:lnTo>
                  <a:pt x="329" y="357"/>
                </a:lnTo>
                <a:lnTo>
                  <a:pt x="335" y="354"/>
                </a:lnTo>
                <a:lnTo>
                  <a:pt x="337" y="351"/>
                </a:lnTo>
                <a:lnTo>
                  <a:pt x="336" y="350"/>
                </a:lnTo>
                <a:lnTo>
                  <a:pt x="335" y="348"/>
                </a:lnTo>
                <a:lnTo>
                  <a:pt x="357" y="346"/>
                </a:lnTo>
                <a:lnTo>
                  <a:pt x="380" y="345"/>
                </a:lnTo>
                <a:lnTo>
                  <a:pt x="404" y="343"/>
                </a:lnTo>
                <a:lnTo>
                  <a:pt x="427" y="340"/>
                </a:lnTo>
                <a:lnTo>
                  <a:pt x="431" y="339"/>
                </a:lnTo>
                <a:lnTo>
                  <a:pt x="436" y="338"/>
                </a:lnTo>
                <a:lnTo>
                  <a:pt x="440" y="335"/>
                </a:lnTo>
                <a:lnTo>
                  <a:pt x="443" y="333"/>
                </a:lnTo>
                <a:lnTo>
                  <a:pt x="446" y="329"/>
                </a:lnTo>
                <a:lnTo>
                  <a:pt x="448" y="325"/>
                </a:lnTo>
                <a:lnTo>
                  <a:pt x="451" y="322"/>
                </a:lnTo>
                <a:lnTo>
                  <a:pt x="452" y="318"/>
                </a:lnTo>
                <a:lnTo>
                  <a:pt x="460" y="282"/>
                </a:lnTo>
                <a:lnTo>
                  <a:pt x="464" y="246"/>
                </a:lnTo>
                <a:lnTo>
                  <a:pt x="468" y="212"/>
                </a:lnTo>
                <a:lnTo>
                  <a:pt x="468" y="176"/>
                </a:lnTo>
                <a:lnTo>
                  <a:pt x="468" y="140"/>
                </a:lnTo>
                <a:lnTo>
                  <a:pt x="464" y="104"/>
                </a:lnTo>
                <a:lnTo>
                  <a:pt x="460" y="69"/>
                </a:lnTo>
                <a:lnTo>
                  <a:pt x="452" y="33"/>
                </a:lnTo>
                <a:close/>
                <a:moveTo>
                  <a:pt x="325" y="67"/>
                </a:moveTo>
                <a:lnTo>
                  <a:pt x="295" y="62"/>
                </a:lnTo>
                <a:lnTo>
                  <a:pt x="265" y="58"/>
                </a:lnTo>
                <a:lnTo>
                  <a:pt x="235" y="56"/>
                </a:lnTo>
                <a:lnTo>
                  <a:pt x="205" y="54"/>
                </a:lnTo>
                <a:lnTo>
                  <a:pt x="175" y="56"/>
                </a:lnTo>
                <a:lnTo>
                  <a:pt x="146" y="58"/>
                </a:lnTo>
                <a:lnTo>
                  <a:pt x="116" y="62"/>
                </a:lnTo>
                <a:lnTo>
                  <a:pt x="85" y="67"/>
                </a:lnTo>
                <a:lnTo>
                  <a:pt x="81" y="68"/>
                </a:lnTo>
                <a:lnTo>
                  <a:pt x="79" y="70"/>
                </a:lnTo>
                <a:lnTo>
                  <a:pt x="76" y="73"/>
                </a:lnTo>
                <a:lnTo>
                  <a:pt x="75" y="77"/>
                </a:lnTo>
                <a:lnTo>
                  <a:pt x="68" y="101"/>
                </a:lnTo>
                <a:lnTo>
                  <a:pt x="63" y="125"/>
                </a:lnTo>
                <a:lnTo>
                  <a:pt x="60" y="150"/>
                </a:lnTo>
                <a:lnTo>
                  <a:pt x="59" y="173"/>
                </a:lnTo>
                <a:lnTo>
                  <a:pt x="60" y="198"/>
                </a:lnTo>
                <a:lnTo>
                  <a:pt x="63" y="223"/>
                </a:lnTo>
                <a:lnTo>
                  <a:pt x="68" y="246"/>
                </a:lnTo>
                <a:lnTo>
                  <a:pt x="75" y="271"/>
                </a:lnTo>
                <a:lnTo>
                  <a:pt x="76" y="275"/>
                </a:lnTo>
                <a:lnTo>
                  <a:pt x="79" y="277"/>
                </a:lnTo>
                <a:lnTo>
                  <a:pt x="81" y="280"/>
                </a:lnTo>
                <a:lnTo>
                  <a:pt x="85" y="281"/>
                </a:lnTo>
                <a:lnTo>
                  <a:pt x="116" y="286"/>
                </a:lnTo>
                <a:lnTo>
                  <a:pt x="146" y="289"/>
                </a:lnTo>
                <a:lnTo>
                  <a:pt x="175" y="292"/>
                </a:lnTo>
                <a:lnTo>
                  <a:pt x="205" y="293"/>
                </a:lnTo>
                <a:lnTo>
                  <a:pt x="235" y="292"/>
                </a:lnTo>
                <a:lnTo>
                  <a:pt x="265" y="289"/>
                </a:lnTo>
                <a:lnTo>
                  <a:pt x="295" y="286"/>
                </a:lnTo>
                <a:lnTo>
                  <a:pt x="325" y="281"/>
                </a:lnTo>
                <a:lnTo>
                  <a:pt x="329" y="280"/>
                </a:lnTo>
                <a:lnTo>
                  <a:pt x="331" y="277"/>
                </a:lnTo>
                <a:lnTo>
                  <a:pt x="333" y="275"/>
                </a:lnTo>
                <a:lnTo>
                  <a:pt x="336" y="271"/>
                </a:lnTo>
                <a:lnTo>
                  <a:pt x="342" y="246"/>
                </a:lnTo>
                <a:lnTo>
                  <a:pt x="347" y="223"/>
                </a:lnTo>
                <a:lnTo>
                  <a:pt x="351" y="198"/>
                </a:lnTo>
                <a:lnTo>
                  <a:pt x="352" y="173"/>
                </a:lnTo>
                <a:lnTo>
                  <a:pt x="351" y="150"/>
                </a:lnTo>
                <a:lnTo>
                  <a:pt x="347" y="125"/>
                </a:lnTo>
                <a:lnTo>
                  <a:pt x="342" y="101"/>
                </a:lnTo>
                <a:lnTo>
                  <a:pt x="336" y="77"/>
                </a:lnTo>
                <a:lnTo>
                  <a:pt x="333" y="73"/>
                </a:lnTo>
                <a:lnTo>
                  <a:pt x="331" y="70"/>
                </a:lnTo>
                <a:lnTo>
                  <a:pt x="329" y="68"/>
                </a:lnTo>
                <a:lnTo>
                  <a:pt x="325" y="6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59" name="Freeform 52">
            <a:extLst>
              <a:ext uri="{FF2B5EF4-FFF2-40B4-BE49-F238E27FC236}">
                <a16:creationId xmlns:a16="http://schemas.microsoft.com/office/drawing/2014/main" id="{B0630329-854C-DEC1-83A6-C6DAD75CF4F4}"/>
              </a:ext>
            </a:extLst>
          </p:cNvPr>
          <p:cNvSpPr>
            <a:spLocks noEditPoints="1"/>
          </p:cNvSpPr>
          <p:nvPr/>
        </p:nvSpPr>
        <p:spPr bwMode="auto">
          <a:xfrm>
            <a:off x="2101850" y="7205621"/>
            <a:ext cx="371475" cy="325438"/>
          </a:xfrm>
          <a:custGeom>
            <a:avLst/>
            <a:gdLst>
              <a:gd name="T0" fmla="*/ 235 w 468"/>
              <a:gd name="T1" fmla="*/ 381 h 410"/>
              <a:gd name="T2" fmla="*/ 54 w 468"/>
              <a:gd name="T3" fmla="*/ 208 h 410"/>
              <a:gd name="T4" fmla="*/ 34 w 468"/>
              <a:gd name="T5" fmla="*/ 169 h 410"/>
              <a:gd name="T6" fmla="*/ 31 w 468"/>
              <a:gd name="T7" fmla="*/ 127 h 410"/>
              <a:gd name="T8" fmla="*/ 42 w 468"/>
              <a:gd name="T9" fmla="*/ 88 h 410"/>
              <a:gd name="T10" fmla="*/ 70 w 468"/>
              <a:gd name="T11" fmla="*/ 53 h 410"/>
              <a:gd name="T12" fmla="*/ 107 w 468"/>
              <a:gd name="T13" fmla="*/ 33 h 410"/>
              <a:gd name="T14" fmla="*/ 148 w 468"/>
              <a:gd name="T15" fmla="*/ 29 h 410"/>
              <a:gd name="T16" fmla="*/ 188 w 468"/>
              <a:gd name="T17" fmla="*/ 39 h 410"/>
              <a:gd name="T18" fmla="*/ 235 w 468"/>
              <a:gd name="T19" fmla="*/ 75 h 410"/>
              <a:gd name="T20" fmla="*/ 280 w 468"/>
              <a:gd name="T21" fmla="*/ 39 h 410"/>
              <a:gd name="T22" fmla="*/ 321 w 468"/>
              <a:gd name="T23" fmla="*/ 29 h 410"/>
              <a:gd name="T24" fmla="*/ 362 w 468"/>
              <a:gd name="T25" fmla="*/ 33 h 410"/>
              <a:gd name="T26" fmla="*/ 399 w 468"/>
              <a:gd name="T27" fmla="*/ 53 h 410"/>
              <a:gd name="T28" fmla="*/ 426 w 468"/>
              <a:gd name="T29" fmla="*/ 88 h 410"/>
              <a:gd name="T30" fmla="*/ 439 w 468"/>
              <a:gd name="T31" fmla="*/ 127 h 410"/>
              <a:gd name="T32" fmla="*/ 435 w 468"/>
              <a:gd name="T33" fmla="*/ 169 h 410"/>
              <a:gd name="T34" fmla="*/ 414 w 468"/>
              <a:gd name="T35" fmla="*/ 208 h 410"/>
              <a:gd name="T36" fmla="*/ 136 w 468"/>
              <a:gd name="T37" fmla="*/ 73 h 410"/>
              <a:gd name="T38" fmla="*/ 91 w 468"/>
              <a:gd name="T39" fmla="*/ 91 h 410"/>
              <a:gd name="T40" fmla="*/ 74 w 468"/>
              <a:gd name="T41" fmla="*/ 122 h 410"/>
              <a:gd name="T42" fmla="*/ 75 w 468"/>
              <a:gd name="T43" fmla="*/ 141 h 410"/>
              <a:gd name="T44" fmla="*/ 86 w 468"/>
              <a:gd name="T45" fmla="*/ 141 h 410"/>
              <a:gd name="T46" fmla="*/ 89 w 468"/>
              <a:gd name="T47" fmla="*/ 126 h 410"/>
              <a:gd name="T48" fmla="*/ 109 w 468"/>
              <a:gd name="T49" fmla="*/ 95 h 410"/>
              <a:gd name="T50" fmla="*/ 136 w 468"/>
              <a:gd name="T51" fmla="*/ 88 h 410"/>
              <a:gd name="T52" fmla="*/ 143 w 468"/>
              <a:gd name="T53" fmla="*/ 80 h 410"/>
              <a:gd name="T54" fmla="*/ 136 w 468"/>
              <a:gd name="T55" fmla="*/ 73 h 410"/>
              <a:gd name="T56" fmla="*/ 395 w 468"/>
              <a:gd name="T57" fmla="*/ 16 h 410"/>
              <a:gd name="T58" fmla="*/ 345 w 468"/>
              <a:gd name="T59" fmla="*/ 0 h 410"/>
              <a:gd name="T60" fmla="*/ 293 w 468"/>
              <a:gd name="T61" fmla="*/ 5 h 410"/>
              <a:gd name="T62" fmla="*/ 245 w 468"/>
              <a:gd name="T63" fmla="*/ 27 h 410"/>
              <a:gd name="T64" fmla="*/ 200 w 468"/>
              <a:gd name="T65" fmla="*/ 13 h 410"/>
              <a:gd name="T66" fmla="*/ 151 w 468"/>
              <a:gd name="T67" fmla="*/ 0 h 410"/>
              <a:gd name="T68" fmla="*/ 99 w 468"/>
              <a:gd name="T69" fmla="*/ 6 h 410"/>
              <a:gd name="T70" fmla="*/ 52 w 468"/>
              <a:gd name="T71" fmla="*/ 31 h 410"/>
              <a:gd name="T72" fmla="*/ 16 w 468"/>
              <a:gd name="T73" fmla="*/ 74 h 410"/>
              <a:gd name="T74" fmla="*/ 1 w 468"/>
              <a:gd name="T75" fmla="*/ 125 h 410"/>
              <a:gd name="T76" fmla="*/ 6 w 468"/>
              <a:gd name="T77" fmla="*/ 178 h 410"/>
              <a:gd name="T78" fmla="*/ 32 w 468"/>
              <a:gd name="T79" fmla="*/ 226 h 410"/>
              <a:gd name="T80" fmla="*/ 180 w 468"/>
              <a:gd name="T81" fmla="*/ 375 h 410"/>
              <a:gd name="T82" fmla="*/ 226 w 468"/>
              <a:gd name="T83" fmla="*/ 409 h 410"/>
              <a:gd name="T84" fmla="*/ 258 w 468"/>
              <a:gd name="T85" fmla="*/ 403 h 410"/>
              <a:gd name="T86" fmla="*/ 402 w 468"/>
              <a:gd name="T87" fmla="*/ 262 h 410"/>
              <a:gd name="T88" fmla="*/ 452 w 468"/>
              <a:gd name="T89" fmla="*/ 203 h 410"/>
              <a:gd name="T90" fmla="*/ 468 w 468"/>
              <a:gd name="T91" fmla="*/ 152 h 410"/>
              <a:gd name="T92" fmla="*/ 463 w 468"/>
              <a:gd name="T93" fmla="*/ 99 h 410"/>
              <a:gd name="T94" fmla="*/ 437 w 468"/>
              <a:gd name="T95" fmla="*/ 5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8" h="410">
                <a:moveTo>
                  <a:pt x="406" y="216"/>
                </a:moveTo>
                <a:lnTo>
                  <a:pt x="245" y="376"/>
                </a:lnTo>
                <a:lnTo>
                  <a:pt x="240" y="379"/>
                </a:lnTo>
                <a:lnTo>
                  <a:pt x="235" y="381"/>
                </a:lnTo>
                <a:lnTo>
                  <a:pt x="229" y="379"/>
                </a:lnTo>
                <a:lnTo>
                  <a:pt x="224" y="376"/>
                </a:lnTo>
                <a:lnTo>
                  <a:pt x="62" y="216"/>
                </a:lnTo>
                <a:lnTo>
                  <a:pt x="54" y="208"/>
                </a:lnTo>
                <a:lnTo>
                  <a:pt x="48" y="199"/>
                </a:lnTo>
                <a:lnTo>
                  <a:pt x="42" y="189"/>
                </a:lnTo>
                <a:lnTo>
                  <a:pt x="38" y="179"/>
                </a:lnTo>
                <a:lnTo>
                  <a:pt x="34" y="169"/>
                </a:lnTo>
                <a:lnTo>
                  <a:pt x="32" y="159"/>
                </a:lnTo>
                <a:lnTo>
                  <a:pt x="31" y="149"/>
                </a:lnTo>
                <a:lnTo>
                  <a:pt x="30" y="138"/>
                </a:lnTo>
                <a:lnTo>
                  <a:pt x="31" y="127"/>
                </a:lnTo>
                <a:lnTo>
                  <a:pt x="32" y="117"/>
                </a:lnTo>
                <a:lnTo>
                  <a:pt x="34" y="107"/>
                </a:lnTo>
                <a:lnTo>
                  <a:pt x="38" y="97"/>
                </a:lnTo>
                <a:lnTo>
                  <a:pt x="42" y="88"/>
                </a:lnTo>
                <a:lnTo>
                  <a:pt x="48" y="78"/>
                </a:lnTo>
                <a:lnTo>
                  <a:pt x="54" y="69"/>
                </a:lnTo>
                <a:lnTo>
                  <a:pt x="62" y="60"/>
                </a:lnTo>
                <a:lnTo>
                  <a:pt x="70" y="53"/>
                </a:lnTo>
                <a:lnTo>
                  <a:pt x="79" y="47"/>
                </a:lnTo>
                <a:lnTo>
                  <a:pt x="88" y="42"/>
                </a:lnTo>
                <a:lnTo>
                  <a:pt x="98" y="37"/>
                </a:lnTo>
                <a:lnTo>
                  <a:pt x="107" y="33"/>
                </a:lnTo>
                <a:lnTo>
                  <a:pt x="117" y="31"/>
                </a:lnTo>
                <a:lnTo>
                  <a:pt x="127" y="29"/>
                </a:lnTo>
                <a:lnTo>
                  <a:pt x="137" y="28"/>
                </a:lnTo>
                <a:lnTo>
                  <a:pt x="148" y="29"/>
                </a:lnTo>
                <a:lnTo>
                  <a:pt x="158" y="31"/>
                </a:lnTo>
                <a:lnTo>
                  <a:pt x="168" y="32"/>
                </a:lnTo>
                <a:lnTo>
                  <a:pt x="178" y="36"/>
                </a:lnTo>
                <a:lnTo>
                  <a:pt x="188" y="39"/>
                </a:lnTo>
                <a:lnTo>
                  <a:pt x="198" y="44"/>
                </a:lnTo>
                <a:lnTo>
                  <a:pt x="206" y="50"/>
                </a:lnTo>
                <a:lnTo>
                  <a:pt x="215" y="58"/>
                </a:lnTo>
                <a:lnTo>
                  <a:pt x="235" y="75"/>
                </a:lnTo>
                <a:lnTo>
                  <a:pt x="254" y="58"/>
                </a:lnTo>
                <a:lnTo>
                  <a:pt x="263" y="50"/>
                </a:lnTo>
                <a:lnTo>
                  <a:pt x="272" y="44"/>
                </a:lnTo>
                <a:lnTo>
                  <a:pt x="280" y="39"/>
                </a:lnTo>
                <a:lnTo>
                  <a:pt x="290" y="36"/>
                </a:lnTo>
                <a:lnTo>
                  <a:pt x="300" y="32"/>
                </a:lnTo>
                <a:lnTo>
                  <a:pt x="311" y="31"/>
                </a:lnTo>
                <a:lnTo>
                  <a:pt x="321" y="29"/>
                </a:lnTo>
                <a:lnTo>
                  <a:pt x="331" y="28"/>
                </a:lnTo>
                <a:lnTo>
                  <a:pt x="341" y="29"/>
                </a:lnTo>
                <a:lnTo>
                  <a:pt x="352" y="31"/>
                </a:lnTo>
                <a:lnTo>
                  <a:pt x="362" y="33"/>
                </a:lnTo>
                <a:lnTo>
                  <a:pt x="372" y="37"/>
                </a:lnTo>
                <a:lnTo>
                  <a:pt x="381" y="42"/>
                </a:lnTo>
                <a:lnTo>
                  <a:pt x="390" y="47"/>
                </a:lnTo>
                <a:lnTo>
                  <a:pt x="399" y="53"/>
                </a:lnTo>
                <a:lnTo>
                  <a:pt x="406" y="60"/>
                </a:lnTo>
                <a:lnTo>
                  <a:pt x="414" y="69"/>
                </a:lnTo>
                <a:lnTo>
                  <a:pt x="421" y="78"/>
                </a:lnTo>
                <a:lnTo>
                  <a:pt x="426" y="88"/>
                </a:lnTo>
                <a:lnTo>
                  <a:pt x="431" y="97"/>
                </a:lnTo>
                <a:lnTo>
                  <a:pt x="435" y="107"/>
                </a:lnTo>
                <a:lnTo>
                  <a:pt x="437" y="117"/>
                </a:lnTo>
                <a:lnTo>
                  <a:pt x="439" y="127"/>
                </a:lnTo>
                <a:lnTo>
                  <a:pt x="439" y="138"/>
                </a:lnTo>
                <a:lnTo>
                  <a:pt x="439" y="149"/>
                </a:lnTo>
                <a:lnTo>
                  <a:pt x="437" y="159"/>
                </a:lnTo>
                <a:lnTo>
                  <a:pt x="435" y="169"/>
                </a:lnTo>
                <a:lnTo>
                  <a:pt x="431" y="179"/>
                </a:lnTo>
                <a:lnTo>
                  <a:pt x="426" y="189"/>
                </a:lnTo>
                <a:lnTo>
                  <a:pt x="421" y="199"/>
                </a:lnTo>
                <a:lnTo>
                  <a:pt x="414" y="208"/>
                </a:lnTo>
                <a:lnTo>
                  <a:pt x="406" y="216"/>
                </a:lnTo>
                <a:close/>
                <a:moveTo>
                  <a:pt x="136" y="73"/>
                </a:moveTo>
                <a:lnTo>
                  <a:pt x="136" y="73"/>
                </a:lnTo>
                <a:lnTo>
                  <a:pt x="136" y="73"/>
                </a:lnTo>
                <a:lnTo>
                  <a:pt x="123" y="74"/>
                </a:lnTo>
                <a:lnTo>
                  <a:pt x="111" y="78"/>
                </a:lnTo>
                <a:lnTo>
                  <a:pt x="101" y="84"/>
                </a:lnTo>
                <a:lnTo>
                  <a:pt x="91" y="91"/>
                </a:lnTo>
                <a:lnTo>
                  <a:pt x="84" y="100"/>
                </a:lnTo>
                <a:lnTo>
                  <a:pt x="78" y="111"/>
                </a:lnTo>
                <a:lnTo>
                  <a:pt x="77" y="116"/>
                </a:lnTo>
                <a:lnTo>
                  <a:pt x="74" y="122"/>
                </a:lnTo>
                <a:lnTo>
                  <a:pt x="74" y="128"/>
                </a:lnTo>
                <a:lnTo>
                  <a:pt x="73" y="135"/>
                </a:lnTo>
                <a:lnTo>
                  <a:pt x="74" y="138"/>
                </a:lnTo>
                <a:lnTo>
                  <a:pt x="75" y="141"/>
                </a:lnTo>
                <a:lnTo>
                  <a:pt x="78" y="142"/>
                </a:lnTo>
                <a:lnTo>
                  <a:pt x="80" y="142"/>
                </a:lnTo>
                <a:lnTo>
                  <a:pt x="84" y="142"/>
                </a:lnTo>
                <a:lnTo>
                  <a:pt x="86" y="141"/>
                </a:lnTo>
                <a:lnTo>
                  <a:pt x="88" y="138"/>
                </a:lnTo>
                <a:lnTo>
                  <a:pt x="88" y="135"/>
                </a:lnTo>
                <a:lnTo>
                  <a:pt x="88" y="135"/>
                </a:lnTo>
                <a:lnTo>
                  <a:pt x="89" y="126"/>
                </a:lnTo>
                <a:lnTo>
                  <a:pt x="91" y="116"/>
                </a:lnTo>
                <a:lnTo>
                  <a:pt x="96" y="109"/>
                </a:lnTo>
                <a:lnTo>
                  <a:pt x="102" y="101"/>
                </a:lnTo>
                <a:lnTo>
                  <a:pt x="109" y="95"/>
                </a:lnTo>
                <a:lnTo>
                  <a:pt x="117" y="91"/>
                </a:lnTo>
                <a:lnTo>
                  <a:pt x="126" y="89"/>
                </a:lnTo>
                <a:lnTo>
                  <a:pt x="136" y="88"/>
                </a:lnTo>
                <a:lnTo>
                  <a:pt x="136" y="88"/>
                </a:lnTo>
                <a:lnTo>
                  <a:pt x="138" y="86"/>
                </a:lnTo>
                <a:lnTo>
                  <a:pt x="141" y="85"/>
                </a:lnTo>
                <a:lnTo>
                  <a:pt x="142" y="83"/>
                </a:lnTo>
                <a:lnTo>
                  <a:pt x="143" y="80"/>
                </a:lnTo>
                <a:lnTo>
                  <a:pt x="142" y="78"/>
                </a:lnTo>
                <a:lnTo>
                  <a:pt x="141" y="75"/>
                </a:lnTo>
                <a:lnTo>
                  <a:pt x="138" y="73"/>
                </a:lnTo>
                <a:lnTo>
                  <a:pt x="136" y="73"/>
                </a:lnTo>
                <a:close/>
                <a:moveTo>
                  <a:pt x="428" y="39"/>
                </a:moveTo>
                <a:lnTo>
                  <a:pt x="418" y="31"/>
                </a:lnTo>
                <a:lnTo>
                  <a:pt x="406" y="22"/>
                </a:lnTo>
                <a:lnTo>
                  <a:pt x="395" y="16"/>
                </a:lnTo>
                <a:lnTo>
                  <a:pt x="383" y="10"/>
                </a:lnTo>
                <a:lnTo>
                  <a:pt x="371" y="6"/>
                </a:lnTo>
                <a:lnTo>
                  <a:pt x="357" y="2"/>
                </a:lnTo>
                <a:lnTo>
                  <a:pt x="345" y="0"/>
                </a:lnTo>
                <a:lnTo>
                  <a:pt x="332" y="0"/>
                </a:lnTo>
                <a:lnTo>
                  <a:pt x="319" y="0"/>
                </a:lnTo>
                <a:lnTo>
                  <a:pt x="305" y="1"/>
                </a:lnTo>
                <a:lnTo>
                  <a:pt x="293" y="5"/>
                </a:lnTo>
                <a:lnTo>
                  <a:pt x="280" y="8"/>
                </a:lnTo>
                <a:lnTo>
                  <a:pt x="268" y="13"/>
                </a:lnTo>
                <a:lnTo>
                  <a:pt x="257" y="19"/>
                </a:lnTo>
                <a:lnTo>
                  <a:pt x="245" y="27"/>
                </a:lnTo>
                <a:lnTo>
                  <a:pt x="235" y="36"/>
                </a:lnTo>
                <a:lnTo>
                  <a:pt x="224" y="27"/>
                </a:lnTo>
                <a:lnTo>
                  <a:pt x="212" y="19"/>
                </a:lnTo>
                <a:lnTo>
                  <a:pt x="200" y="13"/>
                </a:lnTo>
                <a:lnTo>
                  <a:pt x="189" y="8"/>
                </a:lnTo>
                <a:lnTo>
                  <a:pt x="175" y="5"/>
                </a:lnTo>
                <a:lnTo>
                  <a:pt x="163" y="1"/>
                </a:lnTo>
                <a:lnTo>
                  <a:pt x="151" y="0"/>
                </a:lnTo>
                <a:lnTo>
                  <a:pt x="137" y="0"/>
                </a:lnTo>
                <a:lnTo>
                  <a:pt x="123" y="0"/>
                </a:lnTo>
                <a:lnTo>
                  <a:pt x="111" y="2"/>
                </a:lnTo>
                <a:lnTo>
                  <a:pt x="99" y="6"/>
                </a:lnTo>
                <a:lnTo>
                  <a:pt x="86" y="10"/>
                </a:lnTo>
                <a:lnTo>
                  <a:pt x="74" y="16"/>
                </a:lnTo>
                <a:lnTo>
                  <a:pt x="63" y="22"/>
                </a:lnTo>
                <a:lnTo>
                  <a:pt x="52" y="31"/>
                </a:lnTo>
                <a:lnTo>
                  <a:pt x="41" y="39"/>
                </a:lnTo>
                <a:lnTo>
                  <a:pt x="32" y="50"/>
                </a:lnTo>
                <a:lnTo>
                  <a:pt x="23" y="62"/>
                </a:lnTo>
                <a:lnTo>
                  <a:pt x="16" y="74"/>
                </a:lnTo>
                <a:lnTo>
                  <a:pt x="10" y="86"/>
                </a:lnTo>
                <a:lnTo>
                  <a:pt x="6" y="99"/>
                </a:lnTo>
                <a:lnTo>
                  <a:pt x="2" y="112"/>
                </a:lnTo>
                <a:lnTo>
                  <a:pt x="1" y="125"/>
                </a:lnTo>
                <a:lnTo>
                  <a:pt x="0" y="138"/>
                </a:lnTo>
                <a:lnTo>
                  <a:pt x="1" y="152"/>
                </a:lnTo>
                <a:lnTo>
                  <a:pt x="2" y="164"/>
                </a:lnTo>
                <a:lnTo>
                  <a:pt x="6" y="178"/>
                </a:lnTo>
                <a:lnTo>
                  <a:pt x="10" y="190"/>
                </a:lnTo>
                <a:lnTo>
                  <a:pt x="16" y="203"/>
                </a:lnTo>
                <a:lnTo>
                  <a:pt x="23" y="215"/>
                </a:lnTo>
                <a:lnTo>
                  <a:pt x="32" y="226"/>
                </a:lnTo>
                <a:lnTo>
                  <a:pt x="41" y="236"/>
                </a:lnTo>
                <a:lnTo>
                  <a:pt x="73" y="268"/>
                </a:lnTo>
                <a:lnTo>
                  <a:pt x="128" y="323"/>
                </a:lnTo>
                <a:lnTo>
                  <a:pt x="180" y="375"/>
                </a:lnTo>
                <a:lnTo>
                  <a:pt x="203" y="397"/>
                </a:lnTo>
                <a:lnTo>
                  <a:pt x="210" y="403"/>
                </a:lnTo>
                <a:lnTo>
                  <a:pt x="217" y="407"/>
                </a:lnTo>
                <a:lnTo>
                  <a:pt x="226" y="409"/>
                </a:lnTo>
                <a:lnTo>
                  <a:pt x="235" y="410"/>
                </a:lnTo>
                <a:lnTo>
                  <a:pt x="243" y="409"/>
                </a:lnTo>
                <a:lnTo>
                  <a:pt x="251" y="407"/>
                </a:lnTo>
                <a:lnTo>
                  <a:pt x="258" y="403"/>
                </a:lnTo>
                <a:lnTo>
                  <a:pt x="266" y="397"/>
                </a:lnTo>
                <a:lnTo>
                  <a:pt x="290" y="372"/>
                </a:lnTo>
                <a:lnTo>
                  <a:pt x="346" y="318"/>
                </a:lnTo>
                <a:lnTo>
                  <a:pt x="402" y="262"/>
                </a:lnTo>
                <a:lnTo>
                  <a:pt x="428" y="236"/>
                </a:lnTo>
                <a:lnTo>
                  <a:pt x="437" y="226"/>
                </a:lnTo>
                <a:lnTo>
                  <a:pt x="446" y="215"/>
                </a:lnTo>
                <a:lnTo>
                  <a:pt x="452" y="203"/>
                </a:lnTo>
                <a:lnTo>
                  <a:pt x="458" y="190"/>
                </a:lnTo>
                <a:lnTo>
                  <a:pt x="463" y="178"/>
                </a:lnTo>
                <a:lnTo>
                  <a:pt x="466" y="164"/>
                </a:lnTo>
                <a:lnTo>
                  <a:pt x="468" y="152"/>
                </a:lnTo>
                <a:lnTo>
                  <a:pt x="468" y="138"/>
                </a:lnTo>
                <a:lnTo>
                  <a:pt x="468" y="125"/>
                </a:lnTo>
                <a:lnTo>
                  <a:pt x="466" y="112"/>
                </a:lnTo>
                <a:lnTo>
                  <a:pt x="463" y="99"/>
                </a:lnTo>
                <a:lnTo>
                  <a:pt x="458" y="86"/>
                </a:lnTo>
                <a:lnTo>
                  <a:pt x="452" y="74"/>
                </a:lnTo>
                <a:lnTo>
                  <a:pt x="446" y="62"/>
                </a:lnTo>
                <a:lnTo>
                  <a:pt x="437" y="50"/>
                </a:lnTo>
                <a:lnTo>
                  <a:pt x="428" y="39"/>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
        <p:nvSpPr>
          <p:cNvPr id="360" name="Freeform 53">
            <a:extLst>
              <a:ext uri="{FF2B5EF4-FFF2-40B4-BE49-F238E27FC236}">
                <a16:creationId xmlns:a16="http://schemas.microsoft.com/office/drawing/2014/main" id="{CB8C63CA-B3C2-CE58-1D7B-5FF5F84177FE}"/>
              </a:ext>
            </a:extLst>
          </p:cNvPr>
          <p:cNvSpPr>
            <a:spLocks noEditPoints="1"/>
          </p:cNvSpPr>
          <p:nvPr/>
        </p:nvSpPr>
        <p:spPr bwMode="auto">
          <a:xfrm>
            <a:off x="1295400" y="7234196"/>
            <a:ext cx="371475" cy="268288"/>
          </a:xfrm>
          <a:custGeom>
            <a:avLst/>
            <a:gdLst>
              <a:gd name="T0" fmla="*/ 82 w 468"/>
              <a:gd name="T1" fmla="*/ 306 h 337"/>
              <a:gd name="T2" fmla="*/ 48 w 468"/>
              <a:gd name="T3" fmla="*/ 289 h 337"/>
              <a:gd name="T4" fmla="*/ 31 w 468"/>
              <a:gd name="T5" fmla="*/ 256 h 337"/>
              <a:gd name="T6" fmla="*/ 32 w 468"/>
              <a:gd name="T7" fmla="*/ 225 h 337"/>
              <a:gd name="T8" fmla="*/ 48 w 468"/>
              <a:gd name="T9" fmla="*/ 196 h 337"/>
              <a:gd name="T10" fmla="*/ 74 w 468"/>
              <a:gd name="T11" fmla="*/ 178 h 337"/>
              <a:gd name="T12" fmla="*/ 79 w 468"/>
              <a:gd name="T13" fmla="*/ 163 h 337"/>
              <a:gd name="T14" fmla="*/ 73 w 468"/>
              <a:gd name="T15" fmla="*/ 139 h 337"/>
              <a:gd name="T16" fmla="*/ 84 w 468"/>
              <a:gd name="T17" fmla="*/ 113 h 337"/>
              <a:gd name="T18" fmla="*/ 110 w 468"/>
              <a:gd name="T19" fmla="*/ 102 h 337"/>
              <a:gd name="T20" fmla="*/ 140 w 468"/>
              <a:gd name="T21" fmla="*/ 108 h 337"/>
              <a:gd name="T22" fmla="*/ 156 w 468"/>
              <a:gd name="T23" fmla="*/ 89 h 337"/>
              <a:gd name="T24" fmla="*/ 194 w 468"/>
              <a:gd name="T25" fmla="*/ 45 h 337"/>
              <a:gd name="T26" fmla="*/ 248 w 468"/>
              <a:gd name="T27" fmla="*/ 29 h 337"/>
              <a:gd name="T28" fmla="*/ 287 w 468"/>
              <a:gd name="T29" fmla="*/ 37 h 337"/>
              <a:gd name="T30" fmla="*/ 318 w 468"/>
              <a:gd name="T31" fmla="*/ 56 h 337"/>
              <a:gd name="T32" fmla="*/ 340 w 468"/>
              <a:gd name="T33" fmla="*/ 85 h 337"/>
              <a:gd name="T34" fmla="*/ 351 w 468"/>
              <a:gd name="T35" fmla="*/ 122 h 337"/>
              <a:gd name="T36" fmla="*/ 355 w 468"/>
              <a:gd name="T37" fmla="*/ 142 h 337"/>
              <a:gd name="T38" fmla="*/ 374 w 468"/>
              <a:gd name="T39" fmla="*/ 148 h 337"/>
              <a:gd name="T40" fmla="*/ 421 w 468"/>
              <a:gd name="T41" fmla="*/ 176 h 337"/>
              <a:gd name="T42" fmla="*/ 440 w 468"/>
              <a:gd name="T43" fmla="*/ 227 h 337"/>
              <a:gd name="T44" fmla="*/ 433 w 468"/>
              <a:gd name="T45" fmla="*/ 258 h 337"/>
              <a:gd name="T46" fmla="*/ 415 w 468"/>
              <a:gd name="T47" fmla="*/ 284 h 337"/>
              <a:gd name="T48" fmla="*/ 391 w 468"/>
              <a:gd name="T49" fmla="*/ 301 h 337"/>
              <a:gd name="T50" fmla="*/ 358 w 468"/>
              <a:gd name="T51" fmla="*/ 308 h 337"/>
              <a:gd name="T52" fmla="*/ 371 w 468"/>
              <a:gd name="T53" fmla="*/ 84 h 337"/>
              <a:gd name="T54" fmla="*/ 346 w 468"/>
              <a:gd name="T55" fmla="*/ 43 h 337"/>
              <a:gd name="T56" fmla="*/ 308 w 468"/>
              <a:gd name="T57" fmla="*/ 14 h 337"/>
              <a:gd name="T58" fmla="*/ 262 w 468"/>
              <a:gd name="T59" fmla="*/ 1 h 337"/>
              <a:gd name="T60" fmla="*/ 220 w 468"/>
              <a:gd name="T61" fmla="*/ 3 h 337"/>
              <a:gd name="T62" fmla="*/ 185 w 468"/>
              <a:gd name="T63" fmla="*/ 17 h 337"/>
              <a:gd name="T64" fmla="*/ 156 w 468"/>
              <a:gd name="T65" fmla="*/ 39 h 337"/>
              <a:gd name="T66" fmla="*/ 133 w 468"/>
              <a:gd name="T67" fmla="*/ 69 h 337"/>
              <a:gd name="T68" fmla="*/ 103 w 468"/>
              <a:gd name="T69" fmla="*/ 74 h 337"/>
              <a:gd name="T70" fmla="*/ 73 w 468"/>
              <a:gd name="T71" fmla="*/ 85 h 337"/>
              <a:gd name="T72" fmla="*/ 47 w 468"/>
              <a:gd name="T73" fmla="*/ 120 h 337"/>
              <a:gd name="T74" fmla="*/ 44 w 468"/>
              <a:gd name="T75" fmla="*/ 151 h 337"/>
              <a:gd name="T76" fmla="*/ 20 w 468"/>
              <a:gd name="T77" fmla="*/ 184 h 337"/>
              <a:gd name="T78" fmla="*/ 1 w 468"/>
              <a:gd name="T79" fmla="*/ 228 h 337"/>
              <a:gd name="T80" fmla="*/ 4 w 468"/>
              <a:gd name="T81" fmla="*/ 271 h 337"/>
              <a:gd name="T82" fmla="*/ 22 w 468"/>
              <a:gd name="T83" fmla="*/ 303 h 337"/>
              <a:gd name="T84" fmla="*/ 49 w 468"/>
              <a:gd name="T85" fmla="*/ 326 h 337"/>
              <a:gd name="T86" fmla="*/ 85 w 468"/>
              <a:gd name="T87" fmla="*/ 337 h 337"/>
              <a:gd name="T88" fmla="*/ 358 w 468"/>
              <a:gd name="T89" fmla="*/ 337 h 337"/>
              <a:gd name="T90" fmla="*/ 402 w 468"/>
              <a:gd name="T91" fmla="*/ 329 h 337"/>
              <a:gd name="T92" fmla="*/ 436 w 468"/>
              <a:gd name="T93" fmla="*/ 305 h 337"/>
              <a:gd name="T94" fmla="*/ 460 w 468"/>
              <a:gd name="T95" fmla="*/ 271 h 337"/>
              <a:gd name="T96" fmla="*/ 468 w 468"/>
              <a:gd name="T97" fmla="*/ 227 h 337"/>
              <a:gd name="T98" fmla="*/ 462 w 468"/>
              <a:gd name="T99" fmla="*/ 189 h 337"/>
              <a:gd name="T100" fmla="*/ 444 w 468"/>
              <a:gd name="T101" fmla="*/ 157 h 337"/>
              <a:gd name="T102" fmla="*/ 415 w 468"/>
              <a:gd name="T103" fmla="*/ 133 h 337"/>
              <a:gd name="T104" fmla="*/ 379 w 468"/>
              <a:gd name="T105" fmla="*/ 12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8" h="337">
                <a:moveTo>
                  <a:pt x="358" y="308"/>
                </a:moveTo>
                <a:lnTo>
                  <a:pt x="95" y="308"/>
                </a:lnTo>
                <a:lnTo>
                  <a:pt x="89" y="308"/>
                </a:lnTo>
                <a:lnTo>
                  <a:pt x="82" y="306"/>
                </a:lnTo>
                <a:lnTo>
                  <a:pt x="75" y="305"/>
                </a:lnTo>
                <a:lnTo>
                  <a:pt x="69" y="303"/>
                </a:lnTo>
                <a:lnTo>
                  <a:pt x="58" y="296"/>
                </a:lnTo>
                <a:lnTo>
                  <a:pt x="48" y="289"/>
                </a:lnTo>
                <a:lnTo>
                  <a:pt x="41" y="279"/>
                </a:lnTo>
                <a:lnTo>
                  <a:pt x="35" y="268"/>
                </a:lnTo>
                <a:lnTo>
                  <a:pt x="32" y="262"/>
                </a:lnTo>
                <a:lnTo>
                  <a:pt x="31" y="256"/>
                </a:lnTo>
                <a:lnTo>
                  <a:pt x="30" y="248"/>
                </a:lnTo>
                <a:lnTo>
                  <a:pt x="30" y="242"/>
                </a:lnTo>
                <a:lnTo>
                  <a:pt x="30" y="233"/>
                </a:lnTo>
                <a:lnTo>
                  <a:pt x="32" y="225"/>
                </a:lnTo>
                <a:lnTo>
                  <a:pt x="35" y="217"/>
                </a:lnTo>
                <a:lnTo>
                  <a:pt x="38" y="210"/>
                </a:lnTo>
                <a:lnTo>
                  <a:pt x="43" y="202"/>
                </a:lnTo>
                <a:lnTo>
                  <a:pt x="48" y="196"/>
                </a:lnTo>
                <a:lnTo>
                  <a:pt x="54" y="190"/>
                </a:lnTo>
                <a:lnTo>
                  <a:pt x="62" y="185"/>
                </a:lnTo>
                <a:lnTo>
                  <a:pt x="69" y="181"/>
                </a:lnTo>
                <a:lnTo>
                  <a:pt x="74" y="178"/>
                </a:lnTo>
                <a:lnTo>
                  <a:pt x="78" y="175"/>
                </a:lnTo>
                <a:lnTo>
                  <a:pt x="79" y="172"/>
                </a:lnTo>
                <a:lnTo>
                  <a:pt x="80" y="168"/>
                </a:lnTo>
                <a:lnTo>
                  <a:pt x="79" y="163"/>
                </a:lnTo>
                <a:lnTo>
                  <a:pt x="78" y="158"/>
                </a:lnTo>
                <a:lnTo>
                  <a:pt x="75" y="151"/>
                </a:lnTo>
                <a:lnTo>
                  <a:pt x="74" y="144"/>
                </a:lnTo>
                <a:lnTo>
                  <a:pt x="73" y="139"/>
                </a:lnTo>
                <a:lnTo>
                  <a:pt x="74" y="132"/>
                </a:lnTo>
                <a:lnTo>
                  <a:pt x="77" y="125"/>
                </a:lnTo>
                <a:lnTo>
                  <a:pt x="79" y="118"/>
                </a:lnTo>
                <a:lnTo>
                  <a:pt x="84" y="113"/>
                </a:lnTo>
                <a:lnTo>
                  <a:pt x="89" y="108"/>
                </a:lnTo>
                <a:lnTo>
                  <a:pt x="95" y="106"/>
                </a:lnTo>
                <a:lnTo>
                  <a:pt x="103" y="103"/>
                </a:lnTo>
                <a:lnTo>
                  <a:pt x="110" y="102"/>
                </a:lnTo>
                <a:lnTo>
                  <a:pt x="116" y="102"/>
                </a:lnTo>
                <a:lnTo>
                  <a:pt x="130" y="106"/>
                </a:lnTo>
                <a:lnTo>
                  <a:pt x="135" y="108"/>
                </a:lnTo>
                <a:lnTo>
                  <a:pt x="140" y="108"/>
                </a:lnTo>
                <a:lnTo>
                  <a:pt x="143" y="108"/>
                </a:lnTo>
                <a:lnTo>
                  <a:pt x="146" y="106"/>
                </a:lnTo>
                <a:lnTo>
                  <a:pt x="151" y="100"/>
                </a:lnTo>
                <a:lnTo>
                  <a:pt x="156" y="89"/>
                </a:lnTo>
                <a:lnTo>
                  <a:pt x="163" y="76"/>
                </a:lnTo>
                <a:lnTo>
                  <a:pt x="172" y="64"/>
                </a:lnTo>
                <a:lnTo>
                  <a:pt x="183" y="54"/>
                </a:lnTo>
                <a:lnTo>
                  <a:pt x="194" y="45"/>
                </a:lnTo>
                <a:lnTo>
                  <a:pt x="206" y="39"/>
                </a:lnTo>
                <a:lnTo>
                  <a:pt x="220" y="33"/>
                </a:lnTo>
                <a:lnTo>
                  <a:pt x="235" y="30"/>
                </a:lnTo>
                <a:lnTo>
                  <a:pt x="248" y="29"/>
                </a:lnTo>
                <a:lnTo>
                  <a:pt x="258" y="29"/>
                </a:lnTo>
                <a:lnTo>
                  <a:pt x="268" y="32"/>
                </a:lnTo>
                <a:lnTo>
                  <a:pt x="278" y="33"/>
                </a:lnTo>
                <a:lnTo>
                  <a:pt x="287" y="37"/>
                </a:lnTo>
                <a:lnTo>
                  <a:pt x="295" y="40"/>
                </a:lnTo>
                <a:lnTo>
                  <a:pt x="303" y="45"/>
                </a:lnTo>
                <a:lnTo>
                  <a:pt x="310" y="50"/>
                </a:lnTo>
                <a:lnTo>
                  <a:pt x="318" y="56"/>
                </a:lnTo>
                <a:lnTo>
                  <a:pt x="324" y="63"/>
                </a:lnTo>
                <a:lnTo>
                  <a:pt x="330" y="70"/>
                </a:lnTo>
                <a:lnTo>
                  <a:pt x="335" y="78"/>
                </a:lnTo>
                <a:lnTo>
                  <a:pt x="340" y="85"/>
                </a:lnTo>
                <a:lnTo>
                  <a:pt x="344" y="94"/>
                </a:lnTo>
                <a:lnTo>
                  <a:pt x="347" y="103"/>
                </a:lnTo>
                <a:lnTo>
                  <a:pt x="349" y="112"/>
                </a:lnTo>
                <a:lnTo>
                  <a:pt x="351" y="122"/>
                </a:lnTo>
                <a:lnTo>
                  <a:pt x="351" y="129"/>
                </a:lnTo>
                <a:lnTo>
                  <a:pt x="352" y="134"/>
                </a:lnTo>
                <a:lnTo>
                  <a:pt x="353" y="138"/>
                </a:lnTo>
                <a:lnTo>
                  <a:pt x="355" y="142"/>
                </a:lnTo>
                <a:lnTo>
                  <a:pt x="357" y="143"/>
                </a:lnTo>
                <a:lnTo>
                  <a:pt x="361" y="146"/>
                </a:lnTo>
                <a:lnTo>
                  <a:pt x="367" y="147"/>
                </a:lnTo>
                <a:lnTo>
                  <a:pt x="374" y="148"/>
                </a:lnTo>
                <a:lnTo>
                  <a:pt x="388" y="152"/>
                </a:lnTo>
                <a:lnTo>
                  <a:pt x="400" y="158"/>
                </a:lnTo>
                <a:lnTo>
                  <a:pt x="412" y="167"/>
                </a:lnTo>
                <a:lnTo>
                  <a:pt x="421" y="176"/>
                </a:lnTo>
                <a:lnTo>
                  <a:pt x="429" y="188"/>
                </a:lnTo>
                <a:lnTo>
                  <a:pt x="435" y="200"/>
                </a:lnTo>
                <a:lnTo>
                  <a:pt x="439" y="214"/>
                </a:lnTo>
                <a:lnTo>
                  <a:pt x="440" y="227"/>
                </a:lnTo>
                <a:lnTo>
                  <a:pt x="439" y="236"/>
                </a:lnTo>
                <a:lnTo>
                  <a:pt x="437" y="243"/>
                </a:lnTo>
                <a:lnTo>
                  <a:pt x="436" y="251"/>
                </a:lnTo>
                <a:lnTo>
                  <a:pt x="433" y="258"/>
                </a:lnTo>
                <a:lnTo>
                  <a:pt x="430" y="266"/>
                </a:lnTo>
                <a:lnTo>
                  <a:pt x="425" y="273"/>
                </a:lnTo>
                <a:lnTo>
                  <a:pt x="421" y="279"/>
                </a:lnTo>
                <a:lnTo>
                  <a:pt x="415" y="284"/>
                </a:lnTo>
                <a:lnTo>
                  <a:pt x="410" y="289"/>
                </a:lnTo>
                <a:lnTo>
                  <a:pt x="404" y="294"/>
                </a:lnTo>
                <a:lnTo>
                  <a:pt x="397" y="298"/>
                </a:lnTo>
                <a:lnTo>
                  <a:pt x="391" y="301"/>
                </a:lnTo>
                <a:lnTo>
                  <a:pt x="383" y="304"/>
                </a:lnTo>
                <a:lnTo>
                  <a:pt x="374" y="306"/>
                </a:lnTo>
                <a:lnTo>
                  <a:pt x="367" y="308"/>
                </a:lnTo>
                <a:lnTo>
                  <a:pt x="358" y="308"/>
                </a:lnTo>
                <a:close/>
                <a:moveTo>
                  <a:pt x="379" y="120"/>
                </a:moveTo>
                <a:lnTo>
                  <a:pt x="378" y="107"/>
                </a:lnTo>
                <a:lnTo>
                  <a:pt x="374" y="95"/>
                </a:lnTo>
                <a:lnTo>
                  <a:pt x="371" y="84"/>
                </a:lnTo>
                <a:lnTo>
                  <a:pt x="366" y="73"/>
                </a:lnTo>
                <a:lnTo>
                  <a:pt x="360" y="63"/>
                </a:lnTo>
                <a:lnTo>
                  <a:pt x="353" y="53"/>
                </a:lnTo>
                <a:lnTo>
                  <a:pt x="346" y="43"/>
                </a:lnTo>
                <a:lnTo>
                  <a:pt x="337" y="34"/>
                </a:lnTo>
                <a:lnTo>
                  <a:pt x="329" y="27"/>
                </a:lnTo>
                <a:lnTo>
                  <a:pt x="319" y="21"/>
                </a:lnTo>
                <a:lnTo>
                  <a:pt x="308" y="14"/>
                </a:lnTo>
                <a:lnTo>
                  <a:pt x="298" y="9"/>
                </a:lnTo>
                <a:lnTo>
                  <a:pt x="285" y="6"/>
                </a:lnTo>
                <a:lnTo>
                  <a:pt x="274" y="2"/>
                </a:lnTo>
                <a:lnTo>
                  <a:pt x="262" y="1"/>
                </a:lnTo>
                <a:lnTo>
                  <a:pt x="248" y="0"/>
                </a:lnTo>
                <a:lnTo>
                  <a:pt x="240" y="1"/>
                </a:lnTo>
                <a:lnTo>
                  <a:pt x="230" y="2"/>
                </a:lnTo>
                <a:lnTo>
                  <a:pt x="220" y="3"/>
                </a:lnTo>
                <a:lnTo>
                  <a:pt x="211" y="6"/>
                </a:lnTo>
                <a:lnTo>
                  <a:pt x="201" y="8"/>
                </a:lnTo>
                <a:lnTo>
                  <a:pt x="194" y="12"/>
                </a:lnTo>
                <a:lnTo>
                  <a:pt x="185" y="17"/>
                </a:lnTo>
                <a:lnTo>
                  <a:pt x="177" y="22"/>
                </a:lnTo>
                <a:lnTo>
                  <a:pt x="169" y="27"/>
                </a:lnTo>
                <a:lnTo>
                  <a:pt x="163" y="33"/>
                </a:lnTo>
                <a:lnTo>
                  <a:pt x="156" y="39"/>
                </a:lnTo>
                <a:lnTo>
                  <a:pt x="150" y="45"/>
                </a:lnTo>
                <a:lnTo>
                  <a:pt x="143" y="53"/>
                </a:lnTo>
                <a:lnTo>
                  <a:pt x="138" y="60"/>
                </a:lnTo>
                <a:lnTo>
                  <a:pt x="133" y="69"/>
                </a:lnTo>
                <a:lnTo>
                  <a:pt x="130" y="76"/>
                </a:lnTo>
                <a:lnTo>
                  <a:pt x="120" y="74"/>
                </a:lnTo>
                <a:lnTo>
                  <a:pt x="110" y="74"/>
                </a:lnTo>
                <a:lnTo>
                  <a:pt x="103" y="74"/>
                </a:lnTo>
                <a:lnTo>
                  <a:pt x="96" y="75"/>
                </a:lnTo>
                <a:lnTo>
                  <a:pt x="90" y="76"/>
                </a:lnTo>
                <a:lnTo>
                  <a:pt x="84" y="79"/>
                </a:lnTo>
                <a:lnTo>
                  <a:pt x="73" y="85"/>
                </a:lnTo>
                <a:lnTo>
                  <a:pt x="63" y="92"/>
                </a:lnTo>
                <a:lnTo>
                  <a:pt x="56" y="102"/>
                </a:lnTo>
                <a:lnTo>
                  <a:pt x="49" y="113"/>
                </a:lnTo>
                <a:lnTo>
                  <a:pt x="47" y="120"/>
                </a:lnTo>
                <a:lnTo>
                  <a:pt x="46" y="126"/>
                </a:lnTo>
                <a:lnTo>
                  <a:pt x="44" y="133"/>
                </a:lnTo>
                <a:lnTo>
                  <a:pt x="44" y="139"/>
                </a:lnTo>
                <a:lnTo>
                  <a:pt x="44" y="151"/>
                </a:lnTo>
                <a:lnTo>
                  <a:pt x="47" y="160"/>
                </a:lnTo>
                <a:lnTo>
                  <a:pt x="37" y="167"/>
                </a:lnTo>
                <a:lnTo>
                  <a:pt x="28" y="175"/>
                </a:lnTo>
                <a:lnTo>
                  <a:pt x="20" y="184"/>
                </a:lnTo>
                <a:lnTo>
                  <a:pt x="14" y="194"/>
                </a:lnTo>
                <a:lnTo>
                  <a:pt x="7" y="205"/>
                </a:lnTo>
                <a:lnTo>
                  <a:pt x="4" y="216"/>
                </a:lnTo>
                <a:lnTo>
                  <a:pt x="1" y="228"/>
                </a:lnTo>
                <a:lnTo>
                  <a:pt x="0" y="242"/>
                </a:lnTo>
                <a:lnTo>
                  <a:pt x="0" y="252"/>
                </a:lnTo>
                <a:lnTo>
                  <a:pt x="2" y="261"/>
                </a:lnTo>
                <a:lnTo>
                  <a:pt x="4" y="271"/>
                </a:lnTo>
                <a:lnTo>
                  <a:pt x="7" y="279"/>
                </a:lnTo>
                <a:lnTo>
                  <a:pt x="11" y="288"/>
                </a:lnTo>
                <a:lnTo>
                  <a:pt x="16" y="295"/>
                </a:lnTo>
                <a:lnTo>
                  <a:pt x="22" y="303"/>
                </a:lnTo>
                <a:lnTo>
                  <a:pt x="28" y="309"/>
                </a:lnTo>
                <a:lnTo>
                  <a:pt x="35" y="315"/>
                </a:lnTo>
                <a:lnTo>
                  <a:pt x="42" y="321"/>
                </a:lnTo>
                <a:lnTo>
                  <a:pt x="49" y="326"/>
                </a:lnTo>
                <a:lnTo>
                  <a:pt x="58" y="330"/>
                </a:lnTo>
                <a:lnTo>
                  <a:pt x="67" y="334"/>
                </a:lnTo>
                <a:lnTo>
                  <a:pt x="77" y="335"/>
                </a:lnTo>
                <a:lnTo>
                  <a:pt x="85" y="337"/>
                </a:lnTo>
                <a:lnTo>
                  <a:pt x="95" y="337"/>
                </a:lnTo>
                <a:lnTo>
                  <a:pt x="95" y="337"/>
                </a:lnTo>
                <a:lnTo>
                  <a:pt x="358" y="337"/>
                </a:lnTo>
                <a:lnTo>
                  <a:pt x="358" y="337"/>
                </a:lnTo>
                <a:lnTo>
                  <a:pt x="370" y="337"/>
                </a:lnTo>
                <a:lnTo>
                  <a:pt x="381" y="335"/>
                </a:lnTo>
                <a:lnTo>
                  <a:pt x="392" y="332"/>
                </a:lnTo>
                <a:lnTo>
                  <a:pt x="402" y="329"/>
                </a:lnTo>
                <a:lnTo>
                  <a:pt x="412" y="324"/>
                </a:lnTo>
                <a:lnTo>
                  <a:pt x="420" y="319"/>
                </a:lnTo>
                <a:lnTo>
                  <a:pt x="429" y="313"/>
                </a:lnTo>
                <a:lnTo>
                  <a:pt x="436" y="305"/>
                </a:lnTo>
                <a:lnTo>
                  <a:pt x="444" y="298"/>
                </a:lnTo>
                <a:lnTo>
                  <a:pt x="450" y="289"/>
                </a:lnTo>
                <a:lnTo>
                  <a:pt x="456" y="279"/>
                </a:lnTo>
                <a:lnTo>
                  <a:pt x="460" y="271"/>
                </a:lnTo>
                <a:lnTo>
                  <a:pt x="463" y="261"/>
                </a:lnTo>
                <a:lnTo>
                  <a:pt x="466" y="249"/>
                </a:lnTo>
                <a:lnTo>
                  <a:pt x="468" y="238"/>
                </a:lnTo>
                <a:lnTo>
                  <a:pt x="468" y="227"/>
                </a:lnTo>
                <a:lnTo>
                  <a:pt x="468" y="217"/>
                </a:lnTo>
                <a:lnTo>
                  <a:pt x="467" y="207"/>
                </a:lnTo>
                <a:lnTo>
                  <a:pt x="465" y="199"/>
                </a:lnTo>
                <a:lnTo>
                  <a:pt x="462" y="189"/>
                </a:lnTo>
                <a:lnTo>
                  <a:pt x="459" y="180"/>
                </a:lnTo>
                <a:lnTo>
                  <a:pt x="454" y="173"/>
                </a:lnTo>
                <a:lnTo>
                  <a:pt x="449" y="164"/>
                </a:lnTo>
                <a:lnTo>
                  <a:pt x="444" y="157"/>
                </a:lnTo>
                <a:lnTo>
                  <a:pt x="437" y="151"/>
                </a:lnTo>
                <a:lnTo>
                  <a:pt x="430" y="144"/>
                </a:lnTo>
                <a:lnTo>
                  <a:pt x="423" y="138"/>
                </a:lnTo>
                <a:lnTo>
                  <a:pt x="415" y="133"/>
                </a:lnTo>
                <a:lnTo>
                  <a:pt x="407" y="128"/>
                </a:lnTo>
                <a:lnTo>
                  <a:pt x="398" y="125"/>
                </a:lnTo>
                <a:lnTo>
                  <a:pt x="389" y="122"/>
                </a:lnTo>
                <a:lnTo>
                  <a:pt x="379" y="12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ru-RU"/>
          </a:p>
        </p:txBody>
      </p:sp>
    </p:spTree>
    <p:extLst>
      <p:ext uri="{BB962C8B-B14F-4D97-AF65-F5344CB8AC3E}">
        <p14:creationId xmlns:p14="http://schemas.microsoft.com/office/powerpoint/2010/main" val="846696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4702B-4EAF-DA9E-18EB-EEDAC0B0964C}"/>
            </a:ext>
          </a:extLst>
        </p:cNvPr>
        <p:cNvGrpSpPr/>
        <p:nvPr/>
      </p:nvGrpSpPr>
      <p:grpSpPr>
        <a:xfrm>
          <a:off x="0" y="0"/>
          <a:ext cx="0" cy="0"/>
          <a:chOff x="0" y="0"/>
          <a:chExt cx="0" cy="0"/>
        </a:xfrm>
      </p:grpSpPr>
      <p:sp>
        <p:nvSpPr>
          <p:cNvPr id="56" name="Title 55">
            <a:extLst>
              <a:ext uri="{FF2B5EF4-FFF2-40B4-BE49-F238E27FC236}">
                <a16:creationId xmlns:a16="http://schemas.microsoft.com/office/drawing/2014/main" id="{A8A78280-1370-1790-D7F0-228C4F7B3370}"/>
              </a:ext>
            </a:extLst>
          </p:cNvPr>
          <p:cNvSpPr>
            <a:spLocks noGrp="1"/>
          </p:cNvSpPr>
          <p:nvPr>
            <p:ph type="title"/>
          </p:nvPr>
        </p:nvSpPr>
        <p:spPr/>
        <p:txBody>
          <a:bodyPr/>
          <a:lstStyle/>
          <a:p>
            <a:r>
              <a:rPr lang="en-US" dirty="0"/>
              <a:t>Team Slide</a:t>
            </a:r>
          </a:p>
        </p:txBody>
      </p:sp>
      <p:sp>
        <p:nvSpPr>
          <p:cNvPr id="6" name="Picture Placeholder 5">
            <a:extLst>
              <a:ext uri="{FF2B5EF4-FFF2-40B4-BE49-F238E27FC236}">
                <a16:creationId xmlns:a16="http://schemas.microsoft.com/office/drawing/2014/main" id="{C52C34A5-0339-CED5-B5C0-BDABE1830FD9}"/>
              </a:ext>
            </a:extLst>
          </p:cNvPr>
          <p:cNvSpPr>
            <a:spLocks noGrp="1"/>
          </p:cNvSpPr>
          <p:nvPr>
            <p:ph type="pic" sz="quarter" idx="14"/>
          </p:nvPr>
        </p:nvSpPr>
        <p:spPr>
          <a:solidFill>
            <a:schemeClr val="bg1"/>
          </a:solidFill>
          <a:ln>
            <a:solidFill>
              <a:schemeClr val="bg1">
                <a:lumMod val="85000"/>
              </a:schemeClr>
            </a:solidFill>
          </a:ln>
        </p:spPr>
        <p:txBody>
          <a:bodyPr/>
          <a:lstStyle/>
          <a:p>
            <a:endParaRPr lang="en-US" dirty="0"/>
          </a:p>
        </p:txBody>
      </p:sp>
      <p:sp>
        <p:nvSpPr>
          <p:cNvPr id="9" name="Picture Placeholder 8">
            <a:extLst>
              <a:ext uri="{FF2B5EF4-FFF2-40B4-BE49-F238E27FC236}">
                <a16:creationId xmlns:a16="http://schemas.microsoft.com/office/drawing/2014/main" id="{915C1908-A883-95BE-C4DA-D57745E03096}"/>
              </a:ext>
            </a:extLst>
          </p:cNvPr>
          <p:cNvSpPr>
            <a:spLocks noGrp="1"/>
          </p:cNvSpPr>
          <p:nvPr>
            <p:ph type="pic" sz="quarter" idx="15"/>
          </p:nvPr>
        </p:nvSpPr>
        <p:spPr>
          <a:solidFill>
            <a:schemeClr val="bg1"/>
          </a:solidFill>
          <a:ln>
            <a:solidFill>
              <a:schemeClr val="bg1">
                <a:lumMod val="85000"/>
              </a:schemeClr>
            </a:solidFill>
          </a:ln>
        </p:spPr>
        <p:txBody>
          <a:bodyPr/>
          <a:lstStyle/>
          <a:p>
            <a:endParaRPr lang="en-US" dirty="0"/>
          </a:p>
        </p:txBody>
      </p:sp>
      <p:sp>
        <p:nvSpPr>
          <p:cNvPr id="10" name="Picture Placeholder 9">
            <a:extLst>
              <a:ext uri="{FF2B5EF4-FFF2-40B4-BE49-F238E27FC236}">
                <a16:creationId xmlns:a16="http://schemas.microsoft.com/office/drawing/2014/main" id="{C5E78433-D309-5BC3-DE64-2A0D86BBF3DB}"/>
              </a:ext>
            </a:extLst>
          </p:cNvPr>
          <p:cNvSpPr>
            <a:spLocks noGrp="1"/>
          </p:cNvSpPr>
          <p:nvPr>
            <p:ph type="pic" sz="quarter" idx="16"/>
          </p:nvPr>
        </p:nvSpPr>
        <p:spPr>
          <a:solidFill>
            <a:schemeClr val="bg1"/>
          </a:solidFill>
          <a:ln>
            <a:solidFill>
              <a:schemeClr val="bg1">
                <a:lumMod val="85000"/>
              </a:schemeClr>
            </a:solidFill>
          </a:ln>
        </p:spPr>
        <p:txBody>
          <a:bodyPr/>
          <a:lstStyle/>
          <a:p>
            <a:endParaRPr lang="en-US" dirty="0"/>
          </a:p>
        </p:txBody>
      </p:sp>
      <p:sp>
        <p:nvSpPr>
          <p:cNvPr id="11" name="Picture Placeholder 10">
            <a:extLst>
              <a:ext uri="{FF2B5EF4-FFF2-40B4-BE49-F238E27FC236}">
                <a16:creationId xmlns:a16="http://schemas.microsoft.com/office/drawing/2014/main" id="{B7A0CD23-1CA1-B615-C30F-A7780E399D7E}"/>
              </a:ext>
            </a:extLst>
          </p:cNvPr>
          <p:cNvSpPr>
            <a:spLocks noGrp="1"/>
          </p:cNvSpPr>
          <p:nvPr>
            <p:ph type="pic" sz="quarter" idx="17"/>
          </p:nvPr>
        </p:nvSpPr>
        <p:spPr>
          <a:solidFill>
            <a:schemeClr val="bg1"/>
          </a:solidFill>
          <a:ln>
            <a:solidFill>
              <a:schemeClr val="bg1">
                <a:lumMod val="85000"/>
              </a:schemeClr>
            </a:solidFill>
          </a:ln>
        </p:spPr>
        <p:txBody>
          <a:bodyPr/>
          <a:lstStyle/>
          <a:p>
            <a:endParaRPr lang="en-US" dirty="0"/>
          </a:p>
        </p:txBody>
      </p:sp>
      <p:sp>
        <p:nvSpPr>
          <p:cNvPr id="12" name="Picture Placeholder 11">
            <a:extLst>
              <a:ext uri="{FF2B5EF4-FFF2-40B4-BE49-F238E27FC236}">
                <a16:creationId xmlns:a16="http://schemas.microsoft.com/office/drawing/2014/main" id="{126330CA-D5EF-8A75-CB43-5AEEEDCDC839}"/>
              </a:ext>
            </a:extLst>
          </p:cNvPr>
          <p:cNvSpPr>
            <a:spLocks noGrp="1"/>
          </p:cNvSpPr>
          <p:nvPr>
            <p:ph type="pic" sz="quarter" idx="18"/>
          </p:nvPr>
        </p:nvSpPr>
        <p:spPr>
          <a:solidFill>
            <a:schemeClr val="bg1"/>
          </a:solidFill>
          <a:ln>
            <a:solidFill>
              <a:schemeClr val="bg1">
                <a:lumMod val="85000"/>
              </a:schemeClr>
            </a:solidFill>
          </a:ln>
        </p:spPr>
        <p:txBody>
          <a:bodyPr/>
          <a:lstStyle/>
          <a:p>
            <a:endParaRPr lang="en-US" dirty="0"/>
          </a:p>
        </p:txBody>
      </p:sp>
      <p:sp>
        <p:nvSpPr>
          <p:cNvPr id="13" name="Picture Placeholder 12">
            <a:extLst>
              <a:ext uri="{FF2B5EF4-FFF2-40B4-BE49-F238E27FC236}">
                <a16:creationId xmlns:a16="http://schemas.microsoft.com/office/drawing/2014/main" id="{9FECAADD-5604-4177-BC14-AF2AB2FD8AE9}"/>
              </a:ext>
            </a:extLst>
          </p:cNvPr>
          <p:cNvSpPr>
            <a:spLocks noGrp="1"/>
          </p:cNvSpPr>
          <p:nvPr>
            <p:ph type="pic" sz="quarter" idx="19"/>
          </p:nvPr>
        </p:nvSpPr>
        <p:spPr>
          <a:solidFill>
            <a:schemeClr val="bg1"/>
          </a:solidFill>
          <a:ln>
            <a:solidFill>
              <a:schemeClr val="bg1">
                <a:lumMod val="85000"/>
              </a:schemeClr>
            </a:solidFill>
          </a:ln>
        </p:spPr>
        <p:txBody>
          <a:bodyPr/>
          <a:lstStyle/>
          <a:p>
            <a:endParaRPr lang="en-US" dirty="0"/>
          </a:p>
        </p:txBody>
      </p:sp>
      <p:sp>
        <p:nvSpPr>
          <p:cNvPr id="14" name="Picture Placeholder 13">
            <a:extLst>
              <a:ext uri="{FF2B5EF4-FFF2-40B4-BE49-F238E27FC236}">
                <a16:creationId xmlns:a16="http://schemas.microsoft.com/office/drawing/2014/main" id="{1FFEF779-DD8E-D6E4-24A8-DF3332A1F82F}"/>
              </a:ext>
            </a:extLst>
          </p:cNvPr>
          <p:cNvSpPr>
            <a:spLocks noGrp="1"/>
          </p:cNvSpPr>
          <p:nvPr>
            <p:ph type="pic" sz="quarter" idx="20"/>
          </p:nvPr>
        </p:nvSpPr>
        <p:spPr>
          <a:solidFill>
            <a:schemeClr val="bg1"/>
          </a:solidFill>
          <a:ln>
            <a:solidFill>
              <a:schemeClr val="bg1">
                <a:lumMod val="85000"/>
              </a:schemeClr>
            </a:solidFill>
          </a:ln>
        </p:spPr>
        <p:txBody>
          <a:bodyPr/>
          <a:lstStyle/>
          <a:p>
            <a:endParaRPr lang="en-US" dirty="0"/>
          </a:p>
        </p:txBody>
      </p:sp>
      <p:sp>
        <p:nvSpPr>
          <p:cNvPr id="5" name="Rectangle 4">
            <a:extLst>
              <a:ext uri="{FF2B5EF4-FFF2-40B4-BE49-F238E27FC236}">
                <a16:creationId xmlns:a16="http://schemas.microsoft.com/office/drawing/2014/main" id="{1B86FA52-D725-23C3-C2A9-74BB248D550F}"/>
              </a:ext>
            </a:extLst>
          </p:cNvPr>
          <p:cNvSpPr/>
          <p:nvPr/>
        </p:nvSpPr>
        <p:spPr>
          <a:xfrm>
            <a:off x="669974" y="1892300"/>
            <a:ext cx="16859250" cy="64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Founders</a:t>
            </a:r>
            <a:endParaRPr lang="en-US" sz="2000" b="1" dirty="0"/>
          </a:p>
        </p:txBody>
      </p:sp>
      <p:sp>
        <p:nvSpPr>
          <p:cNvPr id="40" name="Rectangle 39">
            <a:extLst>
              <a:ext uri="{FF2B5EF4-FFF2-40B4-BE49-F238E27FC236}">
                <a16:creationId xmlns:a16="http://schemas.microsoft.com/office/drawing/2014/main" id="{BE270282-B5D7-B0C6-991D-8E85C86F74C1}"/>
              </a:ext>
            </a:extLst>
          </p:cNvPr>
          <p:cNvSpPr/>
          <p:nvPr/>
        </p:nvSpPr>
        <p:spPr>
          <a:xfrm>
            <a:off x="714375" y="5714175"/>
            <a:ext cx="16859250" cy="64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dvisors</a:t>
            </a:r>
            <a:endParaRPr lang="en-US" sz="2000" b="1" dirty="0"/>
          </a:p>
        </p:txBody>
      </p:sp>
      <p:sp>
        <p:nvSpPr>
          <p:cNvPr id="8" name="Rectangle 7">
            <a:extLst>
              <a:ext uri="{FF2B5EF4-FFF2-40B4-BE49-F238E27FC236}">
                <a16:creationId xmlns:a16="http://schemas.microsoft.com/office/drawing/2014/main" id="{8CBEBFD8-FBAE-4515-98ED-B68832CA4E0F}"/>
              </a:ext>
            </a:extLst>
          </p:cNvPr>
          <p:cNvSpPr/>
          <p:nvPr/>
        </p:nvSpPr>
        <p:spPr>
          <a:xfrm>
            <a:off x="1817865"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60" name="Rectangle 59">
            <a:extLst>
              <a:ext uri="{FF2B5EF4-FFF2-40B4-BE49-F238E27FC236}">
                <a16:creationId xmlns:a16="http://schemas.microsoft.com/office/drawing/2014/main" id="{A9CDB3CB-EFA3-8198-B30A-6090987DF9B6}"/>
              </a:ext>
            </a:extLst>
          </p:cNvPr>
          <p:cNvSpPr/>
          <p:nvPr/>
        </p:nvSpPr>
        <p:spPr>
          <a:xfrm>
            <a:off x="5615794"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63" name="Rectangle 62">
            <a:extLst>
              <a:ext uri="{FF2B5EF4-FFF2-40B4-BE49-F238E27FC236}">
                <a16:creationId xmlns:a16="http://schemas.microsoft.com/office/drawing/2014/main" id="{041A9B81-A390-EA9C-8E80-675211AEDC4F}"/>
              </a:ext>
            </a:extLst>
          </p:cNvPr>
          <p:cNvSpPr/>
          <p:nvPr/>
        </p:nvSpPr>
        <p:spPr>
          <a:xfrm>
            <a:off x="9413723"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27" name="Rectangle 1026">
            <a:extLst>
              <a:ext uri="{FF2B5EF4-FFF2-40B4-BE49-F238E27FC236}">
                <a16:creationId xmlns:a16="http://schemas.microsoft.com/office/drawing/2014/main" id="{0A45B36B-C677-BC89-423E-1668A96F41A7}"/>
              </a:ext>
            </a:extLst>
          </p:cNvPr>
          <p:cNvSpPr/>
          <p:nvPr/>
        </p:nvSpPr>
        <p:spPr>
          <a:xfrm>
            <a:off x="13211651"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42" name="Rectangle 1041">
            <a:extLst>
              <a:ext uri="{FF2B5EF4-FFF2-40B4-BE49-F238E27FC236}">
                <a16:creationId xmlns:a16="http://schemas.microsoft.com/office/drawing/2014/main" id="{D4CBECFB-CDCE-491C-EB10-461DF0F055C1}"/>
              </a:ext>
            </a:extLst>
          </p:cNvPr>
          <p:cNvSpPr/>
          <p:nvPr/>
        </p:nvSpPr>
        <p:spPr>
          <a:xfrm>
            <a:off x="1817865"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40" name="Rectangle 1039">
            <a:extLst>
              <a:ext uri="{FF2B5EF4-FFF2-40B4-BE49-F238E27FC236}">
                <a16:creationId xmlns:a16="http://schemas.microsoft.com/office/drawing/2014/main" id="{7451EB34-D2FB-98CE-B0A9-C0E73AE18CDC}"/>
              </a:ext>
            </a:extLst>
          </p:cNvPr>
          <p:cNvSpPr/>
          <p:nvPr/>
        </p:nvSpPr>
        <p:spPr>
          <a:xfrm>
            <a:off x="5615794"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38" name="Rectangle 1037">
            <a:extLst>
              <a:ext uri="{FF2B5EF4-FFF2-40B4-BE49-F238E27FC236}">
                <a16:creationId xmlns:a16="http://schemas.microsoft.com/office/drawing/2014/main" id="{B0EFD98F-F5B8-AE44-2411-0AD2DE7E5189}"/>
              </a:ext>
            </a:extLst>
          </p:cNvPr>
          <p:cNvSpPr/>
          <p:nvPr/>
        </p:nvSpPr>
        <p:spPr>
          <a:xfrm>
            <a:off x="9413723"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36" name="Rectangle 1035">
            <a:extLst>
              <a:ext uri="{FF2B5EF4-FFF2-40B4-BE49-F238E27FC236}">
                <a16:creationId xmlns:a16="http://schemas.microsoft.com/office/drawing/2014/main" id="{4BC15056-2CFD-5277-A8FB-AF8EA7BF3648}"/>
              </a:ext>
            </a:extLst>
          </p:cNvPr>
          <p:cNvSpPr/>
          <p:nvPr/>
        </p:nvSpPr>
        <p:spPr>
          <a:xfrm>
            <a:off x="13211651"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3" name="Slide Number Placeholder 2">
            <a:extLst>
              <a:ext uri="{FF2B5EF4-FFF2-40B4-BE49-F238E27FC236}">
                <a16:creationId xmlns:a16="http://schemas.microsoft.com/office/drawing/2014/main" id="{A8011693-088D-8195-A669-6F865E3B21BA}"/>
              </a:ext>
            </a:extLst>
          </p:cNvPr>
          <p:cNvSpPr>
            <a:spLocks noGrp="1"/>
          </p:cNvSpPr>
          <p:nvPr>
            <p:ph type="sldNum" sz="quarter" idx="12"/>
          </p:nvPr>
        </p:nvSpPr>
        <p:spPr/>
        <p:txBody>
          <a:bodyPr/>
          <a:lstStyle/>
          <a:p>
            <a:fld id="{E2D680B1-7F17-42D2-83E2-2C9AC13983BB}" type="slidenum">
              <a:rPr lang="en-US" smtClean="0"/>
              <a:t>11</a:t>
            </a:fld>
            <a:endParaRPr lang="en-US" dirty="0"/>
          </a:p>
        </p:txBody>
      </p:sp>
      <p:sp>
        <p:nvSpPr>
          <p:cNvPr id="20" name="Picture Placeholder 19">
            <a:extLst>
              <a:ext uri="{FF2B5EF4-FFF2-40B4-BE49-F238E27FC236}">
                <a16:creationId xmlns:a16="http://schemas.microsoft.com/office/drawing/2014/main" id="{402BD391-59F6-C305-41EF-C5069D4F74BF}"/>
              </a:ext>
            </a:extLst>
          </p:cNvPr>
          <p:cNvSpPr>
            <a:spLocks noGrp="1"/>
          </p:cNvSpPr>
          <p:nvPr>
            <p:ph type="pic" sz="quarter" idx="13"/>
          </p:nvPr>
        </p:nvSpPr>
        <p:spPr>
          <a:solidFill>
            <a:schemeClr val="bg1"/>
          </a:solidFill>
          <a:ln>
            <a:solidFill>
              <a:schemeClr val="bg1">
                <a:lumMod val="85000"/>
              </a:schemeClr>
            </a:solidFill>
          </a:ln>
        </p:spPr>
        <p:txBody>
          <a:bodyPr/>
          <a:lstStyle/>
          <a:p>
            <a:endParaRPr lang="de-DE"/>
          </a:p>
        </p:txBody>
      </p:sp>
    </p:spTree>
    <p:extLst>
      <p:ext uri="{BB962C8B-B14F-4D97-AF65-F5344CB8AC3E}">
        <p14:creationId xmlns:p14="http://schemas.microsoft.com/office/powerpoint/2010/main" val="3530345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5E66C-DAC8-9A63-B01B-C4E3249FA491}"/>
            </a:ext>
          </a:extLst>
        </p:cNvPr>
        <p:cNvGrpSpPr/>
        <p:nvPr/>
      </p:nvGrpSpPr>
      <p:grpSpPr>
        <a:xfrm>
          <a:off x="0" y="0"/>
          <a:ext cx="0" cy="0"/>
          <a:chOff x="0" y="0"/>
          <a:chExt cx="0" cy="0"/>
        </a:xfrm>
      </p:grpSpPr>
      <p:sp>
        <p:nvSpPr>
          <p:cNvPr id="56" name="Title 55">
            <a:extLst>
              <a:ext uri="{FF2B5EF4-FFF2-40B4-BE49-F238E27FC236}">
                <a16:creationId xmlns:a16="http://schemas.microsoft.com/office/drawing/2014/main" id="{5D1FD21D-F4D5-7CEB-D00B-65E61497E6F5}"/>
              </a:ext>
            </a:extLst>
          </p:cNvPr>
          <p:cNvSpPr>
            <a:spLocks noGrp="1"/>
          </p:cNvSpPr>
          <p:nvPr>
            <p:ph type="title"/>
          </p:nvPr>
        </p:nvSpPr>
        <p:spPr/>
        <p:txBody>
          <a:bodyPr/>
          <a:lstStyle/>
          <a:p>
            <a:r>
              <a:rPr lang="en-US" dirty="0"/>
              <a:t>Team Slide</a:t>
            </a:r>
          </a:p>
        </p:txBody>
      </p:sp>
      <p:sp>
        <p:nvSpPr>
          <p:cNvPr id="5" name="Rectangle 4">
            <a:extLst>
              <a:ext uri="{FF2B5EF4-FFF2-40B4-BE49-F238E27FC236}">
                <a16:creationId xmlns:a16="http://schemas.microsoft.com/office/drawing/2014/main" id="{9DE91D59-CCF7-091E-92C9-E71DDDF6C213}"/>
              </a:ext>
            </a:extLst>
          </p:cNvPr>
          <p:cNvSpPr/>
          <p:nvPr/>
        </p:nvSpPr>
        <p:spPr>
          <a:xfrm>
            <a:off x="669974" y="1892300"/>
            <a:ext cx="16859250" cy="64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Founders</a:t>
            </a:r>
            <a:endParaRPr lang="en-US" sz="2000" b="1" dirty="0"/>
          </a:p>
        </p:txBody>
      </p:sp>
      <p:sp>
        <p:nvSpPr>
          <p:cNvPr id="40" name="Rectangle 39">
            <a:extLst>
              <a:ext uri="{FF2B5EF4-FFF2-40B4-BE49-F238E27FC236}">
                <a16:creationId xmlns:a16="http://schemas.microsoft.com/office/drawing/2014/main" id="{059591A6-ED1D-CD86-F08E-F99ACB6D096D}"/>
              </a:ext>
            </a:extLst>
          </p:cNvPr>
          <p:cNvSpPr/>
          <p:nvPr/>
        </p:nvSpPr>
        <p:spPr>
          <a:xfrm>
            <a:off x="714375" y="5714175"/>
            <a:ext cx="16859250" cy="64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dvisors</a:t>
            </a:r>
            <a:endParaRPr lang="en-US" sz="2000" b="1" dirty="0"/>
          </a:p>
        </p:txBody>
      </p:sp>
      <p:sp>
        <p:nvSpPr>
          <p:cNvPr id="8" name="Rectangle 7">
            <a:extLst>
              <a:ext uri="{FF2B5EF4-FFF2-40B4-BE49-F238E27FC236}">
                <a16:creationId xmlns:a16="http://schemas.microsoft.com/office/drawing/2014/main" id="{BBDC418F-6292-0CCB-E1AB-1889979BDBB5}"/>
              </a:ext>
            </a:extLst>
          </p:cNvPr>
          <p:cNvSpPr/>
          <p:nvPr/>
        </p:nvSpPr>
        <p:spPr>
          <a:xfrm>
            <a:off x="1817865"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60" name="Rectangle 59">
            <a:extLst>
              <a:ext uri="{FF2B5EF4-FFF2-40B4-BE49-F238E27FC236}">
                <a16:creationId xmlns:a16="http://schemas.microsoft.com/office/drawing/2014/main" id="{DE23E6AD-17F8-EC94-2B2A-07C29D2B3A78}"/>
              </a:ext>
            </a:extLst>
          </p:cNvPr>
          <p:cNvSpPr/>
          <p:nvPr/>
        </p:nvSpPr>
        <p:spPr>
          <a:xfrm>
            <a:off x="5615794"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63" name="Rectangle 62">
            <a:extLst>
              <a:ext uri="{FF2B5EF4-FFF2-40B4-BE49-F238E27FC236}">
                <a16:creationId xmlns:a16="http://schemas.microsoft.com/office/drawing/2014/main" id="{C2B577FB-2676-C1ED-A090-5616FDA3DC19}"/>
              </a:ext>
            </a:extLst>
          </p:cNvPr>
          <p:cNvSpPr/>
          <p:nvPr/>
        </p:nvSpPr>
        <p:spPr>
          <a:xfrm>
            <a:off x="9413723"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27" name="Rectangle 1026">
            <a:extLst>
              <a:ext uri="{FF2B5EF4-FFF2-40B4-BE49-F238E27FC236}">
                <a16:creationId xmlns:a16="http://schemas.microsoft.com/office/drawing/2014/main" id="{E2628896-AE16-62D8-20BF-8E796088C5F8}"/>
              </a:ext>
            </a:extLst>
          </p:cNvPr>
          <p:cNvSpPr/>
          <p:nvPr/>
        </p:nvSpPr>
        <p:spPr>
          <a:xfrm>
            <a:off x="13211651" y="4395021"/>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42" name="Rectangle 1041">
            <a:extLst>
              <a:ext uri="{FF2B5EF4-FFF2-40B4-BE49-F238E27FC236}">
                <a16:creationId xmlns:a16="http://schemas.microsoft.com/office/drawing/2014/main" id="{215086A3-52D1-4374-B247-704652351BB0}"/>
              </a:ext>
            </a:extLst>
          </p:cNvPr>
          <p:cNvSpPr/>
          <p:nvPr/>
        </p:nvSpPr>
        <p:spPr>
          <a:xfrm>
            <a:off x="1817865"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40" name="Rectangle 1039">
            <a:extLst>
              <a:ext uri="{FF2B5EF4-FFF2-40B4-BE49-F238E27FC236}">
                <a16:creationId xmlns:a16="http://schemas.microsoft.com/office/drawing/2014/main" id="{56E7B133-AD01-992D-4F49-09AC60B3DE26}"/>
              </a:ext>
            </a:extLst>
          </p:cNvPr>
          <p:cNvSpPr/>
          <p:nvPr/>
        </p:nvSpPr>
        <p:spPr>
          <a:xfrm>
            <a:off x="5615794"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38" name="Rectangle 1037">
            <a:extLst>
              <a:ext uri="{FF2B5EF4-FFF2-40B4-BE49-F238E27FC236}">
                <a16:creationId xmlns:a16="http://schemas.microsoft.com/office/drawing/2014/main" id="{E8A6CBB1-3B0A-D2E4-7FD1-CAA3D01AB7BA}"/>
              </a:ext>
            </a:extLst>
          </p:cNvPr>
          <p:cNvSpPr/>
          <p:nvPr/>
        </p:nvSpPr>
        <p:spPr>
          <a:xfrm>
            <a:off x="9413723"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1036" name="Rectangle 1035">
            <a:extLst>
              <a:ext uri="{FF2B5EF4-FFF2-40B4-BE49-F238E27FC236}">
                <a16:creationId xmlns:a16="http://schemas.microsoft.com/office/drawing/2014/main" id="{F8327C3C-135A-548C-5A58-9FEB45C91D3F}"/>
              </a:ext>
            </a:extLst>
          </p:cNvPr>
          <p:cNvSpPr/>
          <p:nvPr/>
        </p:nvSpPr>
        <p:spPr>
          <a:xfrm>
            <a:off x="13211651" y="8216896"/>
            <a:ext cx="3169682" cy="10160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Name</a:t>
            </a:r>
          </a:p>
          <a:p>
            <a:pPr algn="ctr">
              <a:spcBef>
                <a:spcPts val="300"/>
              </a:spcBef>
              <a:spcAft>
                <a:spcPts val="300"/>
              </a:spcAft>
            </a:pPr>
            <a:r>
              <a:rPr lang="en-IN" sz="2000" dirty="0">
                <a:solidFill>
                  <a:schemeClr val="tx1"/>
                </a:solidFill>
              </a:rPr>
              <a:t>Designation</a:t>
            </a:r>
            <a:endParaRPr lang="en-US" sz="2000" dirty="0">
              <a:solidFill>
                <a:schemeClr val="tx1"/>
              </a:solidFill>
            </a:endParaRPr>
          </a:p>
        </p:txBody>
      </p:sp>
      <p:sp>
        <p:nvSpPr>
          <p:cNvPr id="3" name="Slide Number Placeholder 2">
            <a:extLst>
              <a:ext uri="{FF2B5EF4-FFF2-40B4-BE49-F238E27FC236}">
                <a16:creationId xmlns:a16="http://schemas.microsoft.com/office/drawing/2014/main" id="{A2A62582-CE4D-2DA2-E70D-6CC285FE9F17}"/>
              </a:ext>
            </a:extLst>
          </p:cNvPr>
          <p:cNvSpPr>
            <a:spLocks noGrp="1"/>
          </p:cNvSpPr>
          <p:nvPr>
            <p:ph type="sldNum" sz="quarter" idx="12"/>
          </p:nvPr>
        </p:nvSpPr>
        <p:spPr/>
        <p:txBody>
          <a:bodyPr/>
          <a:lstStyle/>
          <a:p>
            <a:fld id="{E2D680B1-7F17-42D2-83E2-2C9AC13983BB}" type="slidenum">
              <a:rPr lang="en-US" smtClean="0"/>
              <a:t>12</a:t>
            </a:fld>
            <a:endParaRPr lang="en-US" dirty="0"/>
          </a:p>
        </p:txBody>
      </p:sp>
      <p:pic>
        <p:nvPicPr>
          <p:cNvPr id="2" name="Graphic 1">
            <a:extLst>
              <a:ext uri="{FF2B5EF4-FFF2-40B4-BE49-F238E27FC236}">
                <a16:creationId xmlns:a16="http://schemas.microsoft.com/office/drawing/2014/main" id="{C729A694-414B-75BB-938B-94D3F5374990}"/>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2919212" y="3065995"/>
            <a:ext cx="966988" cy="966988"/>
          </a:xfrm>
          <a:prstGeom prst="rect">
            <a:avLst/>
          </a:prstGeom>
        </p:spPr>
      </p:pic>
      <p:pic>
        <p:nvPicPr>
          <p:cNvPr id="7" name="Graphic 6">
            <a:extLst>
              <a:ext uri="{FF2B5EF4-FFF2-40B4-BE49-F238E27FC236}">
                <a16:creationId xmlns:a16="http://schemas.microsoft.com/office/drawing/2014/main" id="{2F9FA39B-EF4E-1A83-BA77-48740F870D28}"/>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6717141" y="3065995"/>
            <a:ext cx="966988" cy="966988"/>
          </a:xfrm>
          <a:prstGeom prst="rect">
            <a:avLst/>
          </a:prstGeom>
        </p:spPr>
      </p:pic>
      <p:pic>
        <p:nvPicPr>
          <p:cNvPr id="15" name="Graphic 14">
            <a:extLst>
              <a:ext uri="{FF2B5EF4-FFF2-40B4-BE49-F238E27FC236}">
                <a16:creationId xmlns:a16="http://schemas.microsoft.com/office/drawing/2014/main" id="{83A3BCB8-68FA-0420-E10E-C7C91D008424}"/>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10515070" y="3065995"/>
            <a:ext cx="966988" cy="966988"/>
          </a:xfrm>
          <a:prstGeom prst="rect">
            <a:avLst/>
          </a:prstGeom>
        </p:spPr>
      </p:pic>
      <p:pic>
        <p:nvPicPr>
          <p:cNvPr id="16" name="Graphic 15">
            <a:extLst>
              <a:ext uri="{FF2B5EF4-FFF2-40B4-BE49-F238E27FC236}">
                <a16:creationId xmlns:a16="http://schemas.microsoft.com/office/drawing/2014/main" id="{B0D29678-6131-4093-2CA7-A20ADD534157}"/>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14312998" y="3065995"/>
            <a:ext cx="966988" cy="966988"/>
          </a:xfrm>
          <a:prstGeom prst="rect">
            <a:avLst/>
          </a:prstGeom>
        </p:spPr>
      </p:pic>
      <p:pic>
        <p:nvPicPr>
          <p:cNvPr id="17" name="Graphic 16">
            <a:extLst>
              <a:ext uri="{FF2B5EF4-FFF2-40B4-BE49-F238E27FC236}">
                <a16:creationId xmlns:a16="http://schemas.microsoft.com/office/drawing/2014/main" id="{BD50EBBE-2464-1CD9-8EEB-DF5927760AF5}"/>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2919212" y="6843512"/>
            <a:ext cx="966988" cy="966988"/>
          </a:xfrm>
          <a:prstGeom prst="rect">
            <a:avLst/>
          </a:prstGeom>
        </p:spPr>
      </p:pic>
      <p:pic>
        <p:nvPicPr>
          <p:cNvPr id="18" name="Graphic 17">
            <a:extLst>
              <a:ext uri="{FF2B5EF4-FFF2-40B4-BE49-F238E27FC236}">
                <a16:creationId xmlns:a16="http://schemas.microsoft.com/office/drawing/2014/main" id="{85113463-327B-5474-DD45-53D538B1BC41}"/>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6717141" y="6843512"/>
            <a:ext cx="966988" cy="966988"/>
          </a:xfrm>
          <a:prstGeom prst="rect">
            <a:avLst/>
          </a:prstGeom>
        </p:spPr>
      </p:pic>
      <p:pic>
        <p:nvPicPr>
          <p:cNvPr id="19" name="Graphic 18">
            <a:extLst>
              <a:ext uri="{FF2B5EF4-FFF2-40B4-BE49-F238E27FC236}">
                <a16:creationId xmlns:a16="http://schemas.microsoft.com/office/drawing/2014/main" id="{818BF15C-A84A-8AC5-F7E6-F55294E430AE}"/>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10515070" y="6843512"/>
            <a:ext cx="966988" cy="966988"/>
          </a:xfrm>
          <a:prstGeom prst="rect">
            <a:avLst/>
          </a:prstGeom>
        </p:spPr>
      </p:pic>
      <p:pic>
        <p:nvPicPr>
          <p:cNvPr id="20" name="Graphic 19">
            <a:extLst>
              <a:ext uri="{FF2B5EF4-FFF2-40B4-BE49-F238E27FC236}">
                <a16:creationId xmlns:a16="http://schemas.microsoft.com/office/drawing/2014/main" id="{F5E1376E-4131-C1D3-B9C1-740CE0DE5A83}"/>
              </a:ext>
            </a:extLst>
          </p:cNvPr>
          <p:cNvPicPr>
            <a:picLocks noChangeAspect="1"/>
          </p:cNvPicPr>
          <p:nvPr/>
        </p:nvPicPr>
        <p:blipFill>
          <a:blip r:embed="rId2">
            <a:extLst>
              <a:ext uri="{96DAC541-7B7A-43D3-8B79-37D633B846F1}">
                <asvg:svgBlip xmlns:asvg="http://schemas.microsoft.com/office/drawing/2016/SVG/main" r:embed="rId3"/>
              </a:ext>
            </a:extLst>
          </a:blip>
          <a:srcRect l="9999" t="5198" r="10001" b="30801"/>
          <a:stretch>
            <a:fillRect/>
          </a:stretch>
        </p:blipFill>
        <p:spPr>
          <a:xfrm>
            <a:off x="14312998" y="6843512"/>
            <a:ext cx="966988" cy="966988"/>
          </a:xfrm>
          <a:prstGeom prst="rect">
            <a:avLst/>
          </a:prstGeom>
        </p:spPr>
      </p:pic>
      <p:sp>
        <p:nvSpPr>
          <p:cNvPr id="23" name="Oval 22">
            <a:extLst>
              <a:ext uri="{FF2B5EF4-FFF2-40B4-BE49-F238E27FC236}">
                <a16:creationId xmlns:a16="http://schemas.microsoft.com/office/drawing/2014/main" id="{2DA48B9F-5F76-9AEC-3978-B1D98668271D}"/>
              </a:ext>
            </a:extLst>
          </p:cNvPr>
          <p:cNvSpPr/>
          <p:nvPr/>
        </p:nvSpPr>
        <p:spPr>
          <a:xfrm>
            <a:off x="2630550" y="2843450"/>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Oval 23">
            <a:extLst>
              <a:ext uri="{FF2B5EF4-FFF2-40B4-BE49-F238E27FC236}">
                <a16:creationId xmlns:a16="http://schemas.microsoft.com/office/drawing/2014/main" id="{3501CEA6-B20E-3EC3-FE7C-97640DB1E7D1}"/>
              </a:ext>
            </a:extLst>
          </p:cNvPr>
          <p:cNvSpPr/>
          <p:nvPr/>
        </p:nvSpPr>
        <p:spPr>
          <a:xfrm>
            <a:off x="6428479" y="2843450"/>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E7F5ED21-C6BF-589D-B689-8E6A776C41A5}"/>
              </a:ext>
            </a:extLst>
          </p:cNvPr>
          <p:cNvSpPr/>
          <p:nvPr/>
        </p:nvSpPr>
        <p:spPr>
          <a:xfrm>
            <a:off x="10226408" y="2843450"/>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Oval 25">
            <a:extLst>
              <a:ext uri="{FF2B5EF4-FFF2-40B4-BE49-F238E27FC236}">
                <a16:creationId xmlns:a16="http://schemas.microsoft.com/office/drawing/2014/main" id="{CF437131-E151-9001-A570-EAA2B04125F9}"/>
              </a:ext>
            </a:extLst>
          </p:cNvPr>
          <p:cNvSpPr/>
          <p:nvPr/>
        </p:nvSpPr>
        <p:spPr>
          <a:xfrm>
            <a:off x="14024336" y="2843450"/>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Oval 26">
            <a:extLst>
              <a:ext uri="{FF2B5EF4-FFF2-40B4-BE49-F238E27FC236}">
                <a16:creationId xmlns:a16="http://schemas.microsoft.com/office/drawing/2014/main" id="{70FD9751-0C1A-EF0C-658B-E0AB0BB8BDC0}"/>
              </a:ext>
            </a:extLst>
          </p:cNvPr>
          <p:cNvSpPr/>
          <p:nvPr/>
        </p:nvSpPr>
        <p:spPr>
          <a:xfrm>
            <a:off x="2630550" y="6665325"/>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Oval 27">
            <a:extLst>
              <a:ext uri="{FF2B5EF4-FFF2-40B4-BE49-F238E27FC236}">
                <a16:creationId xmlns:a16="http://schemas.microsoft.com/office/drawing/2014/main" id="{8FA50AB6-B47B-CCB1-CB96-A28919C7A787}"/>
              </a:ext>
            </a:extLst>
          </p:cNvPr>
          <p:cNvSpPr/>
          <p:nvPr/>
        </p:nvSpPr>
        <p:spPr>
          <a:xfrm>
            <a:off x="6428479" y="6665325"/>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Oval 28">
            <a:extLst>
              <a:ext uri="{FF2B5EF4-FFF2-40B4-BE49-F238E27FC236}">
                <a16:creationId xmlns:a16="http://schemas.microsoft.com/office/drawing/2014/main" id="{38469AB2-090D-5892-2D81-AAEEAB8F680C}"/>
              </a:ext>
            </a:extLst>
          </p:cNvPr>
          <p:cNvSpPr/>
          <p:nvPr/>
        </p:nvSpPr>
        <p:spPr>
          <a:xfrm>
            <a:off x="10226408" y="6665325"/>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Oval 29">
            <a:extLst>
              <a:ext uri="{FF2B5EF4-FFF2-40B4-BE49-F238E27FC236}">
                <a16:creationId xmlns:a16="http://schemas.microsoft.com/office/drawing/2014/main" id="{57C1774A-59F3-3465-36E5-81BEC36F4131}"/>
              </a:ext>
            </a:extLst>
          </p:cNvPr>
          <p:cNvSpPr/>
          <p:nvPr/>
        </p:nvSpPr>
        <p:spPr>
          <a:xfrm>
            <a:off x="14024336" y="6665325"/>
            <a:ext cx="1544400" cy="1544400"/>
          </a:xfrm>
          <a:prstGeom prst="ellipse">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31516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86FE1-8B2A-A394-0D9A-CF1AE7C3047B}"/>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D9174E69-7785-440D-6A34-F7DEEDBB86CB}"/>
              </a:ext>
            </a:extLst>
          </p:cNvPr>
          <p:cNvSpPr>
            <a:spLocks noGrp="1"/>
          </p:cNvSpPr>
          <p:nvPr>
            <p:ph type="title"/>
          </p:nvPr>
        </p:nvSpPr>
        <p:spPr/>
        <p:txBody>
          <a:bodyPr/>
          <a:lstStyle/>
          <a:p>
            <a:r>
              <a:rPr lang="en-US" dirty="0"/>
              <a:t>Team Slide</a:t>
            </a:r>
          </a:p>
        </p:txBody>
      </p:sp>
      <p:sp>
        <p:nvSpPr>
          <p:cNvPr id="2" name="Picture Placeholder 1">
            <a:extLst>
              <a:ext uri="{FF2B5EF4-FFF2-40B4-BE49-F238E27FC236}">
                <a16:creationId xmlns:a16="http://schemas.microsoft.com/office/drawing/2014/main" id="{42EB53CB-D5B1-1A80-EBE8-342E67670C90}"/>
              </a:ext>
            </a:extLst>
          </p:cNvPr>
          <p:cNvSpPr>
            <a:spLocks noGrp="1"/>
          </p:cNvSpPr>
          <p:nvPr>
            <p:ph type="pic" sz="quarter" idx="13"/>
          </p:nvPr>
        </p:nvSpPr>
        <p:spPr>
          <a:solidFill>
            <a:schemeClr val="bg1"/>
          </a:solidFill>
          <a:ln>
            <a:noFill/>
          </a:ln>
        </p:spPr>
        <p:txBody>
          <a:bodyPr/>
          <a:lstStyle/>
          <a:p>
            <a:endParaRPr lang="en-US" dirty="0"/>
          </a:p>
        </p:txBody>
      </p:sp>
      <p:sp>
        <p:nvSpPr>
          <p:cNvPr id="3" name="Picture Placeholder 2">
            <a:extLst>
              <a:ext uri="{FF2B5EF4-FFF2-40B4-BE49-F238E27FC236}">
                <a16:creationId xmlns:a16="http://schemas.microsoft.com/office/drawing/2014/main" id="{33922FC7-A480-B54E-E65E-F0C2660BD13D}"/>
              </a:ext>
            </a:extLst>
          </p:cNvPr>
          <p:cNvSpPr>
            <a:spLocks noGrp="1"/>
          </p:cNvSpPr>
          <p:nvPr>
            <p:ph type="pic" sz="quarter" idx="14"/>
          </p:nvPr>
        </p:nvSpPr>
        <p:spPr>
          <a:solidFill>
            <a:schemeClr val="bg1"/>
          </a:solidFill>
          <a:ln>
            <a:noFill/>
          </a:ln>
        </p:spPr>
        <p:txBody>
          <a:bodyPr/>
          <a:lstStyle/>
          <a:p>
            <a:endParaRPr lang="en-US" dirty="0"/>
          </a:p>
        </p:txBody>
      </p:sp>
      <p:sp>
        <p:nvSpPr>
          <p:cNvPr id="5" name="Picture Placeholder 4">
            <a:extLst>
              <a:ext uri="{FF2B5EF4-FFF2-40B4-BE49-F238E27FC236}">
                <a16:creationId xmlns:a16="http://schemas.microsoft.com/office/drawing/2014/main" id="{097D68E3-440F-4028-BDB4-CB206E7318BC}"/>
              </a:ext>
            </a:extLst>
          </p:cNvPr>
          <p:cNvSpPr>
            <a:spLocks noGrp="1"/>
          </p:cNvSpPr>
          <p:nvPr>
            <p:ph type="pic" sz="quarter" idx="15"/>
          </p:nvPr>
        </p:nvSpPr>
        <p:spPr>
          <a:solidFill>
            <a:schemeClr val="bg1"/>
          </a:solidFill>
          <a:ln>
            <a:noFill/>
          </a:ln>
        </p:spPr>
        <p:txBody>
          <a:bodyPr/>
          <a:lstStyle/>
          <a:p>
            <a:endParaRPr lang="en-US" dirty="0"/>
          </a:p>
        </p:txBody>
      </p:sp>
      <p:sp>
        <p:nvSpPr>
          <p:cNvPr id="22" name="Picture Placeholder 21">
            <a:extLst>
              <a:ext uri="{FF2B5EF4-FFF2-40B4-BE49-F238E27FC236}">
                <a16:creationId xmlns:a16="http://schemas.microsoft.com/office/drawing/2014/main" id="{8C0CBE59-E610-9F9A-1D40-D7887EDD4C19}"/>
              </a:ext>
            </a:extLst>
          </p:cNvPr>
          <p:cNvSpPr>
            <a:spLocks noGrp="1"/>
          </p:cNvSpPr>
          <p:nvPr>
            <p:ph type="pic" sz="quarter" idx="16"/>
          </p:nvPr>
        </p:nvSpPr>
        <p:spPr>
          <a:solidFill>
            <a:schemeClr val="bg1"/>
          </a:solidFill>
          <a:ln>
            <a:noFill/>
          </a:ln>
        </p:spPr>
        <p:txBody>
          <a:bodyPr/>
          <a:lstStyle/>
          <a:p>
            <a:endParaRPr lang="en-US" dirty="0"/>
          </a:p>
        </p:txBody>
      </p:sp>
      <p:sp>
        <p:nvSpPr>
          <p:cNvPr id="8" name="Rectangle 7">
            <a:extLst>
              <a:ext uri="{FF2B5EF4-FFF2-40B4-BE49-F238E27FC236}">
                <a16:creationId xmlns:a16="http://schemas.microsoft.com/office/drawing/2014/main" id="{60FBB674-DA64-F177-631B-AAB111F48361}"/>
              </a:ext>
            </a:extLst>
          </p:cNvPr>
          <p:cNvSpPr/>
          <p:nvPr/>
        </p:nvSpPr>
        <p:spPr>
          <a:xfrm>
            <a:off x="714374" y="4673444"/>
            <a:ext cx="3871912" cy="8023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1" name="Rectangle 10">
            <a:extLst>
              <a:ext uri="{FF2B5EF4-FFF2-40B4-BE49-F238E27FC236}">
                <a16:creationId xmlns:a16="http://schemas.microsoft.com/office/drawing/2014/main" id="{DF50022B-19B7-275B-B068-CDE8FD567894}"/>
              </a:ext>
            </a:extLst>
          </p:cNvPr>
          <p:cNvSpPr/>
          <p:nvPr/>
        </p:nvSpPr>
        <p:spPr>
          <a:xfrm>
            <a:off x="714374"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12" name="Rectangle 11">
            <a:extLst>
              <a:ext uri="{FF2B5EF4-FFF2-40B4-BE49-F238E27FC236}">
                <a16:creationId xmlns:a16="http://schemas.microsoft.com/office/drawing/2014/main" id="{01DDC1B1-CCB0-BCB5-27A4-309382124E42}"/>
              </a:ext>
            </a:extLst>
          </p:cNvPr>
          <p:cNvSpPr/>
          <p:nvPr/>
        </p:nvSpPr>
        <p:spPr>
          <a:xfrm>
            <a:off x="9372598" y="4673444"/>
            <a:ext cx="3871912" cy="8023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3" name="Rectangle 12">
            <a:extLst>
              <a:ext uri="{FF2B5EF4-FFF2-40B4-BE49-F238E27FC236}">
                <a16:creationId xmlns:a16="http://schemas.microsoft.com/office/drawing/2014/main" id="{E57E0F3F-DFD1-D46B-904A-AB99A426ADA3}"/>
              </a:ext>
            </a:extLst>
          </p:cNvPr>
          <p:cNvSpPr/>
          <p:nvPr/>
        </p:nvSpPr>
        <p:spPr>
          <a:xfrm>
            <a:off x="5043486" y="4673444"/>
            <a:ext cx="3871912" cy="8023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4" name="Rectangle 13">
            <a:extLst>
              <a:ext uri="{FF2B5EF4-FFF2-40B4-BE49-F238E27FC236}">
                <a16:creationId xmlns:a16="http://schemas.microsoft.com/office/drawing/2014/main" id="{6B921790-6C63-DA23-EDDB-407A6CD0ED50}"/>
              </a:ext>
            </a:extLst>
          </p:cNvPr>
          <p:cNvSpPr/>
          <p:nvPr/>
        </p:nvSpPr>
        <p:spPr>
          <a:xfrm>
            <a:off x="13701711" y="4673444"/>
            <a:ext cx="3871912" cy="8023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5" name="Rectangle 14">
            <a:extLst>
              <a:ext uri="{FF2B5EF4-FFF2-40B4-BE49-F238E27FC236}">
                <a16:creationId xmlns:a16="http://schemas.microsoft.com/office/drawing/2014/main" id="{EEFE0752-DEC5-E158-A9FA-74B020EC763D}"/>
              </a:ext>
            </a:extLst>
          </p:cNvPr>
          <p:cNvSpPr/>
          <p:nvPr/>
        </p:nvSpPr>
        <p:spPr>
          <a:xfrm>
            <a:off x="714374"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16" name="Rectangle 15">
            <a:extLst>
              <a:ext uri="{FF2B5EF4-FFF2-40B4-BE49-F238E27FC236}">
                <a16:creationId xmlns:a16="http://schemas.microsoft.com/office/drawing/2014/main" id="{32720D77-C9EC-0D8D-0389-AAB93FFFA219}"/>
              </a:ext>
            </a:extLst>
          </p:cNvPr>
          <p:cNvSpPr/>
          <p:nvPr/>
        </p:nvSpPr>
        <p:spPr>
          <a:xfrm>
            <a:off x="13701711"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17" name="Rectangle 16">
            <a:extLst>
              <a:ext uri="{FF2B5EF4-FFF2-40B4-BE49-F238E27FC236}">
                <a16:creationId xmlns:a16="http://schemas.microsoft.com/office/drawing/2014/main" id="{8254AB55-75A5-CA3F-C972-E954A01BBA38}"/>
              </a:ext>
            </a:extLst>
          </p:cNvPr>
          <p:cNvSpPr/>
          <p:nvPr/>
        </p:nvSpPr>
        <p:spPr>
          <a:xfrm>
            <a:off x="13701711"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18" name="Rectangle 17">
            <a:extLst>
              <a:ext uri="{FF2B5EF4-FFF2-40B4-BE49-F238E27FC236}">
                <a16:creationId xmlns:a16="http://schemas.microsoft.com/office/drawing/2014/main" id="{B58121C7-BE39-DFC9-7609-D170EF062532}"/>
              </a:ext>
            </a:extLst>
          </p:cNvPr>
          <p:cNvSpPr/>
          <p:nvPr/>
        </p:nvSpPr>
        <p:spPr>
          <a:xfrm>
            <a:off x="9372598"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19" name="Rectangle 18">
            <a:extLst>
              <a:ext uri="{FF2B5EF4-FFF2-40B4-BE49-F238E27FC236}">
                <a16:creationId xmlns:a16="http://schemas.microsoft.com/office/drawing/2014/main" id="{F317C779-7508-54ED-1FBC-DEF01B2FF61F}"/>
              </a:ext>
            </a:extLst>
          </p:cNvPr>
          <p:cNvSpPr/>
          <p:nvPr/>
        </p:nvSpPr>
        <p:spPr>
          <a:xfrm>
            <a:off x="9372598"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20" name="Rectangle 19">
            <a:extLst>
              <a:ext uri="{FF2B5EF4-FFF2-40B4-BE49-F238E27FC236}">
                <a16:creationId xmlns:a16="http://schemas.microsoft.com/office/drawing/2014/main" id="{1EDE7146-DAF8-C454-0745-CD7A6ED6415C}"/>
              </a:ext>
            </a:extLst>
          </p:cNvPr>
          <p:cNvSpPr/>
          <p:nvPr/>
        </p:nvSpPr>
        <p:spPr>
          <a:xfrm>
            <a:off x="5043486"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21" name="Rectangle 20">
            <a:extLst>
              <a:ext uri="{FF2B5EF4-FFF2-40B4-BE49-F238E27FC236}">
                <a16:creationId xmlns:a16="http://schemas.microsoft.com/office/drawing/2014/main" id="{98340CCE-AB4C-D562-3A79-D60F4EDB87AB}"/>
              </a:ext>
            </a:extLst>
          </p:cNvPr>
          <p:cNvSpPr/>
          <p:nvPr/>
        </p:nvSpPr>
        <p:spPr>
          <a:xfrm>
            <a:off x="5043486"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6" name="Slide Number Placeholder 5">
            <a:extLst>
              <a:ext uri="{FF2B5EF4-FFF2-40B4-BE49-F238E27FC236}">
                <a16:creationId xmlns:a16="http://schemas.microsoft.com/office/drawing/2014/main" id="{68933DDC-2D74-A144-D210-D1EE96A97199}"/>
              </a:ext>
            </a:extLst>
          </p:cNvPr>
          <p:cNvSpPr>
            <a:spLocks noGrp="1"/>
          </p:cNvSpPr>
          <p:nvPr>
            <p:ph type="sldNum" sz="quarter" idx="12"/>
          </p:nvPr>
        </p:nvSpPr>
        <p:spPr/>
        <p:txBody>
          <a:bodyPr/>
          <a:lstStyle/>
          <a:p>
            <a:fld id="{E2D680B1-7F17-42D2-83E2-2C9AC13983BB}" type="slidenum">
              <a:rPr lang="en-US" smtClean="0"/>
              <a:t>13</a:t>
            </a:fld>
            <a:endParaRPr lang="en-US" dirty="0"/>
          </a:p>
        </p:txBody>
      </p:sp>
    </p:spTree>
    <p:extLst>
      <p:ext uri="{BB962C8B-B14F-4D97-AF65-F5344CB8AC3E}">
        <p14:creationId xmlns:p14="http://schemas.microsoft.com/office/powerpoint/2010/main" val="2032261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678CB-7F32-796E-0707-BAD623486B7D}"/>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FCFD6AC2-8D46-A59C-E731-1775D3ED748D}"/>
              </a:ext>
            </a:extLst>
          </p:cNvPr>
          <p:cNvSpPr>
            <a:spLocks noGrp="1"/>
          </p:cNvSpPr>
          <p:nvPr>
            <p:ph type="title"/>
          </p:nvPr>
        </p:nvSpPr>
        <p:spPr/>
        <p:txBody>
          <a:bodyPr/>
          <a:lstStyle/>
          <a:p>
            <a:r>
              <a:rPr lang="en-US" dirty="0"/>
              <a:t>Team Slide</a:t>
            </a:r>
          </a:p>
        </p:txBody>
      </p:sp>
      <p:pic>
        <p:nvPicPr>
          <p:cNvPr id="7" name="Picture Placeholder 6" descr="A light bulb on top of books&#10;&#10;AI-generated content may be incorrect.">
            <a:extLst>
              <a:ext uri="{FF2B5EF4-FFF2-40B4-BE49-F238E27FC236}">
                <a16:creationId xmlns:a16="http://schemas.microsoft.com/office/drawing/2014/main" id="{20FB2E7A-0E71-3F42-0550-AF06AAAFE9D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495" r="9495"/>
          <a:stretch>
            <a:fillRect/>
          </a:stretch>
        </p:blipFill>
        <p:spPr>
          <a:solidFill>
            <a:schemeClr val="bg1"/>
          </a:solidFill>
          <a:ln>
            <a:noFill/>
          </a:ln>
        </p:spPr>
      </p:pic>
      <p:pic>
        <p:nvPicPr>
          <p:cNvPr id="23" name="Picture Placeholder 22" descr="A person looking at a magnifying glass over stacks of coins&#10;&#10;AI-generated content may be incorrect.">
            <a:extLst>
              <a:ext uri="{FF2B5EF4-FFF2-40B4-BE49-F238E27FC236}">
                <a16:creationId xmlns:a16="http://schemas.microsoft.com/office/drawing/2014/main" id="{725F55F7-E132-DE6A-3D15-955F49935B25}"/>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4156" r="4156"/>
          <a:stretch>
            <a:fillRect/>
          </a:stretch>
        </p:blipFill>
        <p:spPr>
          <a:solidFill>
            <a:schemeClr val="bg1"/>
          </a:solidFill>
          <a:ln>
            <a:noFill/>
          </a:ln>
        </p:spPr>
      </p:pic>
      <p:pic>
        <p:nvPicPr>
          <p:cNvPr id="25" name="Picture Placeholder 24" descr="A person holding a phone&#10;&#10;AI-generated content may be incorrect.">
            <a:extLst>
              <a:ext uri="{FF2B5EF4-FFF2-40B4-BE49-F238E27FC236}">
                <a16:creationId xmlns:a16="http://schemas.microsoft.com/office/drawing/2014/main" id="{EE99BE31-32CA-0653-9DF4-257F51A6C664}"/>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l="14346" r="14346"/>
          <a:stretch>
            <a:fillRect/>
          </a:stretch>
        </p:blipFill>
        <p:spPr>
          <a:solidFill>
            <a:schemeClr val="bg1"/>
          </a:solidFill>
          <a:ln>
            <a:noFill/>
          </a:ln>
        </p:spPr>
      </p:pic>
      <p:pic>
        <p:nvPicPr>
          <p:cNvPr id="27" name="Picture Placeholder 26" descr="A plant growing from a stack of coins&#10;&#10;AI-generated content may be incorrect.">
            <a:extLst>
              <a:ext uri="{FF2B5EF4-FFF2-40B4-BE49-F238E27FC236}">
                <a16:creationId xmlns:a16="http://schemas.microsoft.com/office/drawing/2014/main" id="{31176F0E-258D-3865-DE91-F1AF25E79E97}"/>
              </a:ext>
            </a:extLst>
          </p:cNvPr>
          <p:cNvPicPr>
            <a:picLocks noGrp="1" noChangeAspect="1"/>
          </p:cNvPicPr>
          <p:nvPr>
            <p:ph type="pic" sz="quarter" idx="16"/>
          </p:nvPr>
        </p:nvPicPr>
        <p:blipFill rotWithShape="1">
          <a:blip r:embed="rId5">
            <a:extLst>
              <a:ext uri="{28A0092B-C50C-407E-A947-70E740481C1C}">
                <a14:useLocalDpi xmlns:a14="http://schemas.microsoft.com/office/drawing/2010/main" val="0"/>
              </a:ext>
            </a:extLst>
          </a:blip>
          <a:srcRect l="16887" r="3753"/>
          <a:stretch>
            <a:fillRect/>
          </a:stretch>
        </p:blipFill>
        <p:spPr>
          <a:xfrm>
            <a:off x="13701711" y="1889656"/>
            <a:ext cx="3871912" cy="2675550"/>
          </a:xfrm>
          <a:solidFill>
            <a:schemeClr val="bg1"/>
          </a:solidFill>
          <a:ln>
            <a:noFill/>
          </a:ln>
        </p:spPr>
      </p:pic>
      <p:sp>
        <p:nvSpPr>
          <p:cNvPr id="8" name="Rectangle 7">
            <a:extLst>
              <a:ext uri="{FF2B5EF4-FFF2-40B4-BE49-F238E27FC236}">
                <a16:creationId xmlns:a16="http://schemas.microsoft.com/office/drawing/2014/main" id="{FA8ADD50-80E3-98FC-F67B-33A31B0A2754}"/>
              </a:ext>
            </a:extLst>
          </p:cNvPr>
          <p:cNvSpPr/>
          <p:nvPr/>
        </p:nvSpPr>
        <p:spPr>
          <a:xfrm>
            <a:off x="714374" y="4673444"/>
            <a:ext cx="3871912" cy="8023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1" name="Rectangle 10">
            <a:extLst>
              <a:ext uri="{FF2B5EF4-FFF2-40B4-BE49-F238E27FC236}">
                <a16:creationId xmlns:a16="http://schemas.microsoft.com/office/drawing/2014/main" id="{6274892A-B7BA-10E2-75F8-F02B73148961}"/>
              </a:ext>
            </a:extLst>
          </p:cNvPr>
          <p:cNvSpPr/>
          <p:nvPr/>
        </p:nvSpPr>
        <p:spPr>
          <a:xfrm>
            <a:off x="714374"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12" name="Rectangle 11">
            <a:extLst>
              <a:ext uri="{FF2B5EF4-FFF2-40B4-BE49-F238E27FC236}">
                <a16:creationId xmlns:a16="http://schemas.microsoft.com/office/drawing/2014/main" id="{24136876-F38A-5B52-7998-E52CCDACD9AD}"/>
              </a:ext>
            </a:extLst>
          </p:cNvPr>
          <p:cNvSpPr/>
          <p:nvPr/>
        </p:nvSpPr>
        <p:spPr>
          <a:xfrm>
            <a:off x="9372598" y="4673444"/>
            <a:ext cx="3871912" cy="80238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3" name="Rectangle 12">
            <a:extLst>
              <a:ext uri="{FF2B5EF4-FFF2-40B4-BE49-F238E27FC236}">
                <a16:creationId xmlns:a16="http://schemas.microsoft.com/office/drawing/2014/main" id="{9358950E-D628-2428-3F12-67BBFAC6C86F}"/>
              </a:ext>
            </a:extLst>
          </p:cNvPr>
          <p:cNvSpPr/>
          <p:nvPr/>
        </p:nvSpPr>
        <p:spPr>
          <a:xfrm>
            <a:off x="5043486" y="4673444"/>
            <a:ext cx="3871912" cy="8023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4" name="Rectangle 13">
            <a:extLst>
              <a:ext uri="{FF2B5EF4-FFF2-40B4-BE49-F238E27FC236}">
                <a16:creationId xmlns:a16="http://schemas.microsoft.com/office/drawing/2014/main" id="{96B06C29-C387-D298-7AD8-177D023A62CD}"/>
              </a:ext>
            </a:extLst>
          </p:cNvPr>
          <p:cNvSpPr/>
          <p:nvPr/>
        </p:nvSpPr>
        <p:spPr>
          <a:xfrm>
            <a:off x="13701711" y="4673444"/>
            <a:ext cx="3871912" cy="8023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bg1"/>
                </a:solidFill>
              </a:rPr>
              <a:t>Name</a:t>
            </a:r>
          </a:p>
        </p:txBody>
      </p:sp>
      <p:sp>
        <p:nvSpPr>
          <p:cNvPr id="15" name="Rectangle 14">
            <a:extLst>
              <a:ext uri="{FF2B5EF4-FFF2-40B4-BE49-F238E27FC236}">
                <a16:creationId xmlns:a16="http://schemas.microsoft.com/office/drawing/2014/main" id="{BF2869F4-562F-C015-3545-3668D0863265}"/>
              </a:ext>
            </a:extLst>
          </p:cNvPr>
          <p:cNvSpPr/>
          <p:nvPr/>
        </p:nvSpPr>
        <p:spPr>
          <a:xfrm>
            <a:off x="714374"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16" name="Rectangle 15">
            <a:extLst>
              <a:ext uri="{FF2B5EF4-FFF2-40B4-BE49-F238E27FC236}">
                <a16:creationId xmlns:a16="http://schemas.microsoft.com/office/drawing/2014/main" id="{EC5577A7-8DFC-3FAF-1B71-3083DEA588B9}"/>
              </a:ext>
            </a:extLst>
          </p:cNvPr>
          <p:cNvSpPr/>
          <p:nvPr/>
        </p:nvSpPr>
        <p:spPr>
          <a:xfrm>
            <a:off x="13701711"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17" name="Rectangle 16">
            <a:extLst>
              <a:ext uri="{FF2B5EF4-FFF2-40B4-BE49-F238E27FC236}">
                <a16:creationId xmlns:a16="http://schemas.microsoft.com/office/drawing/2014/main" id="{E815FAD0-D939-CB42-92AE-A68572FAF3E6}"/>
              </a:ext>
            </a:extLst>
          </p:cNvPr>
          <p:cNvSpPr/>
          <p:nvPr/>
        </p:nvSpPr>
        <p:spPr>
          <a:xfrm>
            <a:off x="13701711"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18" name="Rectangle 17">
            <a:extLst>
              <a:ext uri="{FF2B5EF4-FFF2-40B4-BE49-F238E27FC236}">
                <a16:creationId xmlns:a16="http://schemas.microsoft.com/office/drawing/2014/main" id="{7CACBE50-E445-AF35-925B-2B812091DA68}"/>
              </a:ext>
            </a:extLst>
          </p:cNvPr>
          <p:cNvSpPr/>
          <p:nvPr/>
        </p:nvSpPr>
        <p:spPr>
          <a:xfrm>
            <a:off x="9372598"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19" name="Rectangle 18">
            <a:extLst>
              <a:ext uri="{FF2B5EF4-FFF2-40B4-BE49-F238E27FC236}">
                <a16:creationId xmlns:a16="http://schemas.microsoft.com/office/drawing/2014/main" id="{9733AC2D-D3E4-E200-A343-BDABD26068FA}"/>
              </a:ext>
            </a:extLst>
          </p:cNvPr>
          <p:cNvSpPr/>
          <p:nvPr/>
        </p:nvSpPr>
        <p:spPr>
          <a:xfrm>
            <a:off x="9372598"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20" name="Rectangle 19">
            <a:extLst>
              <a:ext uri="{FF2B5EF4-FFF2-40B4-BE49-F238E27FC236}">
                <a16:creationId xmlns:a16="http://schemas.microsoft.com/office/drawing/2014/main" id="{E221DC26-110C-9990-B0D3-0ACB3BCAD76A}"/>
              </a:ext>
            </a:extLst>
          </p:cNvPr>
          <p:cNvSpPr/>
          <p:nvPr/>
        </p:nvSpPr>
        <p:spPr>
          <a:xfrm>
            <a:off x="5043486" y="558406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IN" sz="2000" b="1" dirty="0">
                <a:solidFill>
                  <a:schemeClr val="tx1"/>
                </a:solidFill>
              </a:rPr>
              <a:t>Designation</a:t>
            </a:r>
            <a:endParaRPr lang="en-US" sz="2000" b="1" dirty="0">
              <a:solidFill>
                <a:schemeClr val="tx1"/>
              </a:solidFill>
            </a:endParaRPr>
          </a:p>
        </p:txBody>
      </p:sp>
      <p:sp>
        <p:nvSpPr>
          <p:cNvPr id="21" name="Rectangle 20">
            <a:extLst>
              <a:ext uri="{FF2B5EF4-FFF2-40B4-BE49-F238E27FC236}">
                <a16:creationId xmlns:a16="http://schemas.microsoft.com/office/drawing/2014/main" id="{9F57D77D-A316-781B-FD42-C0876032F8F5}"/>
              </a:ext>
            </a:extLst>
          </p:cNvPr>
          <p:cNvSpPr/>
          <p:nvPr/>
        </p:nvSpPr>
        <p:spPr>
          <a:xfrm>
            <a:off x="5043486" y="6367074"/>
            <a:ext cx="3871912" cy="27207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p:txBody>
      </p:sp>
      <p:sp>
        <p:nvSpPr>
          <p:cNvPr id="6" name="Slide Number Placeholder 5">
            <a:extLst>
              <a:ext uri="{FF2B5EF4-FFF2-40B4-BE49-F238E27FC236}">
                <a16:creationId xmlns:a16="http://schemas.microsoft.com/office/drawing/2014/main" id="{5FEBEA6A-7900-C2D9-AD1C-47E4BEBAC0D6}"/>
              </a:ext>
            </a:extLst>
          </p:cNvPr>
          <p:cNvSpPr>
            <a:spLocks noGrp="1"/>
          </p:cNvSpPr>
          <p:nvPr>
            <p:ph type="sldNum" sz="quarter" idx="12"/>
          </p:nvPr>
        </p:nvSpPr>
        <p:spPr/>
        <p:txBody>
          <a:bodyPr/>
          <a:lstStyle/>
          <a:p>
            <a:fld id="{E2D680B1-7F17-42D2-83E2-2C9AC13983BB}" type="slidenum">
              <a:rPr lang="en-US" smtClean="0"/>
              <a:t>14</a:t>
            </a:fld>
            <a:endParaRPr lang="en-US" dirty="0"/>
          </a:p>
        </p:txBody>
      </p:sp>
    </p:spTree>
    <p:extLst>
      <p:ext uri="{BB962C8B-B14F-4D97-AF65-F5344CB8AC3E}">
        <p14:creationId xmlns:p14="http://schemas.microsoft.com/office/powerpoint/2010/main" val="28669282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B78D1-E2B7-DD76-FBC3-7607ADCEF165}"/>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91CDE588-9268-7CF8-0E5B-0C72C1275DCB}"/>
              </a:ext>
            </a:extLst>
          </p:cNvPr>
          <p:cNvSpPr>
            <a:spLocks noGrp="1"/>
          </p:cNvSpPr>
          <p:nvPr>
            <p:ph type="title"/>
          </p:nvPr>
        </p:nvSpPr>
        <p:spPr/>
        <p:txBody>
          <a:bodyPr/>
          <a:lstStyle/>
          <a:p>
            <a:r>
              <a:rPr lang="en-US" dirty="0"/>
              <a:t>Pillar slide</a:t>
            </a:r>
          </a:p>
        </p:txBody>
      </p:sp>
      <p:sp>
        <p:nvSpPr>
          <p:cNvPr id="8" name="Rectangle 7">
            <a:extLst>
              <a:ext uri="{FF2B5EF4-FFF2-40B4-BE49-F238E27FC236}">
                <a16:creationId xmlns:a16="http://schemas.microsoft.com/office/drawing/2014/main" id="{E298038B-CA77-D8D8-4F90-7259A317ADC3}"/>
              </a:ext>
            </a:extLst>
          </p:cNvPr>
          <p:cNvSpPr/>
          <p:nvPr/>
        </p:nvSpPr>
        <p:spPr>
          <a:xfrm>
            <a:off x="714374" y="2171700"/>
            <a:ext cx="3871912" cy="12668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spcBef>
                <a:spcPts val="300"/>
              </a:spcBef>
              <a:spcAft>
                <a:spcPts val="300"/>
              </a:spcAft>
            </a:pPr>
            <a:r>
              <a:rPr lang="en-IN" sz="2400" b="1" dirty="0">
                <a:solidFill>
                  <a:schemeClr val="bg1"/>
                </a:solidFill>
              </a:rPr>
              <a:t>Name</a:t>
            </a:r>
          </a:p>
        </p:txBody>
      </p:sp>
      <p:sp>
        <p:nvSpPr>
          <p:cNvPr id="11" name="Rectangle 10">
            <a:extLst>
              <a:ext uri="{FF2B5EF4-FFF2-40B4-BE49-F238E27FC236}">
                <a16:creationId xmlns:a16="http://schemas.microsoft.com/office/drawing/2014/main" id="{8E0B9ECA-A5AF-3EDE-5ADA-DCCDCDD3D78E}"/>
              </a:ext>
            </a:extLst>
          </p:cNvPr>
          <p:cNvSpPr/>
          <p:nvPr/>
        </p:nvSpPr>
        <p:spPr>
          <a:xfrm>
            <a:off x="714374" y="356613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IN" sz="2400" b="1" dirty="0">
                <a:solidFill>
                  <a:schemeClr val="tx1"/>
                </a:solidFill>
              </a:rPr>
              <a:t>Heading</a:t>
            </a:r>
            <a:endParaRPr lang="en-US" sz="2400" b="1" dirty="0">
              <a:solidFill>
                <a:schemeClr val="tx1"/>
              </a:solidFill>
            </a:endParaRPr>
          </a:p>
        </p:txBody>
      </p:sp>
      <p:sp>
        <p:nvSpPr>
          <p:cNvPr id="12" name="Rectangle 11">
            <a:extLst>
              <a:ext uri="{FF2B5EF4-FFF2-40B4-BE49-F238E27FC236}">
                <a16:creationId xmlns:a16="http://schemas.microsoft.com/office/drawing/2014/main" id="{B7FF3064-8946-34BB-D8BB-8E87F12C0FF4}"/>
              </a:ext>
            </a:extLst>
          </p:cNvPr>
          <p:cNvSpPr/>
          <p:nvPr/>
        </p:nvSpPr>
        <p:spPr>
          <a:xfrm>
            <a:off x="9372598" y="2171700"/>
            <a:ext cx="3871912" cy="126682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spcBef>
                <a:spcPts val="300"/>
              </a:spcBef>
              <a:spcAft>
                <a:spcPts val="300"/>
              </a:spcAft>
            </a:pPr>
            <a:r>
              <a:rPr lang="en-IN" sz="2400" b="1" dirty="0">
                <a:solidFill>
                  <a:schemeClr val="bg1"/>
                </a:solidFill>
              </a:rPr>
              <a:t>Name</a:t>
            </a:r>
          </a:p>
        </p:txBody>
      </p:sp>
      <p:sp>
        <p:nvSpPr>
          <p:cNvPr id="13" name="Rectangle 12">
            <a:extLst>
              <a:ext uri="{FF2B5EF4-FFF2-40B4-BE49-F238E27FC236}">
                <a16:creationId xmlns:a16="http://schemas.microsoft.com/office/drawing/2014/main" id="{9677FD0C-CFAC-5CC4-6254-7D9FD29F71F2}"/>
              </a:ext>
            </a:extLst>
          </p:cNvPr>
          <p:cNvSpPr/>
          <p:nvPr/>
        </p:nvSpPr>
        <p:spPr>
          <a:xfrm>
            <a:off x="5043486" y="2171700"/>
            <a:ext cx="3871912" cy="126682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spcBef>
                <a:spcPts val="300"/>
              </a:spcBef>
              <a:spcAft>
                <a:spcPts val="300"/>
              </a:spcAft>
            </a:pPr>
            <a:r>
              <a:rPr lang="en-IN" sz="2400" b="1" dirty="0">
                <a:solidFill>
                  <a:schemeClr val="bg1"/>
                </a:solidFill>
              </a:rPr>
              <a:t>Name</a:t>
            </a:r>
          </a:p>
        </p:txBody>
      </p:sp>
      <p:sp>
        <p:nvSpPr>
          <p:cNvPr id="14" name="Rectangle 13">
            <a:extLst>
              <a:ext uri="{FF2B5EF4-FFF2-40B4-BE49-F238E27FC236}">
                <a16:creationId xmlns:a16="http://schemas.microsoft.com/office/drawing/2014/main" id="{8630DEE7-0F05-8FA6-669D-903538FD4039}"/>
              </a:ext>
            </a:extLst>
          </p:cNvPr>
          <p:cNvSpPr/>
          <p:nvPr/>
        </p:nvSpPr>
        <p:spPr>
          <a:xfrm>
            <a:off x="13701711" y="2171700"/>
            <a:ext cx="3871912" cy="126682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spcBef>
                <a:spcPts val="300"/>
              </a:spcBef>
              <a:spcAft>
                <a:spcPts val="300"/>
              </a:spcAft>
            </a:pPr>
            <a:r>
              <a:rPr lang="en-IN" sz="2400" b="1" dirty="0">
                <a:solidFill>
                  <a:schemeClr val="bg1"/>
                </a:solidFill>
              </a:rPr>
              <a:t>Name</a:t>
            </a:r>
          </a:p>
        </p:txBody>
      </p:sp>
      <p:sp>
        <p:nvSpPr>
          <p:cNvPr id="15" name="Rectangle 14">
            <a:extLst>
              <a:ext uri="{FF2B5EF4-FFF2-40B4-BE49-F238E27FC236}">
                <a16:creationId xmlns:a16="http://schemas.microsoft.com/office/drawing/2014/main" id="{C6579E36-A2CC-76B4-61B3-A74C63FEB2D4}"/>
              </a:ext>
            </a:extLst>
          </p:cNvPr>
          <p:cNvSpPr/>
          <p:nvPr/>
        </p:nvSpPr>
        <p:spPr>
          <a:xfrm>
            <a:off x="714374" y="4349144"/>
            <a:ext cx="3871912" cy="40164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spAutoFit/>
          </a:bodyPr>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p:txBody>
      </p:sp>
      <p:sp>
        <p:nvSpPr>
          <p:cNvPr id="16" name="Rectangle 15">
            <a:extLst>
              <a:ext uri="{FF2B5EF4-FFF2-40B4-BE49-F238E27FC236}">
                <a16:creationId xmlns:a16="http://schemas.microsoft.com/office/drawing/2014/main" id="{8DF80774-24C4-1C7B-EDC2-C2AFBE365631}"/>
              </a:ext>
            </a:extLst>
          </p:cNvPr>
          <p:cNvSpPr/>
          <p:nvPr/>
        </p:nvSpPr>
        <p:spPr>
          <a:xfrm>
            <a:off x="13701711" y="356613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IN" sz="2400" b="1" dirty="0">
                <a:solidFill>
                  <a:schemeClr val="tx1"/>
                </a:solidFill>
              </a:rPr>
              <a:t>Heading</a:t>
            </a:r>
            <a:endParaRPr lang="en-US" sz="2400" b="1" dirty="0">
              <a:solidFill>
                <a:schemeClr val="tx1"/>
              </a:solidFill>
            </a:endParaRPr>
          </a:p>
        </p:txBody>
      </p:sp>
      <p:sp>
        <p:nvSpPr>
          <p:cNvPr id="17" name="Rectangle 16">
            <a:extLst>
              <a:ext uri="{FF2B5EF4-FFF2-40B4-BE49-F238E27FC236}">
                <a16:creationId xmlns:a16="http://schemas.microsoft.com/office/drawing/2014/main" id="{F3F72394-1E81-903E-D3C2-2A00A1477F64}"/>
              </a:ext>
            </a:extLst>
          </p:cNvPr>
          <p:cNvSpPr/>
          <p:nvPr/>
        </p:nvSpPr>
        <p:spPr>
          <a:xfrm>
            <a:off x="13701711" y="4349144"/>
            <a:ext cx="3871912" cy="40164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spAutoFit/>
          </a:bodyPr>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p:txBody>
      </p:sp>
      <p:sp>
        <p:nvSpPr>
          <p:cNvPr id="18" name="Rectangle 17">
            <a:extLst>
              <a:ext uri="{FF2B5EF4-FFF2-40B4-BE49-F238E27FC236}">
                <a16:creationId xmlns:a16="http://schemas.microsoft.com/office/drawing/2014/main" id="{0CC93E69-4BE5-C15F-3A24-8A3A0C2CF6B5}"/>
              </a:ext>
            </a:extLst>
          </p:cNvPr>
          <p:cNvSpPr/>
          <p:nvPr/>
        </p:nvSpPr>
        <p:spPr>
          <a:xfrm>
            <a:off x="9372598" y="356613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IN" sz="2400" b="1" dirty="0">
                <a:solidFill>
                  <a:schemeClr val="tx1"/>
                </a:solidFill>
              </a:rPr>
              <a:t>Heading</a:t>
            </a:r>
            <a:endParaRPr lang="en-US" sz="2400" b="1" dirty="0">
              <a:solidFill>
                <a:schemeClr val="tx1"/>
              </a:solidFill>
            </a:endParaRPr>
          </a:p>
        </p:txBody>
      </p:sp>
      <p:sp>
        <p:nvSpPr>
          <p:cNvPr id="19" name="Rectangle 18">
            <a:extLst>
              <a:ext uri="{FF2B5EF4-FFF2-40B4-BE49-F238E27FC236}">
                <a16:creationId xmlns:a16="http://schemas.microsoft.com/office/drawing/2014/main" id="{933C46BD-DDBC-ADE0-336C-EFDBEA205E21}"/>
              </a:ext>
            </a:extLst>
          </p:cNvPr>
          <p:cNvSpPr/>
          <p:nvPr/>
        </p:nvSpPr>
        <p:spPr>
          <a:xfrm>
            <a:off x="9372598" y="4349144"/>
            <a:ext cx="3871912" cy="40164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spAutoFit/>
          </a:bodyPr>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p:txBody>
      </p:sp>
      <p:sp>
        <p:nvSpPr>
          <p:cNvPr id="20" name="Rectangle 19">
            <a:extLst>
              <a:ext uri="{FF2B5EF4-FFF2-40B4-BE49-F238E27FC236}">
                <a16:creationId xmlns:a16="http://schemas.microsoft.com/office/drawing/2014/main" id="{058AE1CF-8654-9582-5396-3F22317093CA}"/>
              </a:ext>
            </a:extLst>
          </p:cNvPr>
          <p:cNvSpPr/>
          <p:nvPr/>
        </p:nvSpPr>
        <p:spPr>
          <a:xfrm>
            <a:off x="5043486" y="3566132"/>
            <a:ext cx="3871912" cy="6747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IN" sz="2400" b="1" dirty="0">
                <a:solidFill>
                  <a:schemeClr val="tx1"/>
                </a:solidFill>
              </a:rPr>
              <a:t>Heading</a:t>
            </a:r>
            <a:endParaRPr lang="en-US" sz="2400" b="1" dirty="0">
              <a:solidFill>
                <a:schemeClr val="tx1"/>
              </a:solidFill>
            </a:endParaRPr>
          </a:p>
        </p:txBody>
      </p:sp>
      <p:sp>
        <p:nvSpPr>
          <p:cNvPr id="21" name="Rectangle 20">
            <a:extLst>
              <a:ext uri="{FF2B5EF4-FFF2-40B4-BE49-F238E27FC236}">
                <a16:creationId xmlns:a16="http://schemas.microsoft.com/office/drawing/2014/main" id="{29CF1C7C-303A-DE5E-ADA1-FCD11727AC86}"/>
              </a:ext>
            </a:extLst>
          </p:cNvPr>
          <p:cNvSpPr/>
          <p:nvPr/>
        </p:nvSpPr>
        <p:spPr>
          <a:xfrm>
            <a:off x="5043486" y="4349144"/>
            <a:ext cx="3871912" cy="40164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spAutoFit/>
          </a:bodyPr>
          <a:lstStyle/>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ea typeface="Calibri" panose="020F0502020204030204" pitchFamily="34" charset="0"/>
                <a:cs typeface="Arial" panose="020B0604020202020204" pitchFamily="34" charset="0"/>
              </a:rPr>
              <a:t>Lorem Ipsum is simply dummy text of the printing and typesetting industry. </a:t>
            </a:r>
          </a:p>
        </p:txBody>
      </p:sp>
      <p:sp>
        <p:nvSpPr>
          <p:cNvPr id="6" name="Slide Number Placeholder 5">
            <a:extLst>
              <a:ext uri="{FF2B5EF4-FFF2-40B4-BE49-F238E27FC236}">
                <a16:creationId xmlns:a16="http://schemas.microsoft.com/office/drawing/2014/main" id="{375E9927-B5A9-B676-BE5B-EDBA1DF66907}"/>
              </a:ext>
            </a:extLst>
          </p:cNvPr>
          <p:cNvSpPr>
            <a:spLocks noGrp="1"/>
          </p:cNvSpPr>
          <p:nvPr>
            <p:ph type="sldNum" sz="quarter" idx="12"/>
          </p:nvPr>
        </p:nvSpPr>
        <p:spPr/>
        <p:txBody>
          <a:bodyPr/>
          <a:lstStyle/>
          <a:p>
            <a:fld id="{E2D680B1-7F17-42D2-83E2-2C9AC13983BB}" type="slidenum">
              <a:rPr lang="en-US" smtClean="0"/>
              <a:t>15</a:t>
            </a:fld>
            <a:endParaRPr lang="en-US" dirty="0"/>
          </a:p>
        </p:txBody>
      </p:sp>
    </p:spTree>
    <p:extLst>
      <p:ext uri="{BB962C8B-B14F-4D97-AF65-F5344CB8AC3E}">
        <p14:creationId xmlns:p14="http://schemas.microsoft.com/office/powerpoint/2010/main" val="1380153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18FA6F-4A48-CA80-EEE3-23989CE8E5DB}"/>
              </a:ext>
            </a:extLst>
          </p:cNvPr>
          <p:cNvSpPr>
            <a:spLocks noGrp="1"/>
          </p:cNvSpPr>
          <p:nvPr>
            <p:ph type="title"/>
          </p:nvPr>
        </p:nvSpPr>
        <p:spPr>
          <a:xfrm>
            <a:off x="714375" y="317500"/>
            <a:ext cx="16859250" cy="1266825"/>
          </a:xfrm>
        </p:spPr>
        <p:txBody>
          <a:bodyPr/>
          <a:lstStyle/>
          <a:p>
            <a:r>
              <a:rPr lang="en-US" dirty="0"/>
              <a:t>Quote</a:t>
            </a:r>
            <a:endParaRPr lang="en-IN" dirty="0"/>
          </a:p>
        </p:txBody>
      </p:sp>
      <p:sp>
        <p:nvSpPr>
          <p:cNvPr id="9" name="TextBox 8">
            <a:extLst>
              <a:ext uri="{FF2B5EF4-FFF2-40B4-BE49-F238E27FC236}">
                <a16:creationId xmlns:a16="http://schemas.microsoft.com/office/drawing/2014/main" id="{498A94E3-7621-F255-CD95-D517856D192E}"/>
              </a:ext>
            </a:extLst>
          </p:cNvPr>
          <p:cNvSpPr txBox="1"/>
          <p:nvPr/>
        </p:nvSpPr>
        <p:spPr>
          <a:xfrm>
            <a:off x="714375" y="1184967"/>
            <a:ext cx="1492025" cy="4685898"/>
          </a:xfrm>
          <a:prstGeom prst="rect">
            <a:avLst/>
          </a:prstGeom>
          <a:noFill/>
        </p:spPr>
        <p:txBody>
          <a:bodyPr wrap="square" rtlCol="0">
            <a:spAutoFit/>
          </a:bodyPr>
          <a:lstStyle/>
          <a:p>
            <a:pPr algn="ctr"/>
            <a:r>
              <a:rPr lang="en-US" altLang="ko-KR" sz="29850" b="1" dirty="0">
                <a:solidFill>
                  <a:schemeClr val="accent1"/>
                </a:solidFill>
                <a:cs typeface="Arial" pitchFamily="34" charset="0"/>
              </a:rPr>
              <a:t>“</a:t>
            </a:r>
            <a:endParaRPr lang="ko-KR" altLang="en-US" sz="29850" b="1" dirty="0">
              <a:solidFill>
                <a:schemeClr val="accent1"/>
              </a:solidFill>
              <a:cs typeface="Arial" pitchFamily="34" charset="0"/>
            </a:endParaRPr>
          </a:p>
        </p:txBody>
      </p:sp>
      <p:grpSp>
        <p:nvGrpSpPr>
          <p:cNvPr id="14" name="Group 13">
            <a:extLst>
              <a:ext uri="{FF2B5EF4-FFF2-40B4-BE49-F238E27FC236}">
                <a16:creationId xmlns:a16="http://schemas.microsoft.com/office/drawing/2014/main" id="{4FC06BED-CFB2-B527-E495-ED937F6FEF97}"/>
              </a:ext>
            </a:extLst>
          </p:cNvPr>
          <p:cNvGrpSpPr/>
          <p:nvPr/>
        </p:nvGrpSpPr>
        <p:grpSpPr>
          <a:xfrm>
            <a:off x="714375" y="1998652"/>
            <a:ext cx="16871950" cy="6960061"/>
            <a:chOff x="714375" y="1998652"/>
            <a:chExt cx="16871950" cy="6960061"/>
          </a:xfrm>
        </p:grpSpPr>
        <p:sp>
          <p:nvSpPr>
            <p:cNvPr id="8" name="TextBox 7">
              <a:extLst>
                <a:ext uri="{FF2B5EF4-FFF2-40B4-BE49-F238E27FC236}">
                  <a16:creationId xmlns:a16="http://schemas.microsoft.com/office/drawing/2014/main" id="{067294A6-BD3A-3ED2-B98B-CCA18DB84E30}"/>
                </a:ext>
              </a:extLst>
            </p:cNvPr>
            <p:cNvSpPr txBox="1"/>
            <p:nvPr/>
          </p:nvSpPr>
          <p:spPr>
            <a:xfrm>
              <a:off x="3163992" y="3118188"/>
              <a:ext cx="11893343" cy="1938991"/>
            </a:xfrm>
            <a:prstGeom prst="rect">
              <a:avLst/>
            </a:prstGeom>
            <a:noFill/>
          </p:spPr>
          <p:txBody>
            <a:bodyPr wrap="square" rtlCol="0">
              <a:spAutoFit/>
            </a:bodyPr>
            <a:lstStyle/>
            <a:p>
              <a:pPr algn="ctr"/>
              <a:r>
                <a:rPr lang="en-US" altLang="ko-KR" sz="3000" dirty="0">
                  <a:solidFill>
                    <a:schemeClr val="tx2"/>
                  </a:solidFill>
                  <a:latin typeface="Arial" panose="020B0604020202020204" pitchFamily="34" charset="0"/>
                  <a:cs typeface="Arial" panose="020B0604020202020204" pitchFamily="34" charset="0"/>
                </a:rPr>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0" name="TextBox 9">
              <a:extLst>
                <a:ext uri="{FF2B5EF4-FFF2-40B4-BE49-F238E27FC236}">
                  <a16:creationId xmlns:a16="http://schemas.microsoft.com/office/drawing/2014/main" id="{0F8B5524-3D18-4B08-A11D-412EFBC575A1}"/>
                </a:ext>
              </a:extLst>
            </p:cNvPr>
            <p:cNvSpPr txBox="1"/>
            <p:nvPr/>
          </p:nvSpPr>
          <p:spPr>
            <a:xfrm rot="10800000">
              <a:off x="16014926" y="1998652"/>
              <a:ext cx="1492025" cy="4685898"/>
            </a:xfrm>
            <a:prstGeom prst="rect">
              <a:avLst/>
            </a:prstGeom>
            <a:noFill/>
          </p:spPr>
          <p:txBody>
            <a:bodyPr wrap="square" rtlCol="0">
              <a:spAutoFit/>
            </a:bodyPr>
            <a:lstStyle/>
            <a:p>
              <a:pPr algn="ctr"/>
              <a:r>
                <a:rPr lang="en-US" altLang="ko-KR" sz="29850" b="1" dirty="0">
                  <a:solidFill>
                    <a:schemeClr val="accent1"/>
                  </a:solidFill>
                  <a:latin typeface="Arial" panose="020B0604020202020204" pitchFamily="34" charset="0"/>
                  <a:cs typeface="Arial" panose="020B0604020202020204" pitchFamily="34" charset="0"/>
                </a:rPr>
                <a:t>“</a:t>
              </a:r>
              <a:endParaRPr lang="ko-KR" altLang="en-US" sz="29850" b="1" dirty="0">
                <a:solidFill>
                  <a:schemeClr val="accent1"/>
                </a:solidFill>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0AEDBA04-73FC-3816-D7C1-F50D945B71D6}"/>
                </a:ext>
              </a:extLst>
            </p:cNvPr>
            <p:cNvGrpSpPr/>
            <p:nvPr/>
          </p:nvGrpSpPr>
          <p:grpSpPr>
            <a:xfrm>
              <a:off x="714375" y="5882281"/>
              <a:ext cx="16871950" cy="3076432"/>
              <a:chOff x="714375" y="5882281"/>
              <a:chExt cx="16871950" cy="3076432"/>
            </a:xfrm>
          </p:grpSpPr>
          <p:sp>
            <p:nvSpPr>
              <p:cNvPr id="6" name="Rectangle 5">
                <a:extLst>
                  <a:ext uri="{FF2B5EF4-FFF2-40B4-BE49-F238E27FC236}">
                    <a16:creationId xmlns:a16="http://schemas.microsoft.com/office/drawing/2014/main" id="{3372018A-CF4D-AA61-E6CF-0C2FC5A9A264}"/>
                  </a:ext>
                </a:extLst>
              </p:cNvPr>
              <p:cNvSpPr/>
              <p:nvPr/>
            </p:nvSpPr>
            <p:spPr>
              <a:xfrm>
                <a:off x="714375" y="6679730"/>
                <a:ext cx="16871950" cy="227898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800"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73D0892E-8D31-DB20-D4EA-86480A5E957B}"/>
                  </a:ext>
                </a:extLst>
              </p:cNvPr>
              <p:cNvSpPr/>
              <p:nvPr/>
            </p:nvSpPr>
            <p:spPr>
              <a:xfrm>
                <a:off x="8235198" y="5882281"/>
                <a:ext cx="1830305" cy="183030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3000" dirty="0">
                    <a:solidFill>
                      <a:schemeClr val="bg1"/>
                    </a:solidFill>
                    <a:latin typeface="Arial" panose="020B0604020202020204" pitchFamily="34" charset="0"/>
                    <a:cs typeface="Arial" panose="020B0604020202020204" pitchFamily="34" charset="0"/>
                  </a:rPr>
                  <a:t>Photo</a:t>
                </a:r>
              </a:p>
            </p:txBody>
          </p:sp>
          <p:sp>
            <p:nvSpPr>
              <p:cNvPr id="11" name="TextBox 10">
                <a:extLst>
                  <a:ext uri="{FF2B5EF4-FFF2-40B4-BE49-F238E27FC236}">
                    <a16:creationId xmlns:a16="http://schemas.microsoft.com/office/drawing/2014/main" id="{271C0150-86E8-F011-F761-A9384AD7E9E6}"/>
                  </a:ext>
                </a:extLst>
              </p:cNvPr>
              <p:cNvSpPr txBox="1"/>
              <p:nvPr/>
            </p:nvSpPr>
            <p:spPr>
              <a:xfrm>
                <a:off x="3548084" y="8011350"/>
                <a:ext cx="11204532" cy="553998"/>
              </a:xfrm>
              <a:prstGeom prst="rect">
                <a:avLst/>
              </a:prstGeom>
              <a:noFill/>
            </p:spPr>
            <p:txBody>
              <a:bodyPr wrap="square" rtlCol="0">
                <a:spAutoFit/>
              </a:bodyPr>
              <a:lstStyle/>
              <a:p>
                <a:pPr algn="ctr"/>
                <a:r>
                  <a:rPr lang="en-US" altLang="ko-KR" sz="3000" b="1" dirty="0">
                    <a:solidFill>
                      <a:schemeClr val="bg1"/>
                    </a:solidFill>
                    <a:latin typeface="Arial" panose="020B0604020202020204" pitchFamily="34" charset="0"/>
                    <a:cs typeface="Arial" panose="020B0604020202020204" pitchFamily="34" charset="0"/>
                  </a:rPr>
                  <a:t>Name and Initials</a:t>
                </a:r>
              </a:p>
            </p:txBody>
          </p:sp>
        </p:grpSp>
      </p:grpSp>
      <p:sp>
        <p:nvSpPr>
          <p:cNvPr id="5" name="Slide Number Placeholder 4">
            <a:extLst>
              <a:ext uri="{FF2B5EF4-FFF2-40B4-BE49-F238E27FC236}">
                <a16:creationId xmlns:a16="http://schemas.microsoft.com/office/drawing/2014/main" id="{BD3AF977-B567-35C0-C8D5-0E0873E4A009}"/>
              </a:ext>
            </a:extLst>
          </p:cNvPr>
          <p:cNvSpPr>
            <a:spLocks noGrp="1"/>
          </p:cNvSpPr>
          <p:nvPr>
            <p:ph type="sldNum" sz="quarter" idx="12"/>
          </p:nvPr>
        </p:nvSpPr>
        <p:spPr/>
        <p:txBody>
          <a:bodyPr/>
          <a:lstStyle/>
          <a:p>
            <a:fld id="{E2D680B1-7F17-42D2-83E2-2C9AC13983BB}" type="slidenum">
              <a:rPr lang="en-US" smtClean="0"/>
              <a:t>16</a:t>
            </a:fld>
            <a:endParaRPr lang="en-US" dirty="0"/>
          </a:p>
        </p:txBody>
      </p:sp>
    </p:spTree>
    <p:extLst>
      <p:ext uri="{BB962C8B-B14F-4D97-AF65-F5344CB8AC3E}">
        <p14:creationId xmlns:p14="http://schemas.microsoft.com/office/powerpoint/2010/main" val="502462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5A5B7-347D-23EB-CE73-93ED441558AB}"/>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FC039040-4891-1C99-1874-81A0D6628011}"/>
              </a:ext>
            </a:extLst>
          </p:cNvPr>
          <p:cNvSpPr>
            <a:spLocks noGrp="1"/>
          </p:cNvSpPr>
          <p:nvPr>
            <p:ph type="body" sz="quarter" idx="11"/>
          </p:nvPr>
        </p:nvSpPr>
        <p:spPr>
          <a:xfrm>
            <a:off x="6049962" y="4038600"/>
            <a:ext cx="9952038" cy="2476500"/>
          </a:xfrm>
        </p:spPr>
        <p:txBody>
          <a:bodyPr/>
          <a:lstStyle/>
          <a:p>
            <a:r>
              <a:rPr lang="en-US" dirty="0"/>
              <a:t>Quantitative Slides</a:t>
            </a:r>
          </a:p>
        </p:txBody>
      </p:sp>
      <p:sp>
        <p:nvSpPr>
          <p:cNvPr id="2" name="Slide Number Placeholder 1">
            <a:extLst>
              <a:ext uri="{FF2B5EF4-FFF2-40B4-BE49-F238E27FC236}">
                <a16:creationId xmlns:a16="http://schemas.microsoft.com/office/drawing/2014/main" id="{0DB29B05-280F-7E31-E93B-D3D8E1B00CE3}"/>
              </a:ext>
            </a:extLst>
          </p:cNvPr>
          <p:cNvSpPr>
            <a:spLocks noGrp="1"/>
          </p:cNvSpPr>
          <p:nvPr>
            <p:ph type="sldNum" sz="quarter" idx="12"/>
          </p:nvPr>
        </p:nvSpPr>
        <p:spPr/>
        <p:txBody>
          <a:bodyPr/>
          <a:lstStyle/>
          <a:p>
            <a:fld id="{E2D680B1-7F17-42D2-83E2-2C9AC13983BB}" type="slidenum">
              <a:rPr lang="en-US" smtClean="0"/>
              <a:t>17</a:t>
            </a:fld>
            <a:endParaRPr lang="en-US" dirty="0"/>
          </a:p>
        </p:txBody>
      </p:sp>
    </p:spTree>
    <p:extLst>
      <p:ext uri="{BB962C8B-B14F-4D97-AF65-F5344CB8AC3E}">
        <p14:creationId xmlns:p14="http://schemas.microsoft.com/office/powerpoint/2010/main" val="1671925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75CB0F99-A526-3960-6AE9-8846E972ECCC}"/>
              </a:ext>
            </a:extLst>
          </p:cNvPr>
          <p:cNvSpPr>
            <a:spLocks noGrp="1"/>
          </p:cNvSpPr>
          <p:nvPr>
            <p:ph type="title"/>
          </p:nvPr>
        </p:nvSpPr>
        <p:spPr>
          <a:xfrm>
            <a:off x="714375" y="317500"/>
            <a:ext cx="16859250" cy="1266827"/>
          </a:xfrm>
        </p:spPr>
        <p:txBody>
          <a:bodyPr/>
          <a:lstStyle/>
          <a:p>
            <a:r>
              <a:rPr lang="en-US" dirty="0"/>
              <a:t>Line Chart</a:t>
            </a:r>
          </a:p>
        </p:txBody>
      </p:sp>
      <p:graphicFrame>
        <p:nvGraphicFramePr>
          <p:cNvPr id="9" name="图表 1">
            <a:extLst>
              <a:ext uri="{FF2B5EF4-FFF2-40B4-BE49-F238E27FC236}">
                <a16:creationId xmlns:a16="http://schemas.microsoft.com/office/drawing/2014/main" id="{61F3AB51-E43F-A4CA-19C0-8E0C31DD48AB}"/>
              </a:ext>
            </a:extLst>
          </p:cNvPr>
          <p:cNvGraphicFramePr>
            <a:graphicFrameLocks noGrp="1"/>
          </p:cNvGraphicFramePr>
          <p:nvPr>
            <p:ph idx="1"/>
            <p:extLst>
              <p:ext uri="{D42A27DB-BD31-4B8C-83A1-F6EECF244321}">
                <p14:modId xmlns:p14="http://schemas.microsoft.com/office/powerpoint/2010/main" val="2032565549"/>
              </p:ext>
            </p:extLst>
          </p:nvPr>
        </p:nvGraphicFramePr>
        <p:xfrm>
          <a:off x="714375" y="2857500"/>
          <a:ext cx="16859250" cy="6357732"/>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89A1E8D5-16A2-0EA9-B890-3DD3778E889C}"/>
              </a:ext>
            </a:extLst>
          </p:cNvPr>
          <p:cNvSpPr>
            <a:spLocks noGrp="1"/>
          </p:cNvSpPr>
          <p:nvPr>
            <p:ph type="sldNum" sz="quarter" idx="12"/>
          </p:nvPr>
        </p:nvSpPr>
        <p:spPr/>
        <p:txBody>
          <a:bodyPr/>
          <a:lstStyle/>
          <a:p>
            <a:fld id="{E2D680B1-7F17-42D2-83E2-2C9AC13983BB}" type="slidenum">
              <a:rPr lang="en-US" smtClean="0"/>
              <a:t>18</a:t>
            </a:fld>
            <a:endParaRPr lang="en-US" dirty="0"/>
          </a:p>
        </p:txBody>
      </p:sp>
      <p:sp>
        <p:nvSpPr>
          <p:cNvPr id="6" name="TextBox 5">
            <a:extLst>
              <a:ext uri="{FF2B5EF4-FFF2-40B4-BE49-F238E27FC236}">
                <a16:creationId xmlns:a16="http://schemas.microsoft.com/office/drawing/2014/main" id="{E44575A9-3264-752D-EBD4-36C650B1A88D}"/>
              </a:ext>
            </a:extLst>
          </p:cNvPr>
          <p:cNvSpPr txBox="1"/>
          <p:nvPr/>
        </p:nvSpPr>
        <p:spPr>
          <a:xfrm>
            <a:off x="714375" y="1912900"/>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4235339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3FD1C-D45D-9294-14DB-F28BD0C90B64}"/>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9F28EEBE-4B2C-1049-46A5-243BD5E5232A}"/>
              </a:ext>
            </a:extLst>
          </p:cNvPr>
          <p:cNvSpPr>
            <a:spLocks noGrp="1"/>
          </p:cNvSpPr>
          <p:nvPr>
            <p:ph type="title"/>
          </p:nvPr>
        </p:nvSpPr>
        <p:spPr>
          <a:xfrm>
            <a:off x="714375" y="317500"/>
            <a:ext cx="16859250" cy="1266827"/>
          </a:xfrm>
        </p:spPr>
        <p:txBody>
          <a:bodyPr/>
          <a:lstStyle/>
          <a:p>
            <a:r>
              <a:rPr lang="en-US" dirty="0"/>
              <a:t>Bar Chart</a:t>
            </a:r>
          </a:p>
        </p:txBody>
      </p:sp>
      <p:graphicFrame>
        <p:nvGraphicFramePr>
          <p:cNvPr id="8" name="Content Placeholder 7">
            <a:extLst>
              <a:ext uri="{FF2B5EF4-FFF2-40B4-BE49-F238E27FC236}">
                <a16:creationId xmlns:a16="http://schemas.microsoft.com/office/drawing/2014/main" id="{056519EE-F02D-65D5-B610-68EF64CE71CA}"/>
              </a:ext>
            </a:extLst>
          </p:cNvPr>
          <p:cNvGraphicFramePr>
            <a:graphicFrameLocks noGrp="1"/>
          </p:cNvGraphicFramePr>
          <p:nvPr>
            <p:ph idx="1"/>
            <p:extLst>
              <p:ext uri="{D42A27DB-BD31-4B8C-83A1-F6EECF244321}">
                <p14:modId xmlns:p14="http://schemas.microsoft.com/office/powerpoint/2010/main" val="3786521923"/>
              </p:ext>
            </p:extLst>
          </p:nvPr>
        </p:nvGraphicFramePr>
        <p:xfrm>
          <a:off x="727075" y="2476500"/>
          <a:ext cx="16859250" cy="6759575"/>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93AFEA56-99C4-7DC2-2CD2-47A405BCCB96}"/>
              </a:ext>
            </a:extLst>
          </p:cNvPr>
          <p:cNvSpPr>
            <a:spLocks noGrp="1"/>
          </p:cNvSpPr>
          <p:nvPr>
            <p:ph type="sldNum" sz="quarter" idx="12"/>
          </p:nvPr>
        </p:nvSpPr>
        <p:spPr/>
        <p:txBody>
          <a:bodyPr/>
          <a:lstStyle/>
          <a:p>
            <a:fld id="{E2D680B1-7F17-42D2-83E2-2C9AC13983BB}" type="slidenum">
              <a:rPr lang="en-US" smtClean="0"/>
              <a:t>19</a:t>
            </a:fld>
            <a:endParaRPr lang="en-US" dirty="0"/>
          </a:p>
        </p:txBody>
      </p:sp>
      <p:sp>
        <p:nvSpPr>
          <p:cNvPr id="4" name="TextBox 3">
            <a:extLst>
              <a:ext uri="{FF2B5EF4-FFF2-40B4-BE49-F238E27FC236}">
                <a16:creationId xmlns:a16="http://schemas.microsoft.com/office/drawing/2014/main" id="{16FCD568-FFA9-BB1C-E913-D925941259B8}"/>
              </a:ext>
            </a:extLst>
          </p:cNvPr>
          <p:cNvSpPr txBox="1"/>
          <p:nvPr/>
        </p:nvSpPr>
        <p:spPr>
          <a:xfrm>
            <a:off x="714375" y="1912900"/>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946008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663F3F0-CD82-3990-DE97-8E63BB213F76}"/>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E2AE7186-B1A7-9A7C-D917-917F55F4C487}"/>
              </a:ext>
            </a:extLst>
          </p:cNvPr>
          <p:cNvSpPr>
            <a:spLocks noGrp="1"/>
          </p:cNvSpPr>
          <p:nvPr>
            <p:ph type="body" sz="quarter" idx="11"/>
          </p:nvPr>
        </p:nvSpPr>
        <p:spPr/>
        <p:txBody>
          <a:bodyPr/>
          <a:lstStyle/>
          <a:p>
            <a:endParaRPr lang="en-US"/>
          </a:p>
        </p:txBody>
      </p:sp>
      <p:sp>
        <p:nvSpPr>
          <p:cNvPr id="6" name="Rectangle: Rounded Corners 5">
            <a:extLst>
              <a:ext uri="{FF2B5EF4-FFF2-40B4-BE49-F238E27FC236}">
                <a16:creationId xmlns:a16="http://schemas.microsoft.com/office/drawing/2014/main" id="{C4A91462-4222-6E67-8A3C-8144A42069C2}"/>
              </a:ext>
            </a:extLst>
          </p:cNvPr>
          <p:cNvSpPr/>
          <p:nvPr/>
        </p:nvSpPr>
        <p:spPr>
          <a:xfrm>
            <a:off x="1288861" y="1350960"/>
            <a:ext cx="5181602" cy="1201740"/>
          </a:xfrm>
          <a:prstGeom prst="roundRect">
            <a:avLst>
              <a:gd name="adj" fmla="val 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Arial" panose="020B0604020202020204" pitchFamily="34" charset="0"/>
                <a:cs typeface="Arial" panose="020B0604020202020204" pitchFamily="34" charset="0"/>
              </a:rPr>
              <a:t>Logo Placeholder left aligned to title</a:t>
            </a:r>
          </a:p>
        </p:txBody>
      </p:sp>
    </p:spTree>
    <p:extLst>
      <p:ext uri="{BB962C8B-B14F-4D97-AF65-F5344CB8AC3E}">
        <p14:creationId xmlns:p14="http://schemas.microsoft.com/office/powerpoint/2010/main" val="2663494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CD205-00D9-17CE-5CEA-AD4DA5E271C6}"/>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B9DAEC2B-4514-CC4C-D59B-7FE6E89EF8A4}"/>
              </a:ext>
            </a:extLst>
          </p:cNvPr>
          <p:cNvSpPr>
            <a:spLocks noGrp="1"/>
          </p:cNvSpPr>
          <p:nvPr>
            <p:ph type="title"/>
          </p:nvPr>
        </p:nvSpPr>
        <p:spPr>
          <a:xfrm>
            <a:off x="714375" y="317500"/>
            <a:ext cx="16859250" cy="1266827"/>
          </a:xfrm>
        </p:spPr>
        <p:txBody>
          <a:bodyPr/>
          <a:lstStyle/>
          <a:p>
            <a:r>
              <a:rPr lang="en-US" dirty="0"/>
              <a:t>Clustered Column Chart</a:t>
            </a:r>
          </a:p>
        </p:txBody>
      </p:sp>
      <p:graphicFrame>
        <p:nvGraphicFramePr>
          <p:cNvPr id="9" name="Content Placeholder 8">
            <a:extLst>
              <a:ext uri="{FF2B5EF4-FFF2-40B4-BE49-F238E27FC236}">
                <a16:creationId xmlns:a16="http://schemas.microsoft.com/office/drawing/2014/main" id="{1CB884A0-E7DD-BEE7-D0FC-C78CC861C40B}"/>
              </a:ext>
            </a:extLst>
          </p:cNvPr>
          <p:cNvGraphicFramePr>
            <a:graphicFrameLocks noGrp="1"/>
          </p:cNvGraphicFramePr>
          <p:nvPr>
            <p:ph idx="1"/>
            <p:extLst>
              <p:ext uri="{D42A27DB-BD31-4B8C-83A1-F6EECF244321}">
                <p14:modId xmlns:p14="http://schemas.microsoft.com/office/powerpoint/2010/main" val="3167610299"/>
              </p:ext>
            </p:extLst>
          </p:nvPr>
        </p:nvGraphicFramePr>
        <p:xfrm>
          <a:off x="714375" y="2672360"/>
          <a:ext cx="16859250" cy="6543078"/>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28C1B829-0CA1-17D1-410E-A6E4B048108A}"/>
              </a:ext>
            </a:extLst>
          </p:cNvPr>
          <p:cNvSpPr>
            <a:spLocks noGrp="1"/>
          </p:cNvSpPr>
          <p:nvPr>
            <p:ph type="sldNum" sz="quarter" idx="12"/>
          </p:nvPr>
        </p:nvSpPr>
        <p:spPr/>
        <p:txBody>
          <a:bodyPr/>
          <a:lstStyle/>
          <a:p>
            <a:fld id="{E2D680B1-7F17-42D2-83E2-2C9AC13983BB}" type="slidenum">
              <a:rPr lang="en-US" smtClean="0"/>
              <a:t>20</a:t>
            </a:fld>
            <a:endParaRPr lang="en-US" dirty="0"/>
          </a:p>
        </p:txBody>
      </p:sp>
      <p:sp>
        <p:nvSpPr>
          <p:cNvPr id="4" name="TextBox 3">
            <a:extLst>
              <a:ext uri="{FF2B5EF4-FFF2-40B4-BE49-F238E27FC236}">
                <a16:creationId xmlns:a16="http://schemas.microsoft.com/office/drawing/2014/main" id="{EFF7B3BF-9F9A-4981-AD9E-56A7FC194FF4}"/>
              </a:ext>
            </a:extLst>
          </p:cNvPr>
          <p:cNvSpPr txBox="1"/>
          <p:nvPr/>
        </p:nvSpPr>
        <p:spPr>
          <a:xfrm>
            <a:off x="714375" y="1912900"/>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1286454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68DB5-2F88-E3E8-1D1E-71427A81922A}"/>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BEB9E8E5-647F-5959-A2F3-A44D2D6DCB1A}"/>
              </a:ext>
            </a:extLst>
          </p:cNvPr>
          <p:cNvSpPr>
            <a:spLocks noGrp="1"/>
          </p:cNvSpPr>
          <p:nvPr>
            <p:ph type="title"/>
          </p:nvPr>
        </p:nvSpPr>
        <p:spPr>
          <a:xfrm>
            <a:off x="714375" y="317500"/>
            <a:ext cx="16859250" cy="1266827"/>
          </a:xfrm>
        </p:spPr>
        <p:txBody>
          <a:bodyPr/>
          <a:lstStyle/>
          <a:p>
            <a:r>
              <a:rPr lang="en-US" dirty="0"/>
              <a:t>Stacked Column Chart</a:t>
            </a:r>
          </a:p>
        </p:txBody>
      </p:sp>
      <p:graphicFrame>
        <p:nvGraphicFramePr>
          <p:cNvPr id="11" name="Content Placeholder 10">
            <a:extLst>
              <a:ext uri="{FF2B5EF4-FFF2-40B4-BE49-F238E27FC236}">
                <a16:creationId xmlns:a16="http://schemas.microsoft.com/office/drawing/2014/main" id="{DC18731A-3533-EEC0-BF60-462327F96908}"/>
              </a:ext>
            </a:extLst>
          </p:cNvPr>
          <p:cNvGraphicFramePr>
            <a:graphicFrameLocks noGrp="1"/>
          </p:cNvGraphicFramePr>
          <p:nvPr>
            <p:ph idx="1"/>
            <p:extLst>
              <p:ext uri="{D42A27DB-BD31-4B8C-83A1-F6EECF244321}">
                <p14:modId xmlns:p14="http://schemas.microsoft.com/office/powerpoint/2010/main" val="2496835711"/>
              </p:ext>
            </p:extLst>
          </p:nvPr>
        </p:nvGraphicFramePr>
        <p:xfrm>
          <a:off x="714375" y="2672360"/>
          <a:ext cx="16859250" cy="6543078"/>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1E28CACE-388D-3AA0-67B9-64CBF5772387}"/>
              </a:ext>
            </a:extLst>
          </p:cNvPr>
          <p:cNvSpPr>
            <a:spLocks noGrp="1"/>
          </p:cNvSpPr>
          <p:nvPr>
            <p:ph type="sldNum" sz="quarter" idx="12"/>
          </p:nvPr>
        </p:nvSpPr>
        <p:spPr/>
        <p:txBody>
          <a:bodyPr/>
          <a:lstStyle/>
          <a:p>
            <a:fld id="{E2D680B1-7F17-42D2-83E2-2C9AC13983BB}" type="slidenum">
              <a:rPr lang="en-US" smtClean="0"/>
              <a:t>21</a:t>
            </a:fld>
            <a:endParaRPr lang="en-US" dirty="0"/>
          </a:p>
        </p:txBody>
      </p:sp>
      <p:sp>
        <p:nvSpPr>
          <p:cNvPr id="4" name="TextBox 3">
            <a:extLst>
              <a:ext uri="{FF2B5EF4-FFF2-40B4-BE49-F238E27FC236}">
                <a16:creationId xmlns:a16="http://schemas.microsoft.com/office/drawing/2014/main" id="{6D220788-493A-9494-D61E-F3676D98FE6E}"/>
              </a:ext>
            </a:extLst>
          </p:cNvPr>
          <p:cNvSpPr txBox="1"/>
          <p:nvPr/>
        </p:nvSpPr>
        <p:spPr>
          <a:xfrm>
            <a:off x="714375" y="1912900"/>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11062773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D81CC-B30C-2BEB-E08B-83881FF60744}"/>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07E4497C-1E60-80F0-4315-1C59B2C48EFC}"/>
              </a:ext>
            </a:extLst>
          </p:cNvPr>
          <p:cNvSpPr>
            <a:spLocks noGrp="1"/>
          </p:cNvSpPr>
          <p:nvPr>
            <p:ph type="title"/>
          </p:nvPr>
        </p:nvSpPr>
        <p:spPr>
          <a:xfrm>
            <a:off x="714375" y="317500"/>
            <a:ext cx="16859250" cy="1266827"/>
          </a:xfrm>
        </p:spPr>
        <p:txBody>
          <a:bodyPr/>
          <a:lstStyle/>
          <a:p>
            <a:r>
              <a:rPr lang="en-US" dirty="0"/>
              <a:t>Area Chart</a:t>
            </a:r>
          </a:p>
        </p:txBody>
      </p:sp>
      <p:graphicFrame>
        <p:nvGraphicFramePr>
          <p:cNvPr id="8" name="Content Placeholder 7">
            <a:extLst>
              <a:ext uri="{FF2B5EF4-FFF2-40B4-BE49-F238E27FC236}">
                <a16:creationId xmlns:a16="http://schemas.microsoft.com/office/drawing/2014/main" id="{C7D1C5E0-B38C-AB9D-2A5E-24AFA204D1EC}"/>
              </a:ext>
            </a:extLst>
          </p:cNvPr>
          <p:cNvGraphicFramePr>
            <a:graphicFrameLocks noGrp="1"/>
          </p:cNvGraphicFramePr>
          <p:nvPr>
            <p:ph idx="1"/>
            <p:extLst>
              <p:ext uri="{D42A27DB-BD31-4B8C-83A1-F6EECF244321}">
                <p14:modId xmlns:p14="http://schemas.microsoft.com/office/powerpoint/2010/main" val="3422584878"/>
              </p:ext>
            </p:extLst>
          </p:nvPr>
        </p:nvGraphicFramePr>
        <p:xfrm>
          <a:off x="714375" y="2781300"/>
          <a:ext cx="16859250" cy="6434138"/>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74E6A119-E04D-06F6-50C9-A5E7863A31FE}"/>
              </a:ext>
            </a:extLst>
          </p:cNvPr>
          <p:cNvSpPr>
            <a:spLocks noGrp="1"/>
          </p:cNvSpPr>
          <p:nvPr>
            <p:ph type="sldNum" sz="quarter" idx="12"/>
          </p:nvPr>
        </p:nvSpPr>
        <p:spPr/>
        <p:txBody>
          <a:bodyPr/>
          <a:lstStyle/>
          <a:p>
            <a:fld id="{E2D680B1-7F17-42D2-83E2-2C9AC13983BB}" type="slidenum">
              <a:rPr lang="en-US" smtClean="0"/>
              <a:t>22</a:t>
            </a:fld>
            <a:endParaRPr lang="en-US" dirty="0"/>
          </a:p>
        </p:txBody>
      </p:sp>
      <p:sp>
        <p:nvSpPr>
          <p:cNvPr id="4" name="TextBox 3">
            <a:extLst>
              <a:ext uri="{FF2B5EF4-FFF2-40B4-BE49-F238E27FC236}">
                <a16:creationId xmlns:a16="http://schemas.microsoft.com/office/drawing/2014/main" id="{9674927D-B756-E1FF-45D8-F758B08316D7}"/>
              </a:ext>
            </a:extLst>
          </p:cNvPr>
          <p:cNvSpPr txBox="1"/>
          <p:nvPr/>
        </p:nvSpPr>
        <p:spPr>
          <a:xfrm>
            <a:off x="714375" y="1912900"/>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4179155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7C6D7-83C2-4B8B-0DE1-70C06CC255E2}"/>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BE5B28EC-82BF-8CD6-8193-01739AC76251}"/>
              </a:ext>
            </a:extLst>
          </p:cNvPr>
          <p:cNvSpPr>
            <a:spLocks noGrp="1"/>
          </p:cNvSpPr>
          <p:nvPr>
            <p:ph type="title"/>
          </p:nvPr>
        </p:nvSpPr>
        <p:spPr>
          <a:xfrm>
            <a:off x="714375" y="317500"/>
            <a:ext cx="16859250" cy="1266827"/>
          </a:xfrm>
        </p:spPr>
        <p:txBody>
          <a:bodyPr/>
          <a:lstStyle/>
          <a:p>
            <a:r>
              <a:rPr lang="en-US" dirty="0"/>
              <a:t>Waterfall Chart</a:t>
            </a:r>
          </a:p>
        </p:txBody>
      </p:sp>
      <mc:AlternateContent xmlns:mc="http://schemas.openxmlformats.org/markup-compatibility/2006" xmlns:cx4="http://schemas.microsoft.com/office/drawing/2016/5/10/chartex">
        <mc:Choice Requires="cx4">
          <p:graphicFrame>
            <p:nvGraphicFramePr>
              <p:cNvPr id="11" name="Content Placeholder 33">
                <a:extLst>
                  <a:ext uri="{FF2B5EF4-FFF2-40B4-BE49-F238E27FC236}">
                    <a16:creationId xmlns:a16="http://schemas.microsoft.com/office/drawing/2014/main" id="{ED9BB783-EF98-6493-C90C-88FA3B064E9B}"/>
                  </a:ext>
                </a:extLst>
              </p:cNvPr>
              <p:cNvGraphicFramePr>
                <a:graphicFrameLocks noGrp="1"/>
              </p:cNvGraphicFramePr>
              <p:nvPr>
                <p:ph idx="1"/>
                <p:extLst>
                  <p:ext uri="{D42A27DB-BD31-4B8C-83A1-F6EECF244321}">
                    <p14:modId xmlns:p14="http://schemas.microsoft.com/office/powerpoint/2010/main" val="253997467"/>
                  </p:ext>
                </p:extLst>
              </p:nvPr>
            </p:nvGraphicFramePr>
            <p:xfrm>
              <a:off x="714375" y="2933700"/>
              <a:ext cx="16859250" cy="62484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1" name="Content Placeholder 33">
                <a:extLst>
                  <a:ext uri="{FF2B5EF4-FFF2-40B4-BE49-F238E27FC236}">
                    <a16:creationId xmlns:a16="http://schemas.microsoft.com/office/drawing/2014/main" id="{ED9BB783-EF98-6493-C90C-88FA3B064E9B}"/>
                  </a:ext>
                </a:extLst>
              </p:cNvPr>
              <p:cNvPicPr>
                <a:picLocks noGrp="1" noRot="1" noChangeAspect="1" noMove="1" noResize="1" noEditPoints="1" noAdjustHandles="1" noChangeArrowheads="1" noChangeShapeType="1"/>
              </p:cNvPicPr>
              <p:nvPr/>
            </p:nvPicPr>
            <p:blipFill>
              <a:blip r:embed="rId3"/>
              <a:stretch>
                <a:fillRect/>
              </a:stretch>
            </p:blipFill>
            <p:spPr>
              <a:xfrm>
                <a:off x="714375" y="2933700"/>
                <a:ext cx="16859250" cy="6248400"/>
              </a:xfrm>
              <a:prstGeom prst="rect">
                <a:avLst/>
              </a:prstGeom>
            </p:spPr>
          </p:pic>
        </mc:Fallback>
      </mc:AlternateContent>
      <p:sp>
        <p:nvSpPr>
          <p:cNvPr id="2" name="Slide Number Placeholder 1">
            <a:extLst>
              <a:ext uri="{FF2B5EF4-FFF2-40B4-BE49-F238E27FC236}">
                <a16:creationId xmlns:a16="http://schemas.microsoft.com/office/drawing/2014/main" id="{F8B5C124-20A0-ADE6-E48E-548A2949E1D2}"/>
              </a:ext>
            </a:extLst>
          </p:cNvPr>
          <p:cNvSpPr>
            <a:spLocks noGrp="1"/>
          </p:cNvSpPr>
          <p:nvPr>
            <p:ph type="sldNum" sz="quarter" idx="12"/>
          </p:nvPr>
        </p:nvSpPr>
        <p:spPr/>
        <p:txBody>
          <a:bodyPr/>
          <a:lstStyle/>
          <a:p>
            <a:fld id="{E2D680B1-7F17-42D2-83E2-2C9AC13983BB}" type="slidenum">
              <a:rPr lang="en-US" smtClean="0"/>
              <a:t>23</a:t>
            </a:fld>
            <a:endParaRPr lang="en-US" dirty="0"/>
          </a:p>
        </p:txBody>
      </p:sp>
      <p:sp>
        <p:nvSpPr>
          <p:cNvPr id="3" name="TextBox 2">
            <a:extLst>
              <a:ext uri="{FF2B5EF4-FFF2-40B4-BE49-F238E27FC236}">
                <a16:creationId xmlns:a16="http://schemas.microsoft.com/office/drawing/2014/main" id="{3460F722-C281-4BC8-B1DC-4F7A6B2AD428}"/>
              </a:ext>
            </a:extLst>
          </p:cNvPr>
          <p:cNvSpPr txBox="1"/>
          <p:nvPr/>
        </p:nvSpPr>
        <p:spPr>
          <a:xfrm>
            <a:off x="714375" y="1912900"/>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4012618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5DAC93-E5E4-30CE-8385-8C7124DC352A}"/>
              </a:ext>
            </a:extLst>
          </p:cNvPr>
          <p:cNvGraphicFramePr>
            <a:graphicFrameLocks noChangeAspect="1"/>
          </p:cNvGraphicFramePr>
          <p:nvPr>
            <p:custDataLst>
              <p:tags r:id="rId1"/>
            </p:custDataLst>
            <p:extLst>
              <p:ext uri="{D42A27DB-BD31-4B8C-83A1-F6EECF244321}">
                <p14:modId xmlns:p14="http://schemas.microsoft.com/office/powerpoint/2010/main" val="799012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DE5DAC93-E5E4-30CE-8385-8C7124DC35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97AD2C-95D7-1E8F-CFEF-7C7ACB8BEA64}"/>
              </a:ext>
            </a:extLst>
          </p:cNvPr>
          <p:cNvSpPr>
            <a:spLocks noGrp="1"/>
          </p:cNvSpPr>
          <p:nvPr>
            <p:ph type="title"/>
          </p:nvPr>
        </p:nvSpPr>
        <p:spPr/>
        <p:txBody>
          <a:bodyPr vert="horz"/>
          <a:lstStyle/>
          <a:p>
            <a:r>
              <a:rPr lang="en-US" dirty="0"/>
              <a:t>Heatmap</a:t>
            </a:r>
          </a:p>
        </p:txBody>
      </p:sp>
      <p:sp>
        <p:nvSpPr>
          <p:cNvPr id="4" name="Slide Number Placeholder 3">
            <a:extLst>
              <a:ext uri="{FF2B5EF4-FFF2-40B4-BE49-F238E27FC236}">
                <a16:creationId xmlns:a16="http://schemas.microsoft.com/office/drawing/2014/main" id="{190C1437-A566-68B1-16BE-C7E496B5582D}"/>
              </a:ext>
            </a:extLst>
          </p:cNvPr>
          <p:cNvSpPr>
            <a:spLocks noGrp="1"/>
          </p:cNvSpPr>
          <p:nvPr>
            <p:ph type="sldNum" sz="quarter" idx="12"/>
          </p:nvPr>
        </p:nvSpPr>
        <p:spPr/>
        <p:txBody>
          <a:bodyPr/>
          <a:lstStyle/>
          <a:p>
            <a:fld id="{E2D680B1-7F17-42D2-83E2-2C9AC13983BB}" type="slidenum">
              <a:rPr lang="en-US" smtClean="0"/>
              <a:t>24</a:t>
            </a:fld>
            <a:endParaRPr lang="en-US" dirty="0"/>
          </a:p>
        </p:txBody>
      </p:sp>
      <p:graphicFrame>
        <p:nvGraphicFramePr>
          <p:cNvPr id="7" name="Google Shape;362;p28">
            <a:extLst>
              <a:ext uri="{FF2B5EF4-FFF2-40B4-BE49-F238E27FC236}">
                <a16:creationId xmlns:a16="http://schemas.microsoft.com/office/drawing/2014/main" id="{4452401D-B383-5A3F-B763-AE354698C75C}"/>
              </a:ext>
            </a:extLst>
          </p:cNvPr>
          <p:cNvGraphicFramePr/>
          <p:nvPr>
            <p:extLst>
              <p:ext uri="{D42A27DB-BD31-4B8C-83A1-F6EECF244321}">
                <p14:modId xmlns:p14="http://schemas.microsoft.com/office/powerpoint/2010/main" val="3508961688"/>
              </p:ext>
            </p:extLst>
          </p:nvPr>
        </p:nvGraphicFramePr>
        <p:xfrm>
          <a:off x="714375" y="1889656"/>
          <a:ext cx="16859248" cy="5127595"/>
        </p:xfrm>
        <a:graphic>
          <a:graphicData uri="http://schemas.openxmlformats.org/drawingml/2006/table">
            <a:tbl>
              <a:tblPr firstRow="1" bandRow="1">
                <a:noFill/>
              </a:tblPr>
              <a:tblGrid>
                <a:gridCol w="6427570">
                  <a:extLst>
                    <a:ext uri="{9D8B030D-6E8A-4147-A177-3AD203B41FA5}">
                      <a16:colId xmlns:a16="http://schemas.microsoft.com/office/drawing/2014/main" val="20000"/>
                    </a:ext>
                  </a:extLst>
                </a:gridCol>
                <a:gridCol w="1738613">
                  <a:extLst>
                    <a:ext uri="{9D8B030D-6E8A-4147-A177-3AD203B41FA5}">
                      <a16:colId xmlns:a16="http://schemas.microsoft.com/office/drawing/2014/main" val="20001"/>
                    </a:ext>
                  </a:extLst>
                </a:gridCol>
                <a:gridCol w="1738613">
                  <a:extLst>
                    <a:ext uri="{9D8B030D-6E8A-4147-A177-3AD203B41FA5}">
                      <a16:colId xmlns:a16="http://schemas.microsoft.com/office/drawing/2014/main" val="20002"/>
                    </a:ext>
                  </a:extLst>
                </a:gridCol>
                <a:gridCol w="1738613">
                  <a:extLst>
                    <a:ext uri="{9D8B030D-6E8A-4147-A177-3AD203B41FA5}">
                      <a16:colId xmlns:a16="http://schemas.microsoft.com/office/drawing/2014/main" val="20003"/>
                    </a:ext>
                  </a:extLst>
                </a:gridCol>
                <a:gridCol w="1738613">
                  <a:extLst>
                    <a:ext uri="{9D8B030D-6E8A-4147-A177-3AD203B41FA5}">
                      <a16:colId xmlns:a16="http://schemas.microsoft.com/office/drawing/2014/main" val="20004"/>
                    </a:ext>
                  </a:extLst>
                </a:gridCol>
                <a:gridCol w="1738613">
                  <a:extLst>
                    <a:ext uri="{9D8B030D-6E8A-4147-A177-3AD203B41FA5}">
                      <a16:colId xmlns:a16="http://schemas.microsoft.com/office/drawing/2014/main" val="20005"/>
                    </a:ext>
                  </a:extLst>
                </a:gridCol>
                <a:gridCol w="1738613">
                  <a:extLst>
                    <a:ext uri="{9D8B030D-6E8A-4147-A177-3AD203B41FA5}">
                      <a16:colId xmlns:a16="http://schemas.microsoft.com/office/drawing/2014/main" val="20006"/>
                    </a:ext>
                  </a:extLst>
                </a:gridCol>
              </a:tblGrid>
              <a:tr h="663044">
                <a:tc>
                  <a:txBody>
                    <a:bodyPr/>
                    <a:lstStyle/>
                    <a:p>
                      <a:pPr marL="50800" marR="0" lvl="0" indent="0" algn="l" rtl="0">
                        <a:spcBef>
                          <a:spcPts val="0"/>
                        </a:spcBef>
                        <a:spcAft>
                          <a:spcPts val="0"/>
                        </a:spcAft>
                        <a:buNone/>
                      </a:pPr>
                      <a:r>
                        <a:rPr lang="id" sz="1600" b="1" u="none" strike="noStrike" cap="none" dirty="0">
                          <a:solidFill>
                            <a:schemeClr val="lt1"/>
                          </a:solidFill>
                          <a:latin typeface="+mn-lt"/>
                          <a:ea typeface="Poppins"/>
                          <a:cs typeface="Poppins"/>
                          <a:sym typeface="Poppins"/>
                        </a:rPr>
                        <a:t>Some Description Title</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tc>
                  <a:txBody>
                    <a:bodyPr/>
                    <a:lstStyle/>
                    <a:p>
                      <a:pPr marL="0" marR="0" lvl="0" indent="0" algn="ctr" rtl="0">
                        <a:spcBef>
                          <a:spcPts val="0"/>
                        </a:spcBef>
                        <a:spcAft>
                          <a:spcPts val="0"/>
                        </a:spcAft>
                        <a:buNone/>
                      </a:pPr>
                      <a:r>
                        <a:rPr lang="id" sz="1600" b="1" u="none" strike="noStrike" cap="none" dirty="0">
                          <a:solidFill>
                            <a:schemeClr val="lt1"/>
                          </a:solidFill>
                          <a:latin typeface="+mn-lt"/>
                          <a:ea typeface="Poppins"/>
                          <a:cs typeface="Poppins"/>
                          <a:sym typeface="Poppins"/>
                        </a:rPr>
                        <a:t>Value A</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tc>
                  <a:txBody>
                    <a:bodyPr/>
                    <a:lstStyle/>
                    <a:p>
                      <a:pPr marL="0" marR="0" lvl="0" indent="0" algn="ctr" rtl="0">
                        <a:spcBef>
                          <a:spcPts val="0"/>
                        </a:spcBef>
                        <a:spcAft>
                          <a:spcPts val="0"/>
                        </a:spcAft>
                        <a:buNone/>
                      </a:pPr>
                      <a:r>
                        <a:rPr lang="id" sz="1600" b="1" u="none" strike="noStrike" cap="none" dirty="0">
                          <a:solidFill>
                            <a:schemeClr val="lt1"/>
                          </a:solidFill>
                          <a:latin typeface="+mn-lt"/>
                          <a:ea typeface="Poppins"/>
                          <a:cs typeface="Poppins"/>
                          <a:sym typeface="Poppins"/>
                        </a:rPr>
                        <a:t>Value B</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tc>
                  <a:txBody>
                    <a:bodyPr/>
                    <a:lstStyle/>
                    <a:p>
                      <a:pPr marL="0" marR="0" lvl="0" indent="0" algn="ctr" rtl="0">
                        <a:spcBef>
                          <a:spcPts val="0"/>
                        </a:spcBef>
                        <a:spcAft>
                          <a:spcPts val="0"/>
                        </a:spcAft>
                        <a:buNone/>
                      </a:pPr>
                      <a:r>
                        <a:rPr lang="id" sz="1600" b="1" u="none" strike="noStrike" cap="none" dirty="0">
                          <a:solidFill>
                            <a:schemeClr val="lt1"/>
                          </a:solidFill>
                          <a:latin typeface="+mn-lt"/>
                          <a:ea typeface="Poppins"/>
                          <a:cs typeface="Poppins"/>
                          <a:sym typeface="Poppins"/>
                        </a:rPr>
                        <a:t>Value C</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tc>
                  <a:txBody>
                    <a:bodyPr/>
                    <a:lstStyle/>
                    <a:p>
                      <a:pPr marL="0" marR="0" lvl="0" indent="0" algn="ctr" rtl="0">
                        <a:spcBef>
                          <a:spcPts val="0"/>
                        </a:spcBef>
                        <a:spcAft>
                          <a:spcPts val="0"/>
                        </a:spcAft>
                        <a:buNone/>
                      </a:pPr>
                      <a:r>
                        <a:rPr lang="id" sz="1600" b="1" u="none" strike="noStrike" cap="none" dirty="0">
                          <a:solidFill>
                            <a:schemeClr val="lt1"/>
                          </a:solidFill>
                          <a:latin typeface="+mn-lt"/>
                          <a:ea typeface="Poppins"/>
                          <a:cs typeface="Poppins"/>
                          <a:sym typeface="Poppins"/>
                        </a:rPr>
                        <a:t>Value D</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tc>
                  <a:txBody>
                    <a:bodyPr/>
                    <a:lstStyle/>
                    <a:p>
                      <a:pPr marL="0" marR="0" lvl="0" indent="0" algn="ctr" rtl="0">
                        <a:spcBef>
                          <a:spcPts val="0"/>
                        </a:spcBef>
                        <a:spcAft>
                          <a:spcPts val="0"/>
                        </a:spcAft>
                        <a:buNone/>
                      </a:pPr>
                      <a:r>
                        <a:rPr lang="id" sz="1600" b="1" u="none" strike="noStrike" cap="none" dirty="0">
                          <a:solidFill>
                            <a:schemeClr val="lt1"/>
                          </a:solidFill>
                          <a:latin typeface="+mn-lt"/>
                          <a:ea typeface="Poppins"/>
                          <a:cs typeface="Poppins"/>
                          <a:sym typeface="Poppins"/>
                        </a:rPr>
                        <a:t>Value E</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tc>
                  <a:txBody>
                    <a:bodyPr/>
                    <a:lstStyle/>
                    <a:p>
                      <a:pPr marL="0" marR="0" lvl="0" indent="0" algn="ctr" rtl="0">
                        <a:spcBef>
                          <a:spcPts val="0"/>
                        </a:spcBef>
                        <a:spcAft>
                          <a:spcPts val="0"/>
                        </a:spcAft>
                        <a:buNone/>
                      </a:pPr>
                      <a:r>
                        <a:rPr lang="id" sz="1600" b="1" u="none" strike="noStrike" cap="none" dirty="0">
                          <a:solidFill>
                            <a:schemeClr val="lt1"/>
                          </a:solidFill>
                          <a:latin typeface="+mn-lt"/>
                          <a:ea typeface="Poppins"/>
                          <a:cs typeface="Poppins"/>
                          <a:sym typeface="Poppins"/>
                        </a:rPr>
                        <a:t>Value F</a:t>
                      </a:r>
                      <a:endParaRPr sz="2400" b="1"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889167">
                <a:tc>
                  <a:txBody>
                    <a:bodyPr/>
                    <a:lstStyle/>
                    <a:p>
                      <a:pPr marL="50800" marR="0" lvl="0" indent="0" algn="l" rtl="0">
                        <a:spcBef>
                          <a:spcPts val="0"/>
                        </a:spcBef>
                        <a:spcAft>
                          <a:spcPts val="0"/>
                        </a:spcAft>
                        <a:buNone/>
                      </a:pPr>
                      <a:r>
                        <a:rPr lang="id" sz="1600" u="none" strike="noStrike" cap="none" dirty="0">
                          <a:solidFill>
                            <a:schemeClr val="dk1"/>
                          </a:solidFill>
                          <a:latin typeface="+mn-lt"/>
                          <a:ea typeface="Open Sans"/>
                          <a:cs typeface="Open Sans"/>
                          <a:sym typeface="Open Sans"/>
                        </a:rPr>
                        <a:t>Lorem Ipsum dolor sit amet</a:t>
                      </a:r>
                      <a:endParaRPr sz="1600" u="none" strike="noStrike" cap="none" dirty="0">
                        <a:solidFill>
                          <a:schemeClr val="dk1"/>
                        </a:solidFill>
                        <a:latin typeface="+mn-lt"/>
                        <a:ea typeface="Open Sans"/>
                        <a:cs typeface="Open Sans"/>
                        <a:sym typeface="Open Sans"/>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8</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0000">
                        <a:alpha val="40000"/>
                      </a:srgbClr>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14</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7</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8</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23</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92D050"/>
                    </a:solidFill>
                  </a:tcPr>
                </a:tc>
                <a:tc>
                  <a:txBody>
                    <a:bodyPr/>
                    <a:lstStyle/>
                    <a:p>
                      <a:pPr marL="0" marR="0" lvl="0" indent="0" algn="ctr" rtl="0">
                        <a:spcBef>
                          <a:spcPts val="0"/>
                        </a:spcBef>
                        <a:spcAft>
                          <a:spcPts val="0"/>
                        </a:spcAft>
                        <a:buNone/>
                      </a:pPr>
                      <a:r>
                        <a:rPr lang="id" sz="1600" u="none" strike="noStrike" cap="none">
                          <a:solidFill>
                            <a:schemeClr val="lt1"/>
                          </a:solidFill>
                          <a:latin typeface="+mn-lt"/>
                          <a:ea typeface="Open Sans"/>
                          <a:cs typeface="Open Sans"/>
                          <a:sym typeface="Open Sans"/>
                        </a:rPr>
                        <a:t>27</a:t>
                      </a:r>
                      <a:endParaRPr sz="240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92D050"/>
                    </a:solidFill>
                  </a:tcPr>
                </a:tc>
                <a:extLst>
                  <a:ext uri="{0D108BD9-81ED-4DB2-BD59-A6C34878D82A}">
                    <a16:rowId xmlns:a16="http://schemas.microsoft.com/office/drawing/2014/main" val="10001"/>
                  </a:ext>
                </a:extLst>
              </a:tr>
              <a:tr h="893846">
                <a:tc>
                  <a:txBody>
                    <a:bodyPr/>
                    <a:lstStyle/>
                    <a:p>
                      <a:pPr marL="50800" marR="0" lvl="0" indent="0" algn="l" rtl="0">
                        <a:lnSpc>
                          <a:spcPct val="100000"/>
                        </a:lnSpc>
                        <a:spcBef>
                          <a:spcPts val="0"/>
                        </a:spcBef>
                        <a:spcAft>
                          <a:spcPts val="0"/>
                        </a:spcAft>
                        <a:buClr>
                          <a:schemeClr val="dk1"/>
                        </a:buClr>
                        <a:buSzPts val="900"/>
                        <a:buFont typeface="Open Sans"/>
                        <a:buNone/>
                      </a:pPr>
                      <a:r>
                        <a:rPr lang="id" sz="1600" u="none" strike="noStrike" cap="none" dirty="0">
                          <a:solidFill>
                            <a:schemeClr val="dk1"/>
                          </a:solidFill>
                          <a:latin typeface="+mn-lt"/>
                          <a:ea typeface="Open Sans"/>
                          <a:cs typeface="Open Sans"/>
                          <a:sym typeface="Open Sans"/>
                        </a:rPr>
                        <a:t>Lorem Ipsum dolor sit amet</a:t>
                      </a:r>
                      <a:endParaRPr sz="1600" u="none" strike="noStrike" cap="none" dirty="0">
                        <a:solidFill>
                          <a:schemeClr val="dk1"/>
                        </a:solidFill>
                        <a:latin typeface="+mn-lt"/>
                        <a:ea typeface="Open Sans"/>
                        <a:cs typeface="Open Sans"/>
                        <a:sym typeface="Open Sans"/>
                      </a:endParaRPr>
                    </a:p>
                    <a:p>
                      <a:pPr marL="50800" marR="0" lvl="0" indent="0" algn="l" rtl="0">
                        <a:lnSpc>
                          <a:spcPct val="100000"/>
                        </a:lnSpc>
                        <a:spcBef>
                          <a:spcPts val="0"/>
                        </a:spcBef>
                        <a:spcAft>
                          <a:spcPts val="0"/>
                        </a:spcAft>
                        <a:buClr>
                          <a:schemeClr val="dk1"/>
                        </a:buClr>
                        <a:buSzPts val="900"/>
                        <a:buFont typeface="Open Sans"/>
                        <a:buNone/>
                      </a:pPr>
                      <a:endParaRPr sz="1600" u="none" strike="noStrike" cap="none" dirty="0">
                        <a:solidFill>
                          <a:schemeClr val="dk1"/>
                        </a:solidFill>
                        <a:latin typeface="+mn-lt"/>
                        <a:ea typeface="Open Sans"/>
                        <a:cs typeface="Open Sans"/>
                        <a:sym typeface="Open Sans"/>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8</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0000">
                        <a:alpha val="40000"/>
                      </a:srgbClr>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34</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00B05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8</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8</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a:solidFill>
                            <a:schemeClr val="lt1"/>
                          </a:solidFill>
                          <a:latin typeface="+mn-lt"/>
                          <a:ea typeface="Open Sans"/>
                          <a:cs typeface="Open Sans"/>
                          <a:sym typeface="Open Sans"/>
                        </a:rPr>
                        <a:t>22</a:t>
                      </a:r>
                      <a:endParaRPr sz="240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92D05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22</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92D050"/>
                    </a:solidFill>
                  </a:tcPr>
                </a:tc>
                <a:extLst>
                  <a:ext uri="{0D108BD9-81ED-4DB2-BD59-A6C34878D82A}">
                    <a16:rowId xmlns:a16="http://schemas.microsoft.com/office/drawing/2014/main" val="10002"/>
                  </a:ext>
                </a:extLst>
              </a:tr>
              <a:tr h="893846">
                <a:tc>
                  <a:txBody>
                    <a:bodyPr/>
                    <a:lstStyle/>
                    <a:p>
                      <a:pPr marL="50800" marR="0" lvl="0" indent="0" algn="l" rtl="0">
                        <a:lnSpc>
                          <a:spcPct val="100000"/>
                        </a:lnSpc>
                        <a:spcBef>
                          <a:spcPts val="0"/>
                        </a:spcBef>
                        <a:spcAft>
                          <a:spcPts val="0"/>
                        </a:spcAft>
                        <a:buClr>
                          <a:schemeClr val="dk1"/>
                        </a:buClr>
                        <a:buSzPts val="900"/>
                        <a:buFont typeface="Open Sans"/>
                        <a:buNone/>
                      </a:pPr>
                      <a:r>
                        <a:rPr lang="id" sz="1600" u="none" strike="noStrike" cap="none" dirty="0">
                          <a:solidFill>
                            <a:schemeClr val="dk1"/>
                          </a:solidFill>
                          <a:latin typeface="+mn-lt"/>
                          <a:ea typeface="Open Sans"/>
                          <a:cs typeface="Open Sans"/>
                          <a:sym typeface="Open Sans"/>
                        </a:rPr>
                        <a:t>Lorem Ipsum dolor sit amet</a:t>
                      </a:r>
                      <a:endParaRPr sz="1600" u="none" strike="noStrike" cap="none" dirty="0">
                        <a:solidFill>
                          <a:schemeClr val="dk1"/>
                        </a:solidFill>
                        <a:latin typeface="+mn-lt"/>
                        <a:ea typeface="Open Sans"/>
                        <a:cs typeface="Open Sans"/>
                        <a:sym typeface="Open Sans"/>
                      </a:endParaRPr>
                    </a:p>
                    <a:p>
                      <a:pPr marL="50800" marR="0" lvl="0" indent="0" algn="l" rtl="0">
                        <a:spcBef>
                          <a:spcPts val="0"/>
                        </a:spcBef>
                        <a:spcAft>
                          <a:spcPts val="0"/>
                        </a:spcAft>
                        <a:buNone/>
                      </a:pPr>
                      <a:endParaRPr sz="1600" u="none" strike="noStrike" cap="none" dirty="0">
                        <a:solidFill>
                          <a:schemeClr val="dk1"/>
                        </a:solidFill>
                        <a:latin typeface="+mn-lt"/>
                        <a:ea typeface="Open Sans"/>
                        <a:cs typeface="Open Sans"/>
                        <a:sym typeface="Open Sans"/>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34</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00B05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27</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00B05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11</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13</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15</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12</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extLst>
                  <a:ext uri="{0D108BD9-81ED-4DB2-BD59-A6C34878D82A}">
                    <a16:rowId xmlns:a16="http://schemas.microsoft.com/office/drawing/2014/main" val="10003"/>
                  </a:ext>
                </a:extLst>
              </a:tr>
              <a:tr h="893846">
                <a:tc>
                  <a:txBody>
                    <a:bodyPr/>
                    <a:lstStyle/>
                    <a:p>
                      <a:pPr marL="50800" marR="0" lvl="0" indent="0" algn="l" rtl="0">
                        <a:lnSpc>
                          <a:spcPct val="100000"/>
                        </a:lnSpc>
                        <a:spcBef>
                          <a:spcPts val="0"/>
                        </a:spcBef>
                        <a:spcAft>
                          <a:spcPts val="0"/>
                        </a:spcAft>
                        <a:buClr>
                          <a:schemeClr val="dk1"/>
                        </a:buClr>
                        <a:buSzPts val="900"/>
                        <a:buFont typeface="Open Sans"/>
                        <a:buNone/>
                      </a:pPr>
                      <a:r>
                        <a:rPr lang="id" sz="1600" u="none" strike="noStrike" cap="none" dirty="0">
                          <a:solidFill>
                            <a:schemeClr val="dk1"/>
                          </a:solidFill>
                          <a:latin typeface="+mn-lt"/>
                          <a:ea typeface="Open Sans"/>
                          <a:cs typeface="Open Sans"/>
                          <a:sym typeface="Open Sans"/>
                        </a:rPr>
                        <a:t>Lorem Ipsum dolor sit amet</a:t>
                      </a:r>
                      <a:endParaRPr sz="1600" u="none" strike="noStrike" cap="none" dirty="0">
                        <a:solidFill>
                          <a:schemeClr val="dk1"/>
                        </a:solidFill>
                        <a:latin typeface="+mn-lt"/>
                        <a:ea typeface="Open Sans"/>
                        <a:cs typeface="Open Sans"/>
                        <a:sym typeface="Open Sans"/>
                      </a:endParaRPr>
                    </a:p>
                    <a:p>
                      <a:pPr marL="50800" marR="0" lvl="0" indent="0" algn="l" rtl="0">
                        <a:spcBef>
                          <a:spcPts val="0"/>
                        </a:spcBef>
                        <a:spcAft>
                          <a:spcPts val="0"/>
                        </a:spcAft>
                        <a:buNone/>
                      </a:pPr>
                      <a:endParaRPr sz="1600" u="none" strike="noStrike" cap="none" dirty="0">
                        <a:solidFill>
                          <a:schemeClr val="dk1"/>
                        </a:solidFill>
                        <a:latin typeface="+mn-lt"/>
                        <a:ea typeface="Open Sans"/>
                        <a:cs typeface="Open Sans"/>
                        <a:sym typeface="Open Sans"/>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7</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16</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92D050">
                        <a:alpha val="74901"/>
                      </a:srgbClr>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34</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00B05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7</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28</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00B05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5</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solidFill>
                        <a:schemeClr val="lt1"/>
                      </a:solidFill>
                      <a:prstDash val="solid"/>
                      <a:round/>
                      <a:headEnd type="none" w="sm" len="sm"/>
                      <a:tailEnd type="none" w="sm" len="sm"/>
                    </a:lnB>
                    <a:solidFill>
                      <a:srgbClr val="FF0000">
                        <a:alpha val="67000"/>
                      </a:srgbClr>
                    </a:solidFill>
                  </a:tcPr>
                </a:tc>
                <a:extLst>
                  <a:ext uri="{0D108BD9-81ED-4DB2-BD59-A6C34878D82A}">
                    <a16:rowId xmlns:a16="http://schemas.microsoft.com/office/drawing/2014/main" val="10004"/>
                  </a:ext>
                </a:extLst>
              </a:tr>
              <a:tr h="893846">
                <a:tc>
                  <a:txBody>
                    <a:bodyPr/>
                    <a:lstStyle/>
                    <a:p>
                      <a:pPr marL="50800" marR="0" lvl="0" indent="0" algn="l" rtl="0">
                        <a:lnSpc>
                          <a:spcPct val="100000"/>
                        </a:lnSpc>
                        <a:spcBef>
                          <a:spcPts val="0"/>
                        </a:spcBef>
                        <a:spcAft>
                          <a:spcPts val="0"/>
                        </a:spcAft>
                        <a:buClr>
                          <a:schemeClr val="dk1"/>
                        </a:buClr>
                        <a:buSzPts val="900"/>
                        <a:buFont typeface="Open Sans"/>
                        <a:buNone/>
                      </a:pPr>
                      <a:r>
                        <a:rPr lang="id" sz="1600" u="none" strike="noStrike" cap="none" dirty="0">
                          <a:solidFill>
                            <a:schemeClr val="dk1"/>
                          </a:solidFill>
                          <a:latin typeface="+mn-lt"/>
                          <a:ea typeface="Open Sans"/>
                          <a:cs typeface="Open Sans"/>
                          <a:sym typeface="Open Sans"/>
                        </a:rPr>
                        <a:t>Lorem Ipsum dolor sit amet</a:t>
                      </a:r>
                      <a:endParaRPr sz="1600" u="none" strike="noStrike" cap="none" dirty="0">
                        <a:solidFill>
                          <a:schemeClr val="dk1"/>
                        </a:solidFill>
                        <a:latin typeface="+mn-lt"/>
                        <a:ea typeface="Open Sans"/>
                        <a:cs typeface="Open Sans"/>
                        <a:sym typeface="Open Sans"/>
                      </a:endParaRPr>
                    </a:p>
                    <a:p>
                      <a:pPr marL="50800" marR="0" lvl="0" indent="0" algn="l" rtl="0">
                        <a:spcBef>
                          <a:spcPts val="0"/>
                        </a:spcBef>
                        <a:spcAft>
                          <a:spcPts val="0"/>
                        </a:spcAft>
                        <a:buNone/>
                      </a:pPr>
                      <a:endParaRPr sz="1600" u="none" strike="noStrike" cap="none" dirty="0">
                        <a:solidFill>
                          <a:schemeClr val="dk1"/>
                        </a:solidFill>
                        <a:latin typeface="+mn-lt"/>
                        <a:ea typeface="Open Sans"/>
                        <a:cs typeface="Open Sans"/>
                        <a:sym typeface="Open Sans"/>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7</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0</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rgbClr val="FF000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36</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rgbClr val="00B05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7</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rgbClr val="FFFF00"/>
                    </a:solidFill>
                  </a:tcPr>
                </a:tc>
                <a:tc>
                  <a:txBody>
                    <a:bodyPr/>
                    <a:lstStyle/>
                    <a:p>
                      <a:pPr marL="0" marR="0" lvl="0" indent="0" algn="ctr" rtl="0">
                        <a:spcBef>
                          <a:spcPts val="0"/>
                        </a:spcBef>
                        <a:spcAft>
                          <a:spcPts val="0"/>
                        </a:spcAft>
                        <a:buNone/>
                      </a:pPr>
                      <a:r>
                        <a:rPr lang="id" sz="1600" u="none" strike="noStrike" cap="none" dirty="0">
                          <a:solidFill>
                            <a:schemeClr val="lt1"/>
                          </a:solidFill>
                          <a:latin typeface="+mn-lt"/>
                          <a:ea typeface="Open Sans"/>
                          <a:cs typeface="Open Sans"/>
                          <a:sym typeface="Open Sans"/>
                        </a:rPr>
                        <a:t>0</a:t>
                      </a:r>
                      <a:endParaRPr sz="2400" dirty="0">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rgbClr val="FF0000"/>
                    </a:solidFill>
                  </a:tcPr>
                </a:tc>
                <a:tc>
                  <a:txBody>
                    <a:bodyPr/>
                    <a:lstStyle/>
                    <a:p>
                      <a:pPr marL="0" marR="0" lvl="0" indent="0" algn="ctr" rtl="0">
                        <a:spcBef>
                          <a:spcPts val="0"/>
                        </a:spcBef>
                        <a:spcAft>
                          <a:spcPts val="0"/>
                        </a:spcAft>
                        <a:buNone/>
                      </a:pPr>
                      <a:r>
                        <a:rPr lang="id" sz="1600" u="none" strike="noStrike" cap="none" dirty="0">
                          <a:solidFill>
                            <a:schemeClr val="tx1"/>
                          </a:solidFill>
                          <a:latin typeface="+mn-lt"/>
                          <a:ea typeface="Open Sans"/>
                          <a:cs typeface="Open Sans"/>
                          <a:sym typeface="Open Sans"/>
                        </a:rPr>
                        <a:t>8</a:t>
                      </a:r>
                      <a:endParaRPr sz="2400" dirty="0">
                        <a:solidFill>
                          <a:schemeClr val="tx1"/>
                        </a:solidFill>
                        <a:latin typeface="+mn-lt"/>
                      </a:endParaRPr>
                    </a:p>
                  </a:txBody>
                  <a:tcPr marL="68600" marR="68600" marT="34300" marB="34300" anchor="ctr">
                    <a:lnL w="12700" cap="flat" cmpd="sng">
                      <a:solidFill>
                        <a:schemeClr val="lt1"/>
                      </a:solidFill>
                      <a:prstDash val="solid"/>
                      <a:round/>
                      <a:headEnd type="none" w="sm" len="sm"/>
                      <a:tailEnd type="none" w="sm" len="sm"/>
                    </a:lnL>
                    <a:lnR w="12700" cap="flat" cmpd="sng">
                      <a:solidFill>
                        <a:schemeClr val="lt1"/>
                      </a:solidFill>
                      <a:prstDash val="solid"/>
                      <a:round/>
                      <a:headEnd type="none" w="sm" len="sm"/>
                      <a:tailEnd type="none" w="sm" len="sm"/>
                    </a:lnR>
                    <a:lnT w="12700" cap="flat" cmpd="sng">
                      <a:solidFill>
                        <a:schemeClr val="lt1"/>
                      </a:solidFill>
                      <a:prstDash val="solid"/>
                      <a:round/>
                      <a:headEnd type="none" w="sm" len="sm"/>
                      <a:tailEnd type="none" w="sm" len="sm"/>
                    </a:lnT>
                    <a:lnB w="12700" cap="flat" cmpd="sng" algn="ctr">
                      <a:solidFill>
                        <a:schemeClr val="bg1">
                          <a:lumMod val="65000"/>
                        </a:schemeClr>
                      </a:solidFill>
                      <a:prstDash val="solid"/>
                      <a:round/>
                      <a:headEnd type="none" w="med" len="med"/>
                      <a:tailEnd type="none" w="med" len="med"/>
                    </a:lnB>
                    <a:solidFill>
                      <a:srgbClr val="FFFF00">
                        <a:alpha val="67000"/>
                      </a:srgbClr>
                    </a:solidFill>
                  </a:tcPr>
                </a:tc>
                <a:extLst>
                  <a:ext uri="{0D108BD9-81ED-4DB2-BD59-A6C34878D82A}">
                    <a16:rowId xmlns:a16="http://schemas.microsoft.com/office/drawing/2014/main" val="10005"/>
                  </a:ext>
                </a:extLst>
              </a:tr>
            </a:tbl>
          </a:graphicData>
        </a:graphic>
      </p:graphicFrame>
      <p:sp>
        <p:nvSpPr>
          <p:cNvPr id="8" name="Google Shape;365;p28">
            <a:extLst>
              <a:ext uri="{FF2B5EF4-FFF2-40B4-BE49-F238E27FC236}">
                <a16:creationId xmlns:a16="http://schemas.microsoft.com/office/drawing/2014/main" id="{64687B9F-12D4-D843-BB2D-24066DACADB1}"/>
              </a:ext>
            </a:extLst>
          </p:cNvPr>
          <p:cNvSpPr/>
          <p:nvPr/>
        </p:nvSpPr>
        <p:spPr>
          <a:xfrm>
            <a:off x="885825" y="7412677"/>
            <a:ext cx="1395937" cy="1186815"/>
          </a:xfrm>
          <a:prstGeom prst="roundRect">
            <a:avLst>
              <a:gd name="adj" fmla="val 0"/>
            </a:avLst>
          </a:prstGeom>
          <a:solidFill>
            <a:srgbClr val="FF0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id" sz="1600">
                <a:solidFill>
                  <a:schemeClr val="lt1"/>
                </a:solidFill>
                <a:ea typeface="Open Sans"/>
                <a:cs typeface="Open Sans"/>
                <a:sym typeface="Open Sans"/>
              </a:rPr>
              <a:t>10 &lt;</a:t>
            </a:r>
            <a:endParaRPr sz="1600"/>
          </a:p>
        </p:txBody>
      </p:sp>
      <p:sp>
        <p:nvSpPr>
          <p:cNvPr id="9" name="Google Shape;366;p28">
            <a:extLst>
              <a:ext uri="{FF2B5EF4-FFF2-40B4-BE49-F238E27FC236}">
                <a16:creationId xmlns:a16="http://schemas.microsoft.com/office/drawing/2014/main" id="{C8A2951B-C3CE-87F8-8948-4F6D3B5B002A}"/>
              </a:ext>
            </a:extLst>
          </p:cNvPr>
          <p:cNvSpPr txBox="1"/>
          <p:nvPr/>
        </p:nvSpPr>
        <p:spPr>
          <a:xfrm>
            <a:off x="2415503" y="7670147"/>
            <a:ext cx="3440705" cy="709394"/>
          </a:xfrm>
          <a:prstGeom prst="rect">
            <a:avLst/>
          </a:prstGeom>
          <a:noFill/>
          <a:ln>
            <a:noFill/>
          </a:ln>
        </p:spPr>
        <p:txBody>
          <a:bodyPr spcFirstLastPara="1" wrap="square" lIns="68575" tIns="34275" rIns="68575" bIns="34275" anchor="ctr" anchorCtr="0">
            <a:spAutoFit/>
          </a:bodyPr>
          <a:lstStyle/>
          <a:p>
            <a:pPr marL="0" marR="0" lvl="0" indent="0" algn="l" rtl="0">
              <a:lnSpc>
                <a:spcPct val="130000"/>
              </a:lnSpc>
              <a:spcBef>
                <a:spcPts val="0"/>
              </a:spcBef>
              <a:spcAft>
                <a:spcPts val="0"/>
              </a:spcAft>
              <a:buNone/>
            </a:pPr>
            <a:r>
              <a:rPr lang="id" sz="1600" b="0" i="0" dirty="0">
                <a:solidFill>
                  <a:schemeClr val="dk1"/>
                </a:solidFill>
                <a:ea typeface="Open Sans"/>
                <a:cs typeface="Open Sans"/>
                <a:sym typeface="Open Sans"/>
              </a:rPr>
              <a:t>Lorem ipsum dolor sit amet, consectetur</a:t>
            </a:r>
            <a:endParaRPr sz="1600" b="0" i="0" dirty="0">
              <a:solidFill>
                <a:schemeClr val="dk1"/>
              </a:solidFill>
              <a:ea typeface="Open Sans"/>
              <a:cs typeface="Open Sans"/>
              <a:sym typeface="Open Sans"/>
            </a:endParaRPr>
          </a:p>
        </p:txBody>
      </p:sp>
      <p:sp>
        <p:nvSpPr>
          <p:cNvPr id="10" name="Google Shape;368;p28">
            <a:extLst>
              <a:ext uri="{FF2B5EF4-FFF2-40B4-BE49-F238E27FC236}">
                <a16:creationId xmlns:a16="http://schemas.microsoft.com/office/drawing/2014/main" id="{FABDCD55-A7CA-8FFE-4D27-0BD6F6AE8B83}"/>
              </a:ext>
            </a:extLst>
          </p:cNvPr>
          <p:cNvSpPr/>
          <p:nvPr/>
        </p:nvSpPr>
        <p:spPr>
          <a:xfrm>
            <a:off x="6786416" y="7412677"/>
            <a:ext cx="1395938" cy="1186815"/>
          </a:xfrm>
          <a:prstGeom prst="roundRect">
            <a:avLst>
              <a:gd name="adj" fmla="val 0"/>
            </a:avLst>
          </a:prstGeom>
          <a:solidFill>
            <a:srgbClr val="FFFF00">
              <a:alpha val="74901"/>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id" sz="1600">
                <a:ea typeface="Open Sans"/>
                <a:cs typeface="Open Sans"/>
                <a:sym typeface="Open Sans"/>
              </a:rPr>
              <a:t>10 &gt;</a:t>
            </a:r>
            <a:endParaRPr sz="1600"/>
          </a:p>
        </p:txBody>
      </p:sp>
      <p:sp>
        <p:nvSpPr>
          <p:cNvPr id="11" name="Google Shape;369;p28">
            <a:extLst>
              <a:ext uri="{FF2B5EF4-FFF2-40B4-BE49-F238E27FC236}">
                <a16:creationId xmlns:a16="http://schemas.microsoft.com/office/drawing/2014/main" id="{80FA209E-A209-F98A-A2BA-DD86F806CB68}"/>
              </a:ext>
            </a:extLst>
          </p:cNvPr>
          <p:cNvSpPr txBox="1"/>
          <p:nvPr/>
        </p:nvSpPr>
        <p:spPr>
          <a:xfrm>
            <a:off x="8314349" y="7670147"/>
            <a:ext cx="3472119" cy="709394"/>
          </a:xfrm>
          <a:prstGeom prst="rect">
            <a:avLst/>
          </a:prstGeom>
          <a:noFill/>
          <a:ln>
            <a:noFill/>
          </a:ln>
        </p:spPr>
        <p:txBody>
          <a:bodyPr spcFirstLastPara="1" wrap="square" lIns="68575" tIns="34275" rIns="68575" bIns="34275" anchor="ctr" anchorCtr="0">
            <a:spAutoFit/>
          </a:bodyPr>
          <a:lstStyle/>
          <a:p>
            <a:pPr marL="0" marR="0" lvl="0" indent="0" algn="l" rtl="0">
              <a:lnSpc>
                <a:spcPct val="130000"/>
              </a:lnSpc>
              <a:spcBef>
                <a:spcPts val="0"/>
              </a:spcBef>
              <a:spcAft>
                <a:spcPts val="0"/>
              </a:spcAft>
              <a:buNone/>
            </a:pPr>
            <a:r>
              <a:rPr lang="id" sz="1600" b="0" i="0">
                <a:solidFill>
                  <a:schemeClr val="dk1"/>
                </a:solidFill>
                <a:ea typeface="Open Sans"/>
                <a:cs typeface="Open Sans"/>
                <a:sym typeface="Open Sans"/>
              </a:rPr>
              <a:t>Lorem ipsum dolor sit amet, consectetur</a:t>
            </a:r>
            <a:endParaRPr sz="1600" b="0" i="0">
              <a:solidFill>
                <a:schemeClr val="dk1"/>
              </a:solidFill>
              <a:ea typeface="Open Sans"/>
              <a:cs typeface="Open Sans"/>
              <a:sym typeface="Open Sans"/>
            </a:endParaRPr>
          </a:p>
        </p:txBody>
      </p:sp>
      <p:sp>
        <p:nvSpPr>
          <p:cNvPr id="12" name="Google Shape;371;p28">
            <a:extLst>
              <a:ext uri="{FF2B5EF4-FFF2-40B4-BE49-F238E27FC236}">
                <a16:creationId xmlns:a16="http://schemas.microsoft.com/office/drawing/2014/main" id="{57A572C6-16CE-47BC-E656-C17E3E40F5DF}"/>
              </a:ext>
            </a:extLst>
          </p:cNvPr>
          <p:cNvSpPr/>
          <p:nvPr/>
        </p:nvSpPr>
        <p:spPr>
          <a:xfrm>
            <a:off x="12716678" y="7412677"/>
            <a:ext cx="1395938" cy="1186815"/>
          </a:xfrm>
          <a:prstGeom prst="roundRect">
            <a:avLst>
              <a:gd name="adj" fmla="val 0"/>
            </a:avLst>
          </a:prstGeom>
          <a:solidFill>
            <a:srgbClr val="00B05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id" sz="1600">
                <a:solidFill>
                  <a:schemeClr val="lt1"/>
                </a:solidFill>
                <a:ea typeface="Open Sans"/>
                <a:cs typeface="Open Sans"/>
                <a:sym typeface="Open Sans"/>
              </a:rPr>
              <a:t>20 &gt;</a:t>
            </a:r>
            <a:endParaRPr sz="1600"/>
          </a:p>
        </p:txBody>
      </p:sp>
      <p:sp>
        <p:nvSpPr>
          <p:cNvPr id="13" name="Google Shape;372;p28">
            <a:extLst>
              <a:ext uri="{FF2B5EF4-FFF2-40B4-BE49-F238E27FC236}">
                <a16:creationId xmlns:a16="http://schemas.microsoft.com/office/drawing/2014/main" id="{F0985CC0-0B28-EC16-18C7-DF03A5097EAA}"/>
              </a:ext>
            </a:extLst>
          </p:cNvPr>
          <p:cNvSpPr txBox="1"/>
          <p:nvPr/>
        </p:nvSpPr>
        <p:spPr>
          <a:xfrm>
            <a:off x="14253029" y="7670147"/>
            <a:ext cx="3320594" cy="709394"/>
          </a:xfrm>
          <a:prstGeom prst="rect">
            <a:avLst/>
          </a:prstGeom>
          <a:noFill/>
          <a:ln>
            <a:noFill/>
          </a:ln>
        </p:spPr>
        <p:txBody>
          <a:bodyPr spcFirstLastPara="1" wrap="square" lIns="68575" tIns="34275" rIns="68575" bIns="34275" anchor="ctr" anchorCtr="0">
            <a:spAutoFit/>
          </a:bodyPr>
          <a:lstStyle/>
          <a:p>
            <a:pPr marL="0" marR="0" lvl="0" indent="0" algn="l" rtl="0">
              <a:lnSpc>
                <a:spcPct val="130000"/>
              </a:lnSpc>
              <a:spcBef>
                <a:spcPts val="0"/>
              </a:spcBef>
              <a:spcAft>
                <a:spcPts val="0"/>
              </a:spcAft>
              <a:buNone/>
            </a:pPr>
            <a:r>
              <a:rPr lang="id" sz="1600" b="0" i="0">
                <a:solidFill>
                  <a:schemeClr val="dk1"/>
                </a:solidFill>
                <a:ea typeface="Open Sans"/>
                <a:cs typeface="Open Sans"/>
                <a:sym typeface="Open Sans"/>
              </a:rPr>
              <a:t>Lorem ipsum dolor sit amet, consectetur</a:t>
            </a:r>
            <a:endParaRPr sz="1600" b="0" i="0">
              <a:solidFill>
                <a:schemeClr val="dk1"/>
              </a:solidFill>
              <a:ea typeface="Open Sans"/>
              <a:cs typeface="Open Sans"/>
              <a:sym typeface="Open Sans"/>
            </a:endParaRPr>
          </a:p>
        </p:txBody>
      </p:sp>
    </p:spTree>
    <p:extLst>
      <p:ext uri="{BB962C8B-B14F-4D97-AF65-F5344CB8AC3E}">
        <p14:creationId xmlns:p14="http://schemas.microsoft.com/office/powerpoint/2010/main" val="603950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E1A0CDE6-34C6-6762-B8C6-FF33F4689E2B}"/>
              </a:ext>
            </a:extLst>
          </p:cNvPr>
          <p:cNvGraphicFramePr>
            <a:graphicFrameLocks noChangeAspect="1"/>
          </p:cNvGraphicFramePr>
          <p:nvPr>
            <p:custDataLst>
              <p:tags r:id="rId1"/>
            </p:custDataLst>
            <p:extLst>
              <p:ext uri="{D42A27DB-BD31-4B8C-83A1-F6EECF244321}">
                <p14:modId xmlns:p14="http://schemas.microsoft.com/office/powerpoint/2010/main" val="4125844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31" name="think-cell data - do not delete" hidden="1">
                        <a:extLst>
                          <a:ext uri="{FF2B5EF4-FFF2-40B4-BE49-F238E27FC236}">
                            <a16:creationId xmlns:a16="http://schemas.microsoft.com/office/drawing/2014/main" id="{E1A0CDE6-34C6-6762-B8C6-FF33F4689E2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aphicFrame>
        <p:nvGraphicFramePr>
          <p:cNvPr id="30" name="Object 29" hidden="1">
            <a:extLst>
              <a:ext uri="{FF2B5EF4-FFF2-40B4-BE49-F238E27FC236}">
                <a16:creationId xmlns:a16="http://schemas.microsoft.com/office/drawing/2014/main" id="{00FB67DC-8AB6-698D-7B77-A0603D83CA51}"/>
              </a:ext>
            </a:extLst>
          </p:cNvPr>
          <p:cNvGraphicFramePr>
            <a:graphicFrameLocks noChangeAspect="1"/>
          </p:cNvGraphicFramePr>
          <p:nvPr>
            <p:extLst>
              <p:ext uri="{D42A27DB-BD31-4B8C-83A1-F6EECF244321}">
                <p14:modId xmlns:p14="http://schemas.microsoft.com/office/powerpoint/2010/main" val="1295181040"/>
              </p:ext>
            </p:extLst>
          </p:nvPr>
        </p:nvGraphicFramePr>
        <p:xfrm>
          <a:off x="0" y="0"/>
          <a:ext cx="0" cy="0"/>
        </p:xfrm>
        <a:graphic>
          <a:graphicData uri="http://schemas.openxmlformats.org/presentationml/2006/ole">
            <mc:AlternateContent xmlns:mc="http://schemas.openxmlformats.org/markup-compatibility/2006">
              <mc:Choice xmlns:v="urn:schemas-microsoft-com:vml" Requires="v">
                <p:oleObj name="Ampler" showAsIcon="1" r:id="rId24" imgW="914400" imgH="771480" progId="Ampler.ActiveDocument">
                  <p:embed/>
                </p:oleObj>
              </mc:Choice>
              <mc:Fallback>
                <p:oleObj name="Ampler" showAsIcon="1" r:id="rId24" imgW="914400" imgH="771480" progId="Ampler.ActiveDocument">
                  <p:embed/>
                  <p:pic>
                    <p:nvPicPr>
                      <p:cNvPr id="30" name="Object 29" hidden="1">
                        <a:extLst>
                          <a:ext uri="{FF2B5EF4-FFF2-40B4-BE49-F238E27FC236}">
                            <a16:creationId xmlns:a16="http://schemas.microsoft.com/office/drawing/2014/main" id="{00FB67DC-8AB6-698D-7B77-A0603D83CA51}"/>
                          </a:ext>
                        </a:extLst>
                      </p:cNvPr>
                      <p:cNvPicPr/>
                      <p:nvPr/>
                    </p:nvPicPr>
                    <p:blipFill>
                      <a:blip r:embed="rId25"/>
                      <a:stretch>
                        <a:fillRect/>
                      </a:stretch>
                    </p:blipFill>
                    <p:spPr>
                      <a:xfrm>
                        <a:off x="0" y="0"/>
                        <a:ext cx="0" cy="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D83B8F-44BF-5C8C-475C-77284C391C0D}"/>
              </a:ext>
            </a:extLst>
          </p:cNvPr>
          <p:cNvSpPr>
            <a:spLocks noGrp="1"/>
          </p:cNvSpPr>
          <p:nvPr>
            <p:ph type="title"/>
          </p:nvPr>
        </p:nvSpPr>
        <p:spPr/>
        <p:txBody>
          <a:bodyPr vert="horz"/>
          <a:lstStyle/>
          <a:p>
            <a:r>
              <a:rPr lang="en-US" dirty="0"/>
              <a:t>Mekko</a:t>
            </a:r>
          </a:p>
        </p:txBody>
      </p:sp>
      <p:sp>
        <p:nvSpPr>
          <p:cNvPr id="4" name="Slide Number Placeholder 3">
            <a:extLst>
              <a:ext uri="{FF2B5EF4-FFF2-40B4-BE49-F238E27FC236}">
                <a16:creationId xmlns:a16="http://schemas.microsoft.com/office/drawing/2014/main" id="{8ECA7771-CDB6-5152-277F-9F7BDD54CD78}"/>
              </a:ext>
            </a:extLst>
          </p:cNvPr>
          <p:cNvSpPr>
            <a:spLocks noGrp="1"/>
          </p:cNvSpPr>
          <p:nvPr>
            <p:ph type="sldNum" sz="quarter" idx="12"/>
          </p:nvPr>
        </p:nvSpPr>
        <p:spPr/>
        <p:txBody>
          <a:bodyPr/>
          <a:lstStyle/>
          <a:p>
            <a:fld id="{E2D680B1-7F17-42D2-83E2-2C9AC13983BB}" type="slidenum">
              <a:rPr lang="en-US" smtClean="0"/>
              <a:t>25</a:t>
            </a:fld>
            <a:endParaRPr lang="en-US" dirty="0"/>
          </a:p>
        </p:txBody>
      </p:sp>
      <p:graphicFrame>
        <p:nvGraphicFramePr>
          <p:cNvPr id="6" name="Chart 18">
            <a:extLst>
              <a:ext uri="{FF2B5EF4-FFF2-40B4-BE49-F238E27FC236}">
                <a16:creationId xmlns:a16="http://schemas.microsoft.com/office/drawing/2014/main" id="{CEDFB611-C54F-08C1-A348-61782C7A3EBD}"/>
              </a:ext>
            </a:extLst>
          </p:cNvPr>
          <p:cNvGraphicFramePr/>
          <p:nvPr>
            <p:custDataLst>
              <p:tags r:id="rId2"/>
            </p:custDataLst>
            <p:extLst>
              <p:ext uri="{D42A27DB-BD31-4B8C-83A1-F6EECF244321}">
                <p14:modId xmlns:p14="http://schemas.microsoft.com/office/powerpoint/2010/main" val="2105016664"/>
              </p:ext>
            </p:extLst>
          </p:nvPr>
        </p:nvGraphicFramePr>
        <p:xfrm>
          <a:off x="1632886" y="2628900"/>
          <a:ext cx="15777223" cy="6247194"/>
        </p:xfrm>
        <a:graphic>
          <a:graphicData uri="http://schemas.openxmlformats.org/drawingml/2006/chart">
            <c:chart xmlns:c="http://schemas.openxmlformats.org/drawingml/2006/chart" xmlns:r="http://schemas.openxmlformats.org/officeDocument/2006/relationships" r:id="rId26"/>
          </a:graphicData>
        </a:graphic>
      </p:graphicFrame>
      <p:sp>
        <p:nvSpPr>
          <p:cNvPr id="7" name="TextBox 6">
            <a:extLst>
              <a:ext uri="{FF2B5EF4-FFF2-40B4-BE49-F238E27FC236}">
                <a16:creationId xmlns:a16="http://schemas.microsoft.com/office/drawing/2014/main" id="{E13F64A5-887A-E07A-8AE9-82FFC20F8EC5}"/>
              </a:ext>
            </a:extLst>
          </p:cNvPr>
          <p:cNvSpPr txBox="1">
            <a:spLocks/>
          </p:cNvSpPr>
          <p:nvPr>
            <p:custDataLst>
              <p:tags r:id="rId3"/>
            </p:custDataLst>
          </p:nvPr>
        </p:nvSpPr>
        <p:spPr>
          <a:xfrm>
            <a:off x="15491566" y="8863065"/>
            <a:ext cx="535403" cy="261610"/>
          </a:xfrm>
          <a:prstGeom prst="rect">
            <a:avLst/>
          </a:prstGeom>
          <a:noFill/>
          <a:ln>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buNone/>
            </a:pPr>
            <a:r>
              <a:rPr lang="en-US" sz="1700">
                <a:solidFill>
                  <a:schemeClr val="dk1">
                    <a:lumMod val="100000"/>
                  </a:schemeClr>
                </a:solidFill>
              </a:rPr>
              <a:t>Label</a:t>
            </a:r>
          </a:p>
        </p:txBody>
      </p:sp>
      <p:sp>
        <p:nvSpPr>
          <p:cNvPr id="8" name="TextBox 7">
            <a:extLst>
              <a:ext uri="{FF2B5EF4-FFF2-40B4-BE49-F238E27FC236}">
                <a16:creationId xmlns:a16="http://schemas.microsoft.com/office/drawing/2014/main" id="{DEE3231A-4218-A594-B12E-897C44AC86E7}"/>
              </a:ext>
            </a:extLst>
          </p:cNvPr>
          <p:cNvSpPr txBox="1">
            <a:spLocks/>
          </p:cNvSpPr>
          <p:nvPr>
            <p:custDataLst>
              <p:tags r:id="rId4"/>
            </p:custDataLst>
          </p:nvPr>
        </p:nvSpPr>
        <p:spPr>
          <a:xfrm>
            <a:off x="10964290" y="8863065"/>
            <a:ext cx="535403" cy="261610"/>
          </a:xfrm>
          <a:prstGeom prst="rect">
            <a:avLst/>
          </a:prstGeom>
          <a:noFill/>
          <a:ln>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buNone/>
            </a:pPr>
            <a:r>
              <a:rPr lang="en-US" sz="1700">
                <a:solidFill>
                  <a:schemeClr val="dk1">
                    <a:lumMod val="100000"/>
                  </a:schemeClr>
                </a:solidFill>
              </a:rPr>
              <a:t>Label</a:t>
            </a:r>
          </a:p>
        </p:txBody>
      </p:sp>
      <p:sp>
        <p:nvSpPr>
          <p:cNvPr id="9" name="TextBox 8">
            <a:extLst>
              <a:ext uri="{FF2B5EF4-FFF2-40B4-BE49-F238E27FC236}">
                <a16:creationId xmlns:a16="http://schemas.microsoft.com/office/drawing/2014/main" id="{2938260E-BF8E-BD72-398B-3C3155697DDB}"/>
              </a:ext>
            </a:extLst>
          </p:cNvPr>
          <p:cNvSpPr txBox="1">
            <a:spLocks/>
          </p:cNvSpPr>
          <p:nvPr>
            <p:custDataLst>
              <p:tags r:id="rId5"/>
            </p:custDataLst>
          </p:nvPr>
        </p:nvSpPr>
        <p:spPr>
          <a:xfrm>
            <a:off x="4719771" y="8863065"/>
            <a:ext cx="535403" cy="261610"/>
          </a:xfrm>
          <a:prstGeom prst="rect">
            <a:avLst/>
          </a:prstGeom>
          <a:noFill/>
          <a:ln>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buNone/>
            </a:pPr>
            <a:r>
              <a:rPr lang="en-US" sz="1700">
                <a:solidFill>
                  <a:schemeClr val="dk1">
                    <a:lumMod val="100000"/>
                  </a:schemeClr>
                </a:solidFill>
              </a:rPr>
              <a:t>Label</a:t>
            </a:r>
          </a:p>
        </p:txBody>
      </p:sp>
      <p:sp>
        <p:nvSpPr>
          <p:cNvPr id="10" name="TextBox 9">
            <a:extLst>
              <a:ext uri="{FF2B5EF4-FFF2-40B4-BE49-F238E27FC236}">
                <a16:creationId xmlns:a16="http://schemas.microsoft.com/office/drawing/2014/main" id="{691D138F-A208-E619-DF60-86B8781B5861}"/>
              </a:ext>
            </a:extLst>
          </p:cNvPr>
          <p:cNvSpPr txBox="1">
            <a:spLocks/>
          </p:cNvSpPr>
          <p:nvPr>
            <p:custDataLst>
              <p:tags r:id="rId6"/>
            </p:custDataLst>
          </p:nvPr>
        </p:nvSpPr>
        <p:spPr>
          <a:xfrm>
            <a:off x="15637440" y="8048612"/>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chemeClr val="dk1"/>
                </a:solidFill>
              </a:rPr>
              <a:t>23</a:t>
            </a:r>
          </a:p>
        </p:txBody>
      </p:sp>
      <p:sp>
        <p:nvSpPr>
          <p:cNvPr id="11" name="TextBox 10">
            <a:extLst>
              <a:ext uri="{FF2B5EF4-FFF2-40B4-BE49-F238E27FC236}">
                <a16:creationId xmlns:a16="http://schemas.microsoft.com/office/drawing/2014/main" id="{FD9A07CF-F2F5-2A4A-BA42-8AAC41A7F3A1}"/>
              </a:ext>
            </a:extLst>
          </p:cNvPr>
          <p:cNvSpPr txBox="1">
            <a:spLocks/>
          </p:cNvSpPr>
          <p:nvPr>
            <p:custDataLst>
              <p:tags r:id="rId7"/>
            </p:custDataLst>
          </p:nvPr>
        </p:nvSpPr>
        <p:spPr>
          <a:xfrm>
            <a:off x="11171076" y="8371981"/>
            <a:ext cx="121828"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chemeClr val="dk1"/>
                </a:solidFill>
              </a:rPr>
              <a:t>9</a:t>
            </a:r>
          </a:p>
        </p:txBody>
      </p:sp>
      <p:sp>
        <p:nvSpPr>
          <p:cNvPr id="12" name="TextBox 11">
            <a:extLst>
              <a:ext uri="{FF2B5EF4-FFF2-40B4-BE49-F238E27FC236}">
                <a16:creationId xmlns:a16="http://schemas.microsoft.com/office/drawing/2014/main" id="{F64C1238-7D2B-2AD2-BEBB-2E38D20364B3}"/>
              </a:ext>
            </a:extLst>
          </p:cNvPr>
          <p:cNvSpPr txBox="1">
            <a:spLocks/>
          </p:cNvSpPr>
          <p:nvPr>
            <p:custDataLst>
              <p:tags r:id="rId8"/>
            </p:custDataLst>
          </p:nvPr>
        </p:nvSpPr>
        <p:spPr>
          <a:xfrm>
            <a:off x="4865645" y="8002415"/>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chemeClr val="dk1"/>
                </a:solidFill>
              </a:rPr>
              <a:t>25</a:t>
            </a:r>
          </a:p>
        </p:txBody>
      </p:sp>
      <p:sp>
        <p:nvSpPr>
          <p:cNvPr id="13" name="TextBox 12">
            <a:extLst>
              <a:ext uri="{FF2B5EF4-FFF2-40B4-BE49-F238E27FC236}">
                <a16:creationId xmlns:a16="http://schemas.microsoft.com/office/drawing/2014/main" id="{C1308FF0-72A8-D2E2-34B1-7A2E5DA0466B}"/>
              </a:ext>
            </a:extLst>
          </p:cNvPr>
          <p:cNvSpPr txBox="1">
            <a:spLocks/>
          </p:cNvSpPr>
          <p:nvPr>
            <p:custDataLst>
              <p:tags r:id="rId9"/>
            </p:custDataLst>
          </p:nvPr>
        </p:nvSpPr>
        <p:spPr>
          <a:xfrm>
            <a:off x="15637440" y="7124701"/>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rgbClr val="FFFFFF"/>
                </a:solidFill>
              </a:rPr>
              <a:t>17</a:t>
            </a:r>
          </a:p>
        </p:txBody>
      </p:sp>
      <p:sp>
        <p:nvSpPr>
          <p:cNvPr id="14" name="TextBox 13">
            <a:extLst>
              <a:ext uri="{FF2B5EF4-FFF2-40B4-BE49-F238E27FC236}">
                <a16:creationId xmlns:a16="http://schemas.microsoft.com/office/drawing/2014/main" id="{9B22AA68-8CB5-E34A-3FC0-CE00EF22AD78}"/>
              </a:ext>
            </a:extLst>
          </p:cNvPr>
          <p:cNvSpPr txBox="1">
            <a:spLocks/>
          </p:cNvSpPr>
          <p:nvPr>
            <p:custDataLst>
              <p:tags r:id="rId10"/>
            </p:custDataLst>
          </p:nvPr>
        </p:nvSpPr>
        <p:spPr>
          <a:xfrm>
            <a:off x="11110162" y="6154593"/>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rgbClr val="FFFFFF"/>
                </a:solidFill>
              </a:rPr>
              <a:t>87</a:t>
            </a:r>
          </a:p>
        </p:txBody>
      </p:sp>
      <p:sp>
        <p:nvSpPr>
          <p:cNvPr id="15" name="TextBox 14">
            <a:extLst>
              <a:ext uri="{FF2B5EF4-FFF2-40B4-BE49-F238E27FC236}">
                <a16:creationId xmlns:a16="http://schemas.microsoft.com/office/drawing/2014/main" id="{1FE4C73E-1BB0-D42D-50BB-80131B0DA5FF}"/>
              </a:ext>
            </a:extLst>
          </p:cNvPr>
          <p:cNvSpPr txBox="1">
            <a:spLocks/>
          </p:cNvSpPr>
          <p:nvPr>
            <p:custDataLst>
              <p:tags r:id="rId11"/>
            </p:custDataLst>
          </p:nvPr>
        </p:nvSpPr>
        <p:spPr>
          <a:xfrm>
            <a:off x="4865645" y="5392366"/>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rgbClr val="FFFFFF"/>
                </a:solidFill>
              </a:rPr>
              <a:t>88</a:t>
            </a:r>
          </a:p>
        </p:txBody>
      </p:sp>
      <p:sp>
        <p:nvSpPr>
          <p:cNvPr id="16" name="TextBox 15">
            <a:extLst>
              <a:ext uri="{FF2B5EF4-FFF2-40B4-BE49-F238E27FC236}">
                <a16:creationId xmlns:a16="http://schemas.microsoft.com/office/drawing/2014/main" id="{BC8B4D61-AAB3-A6D1-4AEE-CA4F9B564D4B}"/>
              </a:ext>
            </a:extLst>
          </p:cNvPr>
          <p:cNvSpPr txBox="1">
            <a:spLocks/>
          </p:cNvSpPr>
          <p:nvPr>
            <p:custDataLst>
              <p:tags r:id="rId12"/>
            </p:custDataLst>
          </p:nvPr>
        </p:nvSpPr>
        <p:spPr>
          <a:xfrm>
            <a:off x="15637440" y="6316277"/>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rgbClr val="FFFFFF"/>
                </a:solidFill>
              </a:rPr>
              <a:t>18</a:t>
            </a:r>
          </a:p>
        </p:txBody>
      </p:sp>
      <p:sp>
        <p:nvSpPr>
          <p:cNvPr id="17" name="TextBox 16">
            <a:extLst>
              <a:ext uri="{FF2B5EF4-FFF2-40B4-BE49-F238E27FC236}">
                <a16:creationId xmlns:a16="http://schemas.microsoft.com/office/drawing/2014/main" id="{306CE822-203C-D283-0CD7-F6CAF3144BB8}"/>
              </a:ext>
            </a:extLst>
          </p:cNvPr>
          <p:cNvSpPr txBox="1">
            <a:spLocks/>
          </p:cNvSpPr>
          <p:nvPr>
            <p:custDataLst>
              <p:tags r:id="rId13"/>
            </p:custDataLst>
          </p:nvPr>
        </p:nvSpPr>
        <p:spPr>
          <a:xfrm>
            <a:off x="11110162" y="3636934"/>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rgbClr val="FFFFFF"/>
                </a:solidFill>
              </a:rPr>
              <a:t>22</a:t>
            </a:r>
          </a:p>
        </p:txBody>
      </p:sp>
      <p:sp>
        <p:nvSpPr>
          <p:cNvPr id="18" name="TextBox 17">
            <a:extLst>
              <a:ext uri="{FF2B5EF4-FFF2-40B4-BE49-F238E27FC236}">
                <a16:creationId xmlns:a16="http://schemas.microsoft.com/office/drawing/2014/main" id="{028E0ACE-1329-0B2F-3E84-DB588232EA9D}"/>
              </a:ext>
            </a:extLst>
          </p:cNvPr>
          <p:cNvSpPr txBox="1">
            <a:spLocks/>
          </p:cNvSpPr>
          <p:nvPr>
            <p:custDataLst>
              <p:tags r:id="rId14"/>
            </p:custDataLst>
          </p:nvPr>
        </p:nvSpPr>
        <p:spPr>
          <a:xfrm>
            <a:off x="4865645" y="3082586"/>
            <a:ext cx="243656" cy="2616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dk1">
                    <a:lumMod val="100000"/>
                  </a:schemeClr>
                </a:solidFill>
              </a14:hiddenFill>
            </a:ext>
            <a:ext uri="{91240B29-F687-4F45-9708-019B960494DF}">
              <a14:hiddenLine xmlns:a14="http://schemas.microsoft.com/office/drawing/2010/main" w="9525" cap="flat" cmpd="sng" algn="ctr">
                <a:solidFill>
                  <a:schemeClr val="dk1">
                    <a:lumMod val="100000"/>
                  </a:schemeClr>
                </a:solidFill>
                <a:prstDash val="solid"/>
                <a:round/>
                <a:headEnd type="none" w="med" len="med"/>
                <a:tailEnd type="none" w="med" len="me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rgbClr val="FFFFFF"/>
                </a:solidFill>
              </a:rPr>
              <a:t>12</a:t>
            </a:r>
          </a:p>
        </p:txBody>
      </p:sp>
      <p:sp>
        <p:nvSpPr>
          <p:cNvPr id="19" name="TextBox 18">
            <a:extLst>
              <a:ext uri="{FF2B5EF4-FFF2-40B4-BE49-F238E27FC236}">
                <a16:creationId xmlns:a16="http://schemas.microsoft.com/office/drawing/2014/main" id="{E071B208-EEB8-F1AC-CD87-A94C7F5CDCBF}"/>
              </a:ext>
            </a:extLst>
          </p:cNvPr>
          <p:cNvSpPr txBox="1">
            <a:spLocks/>
          </p:cNvSpPr>
          <p:nvPr>
            <p:custDataLst>
              <p:tags r:id="rId15"/>
            </p:custDataLst>
          </p:nvPr>
        </p:nvSpPr>
        <p:spPr>
          <a:xfrm>
            <a:off x="4804731" y="2642859"/>
            <a:ext cx="365485" cy="261610"/>
          </a:xfrm>
          <a:prstGeom prst="rect">
            <a:avLst/>
          </a:prstGeom>
          <a:noFill/>
          <a:ln>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chemeClr val="dk1">
                    <a:lumMod val="100000"/>
                  </a:schemeClr>
                </a:solidFill>
              </a:rPr>
              <a:t>125</a:t>
            </a:r>
          </a:p>
        </p:txBody>
      </p:sp>
      <p:sp>
        <p:nvSpPr>
          <p:cNvPr id="20" name="TextBox 19">
            <a:extLst>
              <a:ext uri="{FF2B5EF4-FFF2-40B4-BE49-F238E27FC236}">
                <a16:creationId xmlns:a16="http://schemas.microsoft.com/office/drawing/2014/main" id="{09A21394-D439-4FB6-E9C2-3D57B7B06ECC}"/>
              </a:ext>
            </a:extLst>
          </p:cNvPr>
          <p:cNvSpPr txBox="1">
            <a:spLocks/>
          </p:cNvSpPr>
          <p:nvPr>
            <p:custDataLst>
              <p:tags r:id="rId16"/>
            </p:custDataLst>
          </p:nvPr>
        </p:nvSpPr>
        <p:spPr>
          <a:xfrm>
            <a:off x="11057329" y="2966227"/>
            <a:ext cx="349327" cy="261610"/>
          </a:xfrm>
          <a:prstGeom prst="rect">
            <a:avLst/>
          </a:prstGeom>
          <a:noFill/>
          <a:ln>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chemeClr val="dk1">
                    <a:lumMod val="100000"/>
                  </a:schemeClr>
                </a:solidFill>
              </a:rPr>
              <a:t>118</a:t>
            </a:r>
          </a:p>
        </p:txBody>
      </p:sp>
      <p:sp>
        <p:nvSpPr>
          <p:cNvPr id="21" name="TextBox 20">
            <a:extLst>
              <a:ext uri="{FF2B5EF4-FFF2-40B4-BE49-F238E27FC236}">
                <a16:creationId xmlns:a16="http://schemas.microsoft.com/office/drawing/2014/main" id="{DF6B21A4-655F-3DA1-47FA-05036C90DCB4}"/>
              </a:ext>
            </a:extLst>
          </p:cNvPr>
          <p:cNvSpPr txBox="1">
            <a:spLocks/>
          </p:cNvSpPr>
          <p:nvPr>
            <p:custDataLst>
              <p:tags r:id="rId17"/>
            </p:custDataLst>
          </p:nvPr>
        </p:nvSpPr>
        <p:spPr>
          <a:xfrm>
            <a:off x="15637440" y="5737961"/>
            <a:ext cx="243656" cy="261610"/>
          </a:xfrm>
          <a:prstGeom prst="rect">
            <a:avLst/>
          </a:prstGeom>
          <a:noFill/>
          <a:ln>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 uri="{53640926-AAD7-44D8-BBD7-CCE9431645EC}">
              <a14:shadowObscured xmlns:a14="http://schemas.microsoft.com/office/drawing/2010/main"/>
            </a:ext>
          </a:extLst>
        </p:spPr>
        <p:txBody>
          <a:bodyPr vert="horz" wrap="none" lIns="0" tIns="0" rIns="0" bIns="0" rtlCol="0" anchor="ctr" anchorCtr="0">
            <a:spAutoFit/>
          </a:bodyPr>
          <a:lstStyle>
            <a:defPPr>
              <a:defRPr lang="en-US"/>
            </a:defPPr>
            <a:lvl1pPr marL="342900" indent="-342900">
              <a:buFont typeface="+mj-lt"/>
              <a:buAutoNum type="arabicPeriod"/>
              <a:defRPr>
                <a:effectLst/>
              </a:defRPr>
            </a:lvl1pPr>
          </a:lstStyle>
          <a:p>
            <a:pPr marL="0" indent="0" algn="ctr">
              <a:buNone/>
            </a:pPr>
            <a:r>
              <a:rPr lang="en-US" sz="1700">
                <a:solidFill>
                  <a:schemeClr val="dk1">
                    <a:lumMod val="100000"/>
                  </a:schemeClr>
                </a:solidFill>
              </a:rPr>
              <a:t>58</a:t>
            </a:r>
          </a:p>
        </p:txBody>
      </p:sp>
      <p:sp>
        <p:nvSpPr>
          <p:cNvPr id="22" name="TextBox 21">
            <a:extLst>
              <a:ext uri="{FF2B5EF4-FFF2-40B4-BE49-F238E27FC236}">
                <a16:creationId xmlns:a16="http://schemas.microsoft.com/office/drawing/2014/main" id="{D70B37A6-B769-2A4E-85ED-8F0EA6D5EDD9}"/>
              </a:ext>
            </a:extLst>
          </p:cNvPr>
          <p:cNvSpPr txBox="1">
            <a:spLocks/>
          </p:cNvSpPr>
          <p:nvPr>
            <p:custDataLst>
              <p:tags r:id="rId18"/>
            </p:custDataLst>
          </p:nvPr>
        </p:nvSpPr>
        <p:spPr>
          <a:xfrm>
            <a:off x="858655" y="3082586"/>
            <a:ext cx="801502" cy="261610"/>
          </a:xfrm>
          <a:prstGeom prst="rect">
            <a:avLst/>
          </a:prstGeom>
          <a:noFill/>
          <a:ln>
            <a:noFill/>
            <a:prstDash val="soli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Lst>
        </p:spPr>
        <p:txBody>
          <a:bodyPr vert="horz" wrap="none" lIns="0" tIns="0" rIns="0" bIns="0" rtlCol="0" anchor="ctr" anchorCtr="0">
            <a:spAutoFit/>
          </a:bodyPr>
          <a:lstStyle>
            <a:defPPr>
              <a:defRPr lang="en-US"/>
            </a:defPPr>
            <a:lvl1pPr marL="342900" indent="-342900">
              <a:buFont typeface="+mj-lt"/>
              <a:buAutoNum type="arabicPeriod"/>
              <a:defRPr>
                <a:effectLst/>
                <a:latin typeface="Arial" panose="020B0604020202020204" pitchFamily="34" charset="0"/>
                <a:cs typeface="Arial" panose="020B0604020202020204" pitchFamily="34" charset="0"/>
              </a:defRPr>
            </a:lvl1pPr>
          </a:lstStyle>
          <a:p>
            <a:pPr marL="0" indent="0" algn="r">
              <a:buNone/>
            </a:pPr>
            <a:r>
              <a:rPr lang="en-US" sz="1700">
                <a:solidFill>
                  <a:schemeClr val="dk1"/>
                </a:solidFill>
                <a:latin typeface="+mn-lt"/>
              </a:rPr>
              <a:t>Series 1</a:t>
            </a:r>
            <a:endParaRPr lang="en-US" sz="1700" dirty="0">
              <a:solidFill>
                <a:schemeClr val="dk1"/>
              </a:solidFill>
              <a:latin typeface="+mn-lt"/>
            </a:endParaRPr>
          </a:p>
        </p:txBody>
      </p:sp>
      <p:sp>
        <p:nvSpPr>
          <p:cNvPr id="23" name="TextBox 22">
            <a:extLst>
              <a:ext uri="{FF2B5EF4-FFF2-40B4-BE49-F238E27FC236}">
                <a16:creationId xmlns:a16="http://schemas.microsoft.com/office/drawing/2014/main" id="{24975DD3-53AE-3F09-A900-BD136512F5B9}"/>
              </a:ext>
            </a:extLst>
          </p:cNvPr>
          <p:cNvSpPr txBox="1">
            <a:spLocks/>
          </p:cNvSpPr>
          <p:nvPr>
            <p:custDataLst>
              <p:tags r:id="rId19"/>
            </p:custDataLst>
          </p:nvPr>
        </p:nvSpPr>
        <p:spPr>
          <a:xfrm>
            <a:off x="858655" y="5392366"/>
            <a:ext cx="801502" cy="261610"/>
          </a:xfrm>
          <a:prstGeom prst="rect">
            <a:avLst/>
          </a:prstGeom>
          <a:noFill/>
          <a:ln>
            <a:noFill/>
            <a:prstDash val="soli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Lst>
        </p:spPr>
        <p:txBody>
          <a:bodyPr vert="horz" wrap="none" lIns="0" tIns="0" rIns="0" bIns="0" rtlCol="0" anchor="ctr" anchorCtr="0">
            <a:spAutoFit/>
          </a:bodyPr>
          <a:lstStyle>
            <a:defPPr>
              <a:defRPr lang="en-US"/>
            </a:defPPr>
            <a:lvl1pPr marL="342900" indent="-342900">
              <a:buFont typeface="+mj-lt"/>
              <a:buAutoNum type="arabicPeriod"/>
              <a:defRPr>
                <a:effectLst/>
                <a:latin typeface="Arial" panose="020B0604020202020204" pitchFamily="34" charset="0"/>
                <a:cs typeface="Arial" panose="020B0604020202020204" pitchFamily="34" charset="0"/>
              </a:defRPr>
            </a:lvl1pPr>
          </a:lstStyle>
          <a:p>
            <a:pPr marL="0" indent="0" algn="r">
              <a:buNone/>
            </a:pPr>
            <a:r>
              <a:rPr lang="en-US" sz="1700">
                <a:solidFill>
                  <a:schemeClr val="dk1"/>
                </a:solidFill>
                <a:latin typeface="+mn-lt"/>
              </a:rPr>
              <a:t>Series 2</a:t>
            </a:r>
            <a:endParaRPr lang="en-US" sz="1700" dirty="0">
              <a:solidFill>
                <a:schemeClr val="dk1"/>
              </a:solidFill>
              <a:latin typeface="+mn-lt"/>
            </a:endParaRPr>
          </a:p>
        </p:txBody>
      </p:sp>
      <p:sp>
        <p:nvSpPr>
          <p:cNvPr id="24" name="TextBox 23">
            <a:extLst>
              <a:ext uri="{FF2B5EF4-FFF2-40B4-BE49-F238E27FC236}">
                <a16:creationId xmlns:a16="http://schemas.microsoft.com/office/drawing/2014/main" id="{4B36C63F-A924-2B74-AEA7-D2064C95C717}"/>
              </a:ext>
            </a:extLst>
          </p:cNvPr>
          <p:cNvSpPr txBox="1">
            <a:spLocks/>
          </p:cNvSpPr>
          <p:nvPr>
            <p:custDataLst>
              <p:tags r:id="rId20"/>
            </p:custDataLst>
          </p:nvPr>
        </p:nvSpPr>
        <p:spPr>
          <a:xfrm>
            <a:off x="858655" y="8002416"/>
            <a:ext cx="801502" cy="261610"/>
          </a:xfrm>
          <a:prstGeom prst="rect">
            <a:avLst/>
          </a:prstGeom>
          <a:noFill/>
          <a:ln>
            <a:noFill/>
            <a:prstDash val="solid"/>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a:solidFill>
                  <a:schemeClr val="tx1"/>
                </a:solidFill>
                <a:prstDash val="solid"/>
              </a14:hiddenLine>
            </a:ext>
          </a:extLst>
        </p:spPr>
        <p:txBody>
          <a:bodyPr vert="horz" wrap="none" lIns="0" tIns="0" rIns="0" bIns="0" rtlCol="0" anchor="ctr" anchorCtr="0">
            <a:spAutoFit/>
          </a:bodyPr>
          <a:lstStyle>
            <a:defPPr>
              <a:defRPr lang="en-US"/>
            </a:defPPr>
            <a:lvl1pPr marL="342900" indent="-342900">
              <a:buFont typeface="+mj-lt"/>
              <a:buAutoNum type="arabicPeriod"/>
              <a:defRPr>
                <a:effectLst/>
                <a:latin typeface="Arial" panose="020B0604020202020204" pitchFamily="34" charset="0"/>
                <a:cs typeface="Arial" panose="020B0604020202020204" pitchFamily="34" charset="0"/>
              </a:defRPr>
            </a:lvl1pPr>
          </a:lstStyle>
          <a:p>
            <a:pPr marL="0" indent="0" algn="r">
              <a:buNone/>
            </a:pPr>
            <a:r>
              <a:rPr lang="en-US" sz="1700">
                <a:solidFill>
                  <a:schemeClr val="dk1"/>
                </a:solidFill>
                <a:latin typeface="+mn-lt"/>
              </a:rPr>
              <a:t>Series 3</a:t>
            </a:r>
            <a:endParaRPr lang="en-US" sz="1700" dirty="0">
              <a:solidFill>
                <a:schemeClr val="dk1"/>
              </a:solidFill>
              <a:latin typeface="+mn-lt"/>
            </a:endParaRPr>
          </a:p>
        </p:txBody>
      </p:sp>
      <p:sp>
        <p:nvSpPr>
          <p:cNvPr id="3" name="TextBox 2">
            <a:extLst>
              <a:ext uri="{FF2B5EF4-FFF2-40B4-BE49-F238E27FC236}">
                <a16:creationId xmlns:a16="http://schemas.microsoft.com/office/drawing/2014/main" id="{D99A79D3-3CE0-38E4-84A9-EB81E1F15D1E}"/>
              </a:ext>
            </a:extLst>
          </p:cNvPr>
          <p:cNvSpPr txBox="1"/>
          <p:nvPr/>
        </p:nvSpPr>
        <p:spPr>
          <a:xfrm>
            <a:off x="714375" y="1692634"/>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Chart Title </a:t>
            </a:r>
            <a:endParaRPr lang="de-DE" sz="2800" dirty="0"/>
          </a:p>
        </p:txBody>
      </p:sp>
    </p:spTree>
    <p:extLst>
      <p:ext uri="{BB962C8B-B14F-4D97-AF65-F5344CB8AC3E}">
        <p14:creationId xmlns:p14="http://schemas.microsoft.com/office/powerpoint/2010/main" val="2894533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4DE9A67-CCD4-7FF1-6458-DD7F3AF5D5E1}"/>
              </a:ext>
            </a:extLst>
          </p:cNvPr>
          <p:cNvGraphicFramePr>
            <a:graphicFrameLocks noChangeAspect="1"/>
          </p:cNvGraphicFramePr>
          <p:nvPr>
            <p:custDataLst>
              <p:tags r:id="rId1"/>
            </p:custDataLst>
            <p:extLst>
              <p:ext uri="{D42A27DB-BD31-4B8C-83A1-F6EECF244321}">
                <p14:modId xmlns:p14="http://schemas.microsoft.com/office/powerpoint/2010/main" val="83100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84DE9A67-CCD4-7FF1-6458-DD7F3AF5D5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FC37D5-25F0-CF2A-46BB-3B46C7CDC724}"/>
              </a:ext>
            </a:extLst>
          </p:cNvPr>
          <p:cNvSpPr>
            <a:spLocks noGrp="1"/>
          </p:cNvSpPr>
          <p:nvPr>
            <p:ph type="title"/>
          </p:nvPr>
        </p:nvSpPr>
        <p:spPr/>
        <p:txBody>
          <a:bodyPr vert="horz"/>
          <a:lstStyle/>
          <a:p>
            <a:r>
              <a:rPr lang="en-US" dirty="0"/>
              <a:t>Matrix</a:t>
            </a:r>
          </a:p>
        </p:txBody>
      </p:sp>
      <p:sp>
        <p:nvSpPr>
          <p:cNvPr id="4" name="Slide Number Placeholder 3">
            <a:extLst>
              <a:ext uri="{FF2B5EF4-FFF2-40B4-BE49-F238E27FC236}">
                <a16:creationId xmlns:a16="http://schemas.microsoft.com/office/drawing/2014/main" id="{7BF4A707-DF39-B3FB-1DE5-1C4018870DF5}"/>
              </a:ext>
            </a:extLst>
          </p:cNvPr>
          <p:cNvSpPr>
            <a:spLocks noGrp="1"/>
          </p:cNvSpPr>
          <p:nvPr>
            <p:ph type="sldNum" sz="quarter" idx="12"/>
          </p:nvPr>
        </p:nvSpPr>
        <p:spPr/>
        <p:txBody>
          <a:bodyPr/>
          <a:lstStyle/>
          <a:p>
            <a:fld id="{E2D680B1-7F17-42D2-83E2-2C9AC13983BB}" type="slidenum">
              <a:rPr lang="en-US" smtClean="0"/>
              <a:t>26</a:t>
            </a:fld>
            <a:endParaRPr lang="en-US" dirty="0"/>
          </a:p>
        </p:txBody>
      </p:sp>
      <p:grpSp>
        <p:nvGrpSpPr>
          <p:cNvPr id="24" name="Group 23">
            <a:extLst>
              <a:ext uri="{FF2B5EF4-FFF2-40B4-BE49-F238E27FC236}">
                <a16:creationId xmlns:a16="http://schemas.microsoft.com/office/drawing/2014/main" id="{B6458EF2-67D1-1239-E240-E32B4B2A6EBC}"/>
              </a:ext>
            </a:extLst>
          </p:cNvPr>
          <p:cNvGrpSpPr/>
          <p:nvPr/>
        </p:nvGrpSpPr>
        <p:grpSpPr>
          <a:xfrm>
            <a:off x="3405188" y="2030570"/>
            <a:ext cx="11477625" cy="6962555"/>
            <a:chOff x="2427262" y="1070515"/>
            <a:chExt cx="4318931" cy="3475731"/>
          </a:xfrm>
        </p:grpSpPr>
        <p:sp>
          <p:nvSpPr>
            <p:cNvPr id="25" name="Arrow: Left-Right 24">
              <a:extLst>
                <a:ext uri="{FF2B5EF4-FFF2-40B4-BE49-F238E27FC236}">
                  <a16:creationId xmlns:a16="http://schemas.microsoft.com/office/drawing/2014/main" id="{D724DA07-DFC4-8319-86FB-1C3A24B08BE7}"/>
                </a:ext>
              </a:extLst>
            </p:cNvPr>
            <p:cNvSpPr/>
            <p:nvPr/>
          </p:nvSpPr>
          <p:spPr>
            <a:xfrm>
              <a:off x="2909383" y="2691170"/>
              <a:ext cx="3325235" cy="83925"/>
            </a:xfrm>
            <a:prstGeom prst="leftRightArrow">
              <a:avLst>
                <a:gd name="adj1" fmla="val 2740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latin typeface="+mj-lt"/>
              </a:endParaRPr>
            </a:p>
          </p:txBody>
        </p:sp>
        <p:sp>
          <p:nvSpPr>
            <p:cNvPr id="26" name="Arrow: Left-Right 25">
              <a:extLst>
                <a:ext uri="{FF2B5EF4-FFF2-40B4-BE49-F238E27FC236}">
                  <a16:creationId xmlns:a16="http://schemas.microsoft.com/office/drawing/2014/main" id="{ACFD9965-6A02-72D6-4044-ED5F0AF70047}"/>
                </a:ext>
              </a:extLst>
            </p:cNvPr>
            <p:cNvSpPr/>
            <p:nvPr/>
          </p:nvSpPr>
          <p:spPr>
            <a:xfrm rot="5400000">
              <a:off x="2909383" y="2691170"/>
              <a:ext cx="3325235" cy="83925"/>
            </a:xfrm>
            <a:prstGeom prst="leftRightArrow">
              <a:avLst>
                <a:gd name="adj1" fmla="val 2740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latin typeface="+mj-lt"/>
              </a:endParaRPr>
            </a:p>
          </p:txBody>
        </p:sp>
        <p:sp>
          <p:nvSpPr>
            <p:cNvPr id="27" name="Rectangle 26">
              <a:extLst>
                <a:ext uri="{FF2B5EF4-FFF2-40B4-BE49-F238E27FC236}">
                  <a16:creationId xmlns:a16="http://schemas.microsoft.com/office/drawing/2014/main" id="{11FE727B-9C15-FE5D-8D07-169B86040206}"/>
                </a:ext>
              </a:extLst>
            </p:cNvPr>
            <p:cNvSpPr/>
            <p:nvPr/>
          </p:nvSpPr>
          <p:spPr>
            <a:xfrm flipH="1">
              <a:off x="2985501" y="1140968"/>
              <a:ext cx="1510385" cy="1510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8" name="Rectangle 27">
              <a:extLst>
                <a:ext uri="{FF2B5EF4-FFF2-40B4-BE49-F238E27FC236}">
                  <a16:creationId xmlns:a16="http://schemas.microsoft.com/office/drawing/2014/main" id="{5E56CC6D-1A2C-AB9D-F98F-DBE5BAFD7391}"/>
                </a:ext>
              </a:extLst>
            </p:cNvPr>
            <p:cNvSpPr/>
            <p:nvPr/>
          </p:nvSpPr>
          <p:spPr>
            <a:xfrm>
              <a:off x="4648117" y="1140968"/>
              <a:ext cx="1510383" cy="1510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9" name="Rectangle 28">
              <a:extLst>
                <a:ext uri="{FF2B5EF4-FFF2-40B4-BE49-F238E27FC236}">
                  <a16:creationId xmlns:a16="http://schemas.microsoft.com/office/drawing/2014/main" id="{18A3C441-67AA-F89E-1840-E44E759B6E5F}"/>
                </a:ext>
              </a:extLst>
            </p:cNvPr>
            <p:cNvSpPr/>
            <p:nvPr/>
          </p:nvSpPr>
          <p:spPr>
            <a:xfrm flipH="1" flipV="1">
              <a:off x="2985501" y="2814697"/>
              <a:ext cx="1510385" cy="1510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30" name="Rectangle 29">
              <a:extLst>
                <a:ext uri="{FF2B5EF4-FFF2-40B4-BE49-F238E27FC236}">
                  <a16:creationId xmlns:a16="http://schemas.microsoft.com/office/drawing/2014/main" id="{DFA64BB1-FCDF-10A3-132E-48C6C4200FFF}"/>
                </a:ext>
              </a:extLst>
            </p:cNvPr>
            <p:cNvSpPr/>
            <p:nvPr/>
          </p:nvSpPr>
          <p:spPr>
            <a:xfrm flipV="1">
              <a:off x="4648117" y="2814697"/>
              <a:ext cx="1510383" cy="151038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cxnSp>
          <p:nvCxnSpPr>
            <p:cNvPr id="31" name="Straight Connector 30">
              <a:extLst>
                <a:ext uri="{FF2B5EF4-FFF2-40B4-BE49-F238E27FC236}">
                  <a16:creationId xmlns:a16="http://schemas.microsoft.com/office/drawing/2014/main" id="{EEE4539B-C514-8B35-D054-9080B4D34A9D}"/>
                </a:ext>
              </a:extLst>
            </p:cNvPr>
            <p:cNvCxnSpPr>
              <a:cxnSpLocks/>
            </p:cNvCxnSpPr>
            <p:nvPr/>
          </p:nvCxnSpPr>
          <p:spPr>
            <a:xfrm flipH="1">
              <a:off x="2986900" y="4484370"/>
              <a:ext cx="3171600" cy="0"/>
            </a:xfrm>
            <a:prstGeom prst="line">
              <a:avLst/>
            </a:prstGeom>
            <a:ln w="19050" cap="rnd">
              <a:solidFill>
                <a:schemeClr val="tx1">
                  <a:lumMod val="50000"/>
                  <a:lumOff val="50000"/>
                </a:schemeClr>
              </a:solidFill>
              <a:prstDash val="sysDot"/>
              <a:roun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DFF9AAFE-BF0C-5074-3889-8CBEAAFFC4AA}"/>
                </a:ext>
              </a:extLst>
            </p:cNvPr>
            <p:cNvSpPr/>
            <p:nvPr/>
          </p:nvSpPr>
          <p:spPr>
            <a:xfrm rot="10800000" flipV="1">
              <a:off x="4038602" y="4412320"/>
              <a:ext cx="1066798" cy="133926"/>
            </a:xfrm>
            <a:prstGeom prst="rect">
              <a:avLst/>
            </a:prstGeom>
            <a:solidFill>
              <a:schemeClr val="bg1"/>
            </a:solidFill>
            <a:ln>
              <a:noFill/>
            </a:ln>
          </p:spPr>
          <p:txBody>
            <a:bodyPr wrap="square" lIns="0" tIns="0" rIns="0" bIns="0" anchor="ctr">
              <a:spAutoFit/>
            </a:bodyPr>
            <a:lstStyle/>
            <a:p>
              <a:pPr algn="ctr">
                <a:lnSpc>
                  <a:spcPct val="120000"/>
                </a:lnSpc>
              </a:pPr>
              <a:r>
                <a:rPr lang="en-US" sz="1600" dirty="0">
                  <a:latin typeface="+mj-lt"/>
                </a:rPr>
                <a:t>Business Value</a:t>
              </a:r>
              <a:endParaRPr lang="en-US" sz="1600" b="1" dirty="0">
                <a:latin typeface="+mj-lt"/>
              </a:endParaRPr>
            </a:p>
          </p:txBody>
        </p:sp>
        <p:cxnSp>
          <p:nvCxnSpPr>
            <p:cNvPr id="33" name="Straight Connector 32">
              <a:extLst>
                <a:ext uri="{FF2B5EF4-FFF2-40B4-BE49-F238E27FC236}">
                  <a16:creationId xmlns:a16="http://schemas.microsoft.com/office/drawing/2014/main" id="{EEE60B79-D746-ED03-011A-7A875C9B830A}"/>
                </a:ext>
              </a:extLst>
            </p:cNvPr>
            <p:cNvCxnSpPr>
              <a:cxnSpLocks/>
            </p:cNvCxnSpPr>
            <p:nvPr/>
          </p:nvCxnSpPr>
          <p:spPr>
            <a:xfrm rot="16200000" flipH="1">
              <a:off x="1138944" y="2756862"/>
              <a:ext cx="3171600" cy="0"/>
            </a:xfrm>
            <a:prstGeom prst="line">
              <a:avLst/>
            </a:prstGeom>
            <a:ln w="19050" cap="rnd">
              <a:solidFill>
                <a:schemeClr val="tx1">
                  <a:lumMod val="50000"/>
                  <a:lumOff val="50000"/>
                </a:schemeClr>
              </a:solidFill>
              <a:prstDash val="sysDot"/>
              <a:roun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02159713-FB99-E5BE-1A49-0993500D6351}"/>
                </a:ext>
              </a:extLst>
            </p:cNvPr>
            <p:cNvSpPr/>
            <p:nvPr/>
          </p:nvSpPr>
          <p:spPr>
            <a:xfrm rot="5400000" flipV="1">
              <a:off x="2186257" y="2690599"/>
              <a:ext cx="1066798" cy="133926"/>
            </a:xfrm>
            <a:prstGeom prst="rect">
              <a:avLst/>
            </a:prstGeom>
            <a:solidFill>
              <a:schemeClr val="bg1"/>
            </a:solidFill>
            <a:ln>
              <a:noFill/>
            </a:ln>
          </p:spPr>
          <p:txBody>
            <a:bodyPr wrap="square" lIns="0" tIns="0" rIns="0" bIns="0" anchor="ctr">
              <a:spAutoFit/>
            </a:bodyPr>
            <a:lstStyle/>
            <a:p>
              <a:pPr algn="ctr">
                <a:lnSpc>
                  <a:spcPct val="120000"/>
                </a:lnSpc>
              </a:pPr>
              <a:r>
                <a:rPr lang="en-US" sz="1600" dirty="0">
                  <a:latin typeface="+mj-lt"/>
                </a:rPr>
                <a:t>Complexity</a:t>
              </a:r>
              <a:endParaRPr lang="en-US" sz="1600" b="1" dirty="0">
                <a:latin typeface="+mj-lt"/>
              </a:endParaRPr>
            </a:p>
          </p:txBody>
        </p:sp>
        <p:sp>
          <p:nvSpPr>
            <p:cNvPr id="35" name="Rectangle 34">
              <a:extLst>
                <a:ext uri="{FF2B5EF4-FFF2-40B4-BE49-F238E27FC236}">
                  <a16:creationId xmlns:a16="http://schemas.microsoft.com/office/drawing/2014/main" id="{D0B1DB47-2FA8-B730-4E94-D6EA4A008B63}"/>
                </a:ext>
              </a:extLst>
            </p:cNvPr>
            <p:cNvSpPr/>
            <p:nvPr/>
          </p:nvSpPr>
          <p:spPr>
            <a:xfrm rot="10800000" flipV="1">
              <a:off x="2427262" y="4410238"/>
              <a:ext cx="580836" cy="133926"/>
            </a:xfrm>
            <a:prstGeom prst="rect">
              <a:avLst/>
            </a:prstGeom>
            <a:noFill/>
            <a:ln>
              <a:noFill/>
            </a:ln>
          </p:spPr>
          <p:txBody>
            <a:bodyPr wrap="square" lIns="0" tIns="0" rIns="0" bIns="0" anchor="ctr">
              <a:spAutoFit/>
            </a:bodyPr>
            <a:lstStyle/>
            <a:p>
              <a:pPr algn="ctr">
                <a:lnSpc>
                  <a:spcPct val="120000"/>
                </a:lnSpc>
              </a:pPr>
              <a:r>
                <a:rPr lang="en-US" sz="1600" dirty="0">
                  <a:latin typeface="+mj-lt"/>
                </a:rPr>
                <a:t>Low</a:t>
              </a:r>
              <a:endParaRPr lang="en-US" sz="1600" b="1" dirty="0">
                <a:latin typeface="+mj-lt"/>
              </a:endParaRPr>
            </a:p>
          </p:txBody>
        </p:sp>
        <p:sp>
          <p:nvSpPr>
            <p:cNvPr id="36" name="Rectangle 35">
              <a:extLst>
                <a:ext uri="{FF2B5EF4-FFF2-40B4-BE49-F238E27FC236}">
                  <a16:creationId xmlns:a16="http://schemas.microsoft.com/office/drawing/2014/main" id="{4C2195F9-F8CF-984D-0F25-08DBBE31C6B6}"/>
                </a:ext>
              </a:extLst>
            </p:cNvPr>
            <p:cNvSpPr/>
            <p:nvPr/>
          </p:nvSpPr>
          <p:spPr>
            <a:xfrm rot="10800000" flipV="1">
              <a:off x="6165357" y="4412319"/>
              <a:ext cx="580836" cy="133926"/>
            </a:xfrm>
            <a:prstGeom prst="rect">
              <a:avLst/>
            </a:prstGeom>
            <a:noFill/>
            <a:ln>
              <a:noFill/>
            </a:ln>
          </p:spPr>
          <p:txBody>
            <a:bodyPr wrap="square" lIns="0" tIns="0" rIns="0" bIns="0" anchor="ctr">
              <a:spAutoFit/>
            </a:bodyPr>
            <a:lstStyle/>
            <a:p>
              <a:pPr algn="ctr">
                <a:lnSpc>
                  <a:spcPct val="120000"/>
                </a:lnSpc>
              </a:pPr>
              <a:r>
                <a:rPr lang="en-US" sz="1600" dirty="0">
                  <a:latin typeface="+mj-lt"/>
                </a:rPr>
                <a:t>High</a:t>
              </a:r>
              <a:endParaRPr lang="en-US" sz="1600" b="1" dirty="0">
                <a:latin typeface="+mj-lt"/>
              </a:endParaRPr>
            </a:p>
          </p:txBody>
        </p:sp>
        <p:sp>
          <p:nvSpPr>
            <p:cNvPr id="37" name="Rectangle 36">
              <a:extLst>
                <a:ext uri="{FF2B5EF4-FFF2-40B4-BE49-F238E27FC236}">
                  <a16:creationId xmlns:a16="http://schemas.microsoft.com/office/drawing/2014/main" id="{A5A43853-5C33-A3F0-C008-2991224C518B}"/>
                </a:ext>
              </a:extLst>
            </p:cNvPr>
            <p:cNvSpPr/>
            <p:nvPr/>
          </p:nvSpPr>
          <p:spPr>
            <a:xfrm rot="5400000" flipV="1">
              <a:off x="2225522" y="1394517"/>
              <a:ext cx="580836" cy="133926"/>
            </a:xfrm>
            <a:prstGeom prst="rect">
              <a:avLst/>
            </a:prstGeom>
            <a:noFill/>
            <a:ln>
              <a:noFill/>
            </a:ln>
          </p:spPr>
          <p:txBody>
            <a:bodyPr wrap="square" lIns="0" tIns="0" rIns="0" bIns="0" anchor="ctr">
              <a:spAutoFit/>
            </a:bodyPr>
            <a:lstStyle/>
            <a:p>
              <a:pPr algn="r">
                <a:lnSpc>
                  <a:spcPct val="120000"/>
                </a:lnSpc>
              </a:pPr>
              <a:r>
                <a:rPr lang="en-US" sz="1600" dirty="0">
                  <a:latin typeface="+mj-lt"/>
                </a:rPr>
                <a:t>High</a:t>
              </a:r>
              <a:endParaRPr lang="en-US" sz="1600" b="1" dirty="0">
                <a:latin typeface="+mj-lt"/>
              </a:endParaRPr>
            </a:p>
          </p:txBody>
        </p:sp>
        <p:sp>
          <p:nvSpPr>
            <p:cNvPr id="38" name="Rectangle 37">
              <a:extLst>
                <a:ext uri="{FF2B5EF4-FFF2-40B4-BE49-F238E27FC236}">
                  <a16:creationId xmlns:a16="http://schemas.microsoft.com/office/drawing/2014/main" id="{0A6C930D-5A5F-1DF8-CB80-ED5624D7F5E6}"/>
                </a:ext>
              </a:extLst>
            </p:cNvPr>
            <p:cNvSpPr/>
            <p:nvPr/>
          </p:nvSpPr>
          <p:spPr>
            <a:xfrm flipH="1">
              <a:off x="3066193" y="1864896"/>
              <a:ext cx="1362947" cy="648502"/>
            </a:xfrm>
            <a:prstGeom prst="rect">
              <a:avLst/>
            </a:prstGeom>
            <a:ln>
              <a:noFill/>
            </a:ln>
          </p:spPr>
          <p:txBody>
            <a:bodyPr wrap="square" lIns="0" tIns="0" rIns="0" bIns="0" anchor="ctr">
              <a:spAutoFit/>
            </a:bodyPr>
            <a:lstStyle/>
            <a:p>
              <a:pPr algn="ctr">
                <a:lnSpc>
                  <a:spcPct val="120000"/>
                </a:lnSpc>
              </a:pPr>
              <a:r>
                <a:rPr lang="en-US" b="1" dirty="0">
                  <a:solidFill>
                    <a:schemeClr val="bg1"/>
                  </a:solidFill>
                  <a:latin typeface="+mj-lt"/>
                </a:rPr>
                <a:t>[Main Title  #01]</a:t>
              </a:r>
            </a:p>
            <a:p>
              <a:pPr algn="ctr">
                <a:lnSpc>
                  <a:spcPct val="120000"/>
                </a:lnSpc>
              </a:pPr>
              <a:r>
                <a:rPr lang="en-US" dirty="0">
                  <a:solidFill>
                    <a:schemeClr val="bg1"/>
                  </a:solidFill>
                  <a:latin typeface="+mj-lt"/>
                </a:rPr>
                <a:t>Lorem Ipsum is simply dummy text of the printing and typesetting industry</a:t>
              </a:r>
            </a:p>
          </p:txBody>
        </p:sp>
        <p:sp>
          <p:nvSpPr>
            <p:cNvPr id="39" name="Rectangle 38">
              <a:extLst>
                <a:ext uri="{FF2B5EF4-FFF2-40B4-BE49-F238E27FC236}">
                  <a16:creationId xmlns:a16="http://schemas.microsoft.com/office/drawing/2014/main" id="{19E83C92-3CCE-0F6B-1E5F-679A7AE2DD79}"/>
                </a:ext>
              </a:extLst>
            </p:cNvPr>
            <p:cNvSpPr/>
            <p:nvPr/>
          </p:nvSpPr>
          <p:spPr>
            <a:xfrm flipH="1">
              <a:off x="4714859" y="1864896"/>
              <a:ext cx="1382207" cy="648502"/>
            </a:xfrm>
            <a:prstGeom prst="rect">
              <a:avLst/>
            </a:prstGeom>
            <a:ln>
              <a:noFill/>
            </a:ln>
          </p:spPr>
          <p:txBody>
            <a:bodyPr wrap="square" lIns="0" tIns="0" rIns="0" bIns="0" anchor="ctr">
              <a:spAutoFit/>
            </a:bodyPr>
            <a:lstStyle/>
            <a:p>
              <a:pPr algn="ctr">
                <a:lnSpc>
                  <a:spcPct val="120000"/>
                </a:lnSpc>
              </a:pPr>
              <a:r>
                <a:rPr lang="en-US" b="1" dirty="0">
                  <a:solidFill>
                    <a:schemeClr val="bg1"/>
                  </a:solidFill>
                  <a:latin typeface="+mj-lt"/>
                </a:rPr>
                <a:t>[Main Title  #02]</a:t>
              </a:r>
            </a:p>
            <a:p>
              <a:pPr algn="ctr">
                <a:lnSpc>
                  <a:spcPct val="120000"/>
                </a:lnSpc>
              </a:pPr>
              <a:r>
                <a:rPr lang="en-US" dirty="0">
                  <a:solidFill>
                    <a:schemeClr val="bg1"/>
                  </a:solidFill>
                  <a:latin typeface="+mj-lt"/>
                </a:rPr>
                <a:t>Lorem Ipsum is simply dummy text of the printing and typesetting industry</a:t>
              </a:r>
            </a:p>
          </p:txBody>
        </p:sp>
        <p:sp>
          <p:nvSpPr>
            <p:cNvPr id="40" name="Rectangle 39">
              <a:extLst>
                <a:ext uri="{FF2B5EF4-FFF2-40B4-BE49-F238E27FC236}">
                  <a16:creationId xmlns:a16="http://schemas.microsoft.com/office/drawing/2014/main" id="{23358BF7-DEEF-0290-987E-7238E91DA443}"/>
                </a:ext>
              </a:extLst>
            </p:cNvPr>
            <p:cNvSpPr/>
            <p:nvPr/>
          </p:nvSpPr>
          <p:spPr>
            <a:xfrm flipH="1">
              <a:off x="3066193" y="3086818"/>
              <a:ext cx="1362947" cy="648502"/>
            </a:xfrm>
            <a:prstGeom prst="rect">
              <a:avLst/>
            </a:prstGeom>
            <a:ln>
              <a:noFill/>
            </a:ln>
          </p:spPr>
          <p:txBody>
            <a:bodyPr wrap="square" lIns="0" tIns="0" rIns="0" bIns="0" anchor="ctr">
              <a:spAutoFit/>
            </a:bodyPr>
            <a:lstStyle/>
            <a:p>
              <a:pPr algn="ctr">
                <a:lnSpc>
                  <a:spcPct val="120000"/>
                </a:lnSpc>
              </a:pPr>
              <a:r>
                <a:rPr lang="en-US" b="1" dirty="0">
                  <a:latin typeface="+mj-lt"/>
                </a:rPr>
                <a:t>[Main Title  #03]</a:t>
              </a:r>
            </a:p>
            <a:p>
              <a:pPr algn="ctr">
                <a:lnSpc>
                  <a:spcPct val="120000"/>
                </a:lnSpc>
              </a:pPr>
              <a:r>
                <a:rPr lang="en-US" dirty="0">
                  <a:latin typeface="+mj-lt"/>
                </a:rPr>
                <a:t>Lorem Ipsum is simply dummy text of the printing and typesetting industry</a:t>
              </a:r>
            </a:p>
          </p:txBody>
        </p:sp>
        <p:sp>
          <p:nvSpPr>
            <p:cNvPr id="41" name="Rectangle 40">
              <a:extLst>
                <a:ext uri="{FF2B5EF4-FFF2-40B4-BE49-F238E27FC236}">
                  <a16:creationId xmlns:a16="http://schemas.microsoft.com/office/drawing/2014/main" id="{2CC4729B-91DD-6FA1-3500-33C7949B76F8}"/>
                </a:ext>
              </a:extLst>
            </p:cNvPr>
            <p:cNvSpPr/>
            <p:nvPr/>
          </p:nvSpPr>
          <p:spPr>
            <a:xfrm flipH="1">
              <a:off x="4714859" y="3112923"/>
              <a:ext cx="1382206" cy="648502"/>
            </a:xfrm>
            <a:prstGeom prst="rect">
              <a:avLst/>
            </a:prstGeom>
            <a:ln>
              <a:noFill/>
            </a:ln>
          </p:spPr>
          <p:txBody>
            <a:bodyPr wrap="square" lIns="0" tIns="0" rIns="0" bIns="0" anchor="ctr">
              <a:spAutoFit/>
            </a:bodyPr>
            <a:lstStyle/>
            <a:p>
              <a:pPr algn="ctr">
                <a:lnSpc>
                  <a:spcPct val="120000"/>
                </a:lnSpc>
              </a:pPr>
              <a:r>
                <a:rPr lang="en-US" b="1" dirty="0">
                  <a:solidFill>
                    <a:schemeClr val="bg1"/>
                  </a:solidFill>
                  <a:latin typeface="+mj-lt"/>
                </a:rPr>
                <a:t>[Main Title  #04]</a:t>
              </a:r>
            </a:p>
            <a:p>
              <a:pPr algn="ctr">
                <a:lnSpc>
                  <a:spcPct val="120000"/>
                </a:lnSpc>
              </a:pPr>
              <a:r>
                <a:rPr lang="en-US" dirty="0">
                  <a:solidFill>
                    <a:schemeClr val="bg1"/>
                  </a:solidFill>
                  <a:latin typeface="+mj-lt"/>
                </a:rPr>
                <a:t>Lorem Ipsum is simply dummy text of the printing and typesetting industry</a:t>
              </a:r>
            </a:p>
          </p:txBody>
        </p:sp>
      </p:grpSp>
    </p:spTree>
    <p:extLst>
      <p:ext uri="{BB962C8B-B14F-4D97-AF65-F5344CB8AC3E}">
        <p14:creationId xmlns:p14="http://schemas.microsoft.com/office/powerpoint/2010/main" val="3801809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BFB357-7CD3-CB04-C66F-0B94A686C347}"/>
              </a:ext>
            </a:extLst>
          </p:cNvPr>
          <p:cNvGraphicFramePr>
            <a:graphicFrameLocks noChangeAspect="1"/>
          </p:cNvGraphicFramePr>
          <p:nvPr>
            <p:custDataLst>
              <p:tags r:id="rId1"/>
            </p:custDataLst>
            <p:extLst>
              <p:ext uri="{D42A27DB-BD31-4B8C-83A1-F6EECF244321}">
                <p14:modId xmlns:p14="http://schemas.microsoft.com/office/powerpoint/2010/main" val="2819160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think-cell data - do not delete" hidden="1">
                        <a:extLst>
                          <a:ext uri="{FF2B5EF4-FFF2-40B4-BE49-F238E27FC236}">
                            <a16:creationId xmlns:a16="http://schemas.microsoft.com/office/drawing/2014/main" id="{4CBFB357-7CD3-CB04-C66F-0B94A686C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E6DBCB-1DF7-64A3-001C-8A6CA4622400}"/>
              </a:ext>
            </a:extLst>
          </p:cNvPr>
          <p:cNvSpPr>
            <a:spLocks noGrp="1"/>
          </p:cNvSpPr>
          <p:nvPr>
            <p:ph type="title"/>
          </p:nvPr>
        </p:nvSpPr>
        <p:spPr/>
        <p:txBody>
          <a:bodyPr vert="horz"/>
          <a:lstStyle/>
          <a:p>
            <a:r>
              <a:rPr lang="en-US" dirty="0"/>
              <a:t>Matrix 2</a:t>
            </a:r>
          </a:p>
        </p:txBody>
      </p:sp>
      <p:sp>
        <p:nvSpPr>
          <p:cNvPr id="4" name="Slide Number Placeholder 3">
            <a:extLst>
              <a:ext uri="{FF2B5EF4-FFF2-40B4-BE49-F238E27FC236}">
                <a16:creationId xmlns:a16="http://schemas.microsoft.com/office/drawing/2014/main" id="{5A5F3875-6D17-F7B7-CF1F-B58DB3D459C2}"/>
              </a:ext>
            </a:extLst>
          </p:cNvPr>
          <p:cNvSpPr>
            <a:spLocks noGrp="1"/>
          </p:cNvSpPr>
          <p:nvPr>
            <p:ph type="sldNum" sz="quarter" idx="12"/>
          </p:nvPr>
        </p:nvSpPr>
        <p:spPr/>
        <p:txBody>
          <a:bodyPr/>
          <a:lstStyle/>
          <a:p>
            <a:fld id="{E2D680B1-7F17-42D2-83E2-2C9AC13983BB}" type="slidenum">
              <a:rPr lang="en-US" smtClean="0"/>
              <a:t>27</a:t>
            </a:fld>
            <a:endParaRPr lang="en-US" dirty="0"/>
          </a:p>
        </p:txBody>
      </p:sp>
      <p:grpSp>
        <p:nvGrpSpPr>
          <p:cNvPr id="8" name="Group 7">
            <a:extLst>
              <a:ext uri="{FF2B5EF4-FFF2-40B4-BE49-F238E27FC236}">
                <a16:creationId xmlns:a16="http://schemas.microsoft.com/office/drawing/2014/main" id="{3B72E2D8-0A58-934A-7780-AF62F3A75FE5}"/>
              </a:ext>
            </a:extLst>
          </p:cNvPr>
          <p:cNvGrpSpPr/>
          <p:nvPr/>
        </p:nvGrpSpPr>
        <p:grpSpPr>
          <a:xfrm>
            <a:off x="714375" y="2030570"/>
            <a:ext cx="8651652" cy="6962555"/>
            <a:chOff x="2427262" y="1070515"/>
            <a:chExt cx="4318931" cy="3475731"/>
          </a:xfrm>
        </p:grpSpPr>
        <p:sp>
          <p:nvSpPr>
            <p:cNvPr id="9" name="Arrow: Left-Right 8">
              <a:extLst>
                <a:ext uri="{FF2B5EF4-FFF2-40B4-BE49-F238E27FC236}">
                  <a16:creationId xmlns:a16="http://schemas.microsoft.com/office/drawing/2014/main" id="{57DEEAF0-C75F-F9AB-013E-04666927DFF0}"/>
                </a:ext>
              </a:extLst>
            </p:cNvPr>
            <p:cNvSpPr/>
            <p:nvPr/>
          </p:nvSpPr>
          <p:spPr>
            <a:xfrm>
              <a:off x="2909383" y="2691170"/>
              <a:ext cx="3325235" cy="83925"/>
            </a:xfrm>
            <a:prstGeom prst="leftRightArrow">
              <a:avLst>
                <a:gd name="adj1" fmla="val 2740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latin typeface="+mj-lt"/>
              </a:endParaRPr>
            </a:p>
          </p:txBody>
        </p:sp>
        <p:sp>
          <p:nvSpPr>
            <p:cNvPr id="10" name="Arrow: Left-Right 9">
              <a:extLst>
                <a:ext uri="{FF2B5EF4-FFF2-40B4-BE49-F238E27FC236}">
                  <a16:creationId xmlns:a16="http://schemas.microsoft.com/office/drawing/2014/main" id="{8DAD9F26-6FDC-2A19-E7CD-C4F5A8CFC2A8}"/>
                </a:ext>
              </a:extLst>
            </p:cNvPr>
            <p:cNvSpPr/>
            <p:nvPr/>
          </p:nvSpPr>
          <p:spPr>
            <a:xfrm rot="5400000">
              <a:off x="2909383" y="2691170"/>
              <a:ext cx="3325235" cy="83925"/>
            </a:xfrm>
            <a:prstGeom prst="leftRightArrow">
              <a:avLst>
                <a:gd name="adj1" fmla="val 2740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latin typeface="+mj-lt"/>
              </a:endParaRPr>
            </a:p>
          </p:txBody>
        </p:sp>
        <p:sp>
          <p:nvSpPr>
            <p:cNvPr id="11" name="Rectangle 10">
              <a:extLst>
                <a:ext uri="{FF2B5EF4-FFF2-40B4-BE49-F238E27FC236}">
                  <a16:creationId xmlns:a16="http://schemas.microsoft.com/office/drawing/2014/main" id="{AAF697A0-22BC-E716-882A-08DDA03563A9}"/>
                </a:ext>
              </a:extLst>
            </p:cNvPr>
            <p:cNvSpPr/>
            <p:nvPr/>
          </p:nvSpPr>
          <p:spPr>
            <a:xfrm flipH="1">
              <a:off x="2985501" y="1140968"/>
              <a:ext cx="1510385" cy="1510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2" name="Rectangle 11">
              <a:extLst>
                <a:ext uri="{FF2B5EF4-FFF2-40B4-BE49-F238E27FC236}">
                  <a16:creationId xmlns:a16="http://schemas.microsoft.com/office/drawing/2014/main" id="{59DAE04E-86B0-36A0-6D30-03C9976FA30F}"/>
                </a:ext>
              </a:extLst>
            </p:cNvPr>
            <p:cNvSpPr/>
            <p:nvPr/>
          </p:nvSpPr>
          <p:spPr>
            <a:xfrm>
              <a:off x="4648117" y="1140968"/>
              <a:ext cx="1510383" cy="1510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3" name="Rectangle 12">
              <a:extLst>
                <a:ext uri="{FF2B5EF4-FFF2-40B4-BE49-F238E27FC236}">
                  <a16:creationId xmlns:a16="http://schemas.microsoft.com/office/drawing/2014/main" id="{28D3F150-C7B6-1B1A-1EF8-73E690791D6E}"/>
                </a:ext>
              </a:extLst>
            </p:cNvPr>
            <p:cNvSpPr/>
            <p:nvPr/>
          </p:nvSpPr>
          <p:spPr>
            <a:xfrm flipH="1" flipV="1">
              <a:off x="2985501" y="2814697"/>
              <a:ext cx="1510385" cy="1510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4" name="Rectangle 13">
              <a:extLst>
                <a:ext uri="{FF2B5EF4-FFF2-40B4-BE49-F238E27FC236}">
                  <a16:creationId xmlns:a16="http://schemas.microsoft.com/office/drawing/2014/main" id="{E9F024CA-CCDC-5EFD-399E-56A7D9297440}"/>
                </a:ext>
              </a:extLst>
            </p:cNvPr>
            <p:cNvSpPr/>
            <p:nvPr/>
          </p:nvSpPr>
          <p:spPr>
            <a:xfrm flipV="1">
              <a:off x="4648117" y="2814697"/>
              <a:ext cx="1510383" cy="151038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cxnSp>
          <p:nvCxnSpPr>
            <p:cNvPr id="15" name="Straight Connector 14">
              <a:extLst>
                <a:ext uri="{FF2B5EF4-FFF2-40B4-BE49-F238E27FC236}">
                  <a16:creationId xmlns:a16="http://schemas.microsoft.com/office/drawing/2014/main" id="{F52AD6F2-0F9F-7106-6BE0-E0F9E3FC397A}"/>
                </a:ext>
              </a:extLst>
            </p:cNvPr>
            <p:cNvCxnSpPr>
              <a:cxnSpLocks/>
            </p:cNvCxnSpPr>
            <p:nvPr/>
          </p:nvCxnSpPr>
          <p:spPr>
            <a:xfrm flipH="1">
              <a:off x="2986900" y="4484370"/>
              <a:ext cx="3171600" cy="0"/>
            </a:xfrm>
            <a:prstGeom prst="line">
              <a:avLst/>
            </a:prstGeom>
            <a:ln w="19050" cap="rnd">
              <a:solidFill>
                <a:schemeClr val="tx1">
                  <a:lumMod val="50000"/>
                  <a:lumOff val="50000"/>
                </a:schemeClr>
              </a:solidFill>
              <a:prstDash val="sysDot"/>
              <a:roun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8BE2F78-391E-2465-8D36-705C22868461}"/>
                </a:ext>
              </a:extLst>
            </p:cNvPr>
            <p:cNvSpPr/>
            <p:nvPr/>
          </p:nvSpPr>
          <p:spPr>
            <a:xfrm rot="10800000" flipV="1">
              <a:off x="4038602" y="4412320"/>
              <a:ext cx="1066798" cy="133926"/>
            </a:xfrm>
            <a:prstGeom prst="rect">
              <a:avLst/>
            </a:prstGeom>
            <a:solidFill>
              <a:schemeClr val="bg1"/>
            </a:solidFill>
            <a:ln>
              <a:noFill/>
            </a:ln>
          </p:spPr>
          <p:txBody>
            <a:bodyPr wrap="square" lIns="0" tIns="0" rIns="0" bIns="0" anchor="ctr">
              <a:spAutoFit/>
            </a:bodyPr>
            <a:lstStyle/>
            <a:p>
              <a:pPr algn="ctr">
                <a:lnSpc>
                  <a:spcPct val="120000"/>
                </a:lnSpc>
              </a:pPr>
              <a:r>
                <a:rPr lang="en-US" sz="1600" dirty="0">
                  <a:latin typeface="+mj-lt"/>
                </a:rPr>
                <a:t>Business Value</a:t>
              </a:r>
              <a:endParaRPr lang="en-US" sz="1600" b="1" dirty="0">
                <a:latin typeface="+mj-lt"/>
              </a:endParaRPr>
            </a:p>
          </p:txBody>
        </p:sp>
        <p:cxnSp>
          <p:nvCxnSpPr>
            <p:cNvPr id="17" name="Straight Connector 16">
              <a:extLst>
                <a:ext uri="{FF2B5EF4-FFF2-40B4-BE49-F238E27FC236}">
                  <a16:creationId xmlns:a16="http://schemas.microsoft.com/office/drawing/2014/main" id="{45A5E589-DF45-C311-2491-D0B89CEBC575}"/>
                </a:ext>
              </a:extLst>
            </p:cNvPr>
            <p:cNvCxnSpPr>
              <a:cxnSpLocks/>
            </p:cNvCxnSpPr>
            <p:nvPr/>
          </p:nvCxnSpPr>
          <p:spPr>
            <a:xfrm rot="16200000" flipH="1">
              <a:off x="1138944" y="2756862"/>
              <a:ext cx="3171600" cy="0"/>
            </a:xfrm>
            <a:prstGeom prst="line">
              <a:avLst/>
            </a:prstGeom>
            <a:ln w="19050" cap="rnd">
              <a:solidFill>
                <a:schemeClr val="tx1">
                  <a:lumMod val="50000"/>
                  <a:lumOff val="50000"/>
                </a:schemeClr>
              </a:solidFill>
              <a:prstDash val="sysDot"/>
              <a:roun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50F648E-4EFF-39F5-A9EF-4697BF517A92}"/>
                </a:ext>
              </a:extLst>
            </p:cNvPr>
            <p:cNvSpPr/>
            <p:nvPr/>
          </p:nvSpPr>
          <p:spPr>
            <a:xfrm rot="5400000" flipV="1">
              <a:off x="2186257" y="2690599"/>
              <a:ext cx="1066798" cy="133926"/>
            </a:xfrm>
            <a:prstGeom prst="rect">
              <a:avLst/>
            </a:prstGeom>
            <a:solidFill>
              <a:schemeClr val="bg1"/>
            </a:solidFill>
            <a:ln>
              <a:noFill/>
            </a:ln>
          </p:spPr>
          <p:txBody>
            <a:bodyPr wrap="square" lIns="0" tIns="0" rIns="0" bIns="0" anchor="ctr">
              <a:spAutoFit/>
            </a:bodyPr>
            <a:lstStyle/>
            <a:p>
              <a:pPr algn="ctr">
                <a:lnSpc>
                  <a:spcPct val="120000"/>
                </a:lnSpc>
              </a:pPr>
              <a:r>
                <a:rPr lang="en-US" sz="1600" dirty="0">
                  <a:latin typeface="+mj-lt"/>
                </a:rPr>
                <a:t>Complexity</a:t>
              </a:r>
              <a:endParaRPr lang="en-US" sz="1600" b="1" dirty="0">
                <a:latin typeface="+mj-lt"/>
              </a:endParaRPr>
            </a:p>
          </p:txBody>
        </p:sp>
        <p:sp>
          <p:nvSpPr>
            <p:cNvPr id="19" name="Rectangle 18">
              <a:extLst>
                <a:ext uri="{FF2B5EF4-FFF2-40B4-BE49-F238E27FC236}">
                  <a16:creationId xmlns:a16="http://schemas.microsoft.com/office/drawing/2014/main" id="{0FE13B55-9D05-8FD4-80E7-9D80208866B5}"/>
                </a:ext>
              </a:extLst>
            </p:cNvPr>
            <p:cNvSpPr/>
            <p:nvPr/>
          </p:nvSpPr>
          <p:spPr>
            <a:xfrm rot="10800000" flipV="1">
              <a:off x="2427262" y="4410238"/>
              <a:ext cx="580836" cy="133926"/>
            </a:xfrm>
            <a:prstGeom prst="rect">
              <a:avLst/>
            </a:prstGeom>
            <a:noFill/>
            <a:ln>
              <a:noFill/>
            </a:ln>
          </p:spPr>
          <p:txBody>
            <a:bodyPr wrap="square" lIns="0" tIns="0" rIns="0" bIns="0" anchor="ctr">
              <a:spAutoFit/>
            </a:bodyPr>
            <a:lstStyle/>
            <a:p>
              <a:pPr algn="ctr">
                <a:lnSpc>
                  <a:spcPct val="120000"/>
                </a:lnSpc>
              </a:pPr>
              <a:r>
                <a:rPr lang="en-US" sz="1600" dirty="0">
                  <a:latin typeface="+mj-lt"/>
                </a:rPr>
                <a:t>Low</a:t>
              </a:r>
              <a:endParaRPr lang="en-US" sz="1600" b="1" dirty="0">
                <a:latin typeface="+mj-lt"/>
              </a:endParaRPr>
            </a:p>
          </p:txBody>
        </p:sp>
        <p:sp>
          <p:nvSpPr>
            <p:cNvPr id="20" name="Rectangle 19">
              <a:extLst>
                <a:ext uri="{FF2B5EF4-FFF2-40B4-BE49-F238E27FC236}">
                  <a16:creationId xmlns:a16="http://schemas.microsoft.com/office/drawing/2014/main" id="{6D447C22-B305-3985-B3E9-873ECE08F56C}"/>
                </a:ext>
              </a:extLst>
            </p:cNvPr>
            <p:cNvSpPr/>
            <p:nvPr/>
          </p:nvSpPr>
          <p:spPr>
            <a:xfrm rot="10800000" flipV="1">
              <a:off x="6165357" y="4412319"/>
              <a:ext cx="580836" cy="133926"/>
            </a:xfrm>
            <a:prstGeom prst="rect">
              <a:avLst/>
            </a:prstGeom>
            <a:noFill/>
            <a:ln>
              <a:noFill/>
            </a:ln>
          </p:spPr>
          <p:txBody>
            <a:bodyPr wrap="square" lIns="0" tIns="0" rIns="0" bIns="0" anchor="ctr">
              <a:spAutoFit/>
            </a:bodyPr>
            <a:lstStyle/>
            <a:p>
              <a:pPr algn="ctr">
                <a:lnSpc>
                  <a:spcPct val="120000"/>
                </a:lnSpc>
              </a:pPr>
              <a:r>
                <a:rPr lang="en-US" sz="1600" dirty="0">
                  <a:latin typeface="+mj-lt"/>
                </a:rPr>
                <a:t>High</a:t>
              </a:r>
              <a:endParaRPr lang="en-US" sz="1600" b="1" dirty="0">
                <a:latin typeface="+mj-lt"/>
              </a:endParaRPr>
            </a:p>
          </p:txBody>
        </p:sp>
        <p:sp>
          <p:nvSpPr>
            <p:cNvPr id="21" name="Rectangle 20">
              <a:extLst>
                <a:ext uri="{FF2B5EF4-FFF2-40B4-BE49-F238E27FC236}">
                  <a16:creationId xmlns:a16="http://schemas.microsoft.com/office/drawing/2014/main" id="{5B02C2C1-5396-97A2-1D40-7E12A9DFDFC7}"/>
                </a:ext>
              </a:extLst>
            </p:cNvPr>
            <p:cNvSpPr/>
            <p:nvPr/>
          </p:nvSpPr>
          <p:spPr>
            <a:xfrm rot="5400000" flipV="1">
              <a:off x="2225522" y="1394517"/>
              <a:ext cx="580836" cy="133926"/>
            </a:xfrm>
            <a:prstGeom prst="rect">
              <a:avLst/>
            </a:prstGeom>
            <a:noFill/>
            <a:ln>
              <a:noFill/>
            </a:ln>
          </p:spPr>
          <p:txBody>
            <a:bodyPr wrap="square" lIns="0" tIns="0" rIns="0" bIns="0" anchor="ctr">
              <a:spAutoFit/>
            </a:bodyPr>
            <a:lstStyle/>
            <a:p>
              <a:pPr algn="r">
                <a:lnSpc>
                  <a:spcPct val="120000"/>
                </a:lnSpc>
              </a:pPr>
              <a:r>
                <a:rPr lang="en-US" sz="1600" dirty="0">
                  <a:latin typeface="+mj-lt"/>
                </a:rPr>
                <a:t>High</a:t>
              </a:r>
              <a:endParaRPr lang="en-US" sz="1600" b="1" dirty="0">
                <a:latin typeface="+mj-lt"/>
              </a:endParaRPr>
            </a:p>
          </p:txBody>
        </p:sp>
        <p:sp>
          <p:nvSpPr>
            <p:cNvPr id="22" name="Rectangle 21">
              <a:extLst>
                <a:ext uri="{FF2B5EF4-FFF2-40B4-BE49-F238E27FC236}">
                  <a16:creationId xmlns:a16="http://schemas.microsoft.com/office/drawing/2014/main" id="{900B9691-8BCD-77A7-456A-48711C1BA265}"/>
                </a:ext>
              </a:extLst>
            </p:cNvPr>
            <p:cNvSpPr/>
            <p:nvPr/>
          </p:nvSpPr>
          <p:spPr>
            <a:xfrm flipH="1">
              <a:off x="3066193" y="1864896"/>
              <a:ext cx="1362947" cy="648502"/>
            </a:xfrm>
            <a:prstGeom prst="rect">
              <a:avLst/>
            </a:prstGeom>
            <a:ln>
              <a:noFill/>
            </a:ln>
          </p:spPr>
          <p:txBody>
            <a:bodyPr wrap="square" lIns="0" tIns="0" rIns="0" bIns="0" anchor="ctr">
              <a:spAutoFit/>
            </a:bodyPr>
            <a:lstStyle/>
            <a:p>
              <a:pPr algn="ctr">
                <a:lnSpc>
                  <a:spcPct val="120000"/>
                </a:lnSpc>
              </a:pPr>
              <a:r>
                <a:rPr lang="en-US" b="1" dirty="0">
                  <a:solidFill>
                    <a:schemeClr val="bg1"/>
                  </a:solidFill>
                  <a:latin typeface="+mj-lt"/>
                </a:rPr>
                <a:t>[Main Title  #01]</a:t>
              </a:r>
            </a:p>
            <a:p>
              <a:pPr algn="ctr">
                <a:lnSpc>
                  <a:spcPct val="120000"/>
                </a:lnSpc>
              </a:pPr>
              <a:r>
                <a:rPr lang="en-US" dirty="0">
                  <a:solidFill>
                    <a:schemeClr val="bg1"/>
                  </a:solidFill>
                  <a:latin typeface="+mj-lt"/>
                </a:rPr>
                <a:t>Lorem Ipsum is simply dummy text of the printing and typesetting industry</a:t>
              </a:r>
            </a:p>
          </p:txBody>
        </p:sp>
        <p:sp>
          <p:nvSpPr>
            <p:cNvPr id="23" name="Rectangle 22">
              <a:extLst>
                <a:ext uri="{FF2B5EF4-FFF2-40B4-BE49-F238E27FC236}">
                  <a16:creationId xmlns:a16="http://schemas.microsoft.com/office/drawing/2014/main" id="{664AE0C8-0272-AF38-152C-B5D548F9567C}"/>
                </a:ext>
              </a:extLst>
            </p:cNvPr>
            <p:cNvSpPr/>
            <p:nvPr/>
          </p:nvSpPr>
          <p:spPr>
            <a:xfrm flipH="1">
              <a:off x="4714859" y="1864896"/>
              <a:ext cx="1382207" cy="648502"/>
            </a:xfrm>
            <a:prstGeom prst="rect">
              <a:avLst/>
            </a:prstGeom>
            <a:ln>
              <a:noFill/>
            </a:ln>
          </p:spPr>
          <p:txBody>
            <a:bodyPr wrap="square" lIns="0" tIns="0" rIns="0" bIns="0" anchor="ctr">
              <a:spAutoFit/>
            </a:bodyPr>
            <a:lstStyle/>
            <a:p>
              <a:pPr algn="ctr">
                <a:lnSpc>
                  <a:spcPct val="120000"/>
                </a:lnSpc>
              </a:pPr>
              <a:r>
                <a:rPr lang="en-US" b="1" dirty="0">
                  <a:solidFill>
                    <a:schemeClr val="bg1"/>
                  </a:solidFill>
                  <a:latin typeface="+mj-lt"/>
                </a:rPr>
                <a:t>[Main Title  #02]</a:t>
              </a:r>
            </a:p>
            <a:p>
              <a:pPr algn="ctr">
                <a:lnSpc>
                  <a:spcPct val="120000"/>
                </a:lnSpc>
              </a:pPr>
              <a:r>
                <a:rPr lang="en-US" dirty="0">
                  <a:solidFill>
                    <a:schemeClr val="bg1"/>
                  </a:solidFill>
                  <a:latin typeface="+mj-lt"/>
                </a:rPr>
                <a:t>Lorem Ipsum is simply dummy text of the printing and typesetting industry</a:t>
              </a:r>
            </a:p>
          </p:txBody>
        </p:sp>
        <p:sp>
          <p:nvSpPr>
            <p:cNvPr id="24" name="Rectangle 23">
              <a:extLst>
                <a:ext uri="{FF2B5EF4-FFF2-40B4-BE49-F238E27FC236}">
                  <a16:creationId xmlns:a16="http://schemas.microsoft.com/office/drawing/2014/main" id="{9BAC52DB-5D9D-E6B5-6E17-0010AFBDEBEF}"/>
                </a:ext>
              </a:extLst>
            </p:cNvPr>
            <p:cNvSpPr/>
            <p:nvPr/>
          </p:nvSpPr>
          <p:spPr>
            <a:xfrm flipH="1">
              <a:off x="3066193" y="3086818"/>
              <a:ext cx="1362947" cy="648502"/>
            </a:xfrm>
            <a:prstGeom prst="rect">
              <a:avLst/>
            </a:prstGeom>
            <a:ln>
              <a:noFill/>
            </a:ln>
          </p:spPr>
          <p:txBody>
            <a:bodyPr wrap="square" lIns="0" tIns="0" rIns="0" bIns="0" anchor="ctr">
              <a:spAutoFit/>
            </a:bodyPr>
            <a:lstStyle/>
            <a:p>
              <a:pPr algn="ctr">
                <a:lnSpc>
                  <a:spcPct val="120000"/>
                </a:lnSpc>
              </a:pPr>
              <a:r>
                <a:rPr lang="en-US" b="1" dirty="0">
                  <a:latin typeface="+mj-lt"/>
                </a:rPr>
                <a:t>[Main Title  #03]</a:t>
              </a:r>
            </a:p>
            <a:p>
              <a:pPr algn="ctr">
                <a:lnSpc>
                  <a:spcPct val="120000"/>
                </a:lnSpc>
              </a:pPr>
              <a:r>
                <a:rPr lang="en-US" dirty="0">
                  <a:latin typeface="+mj-lt"/>
                </a:rPr>
                <a:t>Lorem Ipsum is simply dummy text of the printing and typesetting industry</a:t>
              </a:r>
            </a:p>
          </p:txBody>
        </p:sp>
        <p:sp>
          <p:nvSpPr>
            <p:cNvPr id="25" name="Rectangle 24">
              <a:extLst>
                <a:ext uri="{FF2B5EF4-FFF2-40B4-BE49-F238E27FC236}">
                  <a16:creationId xmlns:a16="http://schemas.microsoft.com/office/drawing/2014/main" id="{02556D24-67D9-DA16-44BD-5AB145C73028}"/>
                </a:ext>
              </a:extLst>
            </p:cNvPr>
            <p:cNvSpPr/>
            <p:nvPr/>
          </p:nvSpPr>
          <p:spPr>
            <a:xfrm flipH="1">
              <a:off x="4714859" y="3112923"/>
              <a:ext cx="1382206" cy="648502"/>
            </a:xfrm>
            <a:prstGeom prst="rect">
              <a:avLst/>
            </a:prstGeom>
            <a:ln>
              <a:noFill/>
            </a:ln>
          </p:spPr>
          <p:txBody>
            <a:bodyPr wrap="square" lIns="0" tIns="0" rIns="0" bIns="0" anchor="ctr">
              <a:spAutoFit/>
            </a:bodyPr>
            <a:lstStyle/>
            <a:p>
              <a:pPr algn="ctr">
                <a:lnSpc>
                  <a:spcPct val="120000"/>
                </a:lnSpc>
              </a:pPr>
              <a:r>
                <a:rPr lang="en-US" b="1" dirty="0">
                  <a:solidFill>
                    <a:schemeClr val="bg1"/>
                  </a:solidFill>
                  <a:latin typeface="+mj-lt"/>
                </a:rPr>
                <a:t>[Main Title  #04]</a:t>
              </a:r>
            </a:p>
            <a:p>
              <a:pPr algn="ctr">
                <a:lnSpc>
                  <a:spcPct val="120000"/>
                </a:lnSpc>
              </a:pPr>
              <a:r>
                <a:rPr lang="en-US" dirty="0">
                  <a:solidFill>
                    <a:schemeClr val="bg1"/>
                  </a:solidFill>
                  <a:latin typeface="+mj-lt"/>
                </a:rPr>
                <a:t>Lorem Ipsum is simply dummy text of the printing and typesetting industry</a:t>
              </a:r>
            </a:p>
          </p:txBody>
        </p:sp>
      </p:grpSp>
      <p:grpSp>
        <p:nvGrpSpPr>
          <p:cNvPr id="26" name="Group 25">
            <a:extLst>
              <a:ext uri="{FF2B5EF4-FFF2-40B4-BE49-F238E27FC236}">
                <a16:creationId xmlns:a16="http://schemas.microsoft.com/office/drawing/2014/main" id="{3093A3EB-9DD0-399D-C6C4-1296A34ECBFB}"/>
              </a:ext>
            </a:extLst>
          </p:cNvPr>
          <p:cNvGrpSpPr/>
          <p:nvPr/>
        </p:nvGrpSpPr>
        <p:grpSpPr>
          <a:xfrm>
            <a:off x="9519420" y="2151943"/>
            <a:ext cx="7458292" cy="1488133"/>
            <a:chOff x="5562600" y="1328376"/>
            <a:chExt cx="1601786" cy="1602796"/>
          </a:xfrm>
        </p:grpSpPr>
        <p:sp>
          <p:nvSpPr>
            <p:cNvPr id="27" name="Oval 11">
              <a:extLst>
                <a:ext uri="{FF2B5EF4-FFF2-40B4-BE49-F238E27FC236}">
                  <a16:creationId xmlns:a16="http://schemas.microsoft.com/office/drawing/2014/main" id="{C8B8E05A-6BA0-0F3A-6B0C-D21CF930F0D4}"/>
                </a:ext>
              </a:extLst>
            </p:cNvPr>
            <p:cNvSpPr>
              <a:spLocks noChangeArrowheads="1"/>
            </p:cNvSpPr>
            <p:nvPr/>
          </p:nvSpPr>
          <p:spPr bwMode="auto">
            <a:xfrm>
              <a:off x="5562600" y="1328376"/>
              <a:ext cx="1601786" cy="16027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Rectangle 27">
              <a:extLst>
                <a:ext uri="{FF2B5EF4-FFF2-40B4-BE49-F238E27FC236}">
                  <a16:creationId xmlns:a16="http://schemas.microsoft.com/office/drawing/2014/main" id="{2A1DDC05-8108-C923-DA47-EE2E6600F748}"/>
                </a:ext>
              </a:extLst>
            </p:cNvPr>
            <p:cNvSpPr/>
            <p:nvPr/>
          </p:nvSpPr>
          <p:spPr>
            <a:xfrm>
              <a:off x="5562600" y="1328376"/>
              <a:ext cx="1601786" cy="1601131"/>
            </a:xfrm>
            <a:prstGeom prst="rect">
              <a:avLst/>
            </a:prstGeom>
            <a:gradFill flip="none" rotWithShape="1">
              <a:gsLst>
                <a:gs pos="0">
                  <a:schemeClr val="tx1">
                    <a:lumMod val="75000"/>
                    <a:lumOff val="25000"/>
                    <a:alpha val="10000"/>
                  </a:schemeClr>
                </a:gs>
                <a:gs pos="100000">
                  <a:schemeClr val="bg1">
                    <a:lumMod val="95000"/>
                    <a:alpha val="1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75000"/>
                    <a:lumOff val="25000"/>
                  </a:schemeClr>
                </a:solidFill>
              </a:endParaRPr>
            </a:p>
          </p:txBody>
        </p:sp>
      </p:grpSp>
      <p:grpSp>
        <p:nvGrpSpPr>
          <p:cNvPr id="29" name="Group 28">
            <a:extLst>
              <a:ext uri="{FF2B5EF4-FFF2-40B4-BE49-F238E27FC236}">
                <a16:creationId xmlns:a16="http://schemas.microsoft.com/office/drawing/2014/main" id="{4B74C54A-8781-D7E6-FF56-8829537C7998}"/>
              </a:ext>
            </a:extLst>
          </p:cNvPr>
          <p:cNvGrpSpPr/>
          <p:nvPr/>
        </p:nvGrpSpPr>
        <p:grpSpPr>
          <a:xfrm>
            <a:off x="9519420" y="7125052"/>
            <a:ext cx="7458292" cy="1488133"/>
            <a:chOff x="5562600" y="1328376"/>
            <a:chExt cx="1601786" cy="1602796"/>
          </a:xfrm>
        </p:grpSpPr>
        <p:sp>
          <p:nvSpPr>
            <p:cNvPr id="30" name="Oval 11">
              <a:extLst>
                <a:ext uri="{FF2B5EF4-FFF2-40B4-BE49-F238E27FC236}">
                  <a16:creationId xmlns:a16="http://schemas.microsoft.com/office/drawing/2014/main" id="{1604B76B-A519-2169-C91D-A1E16A912CAA}"/>
                </a:ext>
              </a:extLst>
            </p:cNvPr>
            <p:cNvSpPr>
              <a:spLocks noChangeArrowheads="1"/>
            </p:cNvSpPr>
            <p:nvPr/>
          </p:nvSpPr>
          <p:spPr bwMode="auto">
            <a:xfrm>
              <a:off x="5562600" y="1328376"/>
              <a:ext cx="1601786" cy="16027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id="{BC64F86D-34D9-6440-9344-102E5F5566E1}"/>
                </a:ext>
              </a:extLst>
            </p:cNvPr>
            <p:cNvSpPr/>
            <p:nvPr/>
          </p:nvSpPr>
          <p:spPr>
            <a:xfrm>
              <a:off x="5562600" y="1328376"/>
              <a:ext cx="1601786" cy="1601131"/>
            </a:xfrm>
            <a:prstGeom prst="rect">
              <a:avLst/>
            </a:prstGeom>
            <a:gradFill flip="none" rotWithShape="1">
              <a:gsLst>
                <a:gs pos="0">
                  <a:schemeClr val="tx1">
                    <a:lumMod val="75000"/>
                    <a:lumOff val="25000"/>
                    <a:alpha val="10000"/>
                  </a:schemeClr>
                </a:gs>
                <a:gs pos="100000">
                  <a:schemeClr val="bg1">
                    <a:lumMod val="95000"/>
                    <a:alpha val="1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75000"/>
                    <a:lumOff val="25000"/>
                  </a:schemeClr>
                </a:solidFill>
              </a:endParaRPr>
            </a:p>
          </p:txBody>
        </p:sp>
      </p:grpSp>
      <p:grpSp>
        <p:nvGrpSpPr>
          <p:cNvPr id="32" name="Group 31">
            <a:extLst>
              <a:ext uri="{FF2B5EF4-FFF2-40B4-BE49-F238E27FC236}">
                <a16:creationId xmlns:a16="http://schemas.microsoft.com/office/drawing/2014/main" id="{2A450F31-2C64-8773-670F-C8E89FA6300D}"/>
              </a:ext>
            </a:extLst>
          </p:cNvPr>
          <p:cNvGrpSpPr/>
          <p:nvPr/>
        </p:nvGrpSpPr>
        <p:grpSpPr>
          <a:xfrm>
            <a:off x="9519420" y="5467349"/>
            <a:ext cx="7458292" cy="1488133"/>
            <a:chOff x="5562600" y="1328376"/>
            <a:chExt cx="1601786" cy="1602796"/>
          </a:xfrm>
        </p:grpSpPr>
        <p:sp>
          <p:nvSpPr>
            <p:cNvPr id="33" name="Oval 11">
              <a:extLst>
                <a:ext uri="{FF2B5EF4-FFF2-40B4-BE49-F238E27FC236}">
                  <a16:creationId xmlns:a16="http://schemas.microsoft.com/office/drawing/2014/main" id="{CE1094C3-7246-C4F6-516A-E61A8A7F35C7}"/>
                </a:ext>
              </a:extLst>
            </p:cNvPr>
            <p:cNvSpPr>
              <a:spLocks noChangeArrowheads="1"/>
            </p:cNvSpPr>
            <p:nvPr/>
          </p:nvSpPr>
          <p:spPr bwMode="auto">
            <a:xfrm>
              <a:off x="5562600" y="1328376"/>
              <a:ext cx="1601786" cy="16027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Rectangle 33">
              <a:extLst>
                <a:ext uri="{FF2B5EF4-FFF2-40B4-BE49-F238E27FC236}">
                  <a16:creationId xmlns:a16="http://schemas.microsoft.com/office/drawing/2014/main" id="{7E884782-3E07-F9B1-6256-27CA58A16787}"/>
                </a:ext>
              </a:extLst>
            </p:cNvPr>
            <p:cNvSpPr/>
            <p:nvPr/>
          </p:nvSpPr>
          <p:spPr>
            <a:xfrm>
              <a:off x="5562600" y="1328376"/>
              <a:ext cx="1601786" cy="1601131"/>
            </a:xfrm>
            <a:prstGeom prst="rect">
              <a:avLst/>
            </a:prstGeom>
            <a:gradFill flip="none" rotWithShape="1">
              <a:gsLst>
                <a:gs pos="0">
                  <a:schemeClr val="tx1">
                    <a:lumMod val="75000"/>
                    <a:lumOff val="25000"/>
                    <a:alpha val="10000"/>
                  </a:schemeClr>
                </a:gs>
                <a:gs pos="100000">
                  <a:schemeClr val="bg1">
                    <a:lumMod val="95000"/>
                    <a:alpha val="1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75000"/>
                    <a:lumOff val="25000"/>
                  </a:schemeClr>
                </a:solidFill>
              </a:endParaRPr>
            </a:p>
          </p:txBody>
        </p:sp>
      </p:grpSp>
      <p:grpSp>
        <p:nvGrpSpPr>
          <p:cNvPr id="35" name="Group 34">
            <a:extLst>
              <a:ext uri="{FF2B5EF4-FFF2-40B4-BE49-F238E27FC236}">
                <a16:creationId xmlns:a16="http://schemas.microsoft.com/office/drawing/2014/main" id="{CC95488F-4A3E-4B48-02A6-9E6AD5811CCF}"/>
              </a:ext>
            </a:extLst>
          </p:cNvPr>
          <p:cNvGrpSpPr/>
          <p:nvPr/>
        </p:nvGrpSpPr>
        <p:grpSpPr>
          <a:xfrm>
            <a:off x="9519420" y="3809646"/>
            <a:ext cx="7458292" cy="1488133"/>
            <a:chOff x="5562600" y="1328376"/>
            <a:chExt cx="1601786" cy="1602796"/>
          </a:xfrm>
        </p:grpSpPr>
        <p:sp>
          <p:nvSpPr>
            <p:cNvPr id="36" name="Oval 11">
              <a:extLst>
                <a:ext uri="{FF2B5EF4-FFF2-40B4-BE49-F238E27FC236}">
                  <a16:creationId xmlns:a16="http://schemas.microsoft.com/office/drawing/2014/main" id="{807C664A-543E-D327-8C24-7E114E6E21F4}"/>
                </a:ext>
              </a:extLst>
            </p:cNvPr>
            <p:cNvSpPr>
              <a:spLocks noChangeArrowheads="1"/>
            </p:cNvSpPr>
            <p:nvPr/>
          </p:nvSpPr>
          <p:spPr bwMode="auto">
            <a:xfrm>
              <a:off x="5562600" y="1328376"/>
              <a:ext cx="1601786" cy="16027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Rectangle 36">
              <a:extLst>
                <a:ext uri="{FF2B5EF4-FFF2-40B4-BE49-F238E27FC236}">
                  <a16:creationId xmlns:a16="http://schemas.microsoft.com/office/drawing/2014/main" id="{8CBA420F-E0E3-F04F-359E-769D1E608B3B}"/>
                </a:ext>
              </a:extLst>
            </p:cNvPr>
            <p:cNvSpPr/>
            <p:nvPr/>
          </p:nvSpPr>
          <p:spPr>
            <a:xfrm>
              <a:off x="5562600" y="1328376"/>
              <a:ext cx="1601786" cy="1601131"/>
            </a:xfrm>
            <a:prstGeom prst="rect">
              <a:avLst/>
            </a:prstGeom>
            <a:gradFill flip="none" rotWithShape="1">
              <a:gsLst>
                <a:gs pos="0">
                  <a:schemeClr val="tx1">
                    <a:lumMod val="75000"/>
                    <a:lumOff val="25000"/>
                    <a:alpha val="10000"/>
                  </a:schemeClr>
                </a:gs>
                <a:gs pos="100000">
                  <a:schemeClr val="bg1">
                    <a:lumMod val="95000"/>
                    <a:alpha val="1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75000"/>
                    <a:lumOff val="25000"/>
                  </a:schemeClr>
                </a:solidFill>
              </a:endParaRPr>
            </a:p>
          </p:txBody>
        </p:sp>
      </p:grpSp>
      <p:sp>
        <p:nvSpPr>
          <p:cNvPr id="40" name="Oval 39">
            <a:extLst>
              <a:ext uri="{FF2B5EF4-FFF2-40B4-BE49-F238E27FC236}">
                <a16:creationId xmlns:a16="http://schemas.microsoft.com/office/drawing/2014/main" id="{1A912203-06FD-B52A-B53F-F8B48335A553}"/>
              </a:ext>
            </a:extLst>
          </p:cNvPr>
          <p:cNvSpPr/>
          <p:nvPr/>
        </p:nvSpPr>
        <p:spPr>
          <a:xfrm flipH="1">
            <a:off x="8959380" y="2335984"/>
            <a:ext cx="1120068" cy="112005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bg1"/>
                </a:solidFill>
              </a:rPr>
              <a:t>01</a:t>
            </a:r>
          </a:p>
        </p:txBody>
      </p:sp>
      <p:sp>
        <p:nvSpPr>
          <p:cNvPr id="43" name="Oval 42">
            <a:extLst>
              <a:ext uri="{FF2B5EF4-FFF2-40B4-BE49-F238E27FC236}">
                <a16:creationId xmlns:a16="http://schemas.microsoft.com/office/drawing/2014/main" id="{04138B0A-B94F-D9D5-B6C4-2E01FA068D68}"/>
              </a:ext>
            </a:extLst>
          </p:cNvPr>
          <p:cNvSpPr/>
          <p:nvPr/>
        </p:nvSpPr>
        <p:spPr>
          <a:xfrm flipH="1">
            <a:off x="8959380" y="3993687"/>
            <a:ext cx="1120068" cy="112005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bg1"/>
                </a:solidFill>
              </a:rPr>
              <a:t>02</a:t>
            </a:r>
          </a:p>
        </p:txBody>
      </p:sp>
      <p:sp>
        <p:nvSpPr>
          <p:cNvPr id="46" name="Oval 45">
            <a:extLst>
              <a:ext uri="{FF2B5EF4-FFF2-40B4-BE49-F238E27FC236}">
                <a16:creationId xmlns:a16="http://schemas.microsoft.com/office/drawing/2014/main" id="{FF25B34C-561D-18AE-E25A-679012312692}"/>
              </a:ext>
            </a:extLst>
          </p:cNvPr>
          <p:cNvSpPr/>
          <p:nvPr/>
        </p:nvSpPr>
        <p:spPr>
          <a:xfrm flipH="1">
            <a:off x="8959380" y="5651390"/>
            <a:ext cx="1120068" cy="112005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03</a:t>
            </a:r>
          </a:p>
        </p:txBody>
      </p:sp>
      <p:sp>
        <p:nvSpPr>
          <p:cNvPr id="49" name="Oval 48">
            <a:extLst>
              <a:ext uri="{FF2B5EF4-FFF2-40B4-BE49-F238E27FC236}">
                <a16:creationId xmlns:a16="http://schemas.microsoft.com/office/drawing/2014/main" id="{79830813-6663-0285-B68F-D2793D98F940}"/>
              </a:ext>
            </a:extLst>
          </p:cNvPr>
          <p:cNvSpPr/>
          <p:nvPr/>
        </p:nvSpPr>
        <p:spPr>
          <a:xfrm flipH="1">
            <a:off x="8959380" y="7309093"/>
            <a:ext cx="1120068" cy="1120051"/>
          </a:xfrm>
          <a:prstGeom prst="ellips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bg1"/>
                </a:solidFill>
              </a:rPr>
              <a:t>04</a:t>
            </a:r>
          </a:p>
        </p:txBody>
      </p:sp>
      <p:sp>
        <p:nvSpPr>
          <p:cNvPr id="50" name="Rectangle 49">
            <a:extLst>
              <a:ext uri="{FF2B5EF4-FFF2-40B4-BE49-F238E27FC236}">
                <a16:creationId xmlns:a16="http://schemas.microsoft.com/office/drawing/2014/main" id="{43232144-825D-6941-0289-53BDC80635E6}"/>
              </a:ext>
            </a:extLst>
          </p:cNvPr>
          <p:cNvSpPr/>
          <p:nvPr/>
        </p:nvSpPr>
        <p:spPr>
          <a:xfrm flipH="1">
            <a:off x="10382865" y="2412672"/>
            <a:ext cx="6179946" cy="966676"/>
          </a:xfrm>
          <a:prstGeom prst="rect">
            <a:avLst/>
          </a:prstGeom>
          <a:ln>
            <a:noFill/>
          </a:ln>
        </p:spPr>
        <p:txBody>
          <a:bodyPr wrap="square" lIns="0" tIns="0" rIns="0" bIns="0" anchor="ctr">
            <a:spAutoFit/>
          </a:bodyPr>
          <a:lstStyle/>
          <a:p>
            <a:pPr>
              <a:lnSpc>
                <a:spcPct val="120000"/>
              </a:lnSpc>
            </a:pPr>
            <a:r>
              <a:rPr lang="en-US" b="1" dirty="0">
                <a:solidFill>
                  <a:schemeClr val="accent1"/>
                </a:solidFill>
                <a:latin typeface="+mj-lt"/>
              </a:rPr>
              <a:t>Main Title #01</a:t>
            </a:r>
          </a:p>
          <a:p>
            <a:pPr>
              <a:lnSpc>
                <a:spcPct val="120000"/>
              </a:lnSpc>
            </a:pPr>
            <a:r>
              <a:rPr lang="en-US" dirty="0">
                <a:latin typeface="+mj-lt"/>
              </a:rPr>
              <a:t>Lorem Ipsum is simply dummy text of the printing and typesetting industry</a:t>
            </a:r>
          </a:p>
        </p:txBody>
      </p:sp>
      <p:sp>
        <p:nvSpPr>
          <p:cNvPr id="51" name="Rectangle 50">
            <a:extLst>
              <a:ext uri="{FF2B5EF4-FFF2-40B4-BE49-F238E27FC236}">
                <a16:creationId xmlns:a16="http://schemas.microsoft.com/office/drawing/2014/main" id="{A2770B13-5A5E-1FDE-4567-9DB7DA4E9876}"/>
              </a:ext>
            </a:extLst>
          </p:cNvPr>
          <p:cNvSpPr/>
          <p:nvPr/>
        </p:nvSpPr>
        <p:spPr>
          <a:xfrm flipH="1">
            <a:off x="10382865" y="4070375"/>
            <a:ext cx="6179946" cy="966676"/>
          </a:xfrm>
          <a:prstGeom prst="rect">
            <a:avLst/>
          </a:prstGeom>
          <a:ln>
            <a:noFill/>
          </a:ln>
        </p:spPr>
        <p:txBody>
          <a:bodyPr wrap="square" lIns="0" tIns="0" rIns="0" bIns="0" anchor="ctr">
            <a:spAutoFit/>
          </a:bodyPr>
          <a:lstStyle/>
          <a:p>
            <a:pPr>
              <a:lnSpc>
                <a:spcPct val="120000"/>
              </a:lnSpc>
            </a:pPr>
            <a:r>
              <a:rPr lang="en-US" b="1" dirty="0">
                <a:solidFill>
                  <a:schemeClr val="accent2"/>
                </a:solidFill>
                <a:latin typeface="+mj-lt"/>
              </a:rPr>
              <a:t>Main Title #02</a:t>
            </a:r>
          </a:p>
          <a:p>
            <a:pPr>
              <a:lnSpc>
                <a:spcPct val="120000"/>
              </a:lnSpc>
            </a:pPr>
            <a:r>
              <a:rPr lang="en-US" dirty="0">
                <a:latin typeface="+mj-lt"/>
              </a:rPr>
              <a:t>Lorem Ipsum is simply dummy text of the printing and typesetting industry</a:t>
            </a:r>
          </a:p>
        </p:txBody>
      </p:sp>
      <p:sp>
        <p:nvSpPr>
          <p:cNvPr id="52" name="Rectangle 51">
            <a:extLst>
              <a:ext uri="{FF2B5EF4-FFF2-40B4-BE49-F238E27FC236}">
                <a16:creationId xmlns:a16="http://schemas.microsoft.com/office/drawing/2014/main" id="{F0DD6CF1-F726-B4ED-06D3-17782B4C1F6A}"/>
              </a:ext>
            </a:extLst>
          </p:cNvPr>
          <p:cNvSpPr/>
          <p:nvPr/>
        </p:nvSpPr>
        <p:spPr>
          <a:xfrm flipH="1">
            <a:off x="10382865" y="5728079"/>
            <a:ext cx="6179946" cy="966676"/>
          </a:xfrm>
          <a:prstGeom prst="rect">
            <a:avLst/>
          </a:prstGeom>
          <a:ln>
            <a:noFill/>
          </a:ln>
        </p:spPr>
        <p:txBody>
          <a:bodyPr wrap="square" lIns="0" tIns="0" rIns="0" bIns="0" anchor="ctr">
            <a:spAutoFit/>
          </a:bodyPr>
          <a:lstStyle/>
          <a:p>
            <a:pPr>
              <a:lnSpc>
                <a:spcPct val="120000"/>
              </a:lnSpc>
            </a:pPr>
            <a:r>
              <a:rPr lang="en-US" b="1" dirty="0">
                <a:latin typeface="+mj-lt"/>
              </a:rPr>
              <a:t>Main Title #03</a:t>
            </a:r>
          </a:p>
          <a:p>
            <a:pPr>
              <a:lnSpc>
                <a:spcPct val="120000"/>
              </a:lnSpc>
            </a:pPr>
            <a:r>
              <a:rPr lang="en-US" dirty="0">
                <a:latin typeface="+mj-lt"/>
              </a:rPr>
              <a:t>Lorem Ipsum is simply dummy text of the printing and typesetting industry</a:t>
            </a:r>
          </a:p>
        </p:txBody>
      </p:sp>
      <p:sp>
        <p:nvSpPr>
          <p:cNvPr id="53" name="Rectangle 52">
            <a:extLst>
              <a:ext uri="{FF2B5EF4-FFF2-40B4-BE49-F238E27FC236}">
                <a16:creationId xmlns:a16="http://schemas.microsoft.com/office/drawing/2014/main" id="{667A308B-309F-4A87-EEAD-1BD77D975377}"/>
              </a:ext>
            </a:extLst>
          </p:cNvPr>
          <p:cNvSpPr/>
          <p:nvPr/>
        </p:nvSpPr>
        <p:spPr>
          <a:xfrm flipH="1">
            <a:off x="10382865" y="7385782"/>
            <a:ext cx="6179946" cy="966676"/>
          </a:xfrm>
          <a:prstGeom prst="rect">
            <a:avLst/>
          </a:prstGeom>
          <a:ln>
            <a:noFill/>
          </a:ln>
        </p:spPr>
        <p:txBody>
          <a:bodyPr wrap="square" lIns="0" tIns="0" rIns="0" bIns="0" anchor="ctr">
            <a:spAutoFit/>
          </a:bodyPr>
          <a:lstStyle/>
          <a:p>
            <a:pPr>
              <a:lnSpc>
                <a:spcPct val="120000"/>
              </a:lnSpc>
            </a:pPr>
            <a:r>
              <a:rPr lang="en-US" b="1" dirty="0">
                <a:solidFill>
                  <a:schemeClr val="accent2">
                    <a:lumMod val="75000"/>
                  </a:schemeClr>
                </a:solidFill>
                <a:latin typeface="+mj-lt"/>
              </a:rPr>
              <a:t>Main Title #04</a:t>
            </a:r>
          </a:p>
          <a:p>
            <a:pPr>
              <a:lnSpc>
                <a:spcPct val="120000"/>
              </a:lnSpc>
            </a:pPr>
            <a:r>
              <a:rPr lang="en-US" dirty="0">
                <a:latin typeface="+mj-lt"/>
              </a:rPr>
              <a:t>Lorem Ipsum is simply dummy text of the printing and typesetting industry</a:t>
            </a:r>
          </a:p>
        </p:txBody>
      </p:sp>
    </p:spTree>
    <p:extLst>
      <p:ext uri="{BB962C8B-B14F-4D97-AF65-F5344CB8AC3E}">
        <p14:creationId xmlns:p14="http://schemas.microsoft.com/office/powerpoint/2010/main" val="1924882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A149F-AB22-9D20-5BB6-8AEF811B811A}"/>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48EF2773-571C-5551-DF34-3B91CA4E0A86}"/>
              </a:ext>
            </a:extLst>
          </p:cNvPr>
          <p:cNvSpPr>
            <a:spLocks noGrp="1"/>
          </p:cNvSpPr>
          <p:nvPr>
            <p:ph type="title"/>
          </p:nvPr>
        </p:nvSpPr>
        <p:spPr>
          <a:xfrm>
            <a:off x="714375" y="317500"/>
            <a:ext cx="16859250" cy="1266827"/>
          </a:xfrm>
        </p:spPr>
        <p:txBody>
          <a:bodyPr/>
          <a:lstStyle/>
          <a:p>
            <a:r>
              <a:rPr lang="en-US" dirty="0"/>
              <a:t>Scatter Chart</a:t>
            </a:r>
          </a:p>
        </p:txBody>
      </p:sp>
      <p:graphicFrame>
        <p:nvGraphicFramePr>
          <p:cNvPr id="9" name="Content Placeholder 8">
            <a:extLst>
              <a:ext uri="{FF2B5EF4-FFF2-40B4-BE49-F238E27FC236}">
                <a16:creationId xmlns:a16="http://schemas.microsoft.com/office/drawing/2014/main" id="{1D3DC2A0-ACCA-A040-62CD-25175D4D1B95}"/>
              </a:ext>
            </a:extLst>
          </p:cNvPr>
          <p:cNvGraphicFramePr>
            <a:graphicFrameLocks noGrp="1"/>
          </p:cNvGraphicFramePr>
          <p:nvPr>
            <p:ph idx="1"/>
            <p:extLst>
              <p:ext uri="{D42A27DB-BD31-4B8C-83A1-F6EECF244321}">
                <p14:modId xmlns:p14="http://schemas.microsoft.com/office/powerpoint/2010/main" val="2292352713"/>
              </p:ext>
            </p:extLst>
          </p:nvPr>
        </p:nvGraphicFramePr>
        <p:xfrm>
          <a:off x="714375" y="1889125"/>
          <a:ext cx="16859250"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E2956A-FE4A-C22E-CCF4-0FF58B86D4E6}"/>
              </a:ext>
            </a:extLst>
          </p:cNvPr>
          <p:cNvSpPr>
            <a:spLocks noGrp="1"/>
          </p:cNvSpPr>
          <p:nvPr>
            <p:ph type="sldNum" sz="quarter" idx="12"/>
          </p:nvPr>
        </p:nvSpPr>
        <p:spPr/>
        <p:txBody>
          <a:bodyPr/>
          <a:lstStyle/>
          <a:p>
            <a:fld id="{E2D680B1-7F17-42D2-83E2-2C9AC13983BB}" type="slidenum">
              <a:rPr lang="en-US" smtClean="0"/>
              <a:t>28</a:t>
            </a:fld>
            <a:endParaRPr lang="en-US" dirty="0"/>
          </a:p>
        </p:txBody>
      </p:sp>
    </p:spTree>
    <p:extLst>
      <p:ext uri="{BB962C8B-B14F-4D97-AF65-F5344CB8AC3E}">
        <p14:creationId xmlns:p14="http://schemas.microsoft.com/office/powerpoint/2010/main" val="40402370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E7EC6-B982-7222-386E-8D392F0A25A8}"/>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F99BA0AD-1787-7A4D-F49C-4FC29339877E}"/>
              </a:ext>
            </a:extLst>
          </p:cNvPr>
          <p:cNvSpPr>
            <a:spLocks noGrp="1"/>
          </p:cNvSpPr>
          <p:nvPr>
            <p:ph type="title"/>
          </p:nvPr>
        </p:nvSpPr>
        <p:spPr>
          <a:xfrm>
            <a:off x="714375" y="317500"/>
            <a:ext cx="16859250" cy="1266827"/>
          </a:xfrm>
        </p:spPr>
        <p:txBody>
          <a:bodyPr/>
          <a:lstStyle/>
          <a:p>
            <a:r>
              <a:rPr lang="en-US" dirty="0"/>
              <a:t>Doughnut Chart</a:t>
            </a:r>
          </a:p>
        </p:txBody>
      </p:sp>
      <p:graphicFrame>
        <p:nvGraphicFramePr>
          <p:cNvPr id="8" name="Content Placeholder 7">
            <a:extLst>
              <a:ext uri="{FF2B5EF4-FFF2-40B4-BE49-F238E27FC236}">
                <a16:creationId xmlns:a16="http://schemas.microsoft.com/office/drawing/2014/main" id="{4BB6B214-DEAF-2A2B-AA1E-A27EDF171468}"/>
              </a:ext>
            </a:extLst>
          </p:cNvPr>
          <p:cNvGraphicFramePr>
            <a:graphicFrameLocks noGrp="1"/>
          </p:cNvGraphicFramePr>
          <p:nvPr>
            <p:ph idx="1"/>
            <p:extLst>
              <p:ext uri="{D42A27DB-BD31-4B8C-83A1-F6EECF244321}">
                <p14:modId xmlns:p14="http://schemas.microsoft.com/office/powerpoint/2010/main" val="3860578237"/>
              </p:ext>
            </p:extLst>
          </p:nvPr>
        </p:nvGraphicFramePr>
        <p:xfrm>
          <a:off x="714375" y="1889125"/>
          <a:ext cx="16859250"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B5952400-68C0-8EDB-FCF0-5A04EA851BFE}"/>
              </a:ext>
            </a:extLst>
          </p:cNvPr>
          <p:cNvSpPr>
            <a:spLocks noGrp="1"/>
          </p:cNvSpPr>
          <p:nvPr>
            <p:ph type="sldNum" sz="quarter" idx="12"/>
          </p:nvPr>
        </p:nvSpPr>
        <p:spPr/>
        <p:txBody>
          <a:bodyPr/>
          <a:lstStyle/>
          <a:p>
            <a:fld id="{E2D680B1-7F17-42D2-83E2-2C9AC13983BB}" type="slidenum">
              <a:rPr lang="en-US" smtClean="0"/>
              <a:t>29</a:t>
            </a:fld>
            <a:endParaRPr lang="en-US" dirty="0"/>
          </a:p>
        </p:txBody>
      </p:sp>
      <p:sp>
        <p:nvSpPr>
          <p:cNvPr id="3" name="TextBox 2">
            <a:extLst>
              <a:ext uri="{FF2B5EF4-FFF2-40B4-BE49-F238E27FC236}">
                <a16:creationId xmlns:a16="http://schemas.microsoft.com/office/drawing/2014/main" id="{F7A6A57D-8F08-F09B-48C3-4F5EA03671FF}"/>
              </a:ext>
            </a:extLst>
          </p:cNvPr>
          <p:cNvSpPr txBox="1"/>
          <p:nvPr/>
        </p:nvSpPr>
        <p:spPr>
          <a:xfrm>
            <a:off x="714375" y="1692634"/>
            <a:ext cx="16858800" cy="430887"/>
          </a:xfrm>
          <a:prstGeom prst="rect">
            <a:avLst/>
          </a:prstGeom>
        </p:spPr>
        <p:txBody>
          <a:bodyPr vert="horz" lIns="0" tIns="0" rIns="0" bIns="0" rtlCol="0" anchor="b" anchorCtr="0">
            <a:spAutoFit/>
          </a:bodyPr>
          <a:lstStyle>
            <a:lvl1pPr>
              <a:lnSpc>
                <a:spcPct val="100000"/>
              </a:lnSpc>
              <a:spcBef>
                <a:spcPct val="0"/>
              </a:spcBef>
              <a:buNone/>
              <a:defRPr sz="4000" b="1">
                <a:solidFill>
                  <a:schemeClr val="accent1"/>
                </a:solidFill>
                <a:latin typeface="Arial" panose="020B0604020202020204" pitchFamily="34" charset="0"/>
                <a:ea typeface="Calibri" panose="020F0502020204030204" pitchFamily="34" charset="0"/>
                <a:cs typeface="Arial" panose="020B0604020202020204" pitchFamily="34" charset="0"/>
              </a:defRPr>
            </a:lvl1pPr>
          </a:lstStyle>
          <a:p>
            <a:r>
              <a:rPr lang="en-US" sz="2800" dirty="0"/>
              <a:t>Sales</a:t>
            </a:r>
            <a:endParaRPr lang="de-DE" sz="2800" dirty="0"/>
          </a:p>
        </p:txBody>
      </p:sp>
    </p:spTree>
    <p:extLst>
      <p:ext uri="{BB962C8B-B14F-4D97-AF65-F5344CB8AC3E}">
        <p14:creationId xmlns:p14="http://schemas.microsoft.com/office/powerpoint/2010/main" val="978674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06CD4-5B33-9E15-B087-11720086F8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A7C4FB-C252-90C9-388D-473AC5DC7DD3}"/>
              </a:ext>
            </a:extLst>
          </p:cNvPr>
          <p:cNvSpPr>
            <a:spLocks noGrp="1"/>
          </p:cNvSpPr>
          <p:nvPr>
            <p:ph type="ctrTitle"/>
          </p:nvPr>
        </p:nvSpPr>
        <p:spPr>
          <a:xfrm>
            <a:off x="742950" y="4572119"/>
            <a:ext cx="10001250" cy="1354217"/>
          </a:xfrm>
        </p:spPr>
        <p:txBody>
          <a:bodyPr/>
          <a:lstStyle/>
          <a:p>
            <a:r>
              <a:rPr lang="en-US" dirty="0"/>
              <a:t>Supporting Slides</a:t>
            </a:r>
          </a:p>
        </p:txBody>
      </p:sp>
      <p:sp>
        <p:nvSpPr>
          <p:cNvPr id="3" name="Slide Number Placeholder 2">
            <a:extLst>
              <a:ext uri="{FF2B5EF4-FFF2-40B4-BE49-F238E27FC236}">
                <a16:creationId xmlns:a16="http://schemas.microsoft.com/office/drawing/2014/main" id="{DE7E239A-B4CB-4A6E-158B-D79FAD930366}"/>
              </a:ext>
            </a:extLst>
          </p:cNvPr>
          <p:cNvSpPr>
            <a:spLocks noGrp="1"/>
          </p:cNvSpPr>
          <p:nvPr>
            <p:ph type="sldNum" sz="quarter" idx="12"/>
          </p:nvPr>
        </p:nvSpPr>
        <p:spPr/>
        <p:txBody>
          <a:bodyPr/>
          <a:lstStyle/>
          <a:p>
            <a:fld id="{E2D680B1-7F17-42D2-83E2-2C9AC13983BB}" type="slidenum">
              <a:rPr lang="en-US" smtClean="0"/>
              <a:pPr/>
              <a:t>3</a:t>
            </a:fld>
            <a:endParaRPr lang="en-US" dirty="0"/>
          </a:p>
        </p:txBody>
      </p:sp>
    </p:spTree>
    <p:extLst>
      <p:ext uri="{BB962C8B-B14F-4D97-AF65-F5344CB8AC3E}">
        <p14:creationId xmlns:p14="http://schemas.microsoft.com/office/powerpoint/2010/main" val="1989288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26079-995F-E46A-A7F0-AEFB1214A6C7}"/>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72021D6B-C800-AB93-D2E4-D8ABAB8C10BE}"/>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88AA3B80-D8F3-6842-CEDD-A06DAA5351BF}"/>
              </a:ext>
            </a:extLst>
          </p:cNvPr>
          <p:cNvSpPr>
            <a:spLocks noGrp="1"/>
          </p:cNvSpPr>
          <p:nvPr>
            <p:ph idx="1"/>
          </p:nvPr>
        </p:nvSpPr>
        <p:spPr>
          <a:xfrm>
            <a:off x="12197654" y="1889656"/>
            <a:ext cx="5375970" cy="307777"/>
          </a:xfrm>
        </p:spPr>
        <p:txBody>
          <a:bodyPr>
            <a:spAutoFit/>
          </a:bodyPr>
          <a:lstStyle/>
          <a:p>
            <a:pPr marL="0" indent="0">
              <a:buNone/>
            </a:pPr>
            <a:r>
              <a:rPr lang="en-US" altLang="ko-KR" b="1" dirty="0">
                <a:solidFill>
                  <a:schemeClr val="accent1"/>
                </a:solidFill>
              </a:rPr>
              <a:t>Heading</a:t>
            </a:r>
            <a:endParaRPr lang="en-US" altLang="ko-KR" dirty="0"/>
          </a:p>
        </p:txBody>
      </p:sp>
      <p:graphicFrame>
        <p:nvGraphicFramePr>
          <p:cNvPr id="17" name="图表 1">
            <a:extLst>
              <a:ext uri="{FF2B5EF4-FFF2-40B4-BE49-F238E27FC236}">
                <a16:creationId xmlns:a16="http://schemas.microsoft.com/office/drawing/2014/main" id="{C32BFE6C-9BE9-B95A-AE1A-3897F3FFFFC2}"/>
              </a:ext>
            </a:extLst>
          </p:cNvPr>
          <p:cNvGraphicFramePr>
            <a:graphicFrameLocks noGrp="1"/>
          </p:cNvGraphicFramePr>
          <p:nvPr>
            <p:ph idx="13"/>
            <p:extLst>
              <p:ext uri="{D42A27DB-BD31-4B8C-83A1-F6EECF244321}">
                <p14:modId xmlns:p14="http://schemas.microsoft.com/office/powerpoint/2010/main" val="3634145618"/>
              </p:ext>
            </p:extLst>
          </p:nvPr>
        </p:nvGraphicFramePr>
        <p:xfrm>
          <a:off x="714375" y="2502762"/>
          <a:ext cx="10715625" cy="6712676"/>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E234C28F-98A2-FE6A-BCEF-3128666F098C}"/>
              </a:ext>
            </a:extLst>
          </p:cNvPr>
          <p:cNvSpPr>
            <a:spLocks noGrp="1"/>
          </p:cNvSpPr>
          <p:nvPr>
            <p:ph type="sldNum" sz="quarter" idx="12"/>
          </p:nvPr>
        </p:nvSpPr>
        <p:spPr/>
        <p:txBody>
          <a:bodyPr/>
          <a:lstStyle/>
          <a:p>
            <a:fld id="{E2D680B1-7F17-42D2-83E2-2C9AC13983BB}" type="slidenum">
              <a:rPr lang="en-US" smtClean="0"/>
              <a:t>30</a:t>
            </a:fld>
            <a:endParaRPr lang="en-US" dirty="0"/>
          </a:p>
        </p:txBody>
      </p:sp>
      <p:sp>
        <p:nvSpPr>
          <p:cNvPr id="3" name="Content Placeholder 6">
            <a:extLst>
              <a:ext uri="{FF2B5EF4-FFF2-40B4-BE49-F238E27FC236}">
                <a16:creationId xmlns:a16="http://schemas.microsoft.com/office/drawing/2014/main" id="{3335D377-3712-00D3-45F0-AB7EAFE82592}"/>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6" name="Content Placeholder 6">
            <a:extLst>
              <a:ext uri="{FF2B5EF4-FFF2-40B4-BE49-F238E27FC236}">
                <a16:creationId xmlns:a16="http://schemas.microsoft.com/office/drawing/2014/main" id="{BF60B9F3-AA6C-E9A3-5B59-44A1BA4D7392}"/>
              </a:ext>
            </a:extLst>
          </p:cNvPr>
          <p:cNvSpPr txBox="1">
            <a:spLocks/>
          </p:cNvSpPr>
          <p:nvPr/>
        </p:nvSpPr>
        <p:spPr>
          <a:xfrm>
            <a:off x="12197654" y="2400300"/>
            <a:ext cx="5375970" cy="660180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spTree>
    <p:extLst>
      <p:ext uri="{BB962C8B-B14F-4D97-AF65-F5344CB8AC3E}">
        <p14:creationId xmlns:p14="http://schemas.microsoft.com/office/powerpoint/2010/main" val="8003404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26325-F7CA-CA93-7DE8-2F7A0DB74B6E}"/>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125A7DC9-75BF-A0FC-609D-BAC0018803A0}"/>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6E3595C4-389C-647B-A4F3-F62FFC3227CE}"/>
              </a:ext>
            </a:extLst>
          </p:cNvPr>
          <p:cNvSpPr>
            <a:spLocks noGrp="1"/>
          </p:cNvSpPr>
          <p:nvPr>
            <p:ph idx="1"/>
          </p:nvPr>
        </p:nvSpPr>
        <p:spPr>
          <a:xfrm>
            <a:off x="12197654" y="2397097"/>
            <a:ext cx="5375970" cy="5647700"/>
          </a:xfrm>
        </p:spPr>
        <p:txBody>
          <a:bodyPr>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13" name="Content Placeholder 7">
            <a:extLst>
              <a:ext uri="{FF2B5EF4-FFF2-40B4-BE49-F238E27FC236}">
                <a16:creationId xmlns:a16="http://schemas.microsoft.com/office/drawing/2014/main" id="{7C0BF7A6-9468-974C-EFEF-A08FDF8FA969}"/>
              </a:ext>
            </a:extLst>
          </p:cNvPr>
          <p:cNvGraphicFramePr>
            <a:graphicFrameLocks noGrp="1"/>
          </p:cNvGraphicFramePr>
          <p:nvPr>
            <p:ph idx="13"/>
            <p:extLst>
              <p:ext uri="{D42A27DB-BD31-4B8C-83A1-F6EECF244321}">
                <p14:modId xmlns:p14="http://schemas.microsoft.com/office/powerpoint/2010/main" val="3793280660"/>
              </p:ext>
            </p:extLst>
          </p:nvPr>
        </p:nvGraphicFramePr>
        <p:xfrm>
          <a:off x="714375" y="1889125"/>
          <a:ext cx="10563225"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BEF2A1F1-6DCB-B2F9-A75F-1A366F42AD03}"/>
              </a:ext>
            </a:extLst>
          </p:cNvPr>
          <p:cNvSpPr>
            <a:spLocks noGrp="1"/>
          </p:cNvSpPr>
          <p:nvPr>
            <p:ph type="sldNum" sz="quarter" idx="12"/>
          </p:nvPr>
        </p:nvSpPr>
        <p:spPr/>
        <p:txBody>
          <a:bodyPr/>
          <a:lstStyle/>
          <a:p>
            <a:fld id="{E2D680B1-7F17-42D2-83E2-2C9AC13983BB}" type="slidenum">
              <a:rPr lang="en-US" smtClean="0"/>
              <a:t>31</a:t>
            </a:fld>
            <a:endParaRPr lang="en-US" dirty="0"/>
          </a:p>
        </p:txBody>
      </p:sp>
      <p:sp>
        <p:nvSpPr>
          <p:cNvPr id="11" name="Content Placeholder 6">
            <a:extLst>
              <a:ext uri="{FF2B5EF4-FFF2-40B4-BE49-F238E27FC236}">
                <a16:creationId xmlns:a16="http://schemas.microsoft.com/office/drawing/2014/main" id="{6D6145D4-8B2F-2279-C02C-8B84722230BE}"/>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
        <p:nvSpPr>
          <p:cNvPr id="12" name="Content Placeholder 6">
            <a:extLst>
              <a:ext uri="{FF2B5EF4-FFF2-40B4-BE49-F238E27FC236}">
                <a16:creationId xmlns:a16="http://schemas.microsoft.com/office/drawing/2014/main" id="{D4C2F03C-01DF-0635-8A93-691D27F2F21B}"/>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4329240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87C5E-C3B0-8891-494D-187D070CC821}"/>
            </a:ext>
          </a:extLst>
        </p:cNvPr>
        <p:cNvGrpSpPr/>
        <p:nvPr/>
      </p:nvGrpSpPr>
      <p:grpSpPr>
        <a:xfrm>
          <a:off x="0" y="0"/>
          <a:ext cx="0" cy="0"/>
          <a:chOff x="0" y="0"/>
          <a:chExt cx="0" cy="0"/>
        </a:xfrm>
      </p:grpSpPr>
      <p:sp>
        <p:nvSpPr>
          <p:cNvPr id="19" name="Title 18">
            <a:extLst>
              <a:ext uri="{FF2B5EF4-FFF2-40B4-BE49-F238E27FC236}">
                <a16:creationId xmlns:a16="http://schemas.microsoft.com/office/drawing/2014/main" id="{6248ADC8-3636-6854-F39B-DFA1D1EE7FBB}"/>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1B0A58C7-8DE1-1E4D-25AB-AA03FDA2056D}"/>
              </a:ext>
            </a:extLst>
          </p:cNvPr>
          <p:cNvSpPr>
            <a:spLocks noGrp="1"/>
          </p:cNvSpPr>
          <p:nvPr>
            <p:ph idx="1"/>
          </p:nvPr>
        </p:nvSpPr>
        <p:spPr>
          <a:xfrm>
            <a:off x="12197654" y="2397097"/>
            <a:ext cx="5375970" cy="5647700"/>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6" name="Content Placeholder 8">
            <a:extLst>
              <a:ext uri="{FF2B5EF4-FFF2-40B4-BE49-F238E27FC236}">
                <a16:creationId xmlns:a16="http://schemas.microsoft.com/office/drawing/2014/main" id="{66B56894-EB62-1B03-BCD6-CBB5425548D8}"/>
              </a:ext>
            </a:extLst>
          </p:cNvPr>
          <p:cNvGraphicFramePr>
            <a:graphicFrameLocks noGrp="1"/>
          </p:cNvGraphicFramePr>
          <p:nvPr>
            <p:ph idx="13"/>
            <p:extLst>
              <p:ext uri="{D42A27DB-BD31-4B8C-83A1-F6EECF244321}">
                <p14:modId xmlns:p14="http://schemas.microsoft.com/office/powerpoint/2010/main" val="2976604730"/>
              </p:ext>
            </p:extLst>
          </p:nvPr>
        </p:nvGraphicFramePr>
        <p:xfrm>
          <a:off x="714375" y="2502762"/>
          <a:ext cx="11026775" cy="6712676"/>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BD8991B1-96D9-22B5-B896-824199837D41}"/>
              </a:ext>
            </a:extLst>
          </p:cNvPr>
          <p:cNvSpPr>
            <a:spLocks noGrp="1"/>
          </p:cNvSpPr>
          <p:nvPr>
            <p:ph type="sldNum" sz="quarter" idx="12"/>
          </p:nvPr>
        </p:nvSpPr>
        <p:spPr/>
        <p:txBody>
          <a:bodyPr/>
          <a:lstStyle/>
          <a:p>
            <a:fld id="{E2D680B1-7F17-42D2-83E2-2C9AC13983BB}" type="slidenum">
              <a:rPr lang="en-US" smtClean="0"/>
              <a:t>32</a:t>
            </a:fld>
            <a:endParaRPr lang="en-US" dirty="0"/>
          </a:p>
        </p:txBody>
      </p:sp>
      <p:sp>
        <p:nvSpPr>
          <p:cNvPr id="3" name="Content Placeholder 6">
            <a:extLst>
              <a:ext uri="{FF2B5EF4-FFF2-40B4-BE49-F238E27FC236}">
                <a16:creationId xmlns:a16="http://schemas.microsoft.com/office/drawing/2014/main" id="{4C826DF3-44F5-7D33-D2D4-D7936E603A0C}"/>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9C9D9DB1-C096-6932-180A-80E323D6AF03}"/>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246325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617410-397D-9B32-0E4B-43B2B2CA3DBC}"/>
            </a:ext>
          </a:extLst>
        </p:cNvPr>
        <p:cNvGrpSpPr/>
        <p:nvPr/>
      </p:nvGrpSpPr>
      <p:grpSpPr>
        <a:xfrm>
          <a:off x="0" y="0"/>
          <a:ext cx="0" cy="0"/>
          <a:chOff x="0" y="0"/>
          <a:chExt cx="0" cy="0"/>
        </a:xfrm>
      </p:grpSpPr>
      <p:sp>
        <p:nvSpPr>
          <p:cNvPr id="19" name="Title 18">
            <a:extLst>
              <a:ext uri="{FF2B5EF4-FFF2-40B4-BE49-F238E27FC236}">
                <a16:creationId xmlns:a16="http://schemas.microsoft.com/office/drawing/2014/main" id="{497C23C1-9CBE-8AD5-9894-5DC736CAC3B1}"/>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13A50CDD-ADAD-7781-0A3A-7CD7E407C8C3}"/>
              </a:ext>
            </a:extLst>
          </p:cNvPr>
          <p:cNvSpPr>
            <a:spLocks noGrp="1"/>
          </p:cNvSpPr>
          <p:nvPr>
            <p:ph idx="1"/>
          </p:nvPr>
        </p:nvSpPr>
        <p:spPr>
          <a:xfrm>
            <a:off x="12197654" y="2397097"/>
            <a:ext cx="5375970" cy="5647700"/>
          </a:xfrm>
        </p:spPr>
        <p:txBody>
          <a:bodyPr vert="horz" lIns="0" tIns="0" rIns="0" bIns="0" rtlCol="0">
            <a:spAutoFit/>
          </a:bodyPr>
          <a:lstStyle/>
          <a:p>
            <a:r>
              <a:rPr lang="en-US" altLang="ko-KR" sz="1900"/>
              <a:t>Lorem </a:t>
            </a:r>
            <a:r>
              <a:rPr lang="en-US" altLang="ko-KR" sz="1900" dirty="0"/>
              <a:t>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8" name="Content Placeholder 10">
            <a:extLst>
              <a:ext uri="{FF2B5EF4-FFF2-40B4-BE49-F238E27FC236}">
                <a16:creationId xmlns:a16="http://schemas.microsoft.com/office/drawing/2014/main" id="{B0EA6611-9948-CB3D-162A-96A7A9323D84}"/>
              </a:ext>
            </a:extLst>
          </p:cNvPr>
          <p:cNvGraphicFramePr>
            <a:graphicFrameLocks noGrp="1"/>
          </p:cNvGraphicFramePr>
          <p:nvPr>
            <p:ph idx="13"/>
            <p:extLst>
              <p:ext uri="{D42A27DB-BD31-4B8C-83A1-F6EECF244321}">
                <p14:modId xmlns:p14="http://schemas.microsoft.com/office/powerpoint/2010/main" val="2490442879"/>
              </p:ext>
            </p:extLst>
          </p:nvPr>
        </p:nvGraphicFramePr>
        <p:xfrm>
          <a:off x="714375" y="2502762"/>
          <a:ext cx="11026775" cy="6712676"/>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2A795FB0-A932-F7E4-24C7-CEF5222FD461}"/>
              </a:ext>
            </a:extLst>
          </p:cNvPr>
          <p:cNvSpPr>
            <a:spLocks noGrp="1"/>
          </p:cNvSpPr>
          <p:nvPr>
            <p:ph type="sldNum" sz="quarter" idx="12"/>
          </p:nvPr>
        </p:nvSpPr>
        <p:spPr/>
        <p:txBody>
          <a:bodyPr/>
          <a:lstStyle/>
          <a:p>
            <a:fld id="{E2D680B1-7F17-42D2-83E2-2C9AC13983BB}" type="slidenum">
              <a:rPr lang="en-US" smtClean="0"/>
              <a:t>33</a:t>
            </a:fld>
            <a:endParaRPr lang="en-US" dirty="0"/>
          </a:p>
        </p:txBody>
      </p:sp>
      <p:sp>
        <p:nvSpPr>
          <p:cNvPr id="5" name="Content Placeholder 6">
            <a:extLst>
              <a:ext uri="{FF2B5EF4-FFF2-40B4-BE49-F238E27FC236}">
                <a16:creationId xmlns:a16="http://schemas.microsoft.com/office/drawing/2014/main" id="{9DDB998B-1154-B9E5-2B91-BF15877E17F5}"/>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
        <p:nvSpPr>
          <p:cNvPr id="6" name="Content Placeholder 6">
            <a:extLst>
              <a:ext uri="{FF2B5EF4-FFF2-40B4-BE49-F238E27FC236}">
                <a16:creationId xmlns:a16="http://schemas.microsoft.com/office/drawing/2014/main" id="{95D19C49-FD28-32AA-C659-A7E60522820E}"/>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0168478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C9903-132C-4B75-9370-95E9A48E36B4}"/>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9CA3AAD9-EA26-4B41-D5CC-C7858F5659D3}"/>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398F5D3C-68F1-6867-44BA-D4EAD29B7B99}"/>
              </a:ext>
            </a:extLst>
          </p:cNvPr>
          <p:cNvSpPr>
            <a:spLocks noGrp="1"/>
          </p:cNvSpPr>
          <p:nvPr>
            <p:ph idx="1"/>
          </p:nvPr>
        </p:nvSpPr>
        <p:spPr>
          <a:xfrm>
            <a:off x="12197654" y="2397097"/>
            <a:ext cx="5375970" cy="5647700"/>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9" name="Content Placeholder 7">
            <a:extLst>
              <a:ext uri="{FF2B5EF4-FFF2-40B4-BE49-F238E27FC236}">
                <a16:creationId xmlns:a16="http://schemas.microsoft.com/office/drawing/2014/main" id="{6A4F34C3-917D-8E91-0B27-46896E7B294F}"/>
              </a:ext>
            </a:extLst>
          </p:cNvPr>
          <p:cNvGraphicFramePr>
            <a:graphicFrameLocks noGrp="1"/>
          </p:cNvGraphicFramePr>
          <p:nvPr>
            <p:ph idx="13"/>
            <p:extLst>
              <p:ext uri="{D42A27DB-BD31-4B8C-83A1-F6EECF244321}">
                <p14:modId xmlns:p14="http://schemas.microsoft.com/office/powerpoint/2010/main" val="3675907312"/>
              </p:ext>
            </p:extLst>
          </p:nvPr>
        </p:nvGraphicFramePr>
        <p:xfrm>
          <a:off x="714375" y="2397097"/>
          <a:ext cx="11026775" cy="6818341"/>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437D34F6-82E7-FC27-0E92-80BB07CCBBD3}"/>
              </a:ext>
            </a:extLst>
          </p:cNvPr>
          <p:cNvSpPr>
            <a:spLocks noGrp="1"/>
          </p:cNvSpPr>
          <p:nvPr>
            <p:ph type="sldNum" sz="quarter" idx="12"/>
          </p:nvPr>
        </p:nvSpPr>
        <p:spPr/>
        <p:txBody>
          <a:bodyPr/>
          <a:lstStyle/>
          <a:p>
            <a:fld id="{E2D680B1-7F17-42D2-83E2-2C9AC13983BB}" type="slidenum">
              <a:rPr lang="en-US" smtClean="0"/>
              <a:t>34</a:t>
            </a:fld>
            <a:endParaRPr lang="en-US" dirty="0"/>
          </a:p>
        </p:txBody>
      </p:sp>
      <p:sp>
        <p:nvSpPr>
          <p:cNvPr id="3" name="Content Placeholder 6">
            <a:extLst>
              <a:ext uri="{FF2B5EF4-FFF2-40B4-BE49-F238E27FC236}">
                <a16:creationId xmlns:a16="http://schemas.microsoft.com/office/drawing/2014/main" id="{913D83B0-0ED8-22A1-D844-4AB945ADE13F}"/>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BCF0FB01-BA1E-0C88-5720-F3DE568A4510}"/>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168206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5F413-E5F7-D29B-8704-9B800E03309E}"/>
            </a:ext>
          </a:extLst>
        </p:cNvPr>
        <p:cNvGrpSpPr/>
        <p:nvPr/>
      </p:nvGrpSpPr>
      <p:grpSpPr>
        <a:xfrm>
          <a:off x="0" y="0"/>
          <a:ext cx="0" cy="0"/>
          <a:chOff x="0" y="0"/>
          <a:chExt cx="0" cy="0"/>
        </a:xfrm>
      </p:grpSpPr>
      <p:sp>
        <p:nvSpPr>
          <p:cNvPr id="39" name="Title 38">
            <a:extLst>
              <a:ext uri="{FF2B5EF4-FFF2-40B4-BE49-F238E27FC236}">
                <a16:creationId xmlns:a16="http://schemas.microsoft.com/office/drawing/2014/main" id="{11F210B6-9872-EE26-A226-EEE857858F52}"/>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E23E1B1B-F714-8970-7A1C-5A55A013C4B5}"/>
              </a:ext>
            </a:extLst>
          </p:cNvPr>
          <p:cNvSpPr>
            <a:spLocks noGrp="1"/>
          </p:cNvSpPr>
          <p:nvPr>
            <p:ph idx="1"/>
          </p:nvPr>
        </p:nvSpPr>
        <p:spPr>
          <a:xfrm>
            <a:off x="12197654" y="2397097"/>
            <a:ext cx="5375970" cy="5647700"/>
          </a:xfrm>
        </p:spPr>
        <p:txBody>
          <a:bodyPr vert="horz" lIns="0" tIns="0" rIns="0" bIns="0" rtlCol="0">
            <a:spAutoFit/>
          </a:bodyPr>
          <a:lstStyle/>
          <a:p>
            <a:r>
              <a:rPr lang="en-US" altLang="ko-KR" sz="1900"/>
              <a:t>Lorem </a:t>
            </a:r>
            <a:r>
              <a:rPr lang="en-US" altLang="ko-KR" sz="1900" dirty="0"/>
              <a:t>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mc:AlternateContent xmlns:mc="http://schemas.openxmlformats.org/markup-compatibility/2006" xmlns:cx4="http://schemas.microsoft.com/office/drawing/2016/5/10/chartex">
        <mc:Choice Requires="cx4">
          <p:graphicFrame>
            <p:nvGraphicFramePr>
              <p:cNvPr id="34" name="Content Placeholder 33">
                <a:extLst>
                  <a:ext uri="{FF2B5EF4-FFF2-40B4-BE49-F238E27FC236}">
                    <a16:creationId xmlns:a16="http://schemas.microsoft.com/office/drawing/2014/main" id="{DF51FC69-C68B-CE75-9BD6-FA8AEFA0E292}"/>
                  </a:ext>
                </a:extLst>
              </p:cNvPr>
              <p:cNvGraphicFramePr>
                <a:graphicFrameLocks noGrp="1"/>
              </p:cNvGraphicFramePr>
              <p:nvPr>
                <p:ph idx="13"/>
                <p:extLst>
                  <p:ext uri="{D42A27DB-BD31-4B8C-83A1-F6EECF244321}">
                    <p14:modId xmlns:p14="http://schemas.microsoft.com/office/powerpoint/2010/main" val="3801015947"/>
                  </p:ext>
                </p:extLst>
              </p:nvPr>
            </p:nvGraphicFramePr>
            <p:xfrm>
              <a:off x="714375" y="2781300"/>
              <a:ext cx="11026775" cy="6434138"/>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34" name="Content Placeholder 33">
                <a:extLst>
                  <a:ext uri="{FF2B5EF4-FFF2-40B4-BE49-F238E27FC236}">
                    <a16:creationId xmlns:a16="http://schemas.microsoft.com/office/drawing/2014/main" id="{DF51FC69-C68B-CE75-9BD6-FA8AEFA0E292}"/>
                  </a:ext>
                </a:extLst>
              </p:cNvPr>
              <p:cNvPicPr>
                <a:picLocks noGrp="1" noRot="1" noChangeAspect="1" noMove="1" noResize="1" noEditPoints="1" noAdjustHandles="1" noChangeArrowheads="1" noChangeShapeType="1"/>
              </p:cNvPicPr>
              <p:nvPr/>
            </p:nvPicPr>
            <p:blipFill>
              <a:blip r:embed="rId3"/>
              <a:stretch>
                <a:fillRect/>
              </a:stretch>
            </p:blipFill>
            <p:spPr>
              <a:xfrm>
                <a:off x="714375" y="2781300"/>
                <a:ext cx="11026775" cy="6434138"/>
              </a:xfrm>
              <a:prstGeom prst="rect">
                <a:avLst/>
              </a:prstGeom>
            </p:spPr>
          </p:pic>
        </mc:Fallback>
      </mc:AlternateContent>
      <p:sp>
        <p:nvSpPr>
          <p:cNvPr id="2" name="Slide Number Placeholder 1">
            <a:extLst>
              <a:ext uri="{FF2B5EF4-FFF2-40B4-BE49-F238E27FC236}">
                <a16:creationId xmlns:a16="http://schemas.microsoft.com/office/drawing/2014/main" id="{3538F0EB-CB21-F97A-2241-2B42C79EDCB3}"/>
              </a:ext>
            </a:extLst>
          </p:cNvPr>
          <p:cNvSpPr>
            <a:spLocks noGrp="1"/>
          </p:cNvSpPr>
          <p:nvPr>
            <p:ph type="sldNum" sz="quarter" idx="12"/>
          </p:nvPr>
        </p:nvSpPr>
        <p:spPr/>
        <p:txBody>
          <a:bodyPr/>
          <a:lstStyle/>
          <a:p>
            <a:fld id="{E2D680B1-7F17-42D2-83E2-2C9AC13983BB}" type="slidenum">
              <a:rPr lang="en-US" smtClean="0"/>
              <a:t>35</a:t>
            </a:fld>
            <a:endParaRPr lang="en-US" dirty="0"/>
          </a:p>
        </p:txBody>
      </p:sp>
      <p:sp>
        <p:nvSpPr>
          <p:cNvPr id="3" name="Content Placeholder 6">
            <a:extLst>
              <a:ext uri="{FF2B5EF4-FFF2-40B4-BE49-F238E27FC236}">
                <a16:creationId xmlns:a16="http://schemas.microsoft.com/office/drawing/2014/main" id="{773406EB-6A14-6F5B-0043-09E4CF54C868}"/>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811751D8-1634-D415-2693-6E4EC0D4ED90}"/>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660967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38697-40B6-9DA0-7C2D-894E19392BF9}"/>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12365310-36D9-582C-7E34-1FB7E097DE6F}"/>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11B097E4-921A-CB06-6697-52A8F0CFB046}"/>
              </a:ext>
            </a:extLst>
          </p:cNvPr>
          <p:cNvSpPr>
            <a:spLocks noGrp="1"/>
          </p:cNvSpPr>
          <p:nvPr>
            <p:ph idx="1"/>
          </p:nvPr>
        </p:nvSpPr>
        <p:spPr>
          <a:xfrm>
            <a:off x="12197654" y="2397097"/>
            <a:ext cx="5375970" cy="5647700"/>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6" name="Content Placeholder 8">
            <a:extLst>
              <a:ext uri="{FF2B5EF4-FFF2-40B4-BE49-F238E27FC236}">
                <a16:creationId xmlns:a16="http://schemas.microsoft.com/office/drawing/2014/main" id="{EB69E62B-4C8F-51B8-F747-5219E3F1F313}"/>
              </a:ext>
            </a:extLst>
          </p:cNvPr>
          <p:cNvGraphicFramePr>
            <a:graphicFrameLocks noGrp="1"/>
          </p:cNvGraphicFramePr>
          <p:nvPr>
            <p:ph idx="13"/>
            <p:extLst>
              <p:ext uri="{D42A27DB-BD31-4B8C-83A1-F6EECF244321}">
                <p14:modId xmlns:p14="http://schemas.microsoft.com/office/powerpoint/2010/main" val="4000339222"/>
              </p:ext>
            </p:extLst>
          </p:nvPr>
        </p:nvGraphicFramePr>
        <p:xfrm>
          <a:off x="714375" y="1889125"/>
          <a:ext cx="11026775"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DD087847-ECD6-6E39-7B74-F4DEA0F0A33A}"/>
              </a:ext>
            </a:extLst>
          </p:cNvPr>
          <p:cNvSpPr>
            <a:spLocks noGrp="1"/>
          </p:cNvSpPr>
          <p:nvPr>
            <p:ph type="sldNum" sz="quarter" idx="12"/>
          </p:nvPr>
        </p:nvSpPr>
        <p:spPr/>
        <p:txBody>
          <a:bodyPr/>
          <a:lstStyle/>
          <a:p>
            <a:fld id="{E2D680B1-7F17-42D2-83E2-2C9AC13983BB}" type="slidenum">
              <a:rPr lang="en-US" smtClean="0"/>
              <a:t>36</a:t>
            </a:fld>
            <a:endParaRPr lang="en-US" dirty="0"/>
          </a:p>
        </p:txBody>
      </p:sp>
      <p:sp>
        <p:nvSpPr>
          <p:cNvPr id="3" name="Content Placeholder 6">
            <a:extLst>
              <a:ext uri="{FF2B5EF4-FFF2-40B4-BE49-F238E27FC236}">
                <a16:creationId xmlns:a16="http://schemas.microsoft.com/office/drawing/2014/main" id="{7068B29D-8549-81E4-F686-E2450148F70A}"/>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Tree>
    <p:extLst>
      <p:ext uri="{BB962C8B-B14F-4D97-AF65-F5344CB8AC3E}">
        <p14:creationId xmlns:p14="http://schemas.microsoft.com/office/powerpoint/2010/main" val="19797232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CD703-99B3-11DC-2F94-F73BEFD893FE}"/>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73A71DF9-7E4D-90BF-E174-FB8EDAE4A2FA}"/>
              </a:ext>
            </a:extLst>
          </p:cNvPr>
          <p:cNvSpPr>
            <a:spLocks noGrp="1"/>
          </p:cNvSpPr>
          <p:nvPr>
            <p:ph type="title"/>
          </p:nvPr>
        </p:nvSpPr>
        <p:spPr>
          <a:xfrm>
            <a:off x="714375" y="317500"/>
            <a:ext cx="16859250" cy="1266827"/>
          </a:xfrm>
        </p:spPr>
        <p:txBody>
          <a:bodyPr/>
          <a:lstStyle/>
          <a:p>
            <a:r>
              <a:rPr lang="en-US" dirty="0"/>
              <a:t>Chart-Dominant Split Slide</a:t>
            </a:r>
          </a:p>
        </p:txBody>
      </p:sp>
      <p:sp>
        <p:nvSpPr>
          <p:cNvPr id="7" name="Content Placeholder 6">
            <a:extLst>
              <a:ext uri="{FF2B5EF4-FFF2-40B4-BE49-F238E27FC236}">
                <a16:creationId xmlns:a16="http://schemas.microsoft.com/office/drawing/2014/main" id="{9B6FE2F8-2120-AA85-964F-30F7F84F1A42}"/>
              </a:ext>
            </a:extLst>
          </p:cNvPr>
          <p:cNvSpPr>
            <a:spLocks noGrp="1"/>
          </p:cNvSpPr>
          <p:nvPr>
            <p:ph idx="1"/>
          </p:nvPr>
        </p:nvSpPr>
        <p:spPr>
          <a:xfrm>
            <a:off x="12197654" y="2397097"/>
            <a:ext cx="5375970" cy="5647700"/>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6" name="Content Placeholder 7">
            <a:extLst>
              <a:ext uri="{FF2B5EF4-FFF2-40B4-BE49-F238E27FC236}">
                <a16:creationId xmlns:a16="http://schemas.microsoft.com/office/drawing/2014/main" id="{F524C020-125F-29E8-63B8-3D15A1A33782}"/>
              </a:ext>
            </a:extLst>
          </p:cNvPr>
          <p:cNvGraphicFramePr>
            <a:graphicFrameLocks noGrp="1"/>
          </p:cNvGraphicFramePr>
          <p:nvPr>
            <p:ph idx="13"/>
            <p:extLst>
              <p:ext uri="{D42A27DB-BD31-4B8C-83A1-F6EECF244321}">
                <p14:modId xmlns:p14="http://schemas.microsoft.com/office/powerpoint/2010/main" val="3928238713"/>
              </p:ext>
            </p:extLst>
          </p:nvPr>
        </p:nvGraphicFramePr>
        <p:xfrm>
          <a:off x="714375" y="1889125"/>
          <a:ext cx="11026775"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9E6DA35-B03A-58C4-E7B2-7B4616736B0C}"/>
              </a:ext>
            </a:extLst>
          </p:cNvPr>
          <p:cNvSpPr>
            <a:spLocks noGrp="1"/>
          </p:cNvSpPr>
          <p:nvPr>
            <p:ph type="sldNum" sz="quarter" idx="12"/>
          </p:nvPr>
        </p:nvSpPr>
        <p:spPr/>
        <p:txBody>
          <a:bodyPr/>
          <a:lstStyle/>
          <a:p>
            <a:fld id="{E2D680B1-7F17-42D2-83E2-2C9AC13983BB}" type="slidenum">
              <a:rPr lang="en-US" smtClean="0"/>
              <a:t>37</a:t>
            </a:fld>
            <a:endParaRPr lang="en-US" dirty="0"/>
          </a:p>
        </p:txBody>
      </p:sp>
      <p:sp>
        <p:nvSpPr>
          <p:cNvPr id="3" name="Content Placeholder 6">
            <a:extLst>
              <a:ext uri="{FF2B5EF4-FFF2-40B4-BE49-F238E27FC236}">
                <a16:creationId xmlns:a16="http://schemas.microsoft.com/office/drawing/2014/main" id="{E534431D-CAB9-8108-9ECE-7EDB2BEA095E}"/>
              </a:ext>
            </a:extLst>
          </p:cNvPr>
          <p:cNvSpPr txBox="1">
            <a:spLocks/>
          </p:cNvSpPr>
          <p:nvPr/>
        </p:nvSpPr>
        <p:spPr>
          <a:xfrm>
            <a:off x="12197654" y="1889656"/>
            <a:ext cx="537597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AE59AEE4-4B63-10A0-3F58-452E97B3167C}"/>
              </a:ext>
            </a:extLst>
          </p:cNvPr>
          <p:cNvSpPr txBox="1">
            <a:spLocks/>
          </p:cNvSpPr>
          <p:nvPr/>
        </p:nvSpPr>
        <p:spPr>
          <a:xfrm>
            <a:off x="714374" y="1889656"/>
            <a:ext cx="10715625"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8652340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F6C1B-1979-C129-F89C-878DCA9686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1B61EE-035D-893A-931C-561325642AB6}"/>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369B76F4-7141-2230-FAD8-92FEEEA5B059}"/>
              </a:ext>
            </a:extLst>
          </p:cNvPr>
          <p:cNvSpPr>
            <a:spLocks noGrp="1"/>
          </p:cNvSpPr>
          <p:nvPr>
            <p:ph idx="1"/>
          </p:nvPr>
        </p:nvSpPr>
        <p:spPr>
          <a:xfrm>
            <a:off x="9372600" y="2397097"/>
            <a:ext cx="8201025" cy="6540252"/>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9" name="图表 1">
            <a:extLst>
              <a:ext uri="{FF2B5EF4-FFF2-40B4-BE49-F238E27FC236}">
                <a16:creationId xmlns:a16="http://schemas.microsoft.com/office/drawing/2014/main" id="{52502761-5C46-6C3E-A405-78C937E50312}"/>
              </a:ext>
            </a:extLst>
          </p:cNvPr>
          <p:cNvGraphicFramePr>
            <a:graphicFrameLocks noGrp="1"/>
          </p:cNvGraphicFramePr>
          <p:nvPr>
            <p:ph idx="13"/>
            <p:extLst>
              <p:ext uri="{D42A27DB-BD31-4B8C-83A1-F6EECF244321}">
                <p14:modId xmlns:p14="http://schemas.microsoft.com/office/powerpoint/2010/main" val="590279213"/>
              </p:ext>
            </p:extLst>
          </p:nvPr>
        </p:nvGraphicFramePr>
        <p:xfrm>
          <a:off x="714375" y="2397097"/>
          <a:ext cx="8201025" cy="6818341"/>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4">
            <a:extLst>
              <a:ext uri="{FF2B5EF4-FFF2-40B4-BE49-F238E27FC236}">
                <a16:creationId xmlns:a16="http://schemas.microsoft.com/office/drawing/2014/main" id="{5BD880F7-FE40-66AB-2BAB-7AB99FEBCA3D}"/>
              </a:ext>
            </a:extLst>
          </p:cNvPr>
          <p:cNvSpPr>
            <a:spLocks noGrp="1"/>
          </p:cNvSpPr>
          <p:nvPr>
            <p:ph type="sldNum" sz="quarter" idx="12"/>
          </p:nvPr>
        </p:nvSpPr>
        <p:spPr/>
        <p:txBody>
          <a:bodyPr/>
          <a:lstStyle/>
          <a:p>
            <a:fld id="{E2D680B1-7F17-42D2-83E2-2C9AC13983BB}" type="slidenum">
              <a:rPr lang="en-US" smtClean="0"/>
              <a:t>38</a:t>
            </a:fld>
            <a:endParaRPr lang="en-US" dirty="0"/>
          </a:p>
        </p:txBody>
      </p:sp>
      <p:sp>
        <p:nvSpPr>
          <p:cNvPr id="4" name="Content Placeholder 6">
            <a:extLst>
              <a:ext uri="{FF2B5EF4-FFF2-40B4-BE49-F238E27FC236}">
                <a16:creationId xmlns:a16="http://schemas.microsoft.com/office/drawing/2014/main" id="{0B1F59E6-4A1E-8E4A-8DDC-931CDC6A8B24}"/>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6" name="Content Placeholder 6">
            <a:extLst>
              <a:ext uri="{FF2B5EF4-FFF2-40B4-BE49-F238E27FC236}">
                <a16:creationId xmlns:a16="http://schemas.microsoft.com/office/drawing/2014/main" id="{C9FD1D55-568B-4D76-9F5E-976218F197FB}"/>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1858120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BE989-5DFB-D274-67CD-349A2B2766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5A0889-F143-0E20-325D-F6C29462B96F}"/>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FBA2A4CC-43A7-5ED8-D3DF-5F1CC832CB04}"/>
              </a:ext>
            </a:extLst>
          </p:cNvPr>
          <p:cNvSpPr>
            <a:spLocks noGrp="1"/>
          </p:cNvSpPr>
          <p:nvPr>
            <p:ph idx="1"/>
          </p:nvPr>
        </p:nvSpPr>
        <p:spPr>
          <a:xfrm>
            <a:off x="9372600" y="2397097"/>
            <a:ext cx="8201025" cy="6540252"/>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5" name="Content Placeholder 7">
            <a:extLst>
              <a:ext uri="{FF2B5EF4-FFF2-40B4-BE49-F238E27FC236}">
                <a16:creationId xmlns:a16="http://schemas.microsoft.com/office/drawing/2014/main" id="{B0DB63A2-2E90-3F05-54B2-3E97483AC7E1}"/>
              </a:ext>
            </a:extLst>
          </p:cNvPr>
          <p:cNvGraphicFramePr>
            <a:graphicFrameLocks noGrp="1"/>
          </p:cNvGraphicFramePr>
          <p:nvPr>
            <p:ph idx="13"/>
            <p:extLst>
              <p:ext uri="{D42A27DB-BD31-4B8C-83A1-F6EECF244321}">
                <p14:modId xmlns:p14="http://schemas.microsoft.com/office/powerpoint/2010/main" val="2389722157"/>
              </p:ext>
            </p:extLst>
          </p:nvPr>
        </p:nvGraphicFramePr>
        <p:xfrm>
          <a:off x="714375" y="1889125"/>
          <a:ext cx="8201025"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5">
            <a:extLst>
              <a:ext uri="{FF2B5EF4-FFF2-40B4-BE49-F238E27FC236}">
                <a16:creationId xmlns:a16="http://schemas.microsoft.com/office/drawing/2014/main" id="{3EC731EB-CB75-86E8-A356-F1FC94622CC8}"/>
              </a:ext>
            </a:extLst>
          </p:cNvPr>
          <p:cNvSpPr>
            <a:spLocks noGrp="1"/>
          </p:cNvSpPr>
          <p:nvPr>
            <p:ph type="sldNum" sz="quarter" idx="12"/>
          </p:nvPr>
        </p:nvSpPr>
        <p:spPr/>
        <p:txBody>
          <a:bodyPr/>
          <a:lstStyle/>
          <a:p>
            <a:fld id="{E2D680B1-7F17-42D2-83E2-2C9AC13983BB}" type="slidenum">
              <a:rPr lang="en-US" smtClean="0"/>
              <a:t>39</a:t>
            </a:fld>
            <a:endParaRPr lang="en-US" dirty="0"/>
          </a:p>
        </p:txBody>
      </p:sp>
      <p:sp>
        <p:nvSpPr>
          <p:cNvPr id="4" name="Content Placeholder 6">
            <a:extLst>
              <a:ext uri="{FF2B5EF4-FFF2-40B4-BE49-F238E27FC236}">
                <a16:creationId xmlns:a16="http://schemas.microsoft.com/office/drawing/2014/main" id="{B78D1F7E-3BAD-60FF-498A-A87F7CDE4198}"/>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8" name="Content Placeholder 6">
            <a:extLst>
              <a:ext uri="{FF2B5EF4-FFF2-40B4-BE49-F238E27FC236}">
                <a16:creationId xmlns:a16="http://schemas.microsoft.com/office/drawing/2014/main" id="{EE267F2D-72C6-FDA1-B065-0DFBEF61EAD5}"/>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2165113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713977-776A-6DB3-7AC3-A2178371A15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A1813C-A3E7-54E1-313B-3D3A7355662A}"/>
              </a:ext>
            </a:extLst>
          </p:cNvPr>
          <p:cNvSpPr>
            <a:spLocks noGrp="1"/>
          </p:cNvSpPr>
          <p:nvPr>
            <p:ph type="title"/>
          </p:nvPr>
        </p:nvSpPr>
        <p:spPr>
          <a:xfrm>
            <a:off x="7772400" y="317500"/>
            <a:ext cx="9420224" cy="1266827"/>
          </a:xfrm>
        </p:spPr>
        <p:txBody>
          <a:bodyPr/>
          <a:lstStyle/>
          <a:p>
            <a:r>
              <a:rPr lang="en-US" dirty="0"/>
              <a:t>Table of Contents</a:t>
            </a:r>
            <a:endParaRPr lang="en-IN" dirty="0"/>
          </a:p>
        </p:txBody>
      </p:sp>
      <p:grpSp>
        <p:nvGrpSpPr>
          <p:cNvPr id="19" name="Group 18">
            <a:extLst>
              <a:ext uri="{FF2B5EF4-FFF2-40B4-BE49-F238E27FC236}">
                <a16:creationId xmlns:a16="http://schemas.microsoft.com/office/drawing/2014/main" id="{2AC74457-ADCA-1EE5-E651-B514660503E2}"/>
              </a:ext>
            </a:extLst>
          </p:cNvPr>
          <p:cNvGrpSpPr/>
          <p:nvPr/>
        </p:nvGrpSpPr>
        <p:grpSpPr>
          <a:xfrm>
            <a:off x="7772400" y="2260546"/>
            <a:ext cx="9813924" cy="1384950"/>
            <a:chOff x="7772400" y="2466921"/>
            <a:chExt cx="9813924" cy="1384950"/>
          </a:xfrm>
        </p:grpSpPr>
        <p:sp>
          <p:nvSpPr>
            <p:cNvPr id="5" name="Google Shape;586;p33">
              <a:extLst>
                <a:ext uri="{FF2B5EF4-FFF2-40B4-BE49-F238E27FC236}">
                  <a16:creationId xmlns:a16="http://schemas.microsoft.com/office/drawing/2014/main" id="{8AA1CAD9-7EBB-1172-E8F1-B847665687F7}"/>
                </a:ext>
              </a:extLst>
            </p:cNvPr>
            <p:cNvSpPr txBox="1">
              <a:spLocks/>
            </p:cNvSpPr>
            <p:nvPr/>
          </p:nvSpPr>
          <p:spPr>
            <a:xfrm>
              <a:off x="7772400" y="2466921"/>
              <a:ext cx="1302876" cy="1384950"/>
            </a:xfrm>
            <a:prstGeom prst="rect">
              <a:avLst/>
            </a:prstGeom>
            <a:noFill/>
            <a:ln>
              <a:noFill/>
            </a:ln>
          </p:spPr>
          <p:txBody>
            <a:bodyPr spcFirstLastPara="1" wrap="none" lIns="137138" tIns="137138" rIns="137138" bIns="137138"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1</a:t>
              </a:r>
            </a:p>
          </p:txBody>
        </p:sp>
        <p:sp>
          <p:nvSpPr>
            <p:cNvPr id="15" name="Google Shape;597;p33">
              <a:extLst>
                <a:ext uri="{FF2B5EF4-FFF2-40B4-BE49-F238E27FC236}">
                  <a16:creationId xmlns:a16="http://schemas.microsoft.com/office/drawing/2014/main" id="{86A481D4-9D0A-79C9-9672-09E64F7D1B5B}"/>
                </a:ext>
              </a:extLst>
            </p:cNvPr>
            <p:cNvSpPr txBox="1">
              <a:spLocks/>
            </p:cNvSpPr>
            <p:nvPr/>
          </p:nvSpPr>
          <p:spPr>
            <a:xfrm>
              <a:off x="9318789" y="2700396"/>
              <a:ext cx="8267535" cy="918000"/>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4400" b="1" kern="0" dirty="0">
                  <a:solidFill>
                    <a:schemeClr val="accent1"/>
                  </a:solidFill>
                  <a:latin typeface="Arial" panose="020B0604020202020204" pitchFamily="34" charset="0"/>
                  <a:cs typeface="Arial" panose="020B0604020202020204" pitchFamily="34" charset="0"/>
                </a:rPr>
                <a:t>Title</a:t>
              </a:r>
            </a:p>
          </p:txBody>
        </p:sp>
      </p:grpSp>
      <p:pic>
        <p:nvPicPr>
          <p:cNvPr id="6" name="Picture Placeholder 5" descr="A close-up of a person and person writing in a notebook&#10;&#10;AI-generated content may be incorrect.">
            <a:extLst>
              <a:ext uri="{FF2B5EF4-FFF2-40B4-BE49-F238E27FC236}">
                <a16:creationId xmlns:a16="http://schemas.microsoft.com/office/drawing/2014/main" id="{43737E47-F54C-E144-C7ED-636699D434C2}"/>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16522" t="19133" b="2611"/>
          <a:stretch>
            <a:fillRect/>
          </a:stretch>
        </p:blipFill>
        <p:spPr>
          <a:xfrm>
            <a:off x="0" y="0"/>
            <a:ext cx="7315200" cy="10287000"/>
          </a:xfrm>
        </p:spPr>
      </p:pic>
      <p:grpSp>
        <p:nvGrpSpPr>
          <p:cNvPr id="20" name="Group 19">
            <a:extLst>
              <a:ext uri="{FF2B5EF4-FFF2-40B4-BE49-F238E27FC236}">
                <a16:creationId xmlns:a16="http://schemas.microsoft.com/office/drawing/2014/main" id="{8A9537EA-308C-6750-458E-8728FEECC0C7}"/>
              </a:ext>
            </a:extLst>
          </p:cNvPr>
          <p:cNvGrpSpPr/>
          <p:nvPr/>
        </p:nvGrpSpPr>
        <p:grpSpPr>
          <a:xfrm>
            <a:off x="7772400" y="4055281"/>
            <a:ext cx="9813924" cy="1384950"/>
            <a:chOff x="7772400" y="2466921"/>
            <a:chExt cx="9813924" cy="1384950"/>
          </a:xfrm>
        </p:grpSpPr>
        <p:sp>
          <p:nvSpPr>
            <p:cNvPr id="25" name="Google Shape;586;p33">
              <a:extLst>
                <a:ext uri="{FF2B5EF4-FFF2-40B4-BE49-F238E27FC236}">
                  <a16:creationId xmlns:a16="http://schemas.microsoft.com/office/drawing/2014/main" id="{CCFBE096-AF29-6C5A-2D7E-AD29F4DF48CA}"/>
                </a:ext>
              </a:extLst>
            </p:cNvPr>
            <p:cNvSpPr txBox="1">
              <a:spLocks/>
            </p:cNvSpPr>
            <p:nvPr/>
          </p:nvSpPr>
          <p:spPr>
            <a:xfrm>
              <a:off x="7772400" y="2466921"/>
              <a:ext cx="1302876" cy="1384950"/>
            </a:xfrm>
            <a:prstGeom prst="rect">
              <a:avLst/>
            </a:prstGeom>
            <a:noFill/>
            <a:ln>
              <a:noFill/>
            </a:ln>
          </p:spPr>
          <p:txBody>
            <a:bodyPr spcFirstLastPara="1" wrap="none" lIns="137138" tIns="137138" rIns="137138" bIns="137138"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2</a:t>
              </a:r>
            </a:p>
          </p:txBody>
        </p:sp>
        <p:sp>
          <p:nvSpPr>
            <p:cNvPr id="27" name="Google Shape;597;p33">
              <a:extLst>
                <a:ext uri="{FF2B5EF4-FFF2-40B4-BE49-F238E27FC236}">
                  <a16:creationId xmlns:a16="http://schemas.microsoft.com/office/drawing/2014/main" id="{57C89AFB-38F8-3BBD-3612-4E32EB9984F1}"/>
                </a:ext>
              </a:extLst>
            </p:cNvPr>
            <p:cNvSpPr txBox="1">
              <a:spLocks/>
            </p:cNvSpPr>
            <p:nvPr/>
          </p:nvSpPr>
          <p:spPr>
            <a:xfrm>
              <a:off x="9318789" y="2700396"/>
              <a:ext cx="8267535" cy="918000"/>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4400" b="1" kern="0" dirty="0">
                  <a:solidFill>
                    <a:schemeClr val="accent1"/>
                  </a:solidFill>
                  <a:latin typeface="Arial" panose="020B0604020202020204" pitchFamily="34" charset="0"/>
                  <a:cs typeface="Arial" panose="020B0604020202020204" pitchFamily="34" charset="0"/>
                </a:rPr>
                <a:t>Title</a:t>
              </a:r>
            </a:p>
          </p:txBody>
        </p:sp>
      </p:grpSp>
      <p:grpSp>
        <p:nvGrpSpPr>
          <p:cNvPr id="28" name="Group 27">
            <a:extLst>
              <a:ext uri="{FF2B5EF4-FFF2-40B4-BE49-F238E27FC236}">
                <a16:creationId xmlns:a16="http://schemas.microsoft.com/office/drawing/2014/main" id="{D8FF8D11-31B7-B4B1-CB49-06B9C3B736F8}"/>
              </a:ext>
            </a:extLst>
          </p:cNvPr>
          <p:cNvGrpSpPr/>
          <p:nvPr/>
        </p:nvGrpSpPr>
        <p:grpSpPr>
          <a:xfrm>
            <a:off x="7772400" y="5850016"/>
            <a:ext cx="9813924" cy="1384950"/>
            <a:chOff x="7772400" y="2466921"/>
            <a:chExt cx="9813924" cy="1384950"/>
          </a:xfrm>
        </p:grpSpPr>
        <p:sp>
          <p:nvSpPr>
            <p:cNvPr id="29" name="Google Shape;586;p33">
              <a:extLst>
                <a:ext uri="{FF2B5EF4-FFF2-40B4-BE49-F238E27FC236}">
                  <a16:creationId xmlns:a16="http://schemas.microsoft.com/office/drawing/2014/main" id="{CF822EC7-5501-730C-3742-FDEAF822B7B4}"/>
                </a:ext>
              </a:extLst>
            </p:cNvPr>
            <p:cNvSpPr txBox="1">
              <a:spLocks/>
            </p:cNvSpPr>
            <p:nvPr/>
          </p:nvSpPr>
          <p:spPr>
            <a:xfrm>
              <a:off x="7772400" y="2466921"/>
              <a:ext cx="1302876" cy="1384950"/>
            </a:xfrm>
            <a:prstGeom prst="rect">
              <a:avLst/>
            </a:prstGeom>
            <a:noFill/>
            <a:ln>
              <a:noFill/>
            </a:ln>
          </p:spPr>
          <p:txBody>
            <a:bodyPr spcFirstLastPara="1" wrap="none" lIns="137138" tIns="137138" rIns="137138" bIns="137138"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3</a:t>
              </a:r>
            </a:p>
          </p:txBody>
        </p:sp>
        <p:sp>
          <p:nvSpPr>
            <p:cNvPr id="30" name="Google Shape;597;p33">
              <a:extLst>
                <a:ext uri="{FF2B5EF4-FFF2-40B4-BE49-F238E27FC236}">
                  <a16:creationId xmlns:a16="http://schemas.microsoft.com/office/drawing/2014/main" id="{A54296BE-82A1-DFA4-3EEE-F91B2C5FB0E4}"/>
                </a:ext>
              </a:extLst>
            </p:cNvPr>
            <p:cNvSpPr txBox="1">
              <a:spLocks/>
            </p:cNvSpPr>
            <p:nvPr/>
          </p:nvSpPr>
          <p:spPr>
            <a:xfrm>
              <a:off x="9318789" y="2700396"/>
              <a:ext cx="8267535" cy="918000"/>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4400" b="1" kern="0" dirty="0">
                  <a:solidFill>
                    <a:schemeClr val="accent1"/>
                  </a:solidFill>
                  <a:latin typeface="Arial" panose="020B0604020202020204" pitchFamily="34" charset="0"/>
                  <a:cs typeface="Arial" panose="020B0604020202020204" pitchFamily="34" charset="0"/>
                </a:rPr>
                <a:t>Title</a:t>
              </a:r>
            </a:p>
          </p:txBody>
        </p:sp>
      </p:grpSp>
      <p:grpSp>
        <p:nvGrpSpPr>
          <p:cNvPr id="31" name="Group 30">
            <a:extLst>
              <a:ext uri="{FF2B5EF4-FFF2-40B4-BE49-F238E27FC236}">
                <a16:creationId xmlns:a16="http://schemas.microsoft.com/office/drawing/2014/main" id="{9BC19E1B-E428-E0A9-E710-DC8494E396A2}"/>
              </a:ext>
            </a:extLst>
          </p:cNvPr>
          <p:cNvGrpSpPr/>
          <p:nvPr/>
        </p:nvGrpSpPr>
        <p:grpSpPr>
          <a:xfrm>
            <a:off x="7772400" y="7644750"/>
            <a:ext cx="9813924" cy="1384950"/>
            <a:chOff x="7772400" y="2466921"/>
            <a:chExt cx="9813924" cy="1384950"/>
          </a:xfrm>
        </p:grpSpPr>
        <p:sp>
          <p:nvSpPr>
            <p:cNvPr id="32" name="Google Shape;586;p33">
              <a:extLst>
                <a:ext uri="{FF2B5EF4-FFF2-40B4-BE49-F238E27FC236}">
                  <a16:creationId xmlns:a16="http://schemas.microsoft.com/office/drawing/2014/main" id="{30822E03-AB40-EB0B-89B6-4A5A88C57B59}"/>
                </a:ext>
              </a:extLst>
            </p:cNvPr>
            <p:cNvSpPr txBox="1">
              <a:spLocks/>
            </p:cNvSpPr>
            <p:nvPr/>
          </p:nvSpPr>
          <p:spPr>
            <a:xfrm>
              <a:off x="7772400" y="2466921"/>
              <a:ext cx="1302876" cy="1384950"/>
            </a:xfrm>
            <a:prstGeom prst="rect">
              <a:avLst/>
            </a:prstGeom>
            <a:noFill/>
            <a:ln>
              <a:noFill/>
            </a:ln>
          </p:spPr>
          <p:txBody>
            <a:bodyPr spcFirstLastPara="1" wrap="none" lIns="137138" tIns="137138" rIns="137138" bIns="137138"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4</a:t>
              </a:r>
            </a:p>
          </p:txBody>
        </p:sp>
        <p:sp>
          <p:nvSpPr>
            <p:cNvPr id="33" name="Google Shape;597;p33">
              <a:extLst>
                <a:ext uri="{FF2B5EF4-FFF2-40B4-BE49-F238E27FC236}">
                  <a16:creationId xmlns:a16="http://schemas.microsoft.com/office/drawing/2014/main" id="{805704AD-1B36-547C-06D0-DBF109EC02E6}"/>
                </a:ext>
              </a:extLst>
            </p:cNvPr>
            <p:cNvSpPr txBox="1">
              <a:spLocks/>
            </p:cNvSpPr>
            <p:nvPr/>
          </p:nvSpPr>
          <p:spPr>
            <a:xfrm>
              <a:off x="9318789" y="2700396"/>
              <a:ext cx="8267535" cy="918000"/>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4400" b="1" kern="0" dirty="0">
                  <a:solidFill>
                    <a:schemeClr val="accent1"/>
                  </a:solidFill>
                  <a:latin typeface="Arial" panose="020B0604020202020204" pitchFamily="34" charset="0"/>
                  <a:cs typeface="Arial" panose="020B0604020202020204" pitchFamily="34" charset="0"/>
                </a:rPr>
                <a:t>Title</a:t>
              </a:r>
            </a:p>
          </p:txBody>
        </p:sp>
      </p:grpSp>
      <p:sp>
        <p:nvSpPr>
          <p:cNvPr id="4" name="Slide Number Placeholder 3">
            <a:extLst>
              <a:ext uri="{FF2B5EF4-FFF2-40B4-BE49-F238E27FC236}">
                <a16:creationId xmlns:a16="http://schemas.microsoft.com/office/drawing/2014/main" id="{D22E99E9-CB75-05AB-2C01-B9E37682C884}"/>
              </a:ext>
            </a:extLst>
          </p:cNvPr>
          <p:cNvSpPr>
            <a:spLocks noGrp="1"/>
          </p:cNvSpPr>
          <p:nvPr>
            <p:ph type="sldNum" sz="quarter" idx="11"/>
          </p:nvPr>
        </p:nvSpPr>
        <p:spPr/>
        <p:txBody>
          <a:bodyPr/>
          <a:lstStyle/>
          <a:p>
            <a:fld id="{E2D680B1-7F17-42D2-83E2-2C9AC13983BB}" type="slidenum">
              <a:rPr lang="en-US" smtClean="0"/>
              <a:pPr/>
              <a:t>4</a:t>
            </a:fld>
            <a:endParaRPr lang="en-US" dirty="0"/>
          </a:p>
        </p:txBody>
      </p:sp>
    </p:spTree>
    <p:extLst>
      <p:ext uri="{BB962C8B-B14F-4D97-AF65-F5344CB8AC3E}">
        <p14:creationId xmlns:p14="http://schemas.microsoft.com/office/powerpoint/2010/main" val="124553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5529C-BE7B-EC05-5B6D-7553C2102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829154-3531-F54F-AFEE-5A8D5A19AD3D}"/>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4E489CA2-FB12-7B1D-7651-169606C7DB36}"/>
              </a:ext>
            </a:extLst>
          </p:cNvPr>
          <p:cNvSpPr>
            <a:spLocks noGrp="1"/>
          </p:cNvSpPr>
          <p:nvPr>
            <p:ph idx="1"/>
          </p:nvPr>
        </p:nvSpPr>
        <p:spPr>
          <a:xfrm>
            <a:off x="9372600" y="2397097"/>
            <a:ext cx="8201025" cy="7325576"/>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9" name="Content Placeholder 8">
            <a:extLst>
              <a:ext uri="{FF2B5EF4-FFF2-40B4-BE49-F238E27FC236}">
                <a16:creationId xmlns:a16="http://schemas.microsoft.com/office/drawing/2014/main" id="{EA8F6562-1468-4820-818A-506F8299E82B}"/>
              </a:ext>
            </a:extLst>
          </p:cNvPr>
          <p:cNvGraphicFramePr>
            <a:graphicFrameLocks noGrp="1"/>
          </p:cNvGraphicFramePr>
          <p:nvPr>
            <p:ph idx="13"/>
            <p:extLst>
              <p:ext uri="{D42A27DB-BD31-4B8C-83A1-F6EECF244321}">
                <p14:modId xmlns:p14="http://schemas.microsoft.com/office/powerpoint/2010/main" val="743994968"/>
              </p:ext>
            </p:extLst>
          </p:nvPr>
        </p:nvGraphicFramePr>
        <p:xfrm>
          <a:off x="714375" y="2502762"/>
          <a:ext cx="8201025" cy="6712675"/>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4">
            <a:extLst>
              <a:ext uri="{FF2B5EF4-FFF2-40B4-BE49-F238E27FC236}">
                <a16:creationId xmlns:a16="http://schemas.microsoft.com/office/drawing/2014/main" id="{15789D3C-1283-66A1-58C3-3E4B0784BA9C}"/>
              </a:ext>
            </a:extLst>
          </p:cNvPr>
          <p:cNvSpPr>
            <a:spLocks noGrp="1"/>
          </p:cNvSpPr>
          <p:nvPr>
            <p:ph type="sldNum" sz="quarter" idx="12"/>
          </p:nvPr>
        </p:nvSpPr>
        <p:spPr/>
        <p:txBody>
          <a:bodyPr/>
          <a:lstStyle/>
          <a:p>
            <a:fld id="{E2D680B1-7F17-42D2-83E2-2C9AC13983BB}" type="slidenum">
              <a:rPr lang="en-US" smtClean="0"/>
              <a:t>40</a:t>
            </a:fld>
            <a:endParaRPr lang="en-US" dirty="0"/>
          </a:p>
        </p:txBody>
      </p:sp>
      <p:sp>
        <p:nvSpPr>
          <p:cNvPr id="3" name="Content Placeholder 6">
            <a:extLst>
              <a:ext uri="{FF2B5EF4-FFF2-40B4-BE49-F238E27FC236}">
                <a16:creationId xmlns:a16="http://schemas.microsoft.com/office/drawing/2014/main" id="{497E4034-8E5A-6318-8C86-166ABE3E5E75}"/>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260C69F2-7B53-62EC-46A2-6FAECAF14637}"/>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6539733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715E3-922B-02EA-4D6F-4D92CD199F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C72E78-7AFD-ACFA-2096-4D9A1D42FEC9}"/>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E29895A0-99ED-C02D-8A22-DFA14FB8605D}"/>
              </a:ext>
            </a:extLst>
          </p:cNvPr>
          <p:cNvSpPr>
            <a:spLocks noGrp="1"/>
          </p:cNvSpPr>
          <p:nvPr>
            <p:ph idx="1"/>
          </p:nvPr>
        </p:nvSpPr>
        <p:spPr>
          <a:xfrm>
            <a:off x="9372600" y="2397097"/>
            <a:ext cx="8201025" cy="7325576"/>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5" name="Content Placeholder 10">
            <a:extLst>
              <a:ext uri="{FF2B5EF4-FFF2-40B4-BE49-F238E27FC236}">
                <a16:creationId xmlns:a16="http://schemas.microsoft.com/office/drawing/2014/main" id="{FA383ED7-B77F-3C32-58A4-7FAAFEAD867B}"/>
              </a:ext>
            </a:extLst>
          </p:cNvPr>
          <p:cNvGraphicFramePr>
            <a:graphicFrameLocks noGrp="1"/>
          </p:cNvGraphicFramePr>
          <p:nvPr>
            <p:ph idx="13"/>
            <p:extLst>
              <p:ext uri="{D42A27DB-BD31-4B8C-83A1-F6EECF244321}">
                <p14:modId xmlns:p14="http://schemas.microsoft.com/office/powerpoint/2010/main" val="5926111"/>
              </p:ext>
            </p:extLst>
          </p:nvPr>
        </p:nvGraphicFramePr>
        <p:xfrm>
          <a:off x="714375" y="2476500"/>
          <a:ext cx="8201025" cy="6738938"/>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5">
            <a:extLst>
              <a:ext uri="{FF2B5EF4-FFF2-40B4-BE49-F238E27FC236}">
                <a16:creationId xmlns:a16="http://schemas.microsoft.com/office/drawing/2014/main" id="{D0374972-508C-DF44-B77A-E73ECC2A00C0}"/>
              </a:ext>
            </a:extLst>
          </p:cNvPr>
          <p:cNvSpPr>
            <a:spLocks noGrp="1"/>
          </p:cNvSpPr>
          <p:nvPr>
            <p:ph type="sldNum" sz="quarter" idx="12"/>
          </p:nvPr>
        </p:nvSpPr>
        <p:spPr/>
        <p:txBody>
          <a:bodyPr/>
          <a:lstStyle/>
          <a:p>
            <a:fld id="{E2D680B1-7F17-42D2-83E2-2C9AC13983BB}" type="slidenum">
              <a:rPr lang="en-US" smtClean="0"/>
              <a:t>41</a:t>
            </a:fld>
            <a:endParaRPr lang="en-US" dirty="0"/>
          </a:p>
        </p:txBody>
      </p:sp>
      <p:sp>
        <p:nvSpPr>
          <p:cNvPr id="3" name="Content Placeholder 6">
            <a:extLst>
              <a:ext uri="{FF2B5EF4-FFF2-40B4-BE49-F238E27FC236}">
                <a16:creationId xmlns:a16="http://schemas.microsoft.com/office/drawing/2014/main" id="{E138C1FE-BFA7-D861-EE56-439EDFF38757}"/>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C720C216-3C18-21B5-4F2D-6A81C5D0A207}"/>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6500578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BB199-5008-B46D-0777-756D8581EF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2C6ED6-5FFC-D85C-59A9-C5395B1C7700}"/>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C7D30495-EA5A-3ACA-5E45-7B6FBB386C69}"/>
              </a:ext>
            </a:extLst>
          </p:cNvPr>
          <p:cNvSpPr>
            <a:spLocks noGrp="1"/>
          </p:cNvSpPr>
          <p:nvPr>
            <p:ph idx="1"/>
          </p:nvPr>
        </p:nvSpPr>
        <p:spPr>
          <a:xfrm>
            <a:off x="9372600" y="2397097"/>
            <a:ext cx="8201025" cy="7325576"/>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5" name="Content Placeholder 7">
            <a:extLst>
              <a:ext uri="{FF2B5EF4-FFF2-40B4-BE49-F238E27FC236}">
                <a16:creationId xmlns:a16="http://schemas.microsoft.com/office/drawing/2014/main" id="{ACB54679-5AFB-68D4-CACC-B16B36A01914}"/>
              </a:ext>
            </a:extLst>
          </p:cNvPr>
          <p:cNvGraphicFramePr>
            <a:graphicFrameLocks noGrp="1"/>
          </p:cNvGraphicFramePr>
          <p:nvPr>
            <p:ph idx="13"/>
            <p:extLst>
              <p:ext uri="{D42A27DB-BD31-4B8C-83A1-F6EECF244321}">
                <p14:modId xmlns:p14="http://schemas.microsoft.com/office/powerpoint/2010/main" val="1730068006"/>
              </p:ext>
            </p:extLst>
          </p:nvPr>
        </p:nvGraphicFramePr>
        <p:xfrm>
          <a:off x="714375" y="2704872"/>
          <a:ext cx="8201025" cy="6510565"/>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5">
            <a:extLst>
              <a:ext uri="{FF2B5EF4-FFF2-40B4-BE49-F238E27FC236}">
                <a16:creationId xmlns:a16="http://schemas.microsoft.com/office/drawing/2014/main" id="{74D6E4A6-B4ED-9B18-9D5D-99E45E72CF92}"/>
              </a:ext>
            </a:extLst>
          </p:cNvPr>
          <p:cNvSpPr>
            <a:spLocks noGrp="1"/>
          </p:cNvSpPr>
          <p:nvPr>
            <p:ph type="sldNum" sz="quarter" idx="12"/>
          </p:nvPr>
        </p:nvSpPr>
        <p:spPr/>
        <p:txBody>
          <a:bodyPr/>
          <a:lstStyle/>
          <a:p>
            <a:fld id="{E2D680B1-7F17-42D2-83E2-2C9AC13983BB}" type="slidenum">
              <a:rPr lang="en-US" smtClean="0"/>
              <a:t>42</a:t>
            </a:fld>
            <a:endParaRPr lang="en-US" dirty="0"/>
          </a:p>
        </p:txBody>
      </p:sp>
      <p:sp>
        <p:nvSpPr>
          <p:cNvPr id="3" name="Content Placeholder 6">
            <a:extLst>
              <a:ext uri="{FF2B5EF4-FFF2-40B4-BE49-F238E27FC236}">
                <a16:creationId xmlns:a16="http://schemas.microsoft.com/office/drawing/2014/main" id="{7FDBEE72-8B32-C343-A906-AE89FCE73DEA}"/>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D4397139-782C-DF3B-6FA8-1957C1629C26}"/>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5521039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13914-71DC-B86E-6B35-20DF57921D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B06D3E-3A8A-91DB-00BF-6FFD0F594596}"/>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6E34496C-F0B9-9CD0-4274-93266E660FCA}"/>
              </a:ext>
            </a:extLst>
          </p:cNvPr>
          <p:cNvSpPr>
            <a:spLocks noGrp="1"/>
          </p:cNvSpPr>
          <p:nvPr>
            <p:ph idx="1"/>
          </p:nvPr>
        </p:nvSpPr>
        <p:spPr>
          <a:xfrm>
            <a:off x="9372600" y="2397097"/>
            <a:ext cx="8201025" cy="7325576"/>
          </a:xfrm>
        </p:spPr>
        <p:txBody>
          <a:bodyPr vert="horz" lIns="0" tIns="0" rIns="0" bIns="0" rtlCol="0">
            <a:spAutoFit/>
          </a:bodyPr>
          <a:lstStyle/>
          <a:p>
            <a:r>
              <a:rPr lang="en-US" altLang="ko-KR" sz="1900"/>
              <a:t>Lorem </a:t>
            </a:r>
            <a:r>
              <a:rPr lang="en-US" altLang="ko-KR" sz="1900" dirty="0"/>
              <a:t>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mc:AlternateContent xmlns:mc="http://schemas.openxmlformats.org/markup-compatibility/2006" xmlns:cx4="http://schemas.microsoft.com/office/drawing/2016/5/10/chartex">
        <mc:Choice Requires="cx4">
          <p:graphicFrame>
            <p:nvGraphicFramePr>
              <p:cNvPr id="5" name="Content Placeholder 33">
                <a:extLst>
                  <a:ext uri="{FF2B5EF4-FFF2-40B4-BE49-F238E27FC236}">
                    <a16:creationId xmlns:a16="http://schemas.microsoft.com/office/drawing/2014/main" id="{B00C5B69-3E50-A4E3-61DA-3D0BB0392091}"/>
                  </a:ext>
                </a:extLst>
              </p:cNvPr>
              <p:cNvGraphicFramePr>
                <a:graphicFrameLocks noGrp="1"/>
              </p:cNvGraphicFramePr>
              <p:nvPr>
                <p:ph idx="13"/>
                <p:extLst>
                  <p:ext uri="{D42A27DB-BD31-4B8C-83A1-F6EECF244321}">
                    <p14:modId xmlns:p14="http://schemas.microsoft.com/office/powerpoint/2010/main" val="2567027842"/>
                  </p:ext>
                </p:extLst>
              </p:nvPr>
            </p:nvGraphicFramePr>
            <p:xfrm>
              <a:off x="714375" y="2502762"/>
              <a:ext cx="8201025" cy="6712676"/>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5" name="Content Placeholder 33">
                <a:extLst>
                  <a:ext uri="{FF2B5EF4-FFF2-40B4-BE49-F238E27FC236}">
                    <a16:creationId xmlns:a16="http://schemas.microsoft.com/office/drawing/2014/main" id="{B00C5B69-3E50-A4E3-61DA-3D0BB0392091}"/>
                  </a:ext>
                </a:extLst>
              </p:cNvPr>
              <p:cNvPicPr>
                <a:picLocks noGrp="1" noRot="1" noChangeAspect="1" noMove="1" noResize="1" noEditPoints="1" noAdjustHandles="1" noChangeArrowheads="1" noChangeShapeType="1"/>
              </p:cNvPicPr>
              <p:nvPr/>
            </p:nvPicPr>
            <p:blipFill>
              <a:blip r:embed="rId3"/>
              <a:stretch>
                <a:fillRect/>
              </a:stretch>
            </p:blipFill>
            <p:spPr>
              <a:xfrm>
                <a:off x="714375" y="2502762"/>
                <a:ext cx="8201025" cy="6712676"/>
              </a:xfrm>
              <a:prstGeom prst="rect">
                <a:avLst/>
              </a:prstGeom>
            </p:spPr>
          </p:pic>
        </mc:Fallback>
      </mc:AlternateContent>
      <p:sp>
        <p:nvSpPr>
          <p:cNvPr id="6" name="Slide Number Placeholder 5">
            <a:extLst>
              <a:ext uri="{FF2B5EF4-FFF2-40B4-BE49-F238E27FC236}">
                <a16:creationId xmlns:a16="http://schemas.microsoft.com/office/drawing/2014/main" id="{DB717DC7-F2A6-3F5F-0563-B6BE92BBF7DA}"/>
              </a:ext>
            </a:extLst>
          </p:cNvPr>
          <p:cNvSpPr>
            <a:spLocks noGrp="1"/>
          </p:cNvSpPr>
          <p:nvPr>
            <p:ph type="sldNum" sz="quarter" idx="12"/>
          </p:nvPr>
        </p:nvSpPr>
        <p:spPr/>
        <p:txBody>
          <a:bodyPr/>
          <a:lstStyle/>
          <a:p>
            <a:fld id="{E2D680B1-7F17-42D2-83E2-2C9AC13983BB}" type="slidenum">
              <a:rPr lang="en-US" smtClean="0"/>
              <a:t>43</a:t>
            </a:fld>
            <a:endParaRPr lang="en-US" dirty="0"/>
          </a:p>
        </p:txBody>
      </p:sp>
      <p:sp>
        <p:nvSpPr>
          <p:cNvPr id="3" name="Content Placeholder 6">
            <a:extLst>
              <a:ext uri="{FF2B5EF4-FFF2-40B4-BE49-F238E27FC236}">
                <a16:creationId xmlns:a16="http://schemas.microsoft.com/office/drawing/2014/main" id="{FE6A2BC7-1D0F-E4C7-5ADF-6C8BBD3BBD11}"/>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98EE254A-E6DB-36DE-70CB-09B738BD9A39}"/>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453376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D2DA5-0FBE-21F5-A26B-8A99D62220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8F62E0-432D-DA42-225C-D52A91C6D0EE}"/>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97033B04-3462-DE45-AFFA-2B6897D62979}"/>
              </a:ext>
            </a:extLst>
          </p:cNvPr>
          <p:cNvSpPr>
            <a:spLocks noGrp="1"/>
          </p:cNvSpPr>
          <p:nvPr>
            <p:ph idx="1"/>
          </p:nvPr>
        </p:nvSpPr>
        <p:spPr>
          <a:xfrm>
            <a:off x="9372600" y="2397097"/>
            <a:ext cx="8201025" cy="7325576"/>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5" name="Content Placeholder 8">
            <a:extLst>
              <a:ext uri="{FF2B5EF4-FFF2-40B4-BE49-F238E27FC236}">
                <a16:creationId xmlns:a16="http://schemas.microsoft.com/office/drawing/2014/main" id="{C8A6B65B-CDC6-5F7F-5B6B-1C1A5D0F9642}"/>
              </a:ext>
            </a:extLst>
          </p:cNvPr>
          <p:cNvGraphicFramePr>
            <a:graphicFrameLocks noGrp="1"/>
          </p:cNvGraphicFramePr>
          <p:nvPr>
            <p:ph idx="13"/>
            <p:extLst>
              <p:ext uri="{D42A27DB-BD31-4B8C-83A1-F6EECF244321}">
                <p14:modId xmlns:p14="http://schemas.microsoft.com/office/powerpoint/2010/main" val="1220606503"/>
              </p:ext>
            </p:extLst>
          </p:nvPr>
        </p:nvGraphicFramePr>
        <p:xfrm>
          <a:off x="714375" y="2502762"/>
          <a:ext cx="8201025" cy="6712676"/>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5">
            <a:extLst>
              <a:ext uri="{FF2B5EF4-FFF2-40B4-BE49-F238E27FC236}">
                <a16:creationId xmlns:a16="http://schemas.microsoft.com/office/drawing/2014/main" id="{7FCC48E2-160B-5626-C23C-282E6719ACD0}"/>
              </a:ext>
            </a:extLst>
          </p:cNvPr>
          <p:cNvSpPr>
            <a:spLocks noGrp="1"/>
          </p:cNvSpPr>
          <p:nvPr>
            <p:ph type="sldNum" sz="quarter" idx="12"/>
          </p:nvPr>
        </p:nvSpPr>
        <p:spPr/>
        <p:txBody>
          <a:bodyPr/>
          <a:lstStyle/>
          <a:p>
            <a:fld id="{E2D680B1-7F17-42D2-83E2-2C9AC13983BB}" type="slidenum">
              <a:rPr lang="en-US" smtClean="0"/>
              <a:t>44</a:t>
            </a:fld>
            <a:endParaRPr lang="en-US" dirty="0"/>
          </a:p>
        </p:txBody>
      </p:sp>
      <p:sp>
        <p:nvSpPr>
          <p:cNvPr id="3" name="Content Placeholder 6">
            <a:extLst>
              <a:ext uri="{FF2B5EF4-FFF2-40B4-BE49-F238E27FC236}">
                <a16:creationId xmlns:a16="http://schemas.microsoft.com/office/drawing/2014/main" id="{39455841-575F-88F0-AD6F-71F1707097CA}"/>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1FBBA6A6-6CB5-8E4F-2A7E-F93DC2635408}"/>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669858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AD57E-959D-C25D-1AB5-4E7855B753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A1775-9AA7-E974-2280-A73F887CFFCD}"/>
              </a:ext>
            </a:extLst>
          </p:cNvPr>
          <p:cNvSpPr>
            <a:spLocks noGrp="1"/>
          </p:cNvSpPr>
          <p:nvPr>
            <p:ph type="title"/>
          </p:nvPr>
        </p:nvSpPr>
        <p:spPr/>
        <p:txBody>
          <a:bodyPr/>
          <a:lstStyle/>
          <a:p>
            <a:r>
              <a:rPr lang="en-US" dirty="0"/>
              <a:t>Balanced Data &amp; Insights Slide</a:t>
            </a:r>
          </a:p>
        </p:txBody>
      </p:sp>
      <p:sp>
        <p:nvSpPr>
          <p:cNvPr id="7" name="Content Placeholder 6">
            <a:extLst>
              <a:ext uri="{FF2B5EF4-FFF2-40B4-BE49-F238E27FC236}">
                <a16:creationId xmlns:a16="http://schemas.microsoft.com/office/drawing/2014/main" id="{29C82589-4904-5FC6-7A3A-5FA8B7441FCB}"/>
              </a:ext>
            </a:extLst>
          </p:cNvPr>
          <p:cNvSpPr>
            <a:spLocks noGrp="1"/>
          </p:cNvSpPr>
          <p:nvPr>
            <p:ph idx="1"/>
          </p:nvPr>
        </p:nvSpPr>
        <p:spPr>
          <a:xfrm>
            <a:off x="9372600" y="2397097"/>
            <a:ext cx="8201025" cy="7325576"/>
          </a:xfrm>
        </p:spPr>
        <p:txBody>
          <a:bodyPr vert="horz" lIns="0" tIns="0" rIns="0" bIns="0" rtlCol="0">
            <a:spAutoFit/>
          </a:bodyPr>
          <a:lstStyle/>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 standard dummy text</a:t>
            </a:r>
          </a:p>
          <a:p>
            <a:r>
              <a:rPr lang="en-US" altLang="ko-KR" sz="1900" dirty="0"/>
              <a:t>Lorem Ipsum is simply dummy text of the printing and typesetting industry. Lorem Ipsum has been the industry’s</a:t>
            </a:r>
          </a:p>
          <a:p>
            <a:r>
              <a:rPr lang="en-US" altLang="ko-KR" sz="1900" dirty="0"/>
              <a:t>Lorem Ipsum is simply dummy text of the printing and typesetting industry. Lorem Ipsum has been the industry’s</a:t>
            </a:r>
          </a:p>
        </p:txBody>
      </p:sp>
      <p:graphicFrame>
        <p:nvGraphicFramePr>
          <p:cNvPr id="5" name="Content Placeholder 7">
            <a:extLst>
              <a:ext uri="{FF2B5EF4-FFF2-40B4-BE49-F238E27FC236}">
                <a16:creationId xmlns:a16="http://schemas.microsoft.com/office/drawing/2014/main" id="{82F2F517-1D0B-3917-5B25-1F35551C59F3}"/>
              </a:ext>
            </a:extLst>
          </p:cNvPr>
          <p:cNvGraphicFramePr>
            <a:graphicFrameLocks noGrp="1"/>
          </p:cNvGraphicFramePr>
          <p:nvPr>
            <p:ph idx="13"/>
            <p:extLst>
              <p:ext uri="{D42A27DB-BD31-4B8C-83A1-F6EECF244321}">
                <p14:modId xmlns:p14="http://schemas.microsoft.com/office/powerpoint/2010/main" val="453831865"/>
              </p:ext>
            </p:extLst>
          </p:nvPr>
        </p:nvGraphicFramePr>
        <p:xfrm>
          <a:off x="714375" y="2324100"/>
          <a:ext cx="8201025" cy="689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5">
            <a:extLst>
              <a:ext uri="{FF2B5EF4-FFF2-40B4-BE49-F238E27FC236}">
                <a16:creationId xmlns:a16="http://schemas.microsoft.com/office/drawing/2014/main" id="{36A561F7-4C73-5E17-DDC2-3F2F82C409A7}"/>
              </a:ext>
            </a:extLst>
          </p:cNvPr>
          <p:cNvSpPr>
            <a:spLocks noGrp="1"/>
          </p:cNvSpPr>
          <p:nvPr>
            <p:ph type="sldNum" sz="quarter" idx="12"/>
          </p:nvPr>
        </p:nvSpPr>
        <p:spPr/>
        <p:txBody>
          <a:bodyPr/>
          <a:lstStyle/>
          <a:p>
            <a:fld id="{E2D680B1-7F17-42D2-83E2-2C9AC13983BB}" type="slidenum">
              <a:rPr lang="en-US" smtClean="0"/>
              <a:t>45</a:t>
            </a:fld>
            <a:endParaRPr lang="en-US" dirty="0"/>
          </a:p>
        </p:txBody>
      </p:sp>
      <p:sp>
        <p:nvSpPr>
          <p:cNvPr id="3" name="Content Placeholder 6">
            <a:extLst>
              <a:ext uri="{FF2B5EF4-FFF2-40B4-BE49-F238E27FC236}">
                <a16:creationId xmlns:a16="http://schemas.microsoft.com/office/drawing/2014/main" id="{CADDB112-1D13-27C0-CB13-A8C4ED6AD184}"/>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Heading</a:t>
            </a:r>
            <a:endParaRPr lang="en-US" altLang="ko-KR" dirty="0"/>
          </a:p>
        </p:txBody>
      </p:sp>
      <p:sp>
        <p:nvSpPr>
          <p:cNvPr id="4" name="Content Placeholder 6">
            <a:extLst>
              <a:ext uri="{FF2B5EF4-FFF2-40B4-BE49-F238E27FC236}">
                <a16:creationId xmlns:a16="http://schemas.microsoft.com/office/drawing/2014/main" id="{C2746A64-C30A-C38D-09F3-D866FE4A5C91}"/>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8847277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E1230-1B8A-2C95-5C87-05AD8411D2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40C59E-9961-0ADB-F057-AC72B3A51889}"/>
              </a:ext>
            </a:extLst>
          </p:cNvPr>
          <p:cNvSpPr>
            <a:spLocks noGrp="1"/>
          </p:cNvSpPr>
          <p:nvPr>
            <p:ph type="title"/>
          </p:nvPr>
        </p:nvSpPr>
        <p:spPr/>
        <p:txBody>
          <a:bodyPr/>
          <a:lstStyle/>
          <a:p>
            <a:r>
              <a:rPr lang="en-US" dirty="0"/>
              <a:t>Side-by-Side Charts Layout</a:t>
            </a:r>
          </a:p>
        </p:txBody>
      </p:sp>
      <p:graphicFrame>
        <p:nvGraphicFramePr>
          <p:cNvPr id="11" name="图表 1">
            <a:extLst>
              <a:ext uri="{FF2B5EF4-FFF2-40B4-BE49-F238E27FC236}">
                <a16:creationId xmlns:a16="http://schemas.microsoft.com/office/drawing/2014/main" id="{43F6B781-6B77-EFFC-B704-D81187AE47FB}"/>
              </a:ext>
            </a:extLst>
          </p:cNvPr>
          <p:cNvGraphicFramePr>
            <a:graphicFrameLocks noGrp="1"/>
          </p:cNvGraphicFramePr>
          <p:nvPr>
            <p:ph idx="13"/>
            <p:extLst>
              <p:ext uri="{D42A27DB-BD31-4B8C-83A1-F6EECF244321}">
                <p14:modId xmlns:p14="http://schemas.microsoft.com/office/powerpoint/2010/main" val="542034023"/>
              </p:ext>
            </p:extLst>
          </p:nvPr>
        </p:nvGraphicFramePr>
        <p:xfrm>
          <a:off x="714376" y="2628900"/>
          <a:ext cx="7972426" cy="65865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ontent Placeholder 7">
            <a:extLst>
              <a:ext uri="{FF2B5EF4-FFF2-40B4-BE49-F238E27FC236}">
                <a16:creationId xmlns:a16="http://schemas.microsoft.com/office/drawing/2014/main" id="{699CC488-9014-EA4C-85BF-A555A69E8957}"/>
              </a:ext>
            </a:extLst>
          </p:cNvPr>
          <p:cNvGraphicFramePr>
            <a:graphicFrameLocks noGrp="1"/>
          </p:cNvGraphicFramePr>
          <p:nvPr>
            <p:ph idx="1"/>
            <p:extLst>
              <p:ext uri="{D42A27DB-BD31-4B8C-83A1-F6EECF244321}">
                <p14:modId xmlns:p14="http://schemas.microsoft.com/office/powerpoint/2010/main" val="3871997947"/>
              </p:ext>
            </p:extLst>
          </p:nvPr>
        </p:nvGraphicFramePr>
        <p:xfrm>
          <a:off x="9372601" y="2628900"/>
          <a:ext cx="7848600" cy="6586538"/>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169C9CC2-98CC-67F1-E2F3-6E5BE977424B}"/>
              </a:ext>
            </a:extLst>
          </p:cNvPr>
          <p:cNvSpPr>
            <a:spLocks noGrp="1"/>
          </p:cNvSpPr>
          <p:nvPr>
            <p:ph type="sldNum" sz="quarter" idx="12"/>
          </p:nvPr>
        </p:nvSpPr>
        <p:spPr/>
        <p:txBody>
          <a:bodyPr/>
          <a:lstStyle/>
          <a:p>
            <a:fld id="{E2D680B1-7F17-42D2-83E2-2C9AC13983BB}" type="slidenum">
              <a:rPr lang="en-US" smtClean="0"/>
              <a:t>46</a:t>
            </a:fld>
            <a:endParaRPr lang="en-US" dirty="0"/>
          </a:p>
        </p:txBody>
      </p:sp>
      <p:sp>
        <p:nvSpPr>
          <p:cNvPr id="3" name="Content Placeholder 6">
            <a:extLst>
              <a:ext uri="{FF2B5EF4-FFF2-40B4-BE49-F238E27FC236}">
                <a16:creationId xmlns:a16="http://schemas.microsoft.com/office/drawing/2014/main" id="{3BE43DF2-6C85-CC0C-D53A-D321508EDE7C}"/>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a:solidFill>
                  <a:schemeClr val="accent1"/>
                </a:solidFill>
              </a:rPr>
              <a:t>Chart Title</a:t>
            </a:r>
          </a:p>
        </p:txBody>
      </p:sp>
      <p:sp>
        <p:nvSpPr>
          <p:cNvPr id="4" name="Content Placeholder 6">
            <a:extLst>
              <a:ext uri="{FF2B5EF4-FFF2-40B4-BE49-F238E27FC236}">
                <a16:creationId xmlns:a16="http://schemas.microsoft.com/office/drawing/2014/main" id="{D8E6421C-8CC9-DED5-592A-B66880EA39DF}"/>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8179785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B75A9-C407-A586-43CE-125DA1CC7E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DA0E7E-AC51-82E9-359D-2D6278DC95CB}"/>
              </a:ext>
            </a:extLst>
          </p:cNvPr>
          <p:cNvSpPr>
            <a:spLocks noGrp="1"/>
          </p:cNvSpPr>
          <p:nvPr>
            <p:ph type="title"/>
          </p:nvPr>
        </p:nvSpPr>
        <p:spPr/>
        <p:txBody>
          <a:bodyPr/>
          <a:lstStyle/>
          <a:p>
            <a:r>
              <a:rPr lang="en-US" dirty="0"/>
              <a:t>Side-by-Side Charts Layout</a:t>
            </a:r>
          </a:p>
        </p:txBody>
      </p:sp>
      <p:graphicFrame>
        <p:nvGraphicFramePr>
          <p:cNvPr id="11" name="Content Placeholder 10">
            <a:extLst>
              <a:ext uri="{FF2B5EF4-FFF2-40B4-BE49-F238E27FC236}">
                <a16:creationId xmlns:a16="http://schemas.microsoft.com/office/drawing/2014/main" id="{17F3C2A5-39A7-A28E-8936-BE9D076AC40B}"/>
              </a:ext>
            </a:extLst>
          </p:cNvPr>
          <p:cNvGraphicFramePr>
            <a:graphicFrameLocks noGrp="1"/>
          </p:cNvGraphicFramePr>
          <p:nvPr>
            <p:ph idx="1"/>
            <p:extLst>
              <p:ext uri="{D42A27DB-BD31-4B8C-83A1-F6EECF244321}">
                <p14:modId xmlns:p14="http://schemas.microsoft.com/office/powerpoint/2010/main" val="2327430939"/>
              </p:ext>
            </p:extLst>
          </p:nvPr>
        </p:nvGraphicFramePr>
        <p:xfrm>
          <a:off x="9372600" y="2705100"/>
          <a:ext cx="8201025" cy="65103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ontent Placeholder 8">
            <a:extLst>
              <a:ext uri="{FF2B5EF4-FFF2-40B4-BE49-F238E27FC236}">
                <a16:creationId xmlns:a16="http://schemas.microsoft.com/office/drawing/2014/main" id="{89A8A04E-65C9-CA78-95C1-FCE1CDB0666B}"/>
              </a:ext>
            </a:extLst>
          </p:cNvPr>
          <p:cNvGraphicFramePr>
            <a:graphicFrameLocks noGrp="1"/>
          </p:cNvGraphicFramePr>
          <p:nvPr>
            <p:ph idx="13"/>
            <p:extLst>
              <p:ext uri="{D42A27DB-BD31-4B8C-83A1-F6EECF244321}">
                <p14:modId xmlns:p14="http://schemas.microsoft.com/office/powerpoint/2010/main" val="1744576749"/>
              </p:ext>
            </p:extLst>
          </p:nvPr>
        </p:nvGraphicFramePr>
        <p:xfrm>
          <a:off x="714375" y="2705100"/>
          <a:ext cx="8201025" cy="6510338"/>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EFA72AD7-0CE6-3C0C-6027-36DF92D82806}"/>
              </a:ext>
            </a:extLst>
          </p:cNvPr>
          <p:cNvSpPr>
            <a:spLocks noGrp="1"/>
          </p:cNvSpPr>
          <p:nvPr>
            <p:ph type="sldNum" sz="quarter" idx="12"/>
          </p:nvPr>
        </p:nvSpPr>
        <p:spPr/>
        <p:txBody>
          <a:bodyPr/>
          <a:lstStyle/>
          <a:p>
            <a:fld id="{E2D680B1-7F17-42D2-83E2-2C9AC13983BB}" type="slidenum">
              <a:rPr lang="en-US" smtClean="0"/>
              <a:t>47</a:t>
            </a:fld>
            <a:endParaRPr lang="en-US" dirty="0"/>
          </a:p>
        </p:txBody>
      </p:sp>
      <p:sp>
        <p:nvSpPr>
          <p:cNvPr id="6" name="Content Placeholder 6">
            <a:extLst>
              <a:ext uri="{FF2B5EF4-FFF2-40B4-BE49-F238E27FC236}">
                <a16:creationId xmlns:a16="http://schemas.microsoft.com/office/drawing/2014/main" id="{D86852BC-34E2-8D22-12FA-4438CC89A6F2}"/>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a:solidFill>
                  <a:schemeClr val="accent1"/>
                </a:solidFill>
              </a:rPr>
              <a:t>Chart Title</a:t>
            </a:r>
          </a:p>
        </p:txBody>
      </p:sp>
      <p:sp>
        <p:nvSpPr>
          <p:cNvPr id="7" name="Content Placeholder 6">
            <a:extLst>
              <a:ext uri="{FF2B5EF4-FFF2-40B4-BE49-F238E27FC236}">
                <a16:creationId xmlns:a16="http://schemas.microsoft.com/office/drawing/2014/main" id="{1917590B-4295-5237-464D-932DC4276709}"/>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7613404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C183D-E249-2EE0-27EF-3B28AF39AC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0888CA-DB06-56BB-50C4-556296F674A4}"/>
              </a:ext>
            </a:extLst>
          </p:cNvPr>
          <p:cNvSpPr>
            <a:spLocks noGrp="1"/>
          </p:cNvSpPr>
          <p:nvPr>
            <p:ph type="title"/>
          </p:nvPr>
        </p:nvSpPr>
        <p:spPr/>
        <p:txBody>
          <a:bodyPr/>
          <a:lstStyle/>
          <a:p>
            <a:r>
              <a:rPr lang="en-US" dirty="0"/>
              <a:t>Side-by-Side Charts Layout</a:t>
            </a:r>
          </a:p>
        </p:txBody>
      </p:sp>
      <p:graphicFrame>
        <p:nvGraphicFramePr>
          <p:cNvPr id="9" name="Content Placeholder 10">
            <a:extLst>
              <a:ext uri="{FF2B5EF4-FFF2-40B4-BE49-F238E27FC236}">
                <a16:creationId xmlns:a16="http://schemas.microsoft.com/office/drawing/2014/main" id="{47A9DC31-9654-5725-8763-F5B0F78CDF01}"/>
              </a:ext>
            </a:extLst>
          </p:cNvPr>
          <p:cNvGraphicFramePr>
            <a:graphicFrameLocks noGrp="1"/>
          </p:cNvGraphicFramePr>
          <p:nvPr>
            <p:ph idx="13"/>
            <p:extLst>
              <p:ext uri="{D42A27DB-BD31-4B8C-83A1-F6EECF244321}">
                <p14:modId xmlns:p14="http://schemas.microsoft.com/office/powerpoint/2010/main" val="2053085197"/>
              </p:ext>
            </p:extLst>
          </p:nvPr>
        </p:nvGraphicFramePr>
        <p:xfrm>
          <a:off x="714375" y="2476500"/>
          <a:ext cx="8201025" cy="6738938"/>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xmlns:cx4="http://schemas.microsoft.com/office/drawing/2016/5/10/chartex">
        <mc:Choice Requires="cx4">
          <p:graphicFrame>
            <p:nvGraphicFramePr>
              <p:cNvPr id="11" name="Content Placeholder 33">
                <a:extLst>
                  <a:ext uri="{FF2B5EF4-FFF2-40B4-BE49-F238E27FC236}">
                    <a16:creationId xmlns:a16="http://schemas.microsoft.com/office/drawing/2014/main" id="{1B175457-D2A8-F19F-DBC8-582396EFE928}"/>
                  </a:ext>
                </a:extLst>
              </p:cNvPr>
              <p:cNvGraphicFramePr>
                <a:graphicFrameLocks noGrp="1"/>
              </p:cNvGraphicFramePr>
              <p:nvPr>
                <p:ph idx="1"/>
                <p:extLst>
                  <p:ext uri="{D42A27DB-BD31-4B8C-83A1-F6EECF244321}">
                    <p14:modId xmlns:p14="http://schemas.microsoft.com/office/powerpoint/2010/main" val="1555213505"/>
                  </p:ext>
                </p:extLst>
              </p:nvPr>
            </p:nvGraphicFramePr>
            <p:xfrm>
              <a:off x="9372600" y="2476500"/>
              <a:ext cx="8201025" cy="6738938"/>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1" name="Content Placeholder 33">
                <a:extLst>
                  <a:ext uri="{FF2B5EF4-FFF2-40B4-BE49-F238E27FC236}">
                    <a16:creationId xmlns:a16="http://schemas.microsoft.com/office/drawing/2014/main" id="{1B175457-D2A8-F19F-DBC8-582396EFE928}"/>
                  </a:ext>
                </a:extLst>
              </p:cNvPr>
              <p:cNvPicPr>
                <a:picLocks noGrp="1" noRot="1" noChangeAspect="1" noMove="1" noResize="1" noEditPoints="1" noAdjustHandles="1" noChangeArrowheads="1" noChangeShapeType="1"/>
              </p:cNvPicPr>
              <p:nvPr/>
            </p:nvPicPr>
            <p:blipFill>
              <a:blip r:embed="rId4"/>
              <a:stretch>
                <a:fillRect/>
              </a:stretch>
            </p:blipFill>
            <p:spPr>
              <a:xfrm>
                <a:off x="9372600" y="2476500"/>
                <a:ext cx="8201025" cy="6738938"/>
              </a:xfrm>
              <a:prstGeom prst="rect">
                <a:avLst/>
              </a:prstGeom>
            </p:spPr>
          </p:pic>
        </mc:Fallback>
      </mc:AlternateContent>
      <p:sp>
        <p:nvSpPr>
          <p:cNvPr id="5" name="Slide Number Placeholder 4">
            <a:extLst>
              <a:ext uri="{FF2B5EF4-FFF2-40B4-BE49-F238E27FC236}">
                <a16:creationId xmlns:a16="http://schemas.microsoft.com/office/drawing/2014/main" id="{30153DE1-210A-7D7B-66DC-72E10F49FE18}"/>
              </a:ext>
            </a:extLst>
          </p:cNvPr>
          <p:cNvSpPr>
            <a:spLocks noGrp="1"/>
          </p:cNvSpPr>
          <p:nvPr>
            <p:ph type="sldNum" sz="quarter" idx="12"/>
          </p:nvPr>
        </p:nvSpPr>
        <p:spPr/>
        <p:txBody>
          <a:bodyPr/>
          <a:lstStyle/>
          <a:p>
            <a:fld id="{E2D680B1-7F17-42D2-83E2-2C9AC13983BB}" type="slidenum">
              <a:rPr lang="en-US" smtClean="0"/>
              <a:t>48</a:t>
            </a:fld>
            <a:endParaRPr lang="en-US" dirty="0"/>
          </a:p>
        </p:txBody>
      </p:sp>
      <p:sp>
        <p:nvSpPr>
          <p:cNvPr id="3" name="Content Placeholder 6">
            <a:extLst>
              <a:ext uri="{FF2B5EF4-FFF2-40B4-BE49-F238E27FC236}">
                <a16:creationId xmlns:a16="http://schemas.microsoft.com/office/drawing/2014/main" id="{F86B8EB0-F987-6DE9-E12B-F3970721FAEC}"/>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a:solidFill>
                  <a:schemeClr val="accent1"/>
                </a:solidFill>
              </a:rPr>
              <a:t>Chart Title</a:t>
            </a:r>
          </a:p>
        </p:txBody>
      </p:sp>
      <p:sp>
        <p:nvSpPr>
          <p:cNvPr id="4" name="Content Placeholder 6">
            <a:extLst>
              <a:ext uri="{FF2B5EF4-FFF2-40B4-BE49-F238E27FC236}">
                <a16:creationId xmlns:a16="http://schemas.microsoft.com/office/drawing/2014/main" id="{68C7F000-41AE-3958-08C1-7AD24EAB3EEC}"/>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6648437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9FC2A-4AD4-49E4-E456-4D281321D4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592458-0ED0-B4C9-ED3D-35AF4E82EE01}"/>
              </a:ext>
            </a:extLst>
          </p:cNvPr>
          <p:cNvSpPr>
            <a:spLocks noGrp="1"/>
          </p:cNvSpPr>
          <p:nvPr>
            <p:ph type="title"/>
          </p:nvPr>
        </p:nvSpPr>
        <p:spPr/>
        <p:txBody>
          <a:bodyPr/>
          <a:lstStyle/>
          <a:p>
            <a:r>
              <a:rPr lang="en-US" dirty="0"/>
              <a:t>Side-by-Side Charts Layout</a:t>
            </a:r>
          </a:p>
        </p:txBody>
      </p:sp>
      <p:graphicFrame>
        <p:nvGraphicFramePr>
          <p:cNvPr id="12" name="Content Placeholder 8">
            <a:extLst>
              <a:ext uri="{FF2B5EF4-FFF2-40B4-BE49-F238E27FC236}">
                <a16:creationId xmlns:a16="http://schemas.microsoft.com/office/drawing/2014/main" id="{66FB1C6F-6E68-EF09-0965-68CD513790E2}"/>
              </a:ext>
            </a:extLst>
          </p:cNvPr>
          <p:cNvGraphicFramePr>
            <a:graphicFrameLocks noGrp="1"/>
          </p:cNvGraphicFramePr>
          <p:nvPr>
            <p:ph idx="1"/>
            <p:extLst>
              <p:ext uri="{D42A27DB-BD31-4B8C-83A1-F6EECF244321}">
                <p14:modId xmlns:p14="http://schemas.microsoft.com/office/powerpoint/2010/main" val="4248503805"/>
              </p:ext>
            </p:extLst>
          </p:nvPr>
        </p:nvGraphicFramePr>
        <p:xfrm>
          <a:off x="9372600" y="2476500"/>
          <a:ext cx="8201025" cy="67389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ontent Placeholder 7">
            <a:extLst>
              <a:ext uri="{FF2B5EF4-FFF2-40B4-BE49-F238E27FC236}">
                <a16:creationId xmlns:a16="http://schemas.microsoft.com/office/drawing/2014/main" id="{9AE537D4-F6F4-0B60-863D-678DF81BA49D}"/>
              </a:ext>
            </a:extLst>
          </p:cNvPr>
          <p:cNvGraphicFramePr>
            <a:graphicFrameLocks noGrp="1"/>
          </p:cNvGraphicFramePr>
          <p:nvPr>
            <p:ph idx="13"/>
            <p:extLst>
              <p:ext uri="{D42A27DB-BD31-4B8C-83A1-F6EECF244321}">
                <p14:modId xmlns:p14="http://schemas.microsoft.com/office/powerpoint/2010/main" val="1263283"/>
              </p:ext>
            </p:extLst>
          </p:nvPr>
        </p:nvGraphicFramePr>
        <p:xfrm>
          <a:off x="714375" y="2476500"/>
          <a:ext cx="8201025" cy="6738938"/>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A14C9376-ADB0-39A2-CE29-0260E8D31172}"/>
              </a:ext>
            </a:extLst>
          </p:cNvPr>
          <p:cNvSpPr>
            <a:spLocks noGrp="1"/>
          </p:cNvSpPr>
          <p:nvPr>
            <p:ph type="sldNum" sz="quarter" idx="12"/>
          </p:nvPr>
        </p:nvSpPr>
        <p:spPr/>
        <p:txBody>
          <a:bodyPr/>
          <a:lstStyle/>
          <a:p>
            <a:fld id="{E2D680B1-7F17-42D2-83E2-2C9AC13983BB}" type="slidenum">
              <a:rPr lang="en-US" smtClean="0"/>
              <a:t>49</a:t>
            </a:fld>
            <a:endParaRPr lang="en-US" dirty="0"/>
          </a:p>
        </p:txBody>
      </p:sp>
      <p:sp>
        <p:nvSpPr>
          <p:cNvPr id="3" name="Content Placeholder 6">
            <a:extLst>
              <a:ext uri="{FF2B5EF4-FFF2-40B4-BE49-F238E27FC236}">
                <a16:creationId xmlns:a16="http://schemas.microsoft.com/office/drawing/2014/main" id="{ECB512CC-B6E7-CBC9-DDB1-404907BF98D4}"/>
              </a:ext>
            </a:extLst>
          </p:cNvPr>
          <p:cNvSpPr txBox="1">
            <a:spLocks/>
          </p:cNvSpPr>
          <p:nvPr/>
        </p:nvSpPr>
        <p:spPr>
          <a:xfrm>
            <a:off x="9372600" y="1889656"/>
            <a:ext cx="8200800" cy="307777"/>
          </a:xfrm>
          <a:prstGeom prst="rect">
            <a:avLst/>
          </a:prstGeom>
        </p:spPr>
        <p:txBody>
          <a:bodyPr vert="horz"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a:solidFill>
                  <a:schemeClr val="accent1"/>
                </a:solidFill>
              </a:rPr>
              <a:t>Chart Title</a:t>
            </a:r>
          </a:p>
        </p:txBody>
      </p:sp>
      <p:sp>
        <p:nvSpPr>
          <p:cNvPr id="4" name="Content Placeholder 6">
            <a:extLst>
              <a:ext uri="{FF2B5EF4-FFF2-40B4-BE49-F238E27FC236}">
                <a16:creationId xmlns:a16="http://schemas.microsoft.com/office/drawing/2014/main" id="{48778AE8-0A57-212F-718A-E1DC813381E0}"/>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396381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648BA-7BDF-E7CE-7708-39857F0A8F6D}"/>
              </a:ext>
            </a:extLst>
          </p:cNvPr>
          <p:cNvSpPr>
            <a:spLocks noGrp="1"/>
          </p:cNvSpPr>
          <p:nvPr>
            <p:ph type="title"/>
          </p:nvPr>
        </p:nvSpPr>
        <p:spPr>
          <a:xfrm>
            <a:off x="714375" y="317500"/>
            <a:ext cx="16859250" cy="1266827"/>
          </a:xfrm>
        </p:spPr>
        <p:txBody>
          <a:bodyPr anchor="ctr"/>
          <a:lstStyle/>
          <a:p>
            <a:r>
              <a:rPr lang="en-US" dirty="0"/>
              <a:t>Table of Contents</a:t>
            </a:r>
            <a:endParaRPr lang="en-IN" dirty="0"/>
          </a:p>
        </p:txBody>
      </p:sp>
      <p:sp>
        <p:nvSpPr>
          <p:cNvPr id="4" name="Google Shape;586;p33">
            <a:extLst>
              <a:ext uri="{FF2B5EF4-FFF2-40B4-BE49-F238E27FC236}">
                <a16:creationId xmlns:a16="http://schemas.microsoft.com/office/drawing/2014/main" id="{713D6B84-9102-0C82-88FE-7F5025201616}"/>
              </a:ext>
            </a:extLst>
          </p:cNvPr>
          <p:cNvSpPr txBox="1">
            <a:spLocks/>
          </p:cNvSpPr>
          <p:nvPr/>
        </p:nvSpPr>
        <p:spPr>
          <a:xfrm>
            <a:off x="971550" y="2908808"/>
            <a:ext cx="1879718" cy="1740747"/>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1</a:t>
            </a:r>
          </a:p>
        </p:txBody>
      </p:sp>
      <p:sp>
        <p:nvSpPr>
          <p:cNvPr id="8" name="Google Shape;590;p33">
            <a:extLst>
              <a:ext uri="{FF2B5EF4-FFF2-40B4-BE49-F238E27FC236}">
                <a16:creationId xmlns:a16="http://schemas.microsoft.com/office/drawing/2014/main" id="{21A552EE-6332-00AF-488C-32DB3C3772C7}"/>
              </a:ext>
            </a:extLst>
          </p:cNvPr>
          <p:cNvSpPr txBox="1">
            <a:spLocks/>
          </p:cNvSpPr>
          <p:nvPr/>
        </p:nvSpPr>
        <p:spPr>
          <a:xfrm>
            <a:off x="2533812" y="3648623"/>
            <a:ext cx="5695788" cy="1096653"/>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400"/>
              <a:buFont typeface="Poppins"/>
              <a:buNone/>
              <a:defRPr sz="1400" b="0" i="0" u="none" strike="noStrike" cap="none">
                <a:solidFill>
                  <a:schemeClr val="dk1"/>
                </a:solidFill>
                <a:latin typeface="Karla"/>
                <a:ea typeface="Karla"/>
                <a:cs typeface="Karla"/>
                <a:sym typeface="Karla"/>
              </a:defRPr>
            </a:lvl1pPr>
            <a:lvl2pPr marR="0" lvl="1"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2pPr>
            <a:lvl3pPr marR="0" lvl="2"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3pPr>
            <a:lvl4pPr marR="0" lvl="3"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4pPr>
            <a:lvl5pPr marR="0" lvl="4"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5pPr>
            <a:lvl6pPr marR="0" lvl="5"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6pPr>
            <a:lvl7pPr marR="0" lvl="6"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7pPr>
            <a:lvl8pPr marR="0" lvl="7"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8pPr>
            <a:lvl9pPr marR="0" lvl="8"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9pPr>
          </a:lstStyle>
          <a:p>
            <a:pPr algn="l" defTabSz="1371600">
              <a:buClr>
                <a:srgbClr val="151F29"/>
              </a:buClr>
              <a:buSzPts val="1100"/>
              <a:defRPr/>
            </a:pPr>
            <a:r>
              <a:rPr lang="en-US" sz="2400" kern="0" dirty="0">
                <a:latin typeface="Arial" panose="020B0604020202020204" pitchFamily="34" charset="0"/>
                <a:cs typeface="Arial" panose="020B0604020202020204" pitchFamily="34" charset="0"/>
              </a:rPr>
              <a:t>You can describe the topic of the section here</a:t>
            </a:r>
          </a:p>
        </p:txBody>
      </p:sp>
      <p:sp>
        <p:nvSpPr>
          <p:cNvPr id="14" name="Google Shape;597;p33">
            <a:extLst>
              <a:ext uri="{FF2B5EF4-FFF2-40B4-BE49-F238E27FC236}">
                <a16:creationId xmlns:a16="http://schemas.microsoft.com/office/drawing/2014/main" id="{14EEEFF4-EC10-F62F-6C28-587E8B661ECF}"/>
              </a:ext>
            </a:extLst>
          </p:cNvPr>
          <p:cNvSpPr txBox="1">
            <a:spLocks/>
          </p:cNvSpPr>
          <p:nvPr/>
        </p:nvSpPr>
        <p:spPr>
          <a:xfrm>
            <a:off x="2558203" y="2750456"/>
            <a:ext cx="5695788" cy="802446"/>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3600" b="1" kern="0" dirty="0">
                <a:solidFill>
                  <a:schemeClr val="accent1"/>
                </a:solidFill>
                <a:latin typeface="Arial" panose="020B0604020202020204" pitchFamily="34" charset="0"/>
                <a:cs typeface="Arial" panose="020B0604020202020204" pitchFamily="34" charset="0"/>
              </a:rPr>
              <a:t>Title</a:t>
            </a:r>
          </a:p>
        </p:txBody>
      </p:sp>
      <p:sp>
        <p:nvSpPr>
          <p:cNvPr id="16" name="Rectangle 15">
            <a:extLst>
              <a:ext uri="{FF2B5EF4-FFF2-40B4-BE49-F238E27FC236}">
                <a16:creationId xmlns:a16="http://schemas.microsoft.com/office/drawing/2014/main" id="{23FDF3F9-E5D4-2BDF-1ED3-4696BB80CC3D}"/>
              </a:ext>
            </a:extLst>
          </p:cNvPr>
          <p:cNvSpPr/>
          <p:nvPr/>
        </p:nvSpPr>
        <p:spPr>
          <a:xfrm>
            <a:off x="1090847" y="4291347"/>
            <a:ext cx="1110344" cy="16001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2400" dirty="0">
              <a:latin typeface="Arial" panose="020B0604020202020204" pitchFamily="34" charset="0"/>
              <a:cs typeface="Arial" panose="020B0604020202020204" pitchFamily="34" charset="0"/>
            </a:endParaRPr>
          </a:p>
        </p:txBody>
      </p:sp>
      <p:sp>
        <p:nvSpPr>
          <p:cNvPr id="46" name="Google Shape;586;p33">
            <a:extLst>
              <a:ext uri="{FF2B5EF4-FFF2-40B4-BE49-F238E27FC236}">
                <a16:creationId xmlns:a16="http://schemas.microsoft.com/office/drawing/2014/main" id="{3BCF71D4-9E07-9CE6-688F-C2005BD3A23F}"/>
              </a:ext>
            </a:extLst>
          </p:cNvPr>
          <p:cNvSpPr txBox="1">
            <a:spLocks/>
          </p:cNvSpPr>
          <p:nvPr/>
        </p:nvSpPr>
        <p:spPr>
          <a:xfrm>
            <a:off x="10034009" y="2908808"/>
            <a:ext cx="1879718" cy="1740747"/>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2</a:t>
            </a:r>
          </a:p>
        </p:txBody>
      </p:sp>
      <p:sp>
        <p:nvSpPr>
          <p:cNvPr id="47" name="Google Shape;590;p33">
            <a:extLst>
              <a:ext uri="{FF2B5EF4-FFF2-40B4-BE49-F238E27FC236}">
                <a16:creationId xmlns:a16="http://schemas.microsoft.com/office/drawing/2014/main" id="{E202BF1A-11D7-36EE-A018-77DE062D7423}"/>
              </a:ext>
            </a:extLst>
          </p:cNvPr>
          <p:cNvSpPr txBox="1">
            <a:spLocks/>
          </p:cNvSpPr>
          <p:nvPr/>
        </p:nvSpPr>
        <p:spPr>
          <a:xfrm>
            <a:off x="11596271" y="3648623"/>
            <a:ext cx="5695788" cy="1096653"/>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400"/>
              <a:buFont typeface="Poppins"/>
              <a:buNone/>
              <a:defRPr sz="1400" b="0" i="0" u="none" strike="noStrike" cap="none">
                <a:solidFill>
                  <a:schemeClr val="dk1"/>
                </a:solidFill>
                <a:latin typeface="Karla"/>
                <a:ea typeface="Karla"/>
                <a:cs typeface="Karla"/>
                <a:sym typeface="Karla"/>
              </a:defRPr>
            </a:lvl1pPr>
            <a:lvl2pPr marR="0" lvl="1"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2pPr>
            <a:lvl3pPr marR="0" lvl="2"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3pPr>
            <a:lvl4pPr marR="0" lvl="3"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4pPr>
            <a:lvl5pPr marR="0" lvl="4"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5pPr>
            <a:lvl6pPr marR="0" lvl="5"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6pPr>
            <a:lvl7pPr marR="0" lvl="6"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7pPr>
            <a:lvl8pPr marR="0" lvl="7"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8pPr>
            <a:lvl9pPr marR="0" lvl="8"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9pPr>
          </a:lstStyle>
          <a:p>
            <a:pPr algn="l" defTabSz="1371600">
              <a:buClr>
                <a:srgbClr val="151F29"/>
              </a:buClr>
              <a:buSzPts val="1100"/>
              <a:defRPr/>
            </a:pPr>
            <a:r>
              <a:rPr lang="en-US" sz="2400" kern="0" dirty="0">
                <a:latin typeface="Arial" panose="020B0604020202020204" pitchFamily="34" charset="0"/>
                <a:cs typeface="Arial" panose="020B0604020202020204" pitchFamily="34" charset="0"/>
              </a:rPr>
              <a:t>You can describe the topic of the section here</a:t>
            </a:r>
          </a:p>
        </p:txBody>
      </p:sp>
      <p:sp>
        <p:nvSpPr>
          <p:cNvPr id="48" name="Google Shape;597;p33">
            <a:extLst>
              <a:ext uri="{FF2B5EF4-FFF2-40B4-BE49-F238E27FC236}">
                <a16:creationId xmlns:a16="http://schemas.microsoft.com/office/drawing/2014/main" id="{8447E1D9-530A-69FC-856C-1C097F5359D0}"/>
              </a:ext>
            </a:extLst>
          </p:cNvPr>
          <p:cNvSpPr txBox="1">
            <a:spLocks/>
          </p:cNvSpPr>
          <p:nvPr/>
        </p:nvSpPr>
        <p:spPr>
          <a:xfrm>
            <a:off x="11620662" y="2750456"/>
            <a:ext cx="5695788" cy="802446"/>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3600" b="1" kern="0" dirty="0">
                <a:solidFill>
                  <a:schemeClr val="accent1"/>
                </a:solidFill>
                <a:latin typeface="Arial" panose="020B0604020202020204" pitchFamily="34" charset="0"/>
                <a:cs typeface="Arial" panose="020B0604020202020204" pitchFamily="34" charset="0"/>
              </a:rPr>
              <a:t>Title</a:t>
            </a:r>
          </a:p>
        </p:txBody>
      </p:sp>
      <p:sp>
        <p:nvSpPr>
          <p:cNvPr id="49" name="Rectangle 48">
            <a:extLst>
              <a:ext uri="{FF2B5EF4-FFF2-40B4-BE49-F238E27FC236}">
                <a16:creationId xmlns:a16="http://schemas.microsoft.com/office/drawing/2014/main" id="{E29253EA-B62E-8868-4AB2-B914BAA550DA}"/>
              </a:ext>
            </a:extLst>
          </p:cNvPr>
          <p:cNvSpPr/>
          <p:nvPr/>
        </p:nvSpPr>
        <p:spPr>
          <a:xfrm>
            <a:off x="10153306" y="4291347"/>
            <a:ext cx="1110344" cy="16001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2400" dirty="0">
              <a:latin typeface="Arial" panose="020B0604020202020204" pitchFamily="34" charset="0"/>
              <a:cs typeface="Arial" panose="020B0604020202020204" pitchFamily="34" charset="0"/>
            </a:endParaRPr>
          </a:p>
        </p:txBody>
      </p:sp>
      <p:sp>
        <p:nvSpPr>
          <p:cNvPr id="56" name="Google Shape;586;p33">
            <a:extLst>
              <a:ext uri="{FF2B5EF4-FFF2-40B4-BE49-F238E27FC236}">
                <a16:creationId xmlns:a16="http://schemas.microsoft.com/office/drawing/2014/main" id="{C586F5DA-BDC6-2276-D32F-AAD0A37A7E04}"/>
              </a:ext>
            </a:extLst>
          </p:cNvPr>
          <p:cNvSpPr txBox="1">
            <a:spLocks/>
          </p:cNvSpPr>
          <p:nvPr/>
        </p:nvSpPr>
        <p:spPr>
          <a:xfrm>
            <a:off x="971550" y="5696143"/>
            <a:ext cx="1879718" cy="1740747"/>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3</a:t>
            </a:r>
          </a:p>
        </p:txBody>
      </p:sp>
      <p:sp>
        <p:nvSpPr>
          <p:cNvPr id="57" name="Google Shape;590;p33">
            <a:extLst>
              <a:ext uri="{FF2B5EF4-FFF2-40B4-BE49-F238E27FC236}">
                <a16:creationId xmlns:a16="http://schemas.microsoft.com/office/drawing/2014/main" id="{91901571-59C1-ECB1-A633-D4D303B9AA4B}"/>
              </a:ext>
            </a:extLst>
          </p:cNvPr>
          <p:cNvSpPr txBox="1">
            <a:spLocks/>
          </p:cNvSpPr>
          <p:nvPr/>
        </p:nvSpPr>
        <p:spPr>
          <a:xfrm>
            <a:off x="2533812" y="6435958"/>
            <a:ext cx="5695788" cy="1096653"/>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400"/>
              <a:buFont typeface="Poppins"/>
              <a:buNone/>
              <a:defRPr sz="1400" b="0" i="0" u="none" strike="noStrike" cap="none">
                <a:solidFill>
                  <a:schemeClr val="dk1"/>
                </a:solidFill>
                <a:latin typeface="Karla"/>
                <a:ea typeface="Karla"/>
                <a:cs typeface="Karla"/>
                <a:sym typeface="Karla"/>
              </a:defRPr>
            </a:lvl1pPr>
            <a:lvl2pPr marR="0" lvl="1"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2pPr>
            <a:lvl3pPr marR="0" lvl="2"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3pPr>
            <a:lvl4pPr marR="0" lvl="3"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4pPr>
            <a:lvl5pPr marR="0" lvl="4"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5pPr>
            <a:lvl6pPr marR="0" lvl="5"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6pPr>
            <a:lvl7pPr marR="0" lvl="6"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7pPr>
            <a:lvl8pPr marR="0" lvl="7"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8pPr>
            <a:lvl9pPr marR="0" lvl="8"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9pPr>
          </a:lstStyle>
          <a:p>
            <a:pPr algn="l" defTabSz="1371600">
              <a:buClr>
                <a:srgbClr val="151F29"/>
              </a:buClr>
              <a:buSzPts val="1100"/>
              <a:defRPr/>
            </a:pPr>
            <a:r>
              <a:rPr lang="en-US" sz="2400" kern="0" dirty="0">
                <a:latin typeface="Arial" panose="020B0604020202020204" pitchFamily="34" charset="0"/>
                <a:cs typeface="Arial" panose="020B0604020202020204" pitchFamily="34" charset="0"/>
              </a:rPr>
              <a:t>You can describe the topic of the section here</a:t>
            </a:r>
          </a:p>
        </p:txBody>
      </p:sp>
      <p:sp>
        <p:nvSpPr>
          <p:cNvPr id="58" name="Google Shape;597;p33">
            <a:extLst>
              <a:ext uri="{FF2B5EF4-FFF2-40B4-BE49-F238E27FC236}">
                <a16:creationId xmlns:a16="http://schemas.microsoft.com/office/drawing/2014/main" id="{4132B0DA-8F08-EB01-4BD0-0F13440A9F82}"/>
              </a:ext>
            </a:extLst>
          </p:cNvPr>
          <p:cNvSpPr txBox="1">
            <a:spLocks/>
          </p:cNvSpPr>
          <p:nvPr/>
        </p:nvSpPr>
        <p:spPr>
          <a:xfrm>
            <a:off x="2558203" y="5537791"/>
            <a:ext cx="5695788" cy="802446"/>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3600" b="1" kern="0" dirty="0">
                <a:solidFill>
                  <a:schemeClr val="accent1"/>
                </a:solidFill>
                <a:latin typeface="Arial" panose="020B0604020202020204" pitchFamily="34" charset="0"/>
                <a:cs typeface="Arial" panose="020B0604020202020204" pitchFamily="34" charset="0"/>
              </a:rPr>
              <a:t>Title</a:t>
            </a:r>
          </a:p>
        </p:txBody>
      </p:sp>
      <p:sp>
        <p:nvSpPr>
          <p:cNvPr id="59" name="Rectangle 58">
            <a:extLst>
              <a:ext uri="{FF2B5EF4-FFF2-40B4-BE49-F238E27FC236}">
                <a16:creationId xmlns:a16="http://schemas.microsoft.com/office/drawing/2014/main" id="{EFA68666-A48E-852B-7212-ED2A32265A53}"/>
              </a:ext>
            </a:extLst>
          </p:cNvPr>
          <p:cNvSpPr/>
          <p:nvPr/>
        </p:nvSpPr>
        <p:spPr>
          <a:xfrm>
            <a:off x="1090847" y="7078682"/>
            <a:ext cx="1110344" cy="16001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2400" dirty="0">
              <a:latin typeface="Arial" panose="020B0604020202020204" pitchFamily="34" charset="0"/>
              <a:cs typeface="Arial" panose="020B0604020202020204" pitchFamily="34" charset="0"/>
            </a:endParaRPr>
          </a:p>
        </p:txBody>
      </p:sp>
      <p:sp>
        <p:nvSpPr>
          <p:cNvPr id="61" name="Google Shape;586;p33">
            <a:extLst>
              <a:ext uri="{FF2B5EF4-FFF2-40B4-BE49-F238E27FC236}">
                <a16:creationId xmlns:a16="http://schemas.microsoft.com/office/drawing/2014/main" id="{4E0B4A9D-7B79-28AA-5C41-90F76043668F}"/>
              </a:ext>
            </a:extLst>
          </p:cNvPr>
          <p:cNvSpPr txBox="1">
            <a:spLocks/>
          </p:cNvSpPr>
          <p:nvPr/>
        </p:nvSpPr>
        <p:spPr>
          <a:xfrm>
            <a:off x="10034009" y="5696143"/>
            <a:ext cx="1879718" cy="1740747"/>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400"/>
              <a:buFont typeface="Archivo Black"/>
              <a:buNone/>
              <a:defRPr sz="4100" b="0" i="0" u="none" strike="noStrike" cap="none">
                <a:solidFill>
                  <a:schemeClr val="lt2"/>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pPr defTabSz="1371600">
              <a:buClr>
                <a:srgbClr val="151F29"/>
              </a:buClr>
              <a:defRPr/>
            </a:pPr>
            <a:r>
              <a:rPr lang="en" sz="7200" b="1" kern="0" dirty="0">
                <a:solidFill>
                  <a:schemeClr val="accent2"/>
                </a:solidFill>
                <a:latin typeface="Arial" panose="020B0604020202020204" pitchFamily="34" charset="0"/>
                <a:cs typeface="Arial" panose="020B0604020202020204" pitchFamily="34" charset="0"/>
              </a:rPr>
              <a:t>04</a:t>
            </a:r>
          </a:p>
        </p:txBody>
      </p:sp>
      <p:sp>
        <p:nvSpPr>
          <p:cNvPr id="62" name="Google Shape;590;p33">
            <a:extLst>
              <a:ext uri="{FF2B5EF4-FFF2-40B4-BE49-F238E27FC236}">
                <a16:creationId xmlns:a16="http://schemas.microsoft.com/office/drawing/2014/main" id="{CE74B220-35D9-3205-E67D-BCCA2B9AF9F4}"/>
              </a:ext>
            </a:extLst>
          </p:cNvPr>
          <p:cNvSpPr txBox="1">
            <a:spLocks/>
          </p:cNvSpPr>
          <p:nvPr/>
        </p:nvSpPr>
        <p:spPr>
          <a:xfrm>
            <a:off x="11596271" y="6435958"/>
            <a:ext cx="5695788" cy="1096653"/>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400"/>
              <a:buFont typeface="Poppins"/>
              <a:buNone/>
              <a:defRPr sz="1400" b="0" i="0" u="none" strike="noStrike" cap="none">
                <a:solidFill>
                  <a:schemeClr val="dk1"/>
                </a:solidFill>
                <a:latin typeface="Karla"/>
                <a:ea typeface="Karla"/>
                <a:cs typeface="Karla"/>
                <a:sym typeface="Karla"/>
              </a:defRPr>
            </a:lvl1pPr>
            <a:lvl2pPr marR="0" lvl="1"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2pPr>
            <a:lvl3pPr marR="0" lvl="2"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3pPr>
            <a:lvl4pPr marR="0" lvl="3"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4pPr>
            <a:lvl5pPr marR="0" lvl="4"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5pPr>
            <a:lvl6pPr marR="0" lvl="5"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6pPr>
            <a:lvl7pPr marR="0" lvl="6"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7pPr>
            <a:lvl8pPr marR="0" lvl="7"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8pPr>
            <a:lvl9pPr marR="0" lvl="8" algn="ctr" rtl="0">
              <a:lnSpc>
                <a:spcPct val="100000"/>
              </a:lnSpc>
              <a:spcBef>
                <a:spcPts val="0"/>
              </a:spcBef>
              <a:spcAft>
                <a:spcPts val="0"/>
              </a:spcAft>
              <a:buClr>
                <a:schemeClr val="accent6"/>
              </a:buClr>
              <a:buSzPts val="2800"/>
              <a:buFont typeface="Poppins"/>
              <a:buNone/>
              <a:defRPr sz="2800" b="0" i="0" u="none" strike="noStrike" cap="none">
                <a:solidFill>
                  <a:schemeClr val="accent6"/>
                </a:solidFill>
                <a:latin typeface="Poppins"/>
                <a:ea typeface="Poppins"/>
                <a:cs typeface="Poppins"/>
                <a:sym typeface="Poppins"/>
              </a:defRPr>
            </a:lvl9pPr>
          </a:lstStyle>
          <a:p>
            <a:pPr algn="l" defTabSz="1371600">
              <a:buClr>
                <a:srgbClr val="151F29"/>
              </a:buClr>
              <a:buSzPts val="1100"/>
              <a:defRPr/>
            </a:pPr>
            <a:r>
              <a:rPr lang="en-US" sz="2400" kern="0" dirty="0">
                <a:latin typeface="Arial" panose="020B0604020202020204" pitchFamily="34" charset="0"/>
                <a:cs typeface="Arial" panose="020B0604020202020204" pitchFamily="34" charset="0"/>
              </a:rPr>
              <a:t>You can describe the topic of the section here</a:t>
            </a:r>
          </a:p>
        </p:txBody>
      </p:sp>
      <p:sp>
        <p:nvSpPr>
          <p:cNvPr id="63" name="Google Shape;597;p33">
            <a:extLst>
              <a:ext uri="{FF2B5EF4-FFF2-40B4-BE49-F238E27FC236}">
                <a16:creationId xmlns:a16="http://schemas.microsoft.com/office/drawing/2014/main" id="{05A8CA8C-100C-B735-75D4-E4B8410FFD42}"/>
              </a:ext>
            </a:extLst>
          </p:cNvPr>
          <p:cNvSpPr txBox="1">
            <a:spLocks/>
          </p:cNvSpPr>
          <p:nvPr/>
        </p:nvSpPr>
        <p:spPr>
          <a:xfrm>
            <a:off x="11620662" y="5537791"/>
            <a:ext cx="5695788" cy="802446"/>
          </a:xfrm>
          <a:prstGeom prst="rect">
            <a:avLst/>
          </a:prstGeom>
          <a:noFill/>
          <a:ln>
            <a:noFill/>
          </a:ln>
        </p:spPr>
        <p:txBody>
          <a:bodyPr spcFirstLastPara="1" wrap="square" lIns="137138" tIns="137138" rIns="137138" bIns="137138"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algn="l" defTabSz="1371600">
              <a:buClr>
                <a:srgbClr val="151F29"/>
              </a:buClr>
              <a:defRPr/>
            </a:pPr>
            <a:r>
              <a:rPr lang="en-IN" sz="3600" b="1" kern="0" dirty="0">
                <a:solidFill>
                  <a:schemeClr val="accent1"/>
                </a:solidFill>
                <a:latin typeface="Arial" panose="020B0604020202020204" pitchFamily="34" charset="0"/>
                <a:cs typeface="Arial" panose="020B0604020202020204" pitchFamily="34" charset="0"/>
              </a:rPr>
              <a:t>Title</a:t>
            </a:r>
          </a:p>
        </p:txBody>
      </p:sp>
      <p:sp>
        <p:nvSpPr>
          <p:cNvPr id="64" name="Rectangle 63">
            <a:extLst>
              <a:ext uri="{FF2B5EF4-FFF2-40B4-BE49-F238E27FC236}">
                <a16:creationId xmlns:a16="http://schemas.microsoft.com/office/drawing/2014/main" id="{EFCBA72A-8A24-D0B5-499A-D67237C1CFFE}"/>
              </a:ext>
            </a:extLst>
          </p:cNvPr>
          <p:cNvSpPr/>
          <p:nvPr/>
        </p:nvSpPr>
        <p:spPr>
          <a:xfrm>
            <a:off x="10153306" y="7078682"/>
            <a:ext cx="1110344" cy="16001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2400"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34613F9B-752A-1156-C321-1023B43D93B4}"/>
              </a:ext>
            </a:extLst>
          </p:cNvPr>
          <p:cNvSpPr>
            <a:spLocks noGrp="1"/>
          </p:cNvSpPr>
          <p:nvPr>
            <p:ph type="sldNum" sz="quarter" idx="12"/>
          </p:nvPr>
        </p:nvSpPr>
        <p:spPr/>
        <p:txBody>
          <a:bodyPr/>
          <a:lstStyle/>
          <a:p>
            <a:fld id="{E2D680B1-7F17-42D2-83E2-2C9AC13983BB}" type="slidenum">
              <a:rPr lang="en-US" smtClean="0"/>
              <a:t>5</a:t>
            </a:fld>
            <a:endParaRPr lang="en-US" dirty="0"/>
          </a:p>
        </p:txBody>
      </p:sp>
    </p:spTree>
    <p:extLst>
      <p:ext uri="{BB962C8B-B14F-4D97-AF65-F5344CB8AC3E}">
        <p14:creationId xmlns:p14="http://schemas.microsoft.com/office/powerpoint/2010/main" val="16638357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94C77-1EC2-3918-CEB2-3766C4D1B5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9D89BC-4BEA-5F59-7552-AF2EDFDE775C}"/>
              </a:ext>
            </a:extLst>
          </p:cNvPr>
          <p:cNvSpPr>
            <a:spLocks noGrp="1"/>
          </p:cNvSpPr>
          <p:nvPr>
            <p:ph type="title"/>
          </p:nvPr>
        </p:nvSpPr>
        <p:spPr/>
        <p:txBody>
          <a:bodyPr/>
          <a:lstStyle/>
          <a:p>
            <a:r>
              <a:rPr lang="en-US" dirty="0"/>
              <a:t>Side-by-Side Charts Layout</a:t>
            </a:r>
          </a:p>
        </p:txBody>
      </p:sp>
      <p:graphicFrame>
        <p:nvGraphicFramePr>
          <p:cNvPr id="7" name="Content Placeholder 7">
            <a:extLst>
              <a:ext uri="{FF2B5EF4-FFF2-40B4-BE49-F238E27FC236}">
                <a16:creationId xmlns:a16="http://schemas.microsoft.com/office/drawing/2014/main" id="{BAFE14C1-5C7B-011C-5010-9197B076C319}"/>
              </a:ext>
            </a:extLst>
          </p:cNvPr>
          <p:cNvGraphicFramePr>
            <a:graphicFrameLocks noGrp="1"/>
          </p:cNvGraphicFramePr>
          <p:nvPr>
            <p:ph idx="1"/>
            <p:extLst>
              <p:ext uri="{D42A27DB-BD31-4B8C-83A1-F6EECF244321}">
                <p14:modId xmlns:p14="http://schemas.microsoft.com/office/powerpoint/2010/main" val="1017562432"/>
              </p:ext>
            </p:extLst>
          </p:nvPr>
        </p:nvGraphicFramePr>
        <p:xfrm>
          <a:off x="9372600" y="2400300"/>
          <a:ext cx="8201025" cy="68151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ontent Placeholder 7">
            <a:extLst>
              <a:ext uri="{FF2B5EF4-FFF2-40B4-BE49-F238E27FC236}">
                <a16:creationId xmlns:a16="http://schemas.microsoft.com/office/drawing/2014/main" id="{718A3FC9-3049-DB9A-643B-0B4BB1BFAAFF}"/>
              </a:ext>
            </a:extLst>
          </p:cNvPr>
          <p:cNvGraphicFramePr>
            <a:graphicFrameLocks noGrp="1"/>
          </p:cNvGraphicFramePr>
          <p:nvPr>
            <p:ph idx="13"/>
            <p:extLst>
              <p:ext uri="{D42A27DB-BD31-4B8C-83A1-F6EECF244321}">
                <p14:modId xmlns:p14="http://schemas.microsoft.com/office/powerpoint/2010/main" val="1696308844"/>
              </p:ext>
            </p:extLst>
          </p:nvPr>
        </p:nvGraphicFramePr>
        <p:xfrm>
          <a:off x="714376" y="2400300"/>
          <a:ext cx="7972426" cy="6815138"/>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3513451E-BB9A-48BA-0164-F524153448B9}"/>
              </a:ext>
            </a:extLst>
          </p:cNvPr>
          <p:cNvSpPr>
            <a:spLocks noGrp="1"/>
          </p:cNvSpPr>
          <p:nvPr>
            <p:ph type="sldNum" sz="quarter" idx="12"/>
          </p:nvPr>
        </p:nvSpPr>
        <p:spPr/>
        <p:txBody>
          <a:bodyPr/>
          <a:lstStyle/>
          <a:p>
            <a:fld id="{E2D680B1-7F17-42D2-83E2-2C9AC13983BB}" type="slidenum">
              <a:rPr lang="en-US" smtClean="0"/>
              <a:t>50</a:t>
            </a:fld>
            <a:endParaRPr lang="en-US" dirty="0"/>
          </a:p>
        </p:txBody>
      </p:sp>
      <p:sp>
        <p:nvSpPr>
          <p:cNvPr id="3" name="Content Placeholder 6">
            <a:extLst>
              <a:ext uri="{FF2B5EF4-FFF2-40B4-BE49-F238E27FC236}">
                <a16:creationId xmlns:a16="http://schemas.microsoft.com/office/drawing/2014/main" id="{88CA319C-D05A-F6B7-BD25-61A2F9CFE757}"/>
              </a:ext>
            </a:extLst>
          </p:cNvPr>
          <p:cNvSpPr txBox="1">
            <a:spLocks/>
          </p:cNvSpPr>
          <p:nvPr/>
        </p:nvSpPr>
        <p:spPr>
          <a:xfrm>
            <a:off x="9525112" y="1889656"/>
            <a:ext cx="7896000"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a:solidFill>
                  <a:schemeClr val="accent1"/>
                </a:solidFill>
              </a:rPr>
              <a:t>Chart Title</a:t>
            </a:r>
          </a:p>
        </p:txBody>
      </p:sp>
      <p:sp>
        <p:nvSpPr>
          <p:cNvPr id="4" name="Content Placeholder 6">
            <a:extLst>
              <a:ext uri="{FF2B5EF4-FFF2-40B4-BE49-F238E27FC236}">
                <a16:creationId xmlns:a16="http://schemas.microsoft.com/office/drawing/2014/main" id="{F0C1EC23-1B90-D1AC-C365-0F4BB7C5A5C1}"/>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8494866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31DD7-8CA7-DD8C-BD47-A6820287DD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97E3D3-60B0-5FF7-03BA-0F23633FD36B}"/>
              </a:ext>
            </a:extLst>
          </p:cNvPr>
          <p:cNvSpPr>
            <a:spLocks noGrp="1"/>
          </p:cNvSpPr>
          <p:nvPr>
            <p:ph type="ctrTitle"/>
          </p:nvPr>
        </p:nvSpPr>
        <p:spPr>
          <a:xfrm>
            <a:off x="742950" y="4572119"/>
            <a:ext cx="10001250" cy="1354217"/>
          </a:xfrm>
        </p:spPr>
        <p:txBody>
          <a:bodyPr/>
          <a:lstStyle/>
          <a:p>
            <a:r>
              <a:rPr lang="en-US" dirty="0"/>
              <a:t>Qualitative Slides</a:t>
            </a:r>
          </a:p>
        </p:txBody>
      </p:sp>
      <p:sp>
        <p:nvSpPr>
          <p:cNvPr id="3" name="Slide Number Placeholder 2">
            <a:extLst>
              <a:ext uri="{FF2B5EF4-FFF2-40B4-BE49-F238E27FC236}">
                <a16:creationId xmlns:a16="http://schemas.microsoft.com/office/drawing/2014/main" id="{E8668643-8E4F-B7CE-B512-CEA3467C71C3}"/>
              </a:ext>
            </a:extLst>
          </p:cNvPr>
          <p:cNvSpPr>
            <a:spLocks noGrp="1"/>
          </p:cNvSpPr>
          <p:nvPr>
            <p:ph type="sldNum" sz="quarter" idx="12"/>
          </p:nvPr>
        </p:nvSpPr>
        <p:spPr/>
        <p:txBody>
          <a:bodyPr/>
          <a:lstStyle/>
          <a:p>
            <a:fld id="{E2D680B1-7F17-42D2-83E2-2C9AC13983BB}" type="slidenum">
              <a:rPr lang="en-US" smtClean="0"/>
              <a:pPr/>
              <a:t>51</a:t>
            </a:fld>
            <a:endParaRPr lang="en-US" dirty="0"/>
          </a:p>
        </p:txBody>
      </p:sp>
    </p:spTree>
    <p:extLst>
      <p:ext uri="{BB962C8B-B14F-4D97-AF65-F5344CB8AC3E}">
        <p14:creationId xmlns:p14="http://schemas.microsoft.com/office/powerpoint/2010/main" val="20740645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9D40D-3638-3CB0-DF4D-1D4645188F29}"/>
              </a:ext>
            </a:extLst>
          </p:cNvPr>
          <p:cNvSpPr>
            <a:spLocks noGrp="1"/>
          </p:cNvSpPr>
          <p:nvPr>
            <p:ph type="title"/>
          </p:nvPr>
        </p:nvSpPr>
        <p:spPr/>
        <p:txBody>
          <a:bodyPr/>
          <a:lstStyle/>
          <a:p>
            <a:r>
              <a:rPr lang="en-US" dirty="0"/>
              <a:t>Table Format</a:t>
            </a:r>
          </a:p>
        </p:txBody>
      </p:sp>
      <p:graphicFrame>
        <p:nvGraphicFramePr>
          <p:cNvPr id="5" name="Table 4">
            <a:extLst>
              <a:ext uri="{FF2B5EF4-FFF2-40B4-BE49-F238E27FC236}">
                <a16:creationId xmlns:a16="http://schemas.microsoft.com/office/drawing/2014/main" id="{B0D4B307-BBF6-2923-0861-F93F7820E839}"/>
              </a:ext>
            </a:extLst>
          </p:cNvPr>
          <p:cNvGraphicFramePr>
            <a:graphicFrameLocks noGrp="1"/>
          </p:cNvGraphicFramePr>
          <p:nvPr>
            <p:extLst>
              <p:ext uri="{D42A27DB-BD31-4B8C-83A1-F6EECF244321}">
                <p14:modId xmlns:p14="http://schemas.microsoft.com/office/powerpoint/2010/main" val="3279370290"/>
              </p:ext>
            </p:extLst>
          </p:nvPr>
        </p:nvGraphicFramePr>
        <p:xfrm>
          <a:off x="714375" y="1889656"/>
          <a:ext cx="16859252" cy="6937414"/>
        </p:xfrm>
        <a:graphic>
          <a:graphicData uri="http://schemas.openxmlformats.org/drawingml/2006/table">
            <a:tbl>
              <a:tblPr firstRow="1" bandRow="1">
                <a:tableStyleId>{5C22544A-7EE6-4342-B048-85BDC9FD1C3A}</a:tableStyleId>
              </a:tblPr>
              <a:tblGrid>
                <a:gridCol w="2377587">
                  <a:extLst>
                    <a:ext uri="{9D8B030D-6E8A-4147-A177-3AD203B41FA5}">
                      <a16:colId xmlns:a16="http://schemas.microsoft.com/office/drawing/2014/main" val="1199338330"/>
                    </a:ext>
                  </a:extLst>
                </a:gridCol>
                <a:gridCol w="2896333">
                  <a:extLst>
                    <a:ext uri="{9D8B030D-6E8A-4147-A177-3AD203B41FA5}">
                      <a16:colId xmlns:a16="http://schemas.microsoft.com/office/drawing/2014/main" val="1250727702"/>
                    </a:ext>
                  </a:extLst>
                </a:gridCol>
                <a:gridCol w="2896333">
                  <a:extLst>
                    <a:ext uri="{9D8B030D-6E8A-4147-A177-3AD203B41FA5}">
                      <a16:colId xmlns:a16="http://schemas.microsoft.com/office/drawing/2014/main" val="4141983244"/>
                    </a:ext>
                  </a:extLst>
                </a:gridCol>
                <a:gridCol w="2896333">
                  <a:extLst>
                    <a:ext uri="{9D8B030D-6E8A-4147-A177-3AD203B41FA5}">
                      <a16:colId xmlns:a16="http://schemas.microsoft.com/office/drawing/2014/main" val="2404582931"/>
                    </a:ext>
                  </a:extLst>
                </a:gridCol>
                <a:gridCol w="2896333">
                  <a:extLst>
                    <a:ext uri="{9D8B030D-6E8A-4147-A177-3AD203B41FA5}">
                      <a16:colId xmlns:a16="http://schemas.microsoft.com/office/drawing/2014/main" val="2248748312"/>
                    </a:ext>
                  </a:extLst>
                </a:gridCol>
                <a:gridCol w="2896333">
                  <a:extLst>
                    <a:ext uri="{9D8B030D-6E8A-4147-A177-3AD203B41FA5}">
                      <a16:colId xmlns:a16="http://schemas.microsoft.com/office/drawing/2014/main" val="3611207902"/>
                    </a:ext>
                  </a:extLst>
                </a:gridCol>
              </a:tblGrid>
              <a:tr h="610894">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12700" cap="flat" cmpd="sng" algn="ctr">
                      <a:solidFill>
                        <a:schemeClr val="bg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86343440"/>
                  </a:ext>
                </a:extLst>
              </a:tr>
              <a:tr h="1054420">
                <a:tc>
                  <a:txBody>
                    <a:bodyPr/>
                    <a:lstStyle/>
                    <a:p>
                      <a:pPr algn="l"/>
                      <a:r>
                        <a:rPr kumimoji="0" lang="en-US" sz="1800" b="1" i="0" u="none" strike="noStrike" kern="1200" cap="none" spc="0" normalizeH="0" baseline="0" noProof="0" dirty="0">
                          <a:ln>
                            <a:noFill/>
                          </a:ln>
                          <a:solidFill>
                            <a:schemeClr val="bg1"/>
                          </a:solidFill>
                          <a:effectLst/>
                          <a:uLnTx/>
                          <a:uFillTx/>
                          <a:latin typeface="Arial" panose="020B0604020202020204" pitchFamily="34" charset="0"/>
                          <a:ea typeface="Poppins"/>
                          <a:cs typeface="Arial" panose="020B0604020202020204" pitchFamily="34" charset="0"/>
                          <a:sym typeface="Poppins"/>
                        </a:rPr>
                        <a:t>Sub title</a:t>
                      </a:r>
                      <a:endParaRPr lang="en-US" sz="1800" b="1" dirty="0">
                        <a:solidFill>
                          <a:schemeClr val="bg1"/>
                        </a:solidFill>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1777407"/>
                  </a:ext>
                </a:extLst>
              </a:tr>
              <a:tr h="1054420">
                <a:tc>
                  <a:txBody>
                    <a:bodyPr/>
                    <a:lstStyle/>
                    <a:p>
                      <a:pPr algn="l"/>
                      <a:r>
                        <a:rPr kumimoji="0" lang="en-US" sz="1800" b="1" i="0" u="none" strike="noStrike" kern="1200" cap="none" spc="0" normalizeH="0" baseline="0" noProof="0" dirty="0">
                          <a:ln>
                            <a:noFill/>
                          </a:ln>
                          <a:solidFill>
                            <a:schemeClr val="bg1"/>
                          </a:solidFill>
                          <a:effectLst/>
                          <a:uLnTx/>
                          <a:uFillTx/>
                          <a:latin typeface="Arial" panose="020B0604020202020204" pitchFamily="34" charset="0"/>
                          <a:ea typeface="Poppins"/>
                          <a:cs typeface="Arial" panose="020B0604020202020204" pitchFamily="34" charset="0"/>
                          <a:sym typeface="Poppins"/>
                        </a:rPr>
                        <a:t>Sub title</a:t>
                      </a:r>
                      <a:endParaRPr lang="en-US" sz="1800" dirty="0">
                        <a:solidFill>
                          <a:schemeClr val="bg1"/>
                        </a:solidFill>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187556"/>
                  </a:ext>
                </a:extLst>
              </a:tr>
              <a:tr h="1054420">
                <a:tc>
                  <a:txBody>
                    <a:bodyPr/>
                    <a:lstStyle/>
                    <a:p>
                      <a:pPr algn="l"/>
                      <a:r>
                        <a:rPr kumimoji="0" lang="en-US" sz="1800" b="1" i="0" u="none" strike="noStrike" kern="1200" cap="none" spc="0" normalizeH="0" baseline="0" noProof="0" dirty="0">
                          <a:ln>
                            <a:noFill/>
                          </a:ln>
                          <a:solidFill>
                            <a:schemeClr val="bg1"/>
                          </a:solidFill>
                          <a:effectLst/>
                          <a:uLnTx/>
                          <a:uFillTx/>
                          <a:latin typeface="Arial" panose="020B0604020202020204" pitchFamily="34" charset="0"/>
                          <a:ea typeface="Poppins"/>
                          <a:cs typeface="Arial" panose="020B0604020202020204" pitchFamily="34" charset="0"/>
                          <a:sym typeface="Poppins"/>
                        </a:rPr>
                        <a:t>Sub title</a:t>
                      </a:r>
                      <a:endParaRPr lang="en-US" sz="1800" dirty="0">
                        <a:solidFill>
                          <a:schemeClr val="bg1"/>
                        </a:solidFill>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6629690"/>
                  </a:ext>
                </a:extLst>
              </a:tr>
              <a:tr h="1054420">
                <a:tc>
                  <a:txBody>
                    <a:bodyPr/>
                    <a:lstStyle/>
                    <a:p>
                      <a:pPr algn="l"/>
                      <a:r>
                        <a:rPr kumimoji="0" lang="en-US" sz="1800" b="1" i="0" u="none" strike="noStrike" kern="1200" cap="none" spc="0" normalizeH="0" baseline="0" noProof="0" dirty="0">
                          <a:ln>
                            <a:noFill/>
                          </a:ln>
                          <a:solidFill>
                            <a:schemeClr val="bg1"/>
                          </a:solidFill>
                          <a:effectLst/>
                          <a:uLnTx/>
                          <a:uFillTx/>
                          <a:latin typeface="Arial" panose="020B0604020202020204" pitchFamily="34" charset="0"/>
                          <a:ea typeface="Poppins"/>
                          <a:cs typeface="Arial" panose="020B0604020202020204" pitchFamily="34" charset="0"/>
                          <a:sym typeface="Poppins"/>
                        </a:rPr>
                        <a:t>Sub title</a:t>
                      </a:r>
                      <a:endParaRPr lang="en-US" sz="1800" dirty="0">
                        <a:solidFill>
                          <a:schemeClr val="bg1"/>
                        </a:solidFill>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710895"/>
                  </a:ext>
                </a:extLst>
              </a:tr>
              <a:tr h="1054420">
                <a:tc>
                  <a:txBody>
                    <a:bodyPr/>
                    <a:lstStyle/>
                    <a:p>
                      <a:pPr algn="l"/>
                      <a:r>
                        <a:rPr kumimoji="0" lang="en-US" sz="1800" b="1" i="0" u="none" strike="noStrike" kern="1200" cap="none" spc="0" normalizeH="0" baseline="0" noProof="0" dirty="0">
                          <a:ln>
                            <a:noFill/>
                          </a:ln>
                          <a:solidFill>
                            <a:schemeClr val="bg1"/>
                          </a:solidFill>
                          <a:effectLst/>
                          <a:uLnTx/>
                          <a:uFillTx/>
                          <a:latin typeface="Arial" panose="020B0604020202020204" pitchFamily="34" charset="0"/>
                          <a:ea typeface="Poppins"/>
                          <a:cs typeface="Arial" panose="020B0604020202020204" pitchFamily="34" charset="0"/>
                          <a:sym typeface="Poppins"/>
                        </a:rPr>
                        <a:t>Sub title</a:t>
                      </a:r>
                      <a:endParaRPr lang="en-US" sz="1800" dirty="0">
                        <a:solidFill>
                          <a:schemeClr val="bg1"/>
                        </a:solidFill>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1060354"/>
                  </a:ext>
                </a:extLst>
              </a:tr>
              <a:tr h="1054420">
                <a:tc>
                  <a:txBody>
                    <a:bodyPr/>
                    <a:lstStyle/>
                    <a:p>
                      <a:pPr algn="l"/>
                      <a:r>
                        <a:rPr kumimoji="0" lang="en-US" sz="1800" b="1" i="0" u="none" strike="noStrike" kern="1200" cap="none" spc="0" normalizeH="0" baseline="0" noProof="0" dirty="0">
                          <a:ln>
                            <a:noFill/>
                          </a:ln>
                          <a:solidFill>
                            <a:schemeClr val="bg1"/>
                          </a:solidFill>
                          <a:effectLst/>
                          <a:uLnTx/>
                          <a:uFillTx/>
                          <a:latin typeface="Arial" panose="020B0604020202020204" pitchFamily="34" charset="0"/>
                          <a:ea typeface="Poppins"/>
                          <a:cs typeface="Arial" panose="020B0604020202020204" pitchFamily="34" charset="0"/>
                          <a:sym typeface="Poppins"/>
                        </a:rPr>
                        <a:t>Sub title</a:t>
                      </a:r>
                      <a:endParaRPr lang="en-US" sz="1800" dirty="0">
                        <a:solidFill>
                          <a:schemeClr val="bg1"/>
                        </a:solidFill>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7899000"/>
                  </a:ext>
                </a:extLst>
              </a:tr>
            </a:tbl>
          </a:graphicData>
        </a:graphic>
      </p:graphicFrame>
      <p:sp>
        <p:nvSpPr>
          <p:cNvPr id="6" name="Slide Number Placeholder 5">
            <a:extLst>
              <a:ext uri="{FF2B5EF4-FFF2-40B4-BE49-F238E27FC236}">
                <a16:creationId xmlns:a16="http://schemas.microsoft.com/office/drawing/2014/main" id="{EA3D7D32-22C0-8B5B-73AD-40EB90F6D82B}"/>
              </a:ext>
            </a:extLst>
          </p:cNvPr>
          <p:cNvSpPr>
            <a:spLocks noGrp="1"/>
          </p:cNvSpPr>
          <p:nvPr>
            <p:ph type="sldNum" sz="quarter" idx="12"/>
          </p:nvPr>
        </p:nvSpPr>
        <p:spPr/>
        <p:txBody>
          <a:bodyPr/>
          <a:lstStyle/>
          <a:p>
            <a:fld id="{E2D680B1-7F17-42D2-83E2-2C9AC13983BB}" type="slidenum">
              <a:rPr lang="en-US" smtClean="0"/>
              <a:t>52</a:t>
            </a:fld>
            <a:endParaRPr lang="en-US" dirty="0"/>
          </a:p>
        </p:txBody>
      </p:sp>
    </p:spTree>
    <p:extLst>
      <p:ext uri="{BB962C8B-B14F-4D97-AF65-F5344CB8AC3E}">
        <p14:creationId xmlns:p14="http://schemas.microsoft.com/office/powerpoint/2010/main" val="12758220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07799-CDF0-8532-C110-06B184E869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D2BD6A-E7EC-29C0-40D5-578F27C19CC8}"/>
              </a:ext>
            </a:extLst>
          </p:cNvPr>
          <p:cNvSpPr>
            <a:spLocks noGrp="1"/>
          </p:cNvSpPr>
          <p:nvPr>
            <p:ph type="title"/>
          </p:nvPr>
        </p:nvSpPr>
        <p:spPr/>
        <p:txBody>
          <a:bodyPr/>
          <a:lstStyle/>
          <a:p>
            <a:r>
              <a:rPr lang="en-US" dirty="0"/>
              <a:t>Table Format</a:t>
            </a:r>
          </a:p>
        </p:txBody>
      </p:sp>
      <p:graphicFrame>
        <p:nvGraphicFramePr>
          <p:cNvPr id="5" name="Table 4">
            <a:extLst>
              <a:ext uri="{FF2B5EF4-FFF2-40B4-BE49-F238E27FC236}">
                <a16:creationId xmlns:a16="http://schemas.microsoft.com/office/drawing/2014/main" id="{7DC714EC-704F-2175-77DE-7B8C83AFD073}"/>
              </a:ext>
            </a:extLst>
          </p:cNvPr>
          <p:cNvGraphicFramePr>
            <a:graphicFrameLocks noGrp="1"/>
          </p:cNvGraphicFramePr>
          <p:nvPr>
            <p:extLst>
              <p:ext uri="{D42A27DB-BD31-4B8C-83A1-F6EECF244321}">
                <p14:modId xmlns:p14="http://schemas.microsoft.com/office/powerpoint/2010/main" val="2973688052"/>
              </p:ext>
            </p:extLst>
          </p:nvPr>
        </p:nvGraphicFramePr>
        <p:xfrm>
          <a:off x="714375" y="1889656"/>
          <a:ext cx="16859252" cy="6937414"/>
        </p:xfrm>
        <a:graphic>
          <a:graphicData uri="http://schemas.openxmlformats.org/drawingml/2006/table">
            <a:tbl>
              <a:tblPr firstRow="1" bandRow="1">
                <a:tableStyleId>{5C22544A-7EE6-4342-B048-85BDC9FD1C3A}</a:tableStyleId>
              </a:tblPr>
              <a:tblGrid>
                <a:gridCol w="2377587">
                  <a:extLst>
                    <a:ext uri="{9D8B030D-6E8A-4147-A177-3AD203B41FA5}">
                      <a16:colId xmlns:a16="http://schemas.microsoft.com/office/drawing/2014/main" val="1199338330"/>
                    </a:ext>
                  </a:extLst>
                </a:gridCol>
                <a:gridCol w="2896333">
                  <a:extLst>
                    <a:ext uri="{9D8B030D-6E8A-4147-A177-3AD203B41FA5}">
                      <a16:colId xmlns:a16="http://schemas.microsoft.com/office/drawing/2014/main" val="1250727702"/>
                    </a:ext>
                  </a:extLst>
                </a:gridCol>
                <a:gridCol w="2896333">
                  <a:extLst>
                    <a:ext uri="{9D8B030D-6E8A-4147-A177-3AD203B41FA5}">
                      <a16:colId xmlns:a16="http://schemas.microsoft.com/office/drawing/2014/main" val="4141983244"/>
                    </a:ext>
                  </a:extLst>
                </a:gridCol>
                <a:gridCol w="2896333">
                  <a:extLst>
                    <a:ext uri="{9D8B030D-6E8A-4147-A177-3AD203B41FA5}">
                      <a16:colId xmlns:a16="http://schemas.microsoft.com/office/drawing/2014/main" val="2404582931"/>
                    </a:ext>
                  </a:extLst>
                </a:gridCol>
                <a:gridCol w="2896333">
                  <a:extLst>
                    <a:ext uri="{9D8B030D-6E8A-4147-A177-3AD203B41FA5}">
                      <a16:colId xmlns:a16="http://schemas.microsoft.com/office/drawing/2014/main" val="2248748312"/>
                    </a:ext>
                  </a:extLst>
                </a:gridCol>
                <a:gridCol w="2896333">
                  <a:extLst>
                    <a:ext uri="{9D8B030D-6E8A-4147-A177-3AD203B41FA5}">
                      <a16:colId xmlns:a16="http://schemas.microsoft.com/office/drawing/2014/main" val="3611207902"/>
                    </a:ext>
                  </a:extLst>
                </a:gridCol>
              </a:tblGrid>
              <a:tr h="610894">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accent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86343440"/>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1777407"/>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187556"/>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6629690"/>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710895"/>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1060354"/>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7899000"/>
                  </a:ext>
                </a:extLst>
              </a:tr>
            </a:tbl>
          </a:graphicData>
        </a:graphic>
      </p:graphicFrame>
      <p:sp>
        <p:nvSpPr>
          <p:cNvPr id="6" name="Slide Number Placeholder 5">
            <a:extLst>
              <a:ext uri="{FF2B5EF4-FFF2-40B4-BE49-F238E27FC236}">
                <a16:creationId xmlns:a16="http://schemas.microsoft.com/office/drawing/2014/main" id="{4F2F5DDB-B8CF-B380-DE25-8701C732237A}"/>
              </a:ext>
            </a:extLst>
          </p:cNvPr>
          <p:cNvSpPr>
            <a:spLocks noGrp="1"/>
          </p:cNvSpPr>
          <p:nvPr>
            <p:ph type="sldNum" sz="quarter" idx="12"/>
          </p:nvPr>
        </p:nvSpPr>
        <p:spPr/>
        <p:txBody>
          <a:bodyPr/>
          <a:lstStyle/>
          <a:p>
            <a:fld id="{E2D680B1-7F17-42D2-83E2-2C9AC13983BB}" type="slidenum">
              <a:rPr lang="en-US" smtClean="0"/>
              <a:t>53</a:t>
            </a:fld>
            <a:endParaRPr lang="en-US" dirty="0"/>
          </a:p>
        </p:txBody>
      </p:sp>
    </p:spTree>
    <p:extLst>
      <p:ext uri="{BB962C8B-B14F-4D97-AF65-F5344CB8AC3E}">
        <p14:creationId xmlns:p14="http://schemas.microsoft.com/office/powerpoint/2010/main" val="20482257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22157-AF4A-2E95-0EF3-77F371D3DB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544A85-C221-93DB-0C72-6BC14D33ED62}"/>
              </a:ext>
            </a:extLst>
          </p:cNvPr>
          <p:cNvSpPr>
            <a:spLocks noGrp="1"/>
          </p:cNvSpPr>
          <p:nvPr>
            <p:ph type="title"/>
          </p:nvPr>
        </p:nvSpPr>
        <p:spPr/>
        <p:txBody>
          <a:bodyPr/>
          <a:lstStyle/>
          <a:p>
            <a:r>
              <a:rPr lang="en-US" dirty="0"/>
              <a:t>Table Format</a:t>
            </a:r>
          </a:p>
        </p:txBody>
      </p:sp>
      <p:graphicFrame>
        <p:nvGraphicFramePr>
          <p:cNvPr id="5" name="Table 4">
            <a:extLst>
              <a:ext uri="{FF2B5EF4-FFF2-40B4-BE49-F238E27FC236}">
                <a16:creationId xmlns:a16="http://schemas.microsoft.com/office/drawing/2014/main" id="{DCF70462-7904-30EF-7C36-30E8493FDDBF}"/>
              </a:ext>
            </a:extLst>
          </p:cNvPr>
          <p:cNvGraphicFramePr>
            <a:graphicFrameLocks noGrp="1"/>
          </p:cNvGraphicFramePr>
          <p:nvPr>
            <p:extLst>
              <p:ext uri="{D42A27DB-BD31-4B8C-83A1-F6EECF244321}">
                <p14:modId xmlns:p14="http://schemas.microsoft.com/office/powerpoint/2010/main" val="2803854188"/>
              </p:ext>
            </p:extLst>
          </p:nvPr>
        </p:nvGraphicFramePr>
        <p:xfrm>
          <a:off x="714375" y="1889656"/>
          <a:ext cx="16859252" cy="6937414"/>
        </p:xfrm>
        <a:graphic>
          <a:graphicData uri="http://schemas.openxmlformats.org/drawingml/2006/table">
            <a:tbl>
              <a:tblPr firstRow="1" bandRow="1">
                <a:tableStyleId>{5C22544A-7EE6-4342-B048-85BDC9FD1C3A}</a:tableStyleId>
              </a:tblPr>
              <a:tblGrid>
                <a:gridCol w="2377587">
                  <a:extLst>
                    <a:ext uri="{9D8B030D-6E8A-4147-A177-3AD203B41FA5}">
                      <a16:colId xmlns:a16="http://schemas.microsoft.com/office/drawing/2014/main" val="1199338330"/>
                    </a:ext>
                  </a:extLst>
                </a:gridCol>
                <a:gridCol w="2896333">
                  <a:extLst>
                    <a:ext uri="{9D8B030D-6E8A-4147-A177-3AD203B41FA5}">
                      <a16:colId xmlns:a16="http://schemas.microsoft.com/office/drawing/2014/main" val="1250727702"/>
                    </a:ext>
                  </a:extLst>
                </a:gridCol>
                <a:gridCol w="2896333">
                  <a:extLst>
                    <a:ext uri="{9D8B030D-6E8A-4147-A177-3AD203B41FA5}">
                      <a16:colId xmlns:a16="http://schemas.microsoft.com/office/drawing/2014/main" val="4141983244"/>
                    </a:ext>
                  </a:extLst>
                </a:gridCol>
                <a:gridCol w="2896333">
                  <a:extLst>
                    <a:ext uri="{9D8B030D-6E8A-4147-A177-3AD203B41FA5}">
                      <a16:colId xmlns:a16="http://schemas.microsoft.com/office/drawing/2014/main" val="2404582931"/>
                    </a:ext>
                  </a:extLst>
                </a:gridCol>
                <a:gridCol w="2896333">
                  <a:extLst>
                    <a:ext uri="{9D8B030D-6E8A-4147-A177-3AD203B41FA5}">
                      <a16:colId xmlns:a16="http://schemas.microsoft.com/office/drawing/2014/main" val="2248748312"/>
                    </a:ext>
                  </a:extLst>
                </a:gridCol>
                <a:gridCol w="2896333">
                  <a:extLst>
                    <a:ext uri="{9D8B030D-6E8A-4147-A177-3AD203B41FA5}">
                      <a16:colId xmlns:a16="http://schemas.microsoft.com/office/drawing/2014/main" val="3611207902"/>
                    </a:ext>
                  </a:extLst>
                </a:gridCol>
              </a:tblGrid>
              <a:tr h="610894">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accent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Arial" panose="020B0604020202020204" pitchFamily="34" charset="0"/>
                          <a:cs typeface="Arial" panose="020B0604020202020204" pitchFamily="34" charset="0"/>
                        </a:rPr>
                        <a:t>Heading</a:t>
                      </a:r>
                    </a:p>
                  </a:txBody>
                  <a:tcPr anchor="ctr">
                    <a:lnL w="9525" cap="flat" cmpd="sng" algn="ctr">
                      <a:solidFill>
                        <a:schemeClr val="bg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86343440"/>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1777407"/>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10187556"/>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6629690"/>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897710895"/>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1060354"/>
                  </a:ext>
                </a:extLst>
              </a:tr>
              <a:tr h="1054420">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Poppins"/>
                          <a:cs typeface="Arial" panose="020B0604020202020204" pitchFamily="34" charset="0"/>
                          <a:sym typeface="Poppins"/>
                        </a:rPr>
                        <a:t>Lorem ipsum dolor sit amet, consectetur </a:t>
                      </a:r>
                      <a:endParaRPr lang="en-US" sz="1800" dirty="0">
                        <a:latin typeface="Arial" panose="020B0604020202020204" pitchFamily="34" charset="0"/>
                        <a:cs typeface="Arial" panose="020B0604020202020204" pitchFamily="34" charset="0"/>
                      </a:endParaRP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47899000"/>
                  </a:ext>
                </a:extLst>
              </a:tr>
            </a:tbl>
          </a:graphicData>
        </a:graphic>
      </p:graphicFrame>
      <p:sp>
        <p:nvSpPr>
          <p:cNvPr id="6" name="Slide Number Placeholder 5">
            <a:extLst>
              <a:ext uri="{FF2B5EF4-FFF2-40B4-BE49-F238E27FC236}">
                <a16:creationId xmlns:a16="http://schemas.microsoft.com/office/drawing/2014/main" id="{FDE00898-E7D8-FA75-3FC0-04C1CC43D982}"/>
              </a:ext>
            </a:extLst>
          </p:cNvPr>
          <p:cNvSpPr>
            <a:spLocks noGrp="1"/>
          </p:cNvSpPr>
          <p:nvPr>
            <p:ph type="sldNum" sz="quarter" idx="12"/>
          </p:nvPr>
        </p:nvSpPr>
        <p:spPr/>
        <p:txBody>
          <a:bodyPr/>
          <a:lstStyle/>
          <a:p>
            <a:fld id="{E2D680B1-7F17-42D2-83E2-2C9AC13983BB}" type="slidenum">
              <a:rPr lang="en-US" smtClean="0"/>
              <a:t>54</a:t>
            </a:fld>
            <a:endParaRPr lang="en-US" dirty="0"/>
          </a:p>
        </p:txBody>
      </p:sp>
    </p:spTree>
    <p:extLst>
      <p:ext uri="{BB962C8B-B14F-4D97-AF65-F5344CB8AC3E}">
        <p14:creationId xmlns:p14="http://schemas.microsoft.com/office/powerpoint/2010/main" val="1705076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3A662-BE95-8B51-E4A5-B76A4AEE5CAA}"/>
            </a:ext>
          </a:extLst>
        </p:cNvPr>
        <p:cNvGrpSpPr/>
        <p:nvPr/>
      </p:nvGrpSpPr>
      <p:grpSpPr>
        <a:xfrm>
          <a:off x="0" y="0"/>
          <a:ext cx="0" cy="0"/>
          <a:chOff x="0" y="0"/>
          <a:chExt cx="0" cy="0"/>
        </a:xfrm>
      </p:grpSpPr>
      <p:sp>
        <p:nvSpPr>
          <p:cNvPr id="179" name="Title 178">
            <a:extLst>
              <a:ext uri="{FF2B5EF4-FFF2-40B4-BE49-F238E27FC236}">
                <a16:creationId xmlns:a16="http://schemas.microsoft.com/office/drawing/2014/main" id="{79BE731C-08F4-2C39-8488-2296487AEF33}"/>
              </a:ext>
            </a:extLst>
          </p:cNvPr>
          <p:cNvSpPr>
            <a:spLocks noGrp="1"/>
          </p:cNvSpPr>
          <p:nvPr>
            <p:ph type="title"/>
          </p:nvPr>
        </p:nvSpPr>
        <p:spPr>
          <a:xfrm>
            <a:off x="714375" y="317500"/>
            <a:ext cx="16859250" cy="1266825"/>
          </a:xfrm>
        </p:spPr>
        <p:txBody>
          <a:bodyPr/>
          <a:lstStyle/>
          <a:p>
            <a:r>
              <a:rPr lang="en-US" dirty="0"/>
              <a:t>One-Column Layout</a:t>
            </a:r>
          </a:p>
        </p:txBody>
      </p:sp>
      <p:sp>
        <p:nvSpPr>
          <p:cNvPr id="31" name="Rectangle 30">
            <a:extLst>
              <a:ext uri="{FF2B5EF4-FFF2-40B4-BE49-F238E27FC236}">
                <a16:creationId xmlns:a16="http://schemas.microsoft.com/office/drawing/2014/main" id="{AA076DFB-52A2-17B3-4AD1-5674C427E20A}"/>
              </a:ext>
            </a:extLst>
          </p:cNvPr>
          <p:cNvSpPr/>
          <p:nvPr/>
        </p:nvSpPr>
        <p:spPr>
          <a:xfrm>
            <a:off x="714375" y="1889656"/>
            <a:ext cx="16859250"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33" name="Rectangle 32">
            <a:extLst>
              <a:ext uri="{FF2B5EF4-FFF2-40B4-BE49-F238E27FC236}">
                <a16:creationId xmlns:a16="http://schemas.microsoft.com/office/drawing/2014/main" id="{4BCAA216-27F1-EA0C-6074-326CEFC455CC}"/>
              </a:ext>
            </a:extLst>
          </p:cNvPr>
          <p:cNvSpPr/>
          <p:nvPr/>
        </p:nvSpPr>
        <p:spPr>
          <a:xfrm>
            <a:off x="714375" y="2411655"/>
            <a:ext cx="168592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ent.</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roin nec augue. Quisque aliquam tempor magna. Pellentesque habitant morbi tristique senectus et netus et malesuada fames ac turpis egesta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ac magna. Maecenas odio dolor, vulputate vel, auctor ac, accumsan id, felis. Pellentesque cursus sagittis feli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porttitor, velit lacinia egestas auctor, diam eros tempus arcu, nec vulputate augue magna vel risus. Cras non magna vel ante adipiscing rhoncus. Vivamus a m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Morbi neque. Aliquam erat volutpat. Integer ultrices lobortis ero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semper, ante vitae sollicitudin posuere, metus quam iaculis nibh, vitae scelerisque nunc massa eget pede. Sed velit urna, interdum vel, ultricies vel, faucibus at, quam.</a:t>
            </a:r>
          </a:p>
        </p:txBody>
      </p:sp>
      <p:sp>
        <p:nvSpPr>
          <p:cNvPr id="4" name="Slide Number Placeholder 3">
            <a:extLst>
              <a:ext uri="{FF2B5EF4-FFF2-40B4-BE49-F238E27FC236}">
                <a16:creationId xmlns:a16="http://schemas.microsoft.com/office/drawing/2014/main" id="{E26D49B3-5495-0C87-1DB5-29EF156AF406}"/>
              </a:ext>
            </a:extLst>
          </p:cNvPr>
          <p:cNvSpPr>
            <a:spLocks noGrp="1"/>
          </p:cNvSpPr>
          <p:nvPr>
            <p:ph type="sldNum" sz="quarter" idx="12"/>
          </p:nvPr>
        </p:nvSpPr>
        <p:spPr/>
        <p:txBody>
          <a:bodyPr/>
          <a:lstStyle/>
          <a:p>
            <a:fld id="{E2D680B1-7F17-42D2-83E2-2C9AC13983BB}" type="slidenum">
              <a:rPr lang="en-US" smtClean="0"/>
              <a:t>55</a:t>
            </a:fld>
            <a:endParaRPr lang="en-US" dirty="0"/>
          </a:p>
        </p:txBody>
      </p:sp>
    </p:spTree>
    <p:extLst>
      <p:ext uri="{BB962C8B-B14F-4D97-AF65-F5344CB8AC3E}">
        <p14:creationId xmlns:p14="http://schemas.microsoft.com/office/powerpoint/2010/main" val="13173316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74127-A92A-F8BF-6BA4-FEB8A306C28E}"/>
            </a:ext>
          </a:extLst>
        </p:cNvPr>
        <p:cNvGrpSpPr/>
        <p:nvPr/>
      </p:nvGrpSpPr>
      <p:grpSpPr>
        <a:xfrm>
          <a:off x="0" y="0"/>
          <a:ext cx="0" cy="0"/>
          <a:chOff x="0" y="0"/>
          <a:chExt cx="0" cy="0"/>
        </a:xfrm>
      </p:grpSpPr>
      <p:sp>
        <p:nvSpPr>
          <p:cNvPr id="179" name="Title 178">
            <a:extLst>
              <a:ext uri="{FF2B5EF4-FFF2-40B4-BE49-F238E27FC236}">
                <a16:creationId xmlns:a16="http://schemas.microsoft.com/office/drawing/2014/main" id="{64C6F950-3966-FE52-7490-E1AB78EB7122}"/>
              </a:ext>
            </a:extLst>
          </p:cNvPr>
          <p:cNvSpPr>
            <a:spLocks noGrp="1"/>
          </p:cNvSpPr>
          <p:nvPr>
            <p:ph type="title"/>
          </p:nvPr>
        </p:nvSpPr>
        <p:spPr>
          <a:xfrm>
            <a:off x="714375" y="317500"/>
            <a:ext cx="16859250" cy="1266825"/>
          </a:xfrm>
        </p:spPr>
        <p:txBody>
          <a:bodyPr/>
          <a:lstStyle/>
          <a:p>
            <a:r>
              <a:rPr lang="en-US" dirty="0"/>
              <a:t>Two-Column Layout</a:t>
            </a:r>
          </a:p>
        </p:txBody>
      </p:sp>
      <p:sp>
        <p:nvSpPr>
          <p:cNvPr id="31" name="Rectangle 30">
            <a:extLst>
              <a:ext uri="{FF2B5EF4-FFF2-40B4-BE49-F238E27FC236}">
                <a16:creationId xmlns:a16="http://schemas.microsoft.com/office/drawing/2014/main" id="{868F953D-795F-77D4-8D1E-7D122BBF48E6}"/>
              </a:ext>
            </a:extLst>
          </p:cNvPr>
          <p:cNvSpPr/>
          <p:nvPr/>
        </p:nvSpPr>
        <p:spPr>
          <a:xfrm>
            <a:off x="714376" y="1889656"/>
            <a:ext cx="8201024"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33" name="Rectangle 32">
            <a:extLst>
              <a:ext uri="{FF2B5EF4-FFF2-40B4-BE49-F238E27FC236}">
                <a16:creationId xmlns:a16="http://schemas.microsoft.com/office/drawing/2014/main" id="{8A88D982-A2EE-9EE1-BBC2-7787B6BF5FC2}"/>
              </a:ext>
            </a:extLst>
          </p:cNvPr>
          <p:cNvSpPr/>
          <p:nvPr/>
        </p:nvSpPr>
        <p:spPr>
          <a:xfrm>
            <a:off x="714376" y="2411655"/>
            <a:ext cx="8201024"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p:txBody>
      </p:sp>
      <p:sp>
        <p:nvSpPr>
          <p:cNvPr id="4" name="Rectangle 3">
            <a:extLst>
              <a:ext uri="{FF2B5EF4-FFF2-40B4-BE49-F238E27FC236}">
                <a16:creationId xmlns:a16="http://schemas.microsoft.com/office/drawing/2014/main" id="{FCDCBD9B-424B-2159-0C63-3D206539D2D1}"/>
              </a:ext>
            </a:extLst>
          </p:cNvPr>
          <p:cNvSpPr/>
          <p:nvPr/>
        </p:nvSpPr>
        <p:spPr>
          <a:xfrm>
            <a:off x="9372600" y="1889656"/>
            <a:ext cx="8201024" cy="522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5" name="Rectangle 4">
            <a:extLst>
              <a:ext uri="{FF2B5EF4-FFF2-40B4-BE49-F238E27FC236}">
                <a16:creationId xmlns:a16="http://schemas.microsoft.com/office/drawing/2014/main" id="{66B521ED-12CE-0F4E-71D8-DE0889084209}"/>
              </a:ext>
            </a:extLst>
          </p:cNvPr>
          <p:cNvSpPr/>
          <p:nvPr/>
        </p:nvSpPr>
        <p:spPr>
          <a:xfrm>
            <a:off x="9372600" y="2411655"/>
            <a:ext cx="8201024"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p:txBody>
      </p:sp>
      <p:sp>
        <p:nvSpPr>
          <p:cNvPr id="6" name="Slide Number Placeholder 5">
            <a:extLst>
              <a:ext uri="{FF2B5EF4-FFF2-40B4-BE49-F238E27FC236}">
                <a16:creationId xmlns:a16="http://schemas.microsoft.com/office/drawing/2014/main" id="{AADE39AB-A245-4A8E-92F6-4917B7E6229C}"/>
              </a:ext>
            </a:extLst>
          </p:cNvPr>
          <p:cNvSpPr>
            <a:spLocks noGrp="1"/>
          </p:cNvSpPr>
          <p:nvPr>
            <p:ph type="sldNum" sz="quarter" idx="12"/>
          </p:nvPr>
        </p:nvSpPr>
        <p:spPr/>
        <p:txBody>
          <a:bodyPr/>
          <a:lstStyle/>
          <a:p>
            <a:fld id="{E2D680B1-7F17-42D2-83E2-2C9AC13983BB}" type="slidenum">
              <a:rPr lang="en-US" smtClean="0"/>
              <a:t>56</a:t>
            </a:fld>
            <a:endParaRPr lang="en-US" dirty="0"/>
          </a:p>
        </p:txBody>
      </p:sp>
    </p:spTree>
    <p:extLst>
      <p:ext uri="{BB962C8B-B14F-4D97-AF65-F5344CB8AC3E}">
        <p14:creationId xmlns:p14="http://schemas.microsoft.com/office/powerpoint/2010/main" val="1725593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216E7-FD36-F4E1-0C31-C675A1B204CA}"/>
            </a:ext>
          </a:extLst>
        </p:cNvPr>
        <p:cNvGrpSpPr/>
        <p:nvPr/>
      </p:nvGrpSpPr>
      <p:grpSpPr>
        <a:xfrm>
          <a:off x="0" y="0"/>
          <a:ext cx="0" cy="0"/>
          <a:chOff x="0" y="0"/>
          <a:chExt cx="0" cy="0"/>
        </a:xfrm>
      </p:grpSpPr>
      <p:sp>
        <p:nvSpPr>
          <p:cNvPr id="179" name="Title 178">
            <a:extLst>
              <a:ext uri="{FF2B5EF4-FFF2-40B4-BE49-F238E27FC236}">
                <a16:creationId xmlns:a16="http://schemas.microsoft.com/office/drawing/2014/main" id="{36F4A494-92F1-490C-2D7E-06A18A86C920}"/>
              </a:ext>
            </a:extLst>
          </p:cNvPr>
          <p:cNvSpPr>
            <a:spLocks noGrp="1"/>
          </p:cNvSpPr>
          <p:nvPr>
            <p:ph type="title"/>
          </p:nvPr>
        </p:nvSpPr>
        <p:spPr>
          <a:xfrm>
            <a:off x="714375" y="317500"/>
            <a:ext cx="16859250" cy="1266825"/>
          </a:xfrm>
        </p:spPr>
        <p:txBody>
          <a:bodyPr/>
          <a:lstStyle/>
          <a:p>
            <a:r>
              <a:rPr lang="en-US" dirty="0"/>
              <a:t>Three-Column Layout</a:t>
            </a:r>
          </a:p>
        </p:txBody>
      </p:sp>
      <p:sp>
        <p:nvSpPr>
          <p:cNvPr id="6" name="Rectangle 5">
            <a:extLst>
              <a:ext uri="{FF2B5EF4-FFF2-40B4-BE49-F238E27FC236}">
                <a16:creationId xmlns:a16="http://schemas.microsoft.com/office/drawing/2014/main" id="{732DE1CC-D141-84CB-9D49-BC0C649B3604}"/>
              </a:ext>
            </a:extLst>
          </p:cNvPr>
          <p:cNvSpPr/>
          <p:nvPr/>
        </p:nvSpPr>
        <p:spPr>
          <a:xfrm>
            <a:off x="714376" y="1889656"/>
            <a:ext cx="5314950"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7" name="Rectangle 6">
            <a:extLst>
              <a:ext uri="{FF2B5EF4-FFF2-40B4-BE49-F238E27FC236}">
                <a16:creationId xmlns:a16="http://schemas.microsoft.com/office/drawing/2014/main" id="{15F13F4D-FFC2-188E-F5F7-D03F37D0C9E9}"/>
              </a:ext>
            </a:extLst>
          </p:cNvPr>
          <p:cNvSpPr/>
          <p:nvPr/>
        </p:nvSpPr>
        <p:spPr>
          <a:xfrm>
            <a:off x="714376" y="2411655"/>
            <a:ext cx="53149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a:t>
            </a:r>
          </a:p>
        </p:txBody>
      </p:sp>
      <p:sp>
        <p:nvSpPr>
          <p:cNvPr id="8" name="Rectangle 7">
            <a:extLst>
              <a:ext uri="{FF2B5EF4-FFF2-40B4-BE49-F238E27FC236}">
                <a16:creationId xmlns:a16="http://schemas.microsoft.com/office/drawing/2014/main" id="{2CE02BCC-E440-57AC-D526-FDD0994F732E}"/>
              </a:ext>
            </a:extLst>
          </p:cNvPr>
          <p:cNvSpPr/>
          <p:nvPr/>
        </p:nvSpPr>
        <p:spPr>
          <a:xfrm>
            <a:off x="6486526" y="1889656"/>
            <a:ext cx="5314950" cy="522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9" name="Rectangle 8">
            <a:extLst>
              <a:ext uri="{FF2B5EF4-FFF2-40B4-BE49-F238E27FC236}">
                <a16:creationId xmlns:a16="http://schemas.microsoft.com/office/drawing/2014/main" id="{D0E6FA3D-A96C-F462-E40D-202C09DFF3BB}"/>
              </a:ext>
            </a:extLst>
          </p:cNvPr>
          <p:cNvSpPr/>
          <p:nvPr/>
        </p:nvSpPr>
        <p:spPr>
          <a:xfrm>
            <a:off x="12258675" y="1889656"/>
            <a:ext cx="5314950"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10" name="Rectangle 9">
            <a:extLst>
              <a:ext uri="{FF2B5EF4-FFF2-40B4-BE49-F238E27FC236}">
                <a16:creationId xmlns:a16="http://schemas.microsoft.com/office/drawing/2014/main" id="{F7C2A532-93DE-A998-0388-3A5104E4E548}"/>
              </a:ext>
            </a:extLst>
          </p:cNvPr>
          <p:cNvSpPr/>
          <p:nvPr/>
        </p:nvSpPr>
        <p:spPr>
          <a:xfrm>
            <a:off x="6486526" y="2411655"/>
            <a:ext cx="53149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a:t>
            </a:r>
          </a:p>
        </p:txBody>
      </p:sp>
      <p:sp>
        <p:nvSpPr>
          <p:cNvPr id="11" name="Rectangle 10">
            <a:extLst>
              <a:ext uri="{FF2B5EF4-FFF2-40B4-BE49-F238E27FC236}">
                <a16:creationId xmlns:a16="http://schemas.microsoft.com/office/drawing/2014/main" id="{64580F3C-556D-C54D-F0E0-93E4ECF014BD}"/>
              </a:ext>
            </a:extLst>
          </p:cNvPr>
          <p:cNvSpPr/>
          <p:nvPr/>
        </p:nvSpPr>
        <p:spPr>
          <a:xfrm>
            <a:off x="12258675" y="2411655"/>
            <a:ext cx="53149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a:t>
            </a:r>
          </a:p>
        </p:txBody>
      </p:sp>
      <p:sp>
        <p:nvSpPr>
          <p:cNvPr id="4" name="Slide Number Placeholder 3">
            <a:extLst>
              <a:ext uri="{FF2B5EF4-FFF2-40B4-BE49-F238E27FC236}">
                <a16:creationId xmlns:a16="http://schemas.microsoft.com/office/drawing/2014/main" id="{25F46548-41F4-83AE-616A-B5746B2896EC}"/>
              </a:ext>
            </a:extLst>
          </p:cNvPr>
          <p:cNvSpPr>
            <a:spLocks noGrp="1"/>
          </p:cNvSpPr>
          <p:nvPr>
            <p:ph type="sldNum" sz="quarter" idx="12"/>
          </p:nvPr>
        </p:nvSpPr>
        <p:spPr/>
        <p:txBody>
          <a:bodyPr/>
          <a:lstStyle/>
          <a:p>
            <a:fld id="{E2D680B1-7F17-42D2-83E2-2C9AC13983BB}" type="slidenum">
              <a:rPr lang="en-US" smtClean="0"/>
              <a:t>57</a:t>
            </a:fld>
            <a:endParaRPr lang="en-US" dirty="0"/>
          </a:p>
        </p:txBody>
      </p:sp>
    </p:spTree>
    <p:extLst>
      <p:ext uri="{BB962C8B-B14F-4D97-AF65-F5344CB8AC3E}">
        <p14:creationId xmlns:p14="http://schemas.microsoft.com/office/powerpoint/2010/main" val="3845615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E24C7-AF0F-2142-3B1F-919C006C097C}"/>
            </a:ext>
          </a:extLst>
        </p:cNvPr>
        <p:cNvGrpSpPr/>
        <p:nvPr/>
      </p:nvGrpSpPr>
      <p:grpSpPr>
        <a:xfrm>
          <a:off x="0" y="0"/>
          <a:ext cx="0" cy="0"/>
          <a:chOff x="0" y="0"/>
          <a:chExt cx="0" cy="0"/>
        </a:xfrm>
      </p:grpSpPr>
      <p:sp>
        <p:nvSpPr>
          <p:cNvPr id="179" name="Title 178">
            <a:extLst>
              <a:ext uri="{FF2B5EF4-FFF2-40B4-BE49-F238E27FC236}">
                <a16:creationId xmlns:a16="http://schemas.microsoft.com/office/drawing/2014/main" id="{D2D07A49-606B-BF95-24D0-58CC4678EDC5}"/>
              </a:ext>
            </a:extLst>
          </p:cNvPr>
          <p:cNvSpPr>
            <a:spLocks noGrp="1"/>
          </p:cNvSpPr>
          <p:nvPr>
            <p:ph type="title"/>
          </p:nvPr>
        </p:nvSpPr>
        <p:spPr>
          <a:xfrm>
            <a:off x="714375" y="317500"/>
            <a:ext cx="16859250" cy="1266825"/>
          </a:xfrm>
        </p:spPr>
        <p:txBody>
          <a:bodyPr/>
          <a:lstStyle/>
          <a:p>
            <a:r>
              <a:rPr lang="en-US" dirty="0"/>
              <a:t>Four-Column Layout</a:t>
            </a:r>
          </a:p>
        </p:txBody>
      </p:sp>
      <p:sp>
        <p:nvSpPr>
          <p:cNvPr id="6" name="Rectangle 5">
            <a:extLst>
              <a:ext uri="{FF2B5EF4-FFF2-40B4-BE49-F238E27FC236}">
                <a16:creationId xmlns:a16="http://schemas.microsoft.com/office/drawing/2014/main" id="{B755285E-A7C1-A45C-4FAA-91C89A86ACC6}"/>
              </a:ext>
            </a:extLst>
          </p:cNvPr>
          <p:cNvSpPr/>
          <p:nvPr/>
        </p:nvSpPr>
        <p:spPr>
          <a:xfrm>
            <a:off x="714376" y="1889656"/>
            <a:ext cx="3871912"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7" name="Rectangle 6">
            <a:extLst>
              <a:ext uri="{FF2B5EF4-FFF2-40B4-BE49-F238E27FC236}">
                <a16:creationId xmlns:a16="http://schemas.microsoft.com/office/drawing/2014/main" id="{43A0A6FA-FE36-3A16-A2DA-22E1AA935C3E}"/>
              </a:ext>
            </a:extLst>
          </p:cNvPr>
          <p:cNvSpPr/>
          <p:nvPr/>
        </p:nvSpPr>
        <p:spPr>
          <a:xfrm>
            <a:off x="714376" y="2411655"/>
            <a:ext cx="3871912"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8" name="Rectangle 7">
            <a:extLst>
              <a:ext uri="{FF2B5EF4-FFF2-40B4-BE49-F238E27FC236}">
                <a16:creationId xmlns:a16="http://schemas.microsoft.com/office/drawing/2014/main" id="{D1E2367B-AA38-7DB0-3FA2-F77100806E5F}"/>
              </a:ext>
            </a:extLst>
          </p:cNvPr>
          <p:cNvSpPr/>
          <p:nvPr/>
        </p:nvSpPr>
        <p:spPr>
          <a:xfrm>
            <a:off x="5043488" y="1889656"/>
            <a:ext cx="3871912" cy="522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9" name="Rectangle 8">
            <a:extLst>
              <a:ext uri="{FF2B5EF4-FFF2-40B4-BE49-F238E27FC236}">
                <a16:creationId xmlns:a16="http://schemas.microsoft.com/office/drawing/2014/main" id="{558A9CE7-D52A-3AE2-FD3F-5C2B36E508EA}"/>
              </a:ext>
            </a:extLst>
          </p:cNvPr>
          <p:cNvSpPr/>
          <p:nvPr/>
        </p:nvSpPr>
        <p:spPr>
          <a:xfrm>
            <a:off x="13701713" y="1889656"/>
            <a:ext cx="3871912" cy="522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10" name="Rectangle 9">
            <a:extLst>
              <a:ext uri="{FF2B5EF4-FFF2-40B4-BE49-F238E27FC236}">
                <a16:creationId xmlns:a16="http://schemas.microsoft.com/office/drawing/2014/main" id="{2CBE5888-5D0A-9CD7-D9F3-87DA49EDBD65}"/>
              </a:ext>
            </a:extLst>
          </p:cNvPr>
          <p:cNvSpPr/>
          <p:nvPr/>
        </p:nvSpPr>
        <p:spPr>
          <a:xfrm>
            <a:off x="5043488" y="2411655"/>
            <a:ext cx="3871912"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11" name="Rectangle 10">
            <a:extLst>
              <a:ext uri="{FF2B5EF4-FFF2-40B4-BE49-F238E27FC236}">
                <a16:creationId xmlns:a16="http://schemas.microsoft.com/office/drawing/2014/main" id="{3180803D-CE9B-A61D-E030-2598472E2C42}"/>
              </a:ext>
            </a:extLst>
          </p:cNvPr>
          <p:cNvSpPr/>
          <p:nvPr/>
        </p:nvSpPr>
        <p:spPr>
          <a:xfrm>
            <a:off x="13701713" y="2411655"/>
            <a:ext cx="3871912"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5" name="Rectangle 4">
            <a:extLst>
              <a:ext uri="{FF2B5EF4-FFF2-40B4-BE49-F238E27FC236}">
                <a16:creationId xmlns:a16="http://schemas.microsoft.com/office/drawing/2014/main" id="{8941A8BA-CC7E-EC8A-5ECD-79B1D2F0B5D9}"/>
              </a:ext>
            </a:extLst>
          </p:cNvPr>
          <p:cNvSpPr/>
          <p:nvPr/>
        </p:nvSpPr>
        <p:spPr>
          <a:xfrm>
            <a:off x="9372600" y="1889656"/>
            <a:ext cx="3871912"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12" name="Rectangle 11">
            <a:extLst>
              <a:ext uri="{FF2B5EF4-FFF2-40B4-BE49-F238E27FC236}">
                <a16:creationId xmlns:a16="http://schemas.microsoft.com/office/drawing/2014/main" id="{5FA8AFC3-83E4-0C09-31B2-DD2DD414EA86}"/>
              </a:ext>
            </a:extLst>
          </p:cNvPr>
          <p:cNvSpPr/>
          <p:nvPr/>
        </p:nvSpPr>
        <p:spPr>
          <a:xfrm>
            <a:off x="9372600" y="2411655"/>
            <a:ext cx="3871912"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4" name="Slide Number Placeholder 3">
            <a:extLst>
              <a:ext uri="{FF2B5EF4-FFF2-40B4-BE49-F238E27FC236}">
                <a16:creationId xmlns:a16="http://schemas.microsoft.com/office/drawing/2014/main" id="{36A2081F-E6A6-367E-9138-01F884DECE64}"/>
              </a:ext>
            </a:extLst>
          </p:cNvPr>
          <p:cNvSpPr>
            <a:spLocks noGrp="1"/>
          </p:cNvSpPr>
          <p:nvPr>
            <p:ph type="sldNum" sz="quarter" idx="12"/>
          </p:nvPr>
        </p:nvSpPr>
        <p:spPr/>
        <p:txBody>
          <a:bodyPr/>
          <a:lstStyle/>
          <a:p>
            <a:fld id="{E2D680B1-7F17-42D2-83E2-2C9AC13983BB}" type="slidenum">
              <a:rPr lang="en-US" smtClean="0"/>
              <a:t>58</a:t>
            </a:fld>
            <a:endParaRPr lang="en-US" dirty="0"/>
          </a:p>
        </p:txBody>
      </p:sp>
    </p:spTree>
    <p:extLst>
      <p:ext uri="{BB962C8B-B14F-4D97-AF65-F5344CB8AC3E}">
        <p14:creationId xmlns:p14="http://schemas.microsoft.com/office/powerpoint/2010/main" val="13590028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6DF8A3-2A37-0B96-B1A8-06F291704EC3}"/>
              </a:ext>
            </a:extLst>
          </p:cNvPr>
          <p:cNvSpPr>
            <a:spLocks noGrp="1"/>
          </p:cNvSpPr>
          <p:nvPr>
            <p:ph type="title"/>
          </p:nvPr>
        </p:nvSpPr>
        <p:spPr/>
        <p:txBody>
          <a:bodyPr/>
          <a:lstStyle/>
          <a:p>
            <a:r>
              <a:rPr lang="en-US" dirty="0"/>
              <a:t>Focused Content with Sidebar</a:t>
            </a:r>
          </a:p>
        </p:txBody>
      </p:sp>
      <p:sp>
        <p:nvSpPr>
          <p:cNvPr id="8" name="Rectangle 7">
            <a:extLst>
              <a:ext uri="{FF2B5EF4-FFF2-40B4-BE49-F238E27FC236}">
                <a16:creationId xmlns:a16="http://schemas.microsoft.com/office/drawing/2014/main" id="{075C0F5D-6927-4733-23B6-B5D4E14033D9}"/>
              </a:ext>
            </a:extLst>
          </p:cNvPr>
          <p:cNvSpPr/>
          <p:nvPr/>
        </p:nvSpPr>
        <p:spPr>
          <a:xfrm>
            <a:off x="714376" y="1889656"/>
            <a:ext cx="11026079"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9" name="Rectangle 8">
            <a:extLst>
              <a:ext uri="{FF2B5EF4-FFF2-40B4-BE49-F238E27FC236}">
                <a16:creationId xmlns:a16="http://schemas.microsoft.com/office/drawing/2014/main" id="{DA4ADCED-7C19-9AD8-5D70-A33368FF024C}"/>
              </a:ext>
            </a:extLst>
          </p:cNvPr>
          <p:cNvSpPr/>
          <p:nvPr/>
        </p:nvSpPr>
        <p:spPr>
          <a:xfrm>
            <a:off x="714376" y="2411655"/>
            <a:ext cx="11026079"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roin nec augue. Quisque aliquam tempor magna. Pellentesque habitant morbi tristique senectus et netus et malesuada fames ac turpis egesta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ac magna. Maecenas odio dolor, vulputate vel, auctor ac, accumsan id, felis. Pellentesque cursus sagittis felis.</a:t>
            </a:r>
          </a:p>
        </p:txBody>
      </p:sp>
      <p:sp>
        <p:nvSpPr>
          <p:cNvPr id="10" name="Rectangle 9">
            <a:extLst>
              <a:ext uri="{FF2B5EF4-FFF2-40B4-BE49-F238E27FC236}">
                <a16:creationId xmlns:a16="http://schemas.microsoft.com/office/drawing/2014/main" id="{E94B54A9-A980-0AA9-DC5D-FAA7D94FF812}"/>
              </a:ext>
            </a:extLst>
          </p:cNvPr>
          <p:cNvSpPr/>
          <p:nvPr/>
        </p:nvSpPr>
        <p:spPr>
          <a:xfrm>
            <a:off x="12197654" y="1889656"/>
            <a:ext cx="5375970" cy="73255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algn="l" defTabSz="914400" rtl="0" eaLnBrk="1" fontAlgn="auto" latinLnBrk="0" hangingPunct="1">
              <a:lnSpc>
                <a:spcPct val="100000"/>
              </a:lnSpc>
              <a:spcBef>
                <a:spcPts val="300"/>
              </a:spcBef>
              <a:spcAft>
                <a:spcPts val="300"/>
              </a:spcAft>
              <a:buClr>
                <a:srgbClr val="04162B"/>
              </a:buClr>
              <a:buSzPct val="100000"/>
              <a:buFont typeface="Symbol" panose="05050102010706020507" pitchFamily="18" charset="2"/>
              <a:buNone/>
              <a:tabLst/>
              <a:defRPr/>
            </a:pPr>
            <a:r>
              <a:rPr kumimoji="0" lang="en-US" altLang="ko-KR" sz="2000" b="1" i="0" u="none" strike="noStrike" kern="1200" cap="none" spc="0" normalizeH="0" baseline="0" noProof="0" dirty="0">
                <a:ln>
                  <a:noFill/>
                </a:ln>
                <a:solidFill>
                  <a:srgbClr val="04162B"/>
                </a:solidFill>
                <a:effectLst/>
                <a:uLnTx/>
                <a:uFillTx/>
                <a:latin typeface="Arial" panose="020B0604020202020204" pitchFamily="34" charset="0"/>
                <a:ea typeface="Calibri" panose="020F0502020204030204" pitchFamily="34" charset="0"/>
                <a:cs typeface="Arial" panose="020B0604020202020204" pitchFamily="34" charset="0"/>
              </a:rPr>
              <a:t>Heading</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a:t>
            </a:r>
            <a:endParaRPr lang="en-US" dirty="0"/>
          </a:p>
        </p:txBody>
      </p:sp>
      <p:sp>
        <p:nvSpPr>
          <p:cNvPr id="2" name="Slide Number Placeholder 1">
            <a:extLst>
              <a:ext uri="{FF2B5EF4-FFF2-40B4-BE49-F238E27FC236}">
                <a16:creationId xmlns:a16="http://schemas.microsoft.com/office/drawing/2014/main" id="{9A8503FB-F259-0ABE-CFFC-20E5D63ACAA6}"/>
              </a:ext>
            </a:extLst>
          </p:cNvPr>
          <p:cNvSpPr>
            <a:spLocks noGrp="1"/>
          </p:cNvSpPr>
          <p:nvPr>
            <p:ph type="sldNum" sz="quarter" idx="12"/>
          </p:nvPr>
        </p:nvSpPr>
        <p:spPr/>
        <p:txBody>
          <a:bodyPr/>
          <a:lstStyle/>
          <a:p>
            <a:fld id="{E2D680B1-7F17-42D2-83E2-2C9AC13983BB}" type="slidenum">
              <a:rPr lang="en-US" smtClean="0"/>
              <a:t>59</a:t>
            </a:fld>
            <a:endParaRPr lang="en-US" dirty="0"/>
          </a:p>
        </p:txBody>
      </p:sp>
    </p:spTree>
    <p:extLst>
      <p:ext uri="{BB962C8B-B14F-4D97-AF65-F5344CB8AC3E}">
        <p14:creationId xmlns:p14="http://schemas.microsoft.com/office/powerpoint/2010/main" val="2428081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A67F1B-7F99-40E8-9A73-43305470AD03}"/>
              </a:ext>
            </a:extLst>
          </p:cNvPr>
          <p:cNvGraphicFramePr>
            <a:graphicFrameLocks noChangeAspect="1"/>
          </p:cNvGraphicFramePr>
          <p:nvPr>
            <p:custDataLst>
              <p:tags r:id="rId1"/>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59A67F1B-7F99-40E8-9A73-43305470AD03}"/>
                          </a:ext>
                        </a:extLst>
                      </p:cNvPr>
                      <p:cNvPicPr/>
                      <p:nvPr/>
                    </p:nvPicPr>
                    <p:blipFill>
                      <a:blip r:embed="rId4"/>
                      <a:stretch>
                        <a:fillRect/>
                      </a:stretch>
                    </p:blipFill>
                    <p:spPr>
                      <a:xfrm>
                        <a:off x="2382" y="2382"/>
                        <a:ext cx="2382" cy="2382"/>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59A2DDC-F884-4C15-A952-A36CA01ABF02}"/>
              </a:ext>
            </a:extLst>
          </p:cNvPr>
          <p:cNvSpPr>
            <a:spLocks noGrp="1"/>
          </p:cNvSpPr>
          <p:nvPr>
            <p:ph type="ctrTitle"/>
          </p:nvPr>
        </p:nvSpPr>
        <p:spPr>
          <a:xfrm>
            <a:off x="742950" y="4572000"/>
            <a:ext cx="11601450" cy="1354138"/>
          </a:xfrm>
        </p:spPr>
        <p:txBody>
          <a:bodyPr vert="horz"/>
          <a:lstStyle/>
          <a:p>
            <a:r>
              <a:rPr lang="en-GB" dirty="0"/>
              <a:t>Divider Slide – Dark Background</a:t>
            </a:r>
          </a:p>
        </p:txBody>
      </p:sp>
      <p:sp>
        <p:nvSpPr>
          <p:cNvPr id="2" name="Slide Number Placeholder 1">
            <a:extLst>
              <a:ext uri="{FF2B5EF4-FFF2-40B4-BE49-F238E27FC236}">
                <a16:creationId xmlns:a16="http://schemas.microsoft.com/office/drawing/2014/main" id="{768FE2CE-C8B9-B767-6E14-800E51EADCDB}"/>
              </a:ext>
            </a:extLst>
          </p:cNvPr>
          <p:cNvSpPr>
            <a:spLocks noGrp="1"/>
          </p:cNvSpPr>
          <p:nvPr>
            <p:ph type="sldNum" sz="quarter" idx="12"/>
          </p:nvPr>
        </p:nvSpPr>
        <p:spPr/>
        <p:txBody>
          <a:bodyPr/>
          <a:lstStyle/>
          <a:p>
            <a:fld id="{E2D680B1-7F17-42D2-83E2-2C9AC13983BB}" type="slidenum">
              <a:rPr lang="en-US" smtClean="0"/>
              <a:pPr/>
              <a:t>6</a:t>
            </a:fld>
            <a:endParaRPr lang="en-US" dirty="0"/>
          </a:p>
        </p:txBody>
      </p:sp>
    </p:spTree>
    <p:extLst>
      <p:ext uri="{BB962C8B-B14F-4D97-AF65-F5344CB8AC3E}">
        <p14:creationId xmlns:p14="http://schemas.microsoft.com/office/powerpoint/2010/main" val="7309384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0800F-AA14-400E-1948-60A8E5D3F21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4DCE9F6-6410-EA0B-7222-EF5285DD221F}"/>
              </a:ext>
            </a:extLst>
          </p:cNvPr>
          <p:cNvSpPr>
            <a:spLocks noGrp="1"/>
          </p:cNvSpPr>
          <p:nvPr>
            <p:ph type="title"/>
          </p:nvPr>
        </p:nvSpPr>
        <p:spPr/>
        <p:txBody>
          <a:bodyPr/>
          <a:lstStyle/>
          <a:p>
            <a:r>
              <a:rPr lang="en-US" dirty="0"/>
              <a:t>Focused Content with Sidebar</a:t>
            </a:r>
          </a:p>
        </p:txBody>
      </p:sp>
      <p:sp>
        <p:nvSpPr>
          <p:cNvPr id="8" name="Rectangle 7">
            <a:extLst>
              <a:ext uri="{FF2B5EF4-FFF2-40B4-BE49-F238E27FC236}">
                <a16:creationId xmlns:a16="http://schemas.microsoft.com/office/drawing/2014/main" id="{55B38356-1E07-2565-8316-64B03B7A5457}"/>
              </a:ext>
            </a:extLst>
          </p:cNvPr>
          <p:cNvSpPr/>
          <p:nvPr/>
        </p:nvSpPr>
        <p:spPr>
          <a:xfrm>
            <a:off x="714376" y="1889656"/>
            <a:ext cx="11026079"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9" name="Rectangle 8">
            <a:extLst>
              <a:ext uri="{FF2B5EF4-FFF2-40B4-BE49-F238E27FC236}">
                <a16:creationId xmlns:a16="http://schemas.microsoft.com/office/drawing/2014/main" id="{D956FDB8-4CB3-1D34-8C62-289FD3DF72C5}"/>
              </a:ext>
            </a:extLst>
          </p:cNvPr>
          <p:cNvSpPr/>
          <p:nvPr/>
        </p:nvSpPr>
        <p:spPr>
          <a:xfrm>
            <a:off x="714376" y="2411655"/>
            <a:ext cx="11026079"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roin nec augue. Quisque aliquam tempor magna. Pellentesque habitant morbi tristique senectus et netus et malesuada fames ac turpis egesta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ac magna. Maecenas odio dolor, vulputate vel, auctor ac, accumsan id, felis. Pellentesque cursus sagittis felis.</a:t>
            </a:r>
          </a:p>
        </p:txBody>
      </p:sp>
      <p:sp>
        <p:nvSpPr>
          <p:cNvPr id="10" name="Rectangle 9">
            <a:extLst>
              <a:ext uri="{FF2B5EF4-FFF2-40B4-BE49-F238E27FC236}">
                <a16:creationId xmlns:a16="http://schemas.microsoft.com/office/drawing/2014/main" id="{906B28AE-DC1A-97B5-EA7B-246DB67107EF}"/>
              </a:ext>
            </a:extLst>
          </p:cNvPr>
          <p:cNvSpPr/>
          <p:nvPr/>
        </p:nvSpPr>
        <p:spPr>
          <a:xfrm>
            <a:off x="12197654" y="1889656"/>
            <a:ext cx="5375970" cy="73255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algn="l" defTabSz="914400" rtl="0" eaLnBrk="1" fontAlgn="auto" latinLnBrk="0" hangingPunct="1">
              <a:lnSpc>
                <a:spcPct val="100000"/>
              </a:lnSpc>
              <a:spcBef>
                <a:spcPts val="300"/>
              </a:spcBef>
              <a:spcAft>
                <a:spcPts val="300"/>
              </a:spcAft>
              <a:buClr>
                <a:srgbClr val="04162B"/>
              </a:buClr>
              <a:buSzPct val="100000"/>
              <a:buFont typeface="Symbol" panose="05050102010706020507" pitchFamily="18" charset="2"/>
              <a:buNone/>
              <a:tabLst/>
              <a:defRPr/>
            </a:pPr>
            <a:r>
              <a:rPr kumimoji="0" lang="en-US" altLang="ko-KR" sz="2000" b="1"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Heading</a:t>
            </a:r>
          </a:p>
          <a:p>
            <a:pPr marL="360000" indent="-360000">
              <a:spcBef>
                <a:spcPts val="300"/>
              </a:spcBef>
              <a:spcAft>
                <a:spcPts val="300"/>
              </a:spcAft>
              <a:buSzPct val="100000"/>
              <a:buFont typeface="Symbol" panose="05050102010706020507" pitchFamily="18" charset="2"/>
              <a:buChar char=""/>
            </a:pPr>
            <a:r>
              <a:rPr lang="en-US" sz="2000" dirty="0">
                <a:solidFill>
                  <a:schemeClr val="bg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SzPct val="100000"/>
              <a:buFont typeface="Symbol" panose="05050102010706020507" pitchFamily="18" charset="2"/>
              <a:buChar char=""/>
            </a:pPr>
            <a:r>
              <a:rPr lang="en-US" sz="2000" dirty="0">
                <a:solidFill>
                  <a:schemeClr val="bg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SzPct val="100000"/>
              <a:buFont typeface="Symbol" panose="05050102010706020507" pitchFamily="18" charset="2"/>
              <a:buChar char=""/>
            </a:pPr>
            <a:r>
              <a:rPr lang="en-US" sz="2000" dirty="0">
                <a:solidFill>
                  <a:schemeClr val="bg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SzPct val="100000"/>
              <a:buFont typeface="Symbol" panose="05050102010706020507" pitchFamily="18" charset="2"/>
              <a:buChar char=""/>
            </a:pPr>
            <a:r>
              <a:rPr lang="en-US" sz="2000" dirty="0">
                <a:solidFill>
                  <a:schemeClr val="bg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SzPct val="100000"/>
              <a:buFont typeface="Symbol" panose="05050102010706020507" pitchFamily="18" charset="2"/>
              <a:buChar char=""/>
            </a:pPr>
            <a:r>
              <a:rPr lang="en-US" sz="2000" dirty="0">
                <a:solidFill>
                  <a:schemeClr val="bg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SzPct val="100000"/>
              <a:buFont typeface="Symbol" panose="05050102010706020507" pitchFamily="18" charset="2"/>
              <a:buChar char=""/>
            </a:pPr>
            <a:r>
              <a:rPr lang="en-US" sz="2000" dirty="0">
                <a:solidFill>
                  <a:schemeClr val="bg1"/>
                </a:solidFill>
                <a:latin typeface="Arial" panose="020B0604020202020204" pitchFamily="34" charset="0"/>
                <a:ea typeface="Calibri" panose="020F0502020204030204" pitchFamily="34" charset="0"/>
                <a:cs typeface="Arial" panose="020B0604020202020204" pitchFamily="34" charset="0"/>
              </a:rPr>
              <a:t>Fusce aliquet pede non pede. </a:t>
            </a:r>
            <a:endParaRPr lang="en-US" dirty="0">
              <a:solidFill>
                <a:schemeClr val="bg1"/>
              </a:solidFill>
            </a:endParaRPr>
          </a:p>
        </p:txBody>
      </p:sp>
      <p:sp>
        <p:nvSpPr>
          <p:cNvPr id="2" name="Slide Number Placeholder 1">
            <a:extLst>
              <a:ext uri="{FF2B5EF4-FFF2-40B4-BE49-F238E27FC236}">
                <a16:creationId xmlns:a16="http://schemas.microsoft.com/office/drawing/2014/main" id="{625E8492-3111-43FA-6F6F-260398AAA8B0}"/>
              </a:ext>
            </a:extLst>
          </p:cNvPr>
          <p:cNvSpPr>
            <a:spLocks noGrp="1"/>
          </p:cNvSpPr>
          <p:nvPr>
            <p:ph type="sldNum" sz="quarter" idx="12"/>
          </p:nvPr>
        </p:nvSpPr>
        <p:spPr/>
        <p:txBody>
          <a:bodyPr/>
          <a:lstStyle/>
          <a:p>
            <a:fld id="{E2D680B1-7F17-42D2-83E2-2C9AC13983BB}" type="slidenum">
              <a:rPr lang="en-US" smtClean="0"/>
              <a:t>60</a:t>
            </a:fld>
            <a:endParaRPr lang="en-US" dirty="0"/>
          </a:p>
        </p:txBody>
      </p:sp>
    </p:spTree>
    <p:extLst>
      <p:ext uri="{BB962C8B-B14F-4D97-AF65-F5344CB8AC3E}">
        <p14:creationId xmlns:p14="http://schemas.microsoft.com/office/powerpoint/2010/main" val="6440459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7F1FC-A51D-DE9A-A85C-F7263FD682AD}"/>
            </a:ext>
          </a:extLst>
        </p:cNvPr>
        <p:cNvGrpSpPr/>
        <p:nvPr/>
      </p:nvGrpSpPr>
      <p:grpSpPr>
        <a:xfrm>
          <a:off x="0" y="0"/>
          <a:ext cx="0" cy="0"/>
          <a:chOff x="0" y="0"/>
          <a:chExt cx="0" cy="0"/>
        </a:xfrm>
      </p:grpSpPr>
      <p:sp>
        <p:nvSpPr>
          <p:cNvPr id="38" name="Title 37">
            <a:extLst>
              <a:ext uri="{FF2B5EF4-FFF2-40B4-BE49-F238E27FC236}">
                <a16:creationId xmlns:a16="http://schemas.microsoft.com/office/drawing/2014/main" id="{ADEBCB50-7C3F-AC3D-A279-0667BC9A51E2}"/>
              </a:ext>
            </a:extLst>
          </p:cNvPr>
          <p:cNvSpPr>
            <a:spLocks noGrp="1"/>
          </p:cNvSpPr>
          <p:nvPr>
            <p:ph type="title"/>
          </p:nvPr>
        </p:nvSpPr>
        <p:spPr>
          <a:xfrm>
            <a:off x="714375" y="317500"/>
            <a:ext cx="16859250" cy="1266827"/>
          </a:xfrm>
        </p:spPr>
        <p:txBody>
          <a:bodyPr/>
          <a:lstStyle/>
          <a:p>
            <a:r>
              <a:rPr lang="en-US" dirty="0"/>
              <a:t>3-Phase chevron breakdown</a:t>
            </a:r>
          </a:p>
        </p:txBody>
      </p:sp>
      <p:sp>
        <p:nvSpPr>
          <p:cNvPr id="39" name="Rectangle 38">
            <a:extLst>
              <a:ext uri="{FF2B5EF4-FFF2-40B4-BE49-F238E27FC236}">
                <a16:creationId xmlns:a16="http://schemas.microsoft.com/office/drawing/2014/main" id="{74E3382D-19C9-0C82-1136-2CDCFA17324E}"/>
              </a:ext>
            </a:extLst>
          </p:cNvPr>
          <p:cNvSpPr/>
          <p:nvPr/>
        </p:nvSpPr>
        <p:spPr>
          <a:xfrm>
            <a:off x="722562" y="2857500"/>
            <a:ext cx="538432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p:txBody>
      </p:sp>
      <p:sp>
        <p:nvSpPr>
          <p:cNvPr id="40" name="Rectangle 39">
            <a:extLst>
              <a:ext uri="{FF2B5EF4-FFF2-40B4-BE49-F238E27FC236}">
                <a16:creationId xmlns:a16="http://schemas.microsoft.com/office/drawing/2014/main" id="{BD33F130-9B59-1231-07DD-6DD6ADBE1BD3}"/>
              </a:ext>
            </a:extLst>
          </p:cNvPr>
          <p:cNvSpPr/>
          <p:nvPr/>
        </p:nvSpPr>
        <p:spPr>
          <a:xfrm>
            <a:off x="6209949" y="2857500"/>
            <a:ext cx="538432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p:txBody>
      </p:sp>
      <p:sp>
        <p:nvSpPr>
          <p:cNvPr id="41" name="Rectangle 40">
            <a:extLst>
              <a:ext uri="{FF2B5EF4-FFF2-40B4-BE49-F238E27FC236}">
                <a16:creationId xmlns:a16="http://schemas.microsoft.com/office/drawing/2014/main" id="{9FCD549A-8445-8F39-D5A6-3841ABC438F5}"/>
              </a:ext>
            </a:extLst>
          </p:cNvPr>
          <p:cNvSpPr/>
          <p:nvPr/>
        </p:nvSpPr>
        <p:spPr>
          <a:xfrm>
            <a:off x="11697336" y="2857500"/>
            <a:ext cx="538432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Donec blandit feugiat ligula. Donec hendrerit, felis et imperdiet euismod, purus ipsum pretium metus, in lacinia nulla nisl eget sapien. Donec ut est in lectus consequat consequat.</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Etiam eget dui. Aliquam erat volutpat. Sed at lorem in nunc porta tristique.</a:t>
            </a:r>
          </a:p>
        </p:txBody>
      </p:sp>
      <p:sp>
        <p:nvSpPr>
          <p:cNvPr id="44" name="Arrow: Chevron 43">
            <a:extLst>
              <a:ext uri="{FF2B5EF4-FFF2-40B4-BE49-F238E27FC236}">
                <a16:creationId xmlns:a16="http://schemas.microsoft.com/office/drawing/2014/main" id="{215778BB-37EB-6FE5-8FEA-E57DABD17D24}"/>
              </a:ext>
            </a:extLst>
          </p:cNvPr>
          <p:cNvSpPr/>
          <p:nvPr/>
        </p:nvSpPr>
        <p:spPr>
          <a:xfrm>
            <a:off x="701676" y="1889656"/>
            <a:ext cx="5863589"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47" name="Arrow: Chevron 46">
            <a:extLst>
              <a:ext uri="{FF2B5EF4-FFF2-40B4-BE49-F238E27FC236}">
                <a16:creationId xmlns:a16="http://schemas.microsoft.com/office/drawing/2014/main" id="{975E4068-45D2-B5C7-E40D-31A34A752CCD}"/>
              </a:ext>
            </a:extLst>
          </p:cNvPr>
          <p:cNvSpPr/>
          <p:nvPr/>
        </p:nvSpPr>
        <p:spPr>
          <a:xfrm>
            <a:off x="6199506" y="1889656"/>
            <a:ext cx="5863589" cy="885824"/>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50" name="Arrow: Chevron 49">
            <a:extLst>
              <a:ext uri="{FF2B5EF4-FFF2-40B4-BE49-F238E27FC236}">
                <a16:creationId xmlns:a16="http://schemas.microsoft.com/office/drawing/2014/main" id="{0AF07BAB-3310-3723-1D90-E2FBCCF2317B}"/>
              </a:ext>
            </a:extLst>
          </p:cNvPr>
          <p:cNvSpPr/>
          <p:nvPr/>
        </p:nvSpPr>
        <p:spPr>
          <a:xfrm>
            <a:off x="11697336" y="1889656"/>
            <a:ext cx="5863589"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2" name="Slide Number Placeholder 1">
            <a:extLst>
              <a:ext uri="{FF2B5EF4-FFF2-40B4-BE49-F238E27FC236}">
                <a16:creationId xmlns:a16="http://schemas.microsoft.com/office/drawing/2014/main" id="{8D69EFFB-134D-D470-227C-F4D3D6C49B61}"/>
              </a:ext>
            </a:extLst>
          </p:cNvPr>
          <p:cNvSpPr>
            <a:spLocks noGrp="1"/>
          </p:cNvSpPr>
          <p:nvPr>
            <p:ph type="sldNum" sz="quarter" idx="12"/>
          </p:nvPr>
        </p:nvSpPr>
        <p:spPr/>
        <p:txBody>
          <a:bodyPr/>
          <a:lstStyle/>
          <a:p>
            <a:fld id="{E2D680B1-7F17-42D2-83E2-2C9AC13983BB}" type="slidenum">
              <a:rPr lang="en-US" smtClean="0"/>
              <a:t>61</a:t>
            </a:fld>
            <a:endParaRPr lang="en-US" dirty="0"/>
          </a:p>
        </p:txBody>
      </p:sp>
    </p:spTree>
    <p:extLst>
      <p:ext uri="{BB962C8B-B14F-4D97-AF65-F5344CB8AC3E}">
        <p14:creationId xmlns:p14="http://schemas.microsoft.com/office/powerpoint/2010/main" val="29085798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0D274-0D68-1121-F01F-052019E24135}"/>
            </a:ext>
          </a:extLst>
        </p:cNvPr>
        <p:cNvGrpSpPr/>
        <p:nvPr/>
      </p:nvGrpSpPr>
      <p:grpSpPr>
        <a:xfrm>
          <a:off x="0" y="0"/>
          <a:ext cx="0" cy="0"/>
          <a:chOff x="0" y="0"/>
          <a:chExt cx="0" cy="0"/>
        </a:xfrm>
      </p:grpSpPr>
      <p:sp>
        <p:nvSpPr>
          <p:cNvPr id="38" name="Title 37">
            <a:extLst>
              <a:ext uri="{FF2B5EF4-FFF2-40B4-BE49-F238E27FC236}">
                <a16:creationId xmlns:a16="http://schemas.microsoft.com/office/drawing/2014/main" id="{5E0AEA68-D030-7A1A-4C63-052C671AD2B0}"/>
              </a:ext>
            </a:extLst>
          </p:cNvPr>
          <p:cNvSpPr>
            <a:spLocks noGrp="1"/>
          </p:cNvSpPr>
          <p:nvPr>
            <p:ph type="title"/>
          </p:nvPr>
        </p:nvSpPr>
        <p:spPr>
          <a:xfrm>
            <a:off x="714375" y="317500"/>
            <a:ext cx="16859250" cy="1266827"/>
          </a:xfrm>
        </p:spPr>
        <p:txBody>
          <a:bodyPr/>
          <a:lstStyle/>
          <a:p>
            <a:r>
              <a:rPr lang="en-US" dirty="0"/>
              <a:t>4-Phase chevron breakdown</a:t>
            </a:r>
          </a:p>
        </p:txBody>
      </p:sp>
      <p:sp>
        <p:nvSpPr>
          <p:cNvPr id="39" name="Rectangle 38">
            <a:extLst>
              <a:ext uri="{FF2B5EF4-FFF2-40B4-BE49-F238E27FC236}">
                <a16:creationId xmlns:a16="http://schemas.microsoft.com/office/drawing/2014/main" id="{1F7B534B-CCDD-4166-FE3E-8CB881788C7D}"/>
              </a:ext>
            </a:extLst>
          </p:cNvPr>
          <p:cNvSpPr/>
          <p:nvPr/>
        </p:nvSpPr>
        <p:spPr>
          <a:xfrm>
            <a:off x="717454" y="2857500"/>
            <a:ext cx="4017106"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p:txBody>
      </p:sp>
      <p:sp>
        <p:nvSpPr>
          <p:cNvPr id="40" name="Rectangle 39">
            <a:extLst>
              <a:ext uri="{FF2B5EF4-FFF2-40B4-BE49-F238E27FC236}">
                <a16:creationId xmlns:a16="http://schemas.microsoft.com/office/drawing/2014/main" id="{2904E1D2-021F-AEC9-40F7-5C4B5230FC35}"/>
              </a:ext>
            </a:extLst>
          </p:cNvPr>
          <p:cNvSpPr/>
          <p:nvPr/>
        </p:nvSpPr>
        <p:spPr>
          <a:xfrm>
            <a:off x="4835567" y="2857500"/>
            <a:ext cx="4017106"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p:txBody>
      </p:sp>
      <p:sp>
        <p:nvSpPr>
          <p:cNvPr id="41" name="Rectangle 40">
            <a:extLst>
              <a:ext uri="{FF2B5EF4-FFF2-40B4-BE49-F238E27FC236}">
                <a16:creationId xmlns:a16="http://schemas.microsoft.com/office/drawing/2014/main" id="{17133BFA-04AE-31D6-53DB-3284C4252C55}"/>
              </a:ext>
            </a:extLst>
          </p:cNvPr>
          <p:cNvSpPr/>
          <p:nvPr/>
        </p:nvSpPr>
        <p:spPr>
          <a:xfrm>
            <a:off x="8953680" y="2857500"/>
            <a:ext cx="4017106"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p:txBody>
      </p:sp>
      <p:sp>
        <p:nvSpPr>
          <p:cNvPr id="42" name="Rectangle 41">
            <a:extLst>
              <a:ext uri="{FF2B5EF4-FFF2-40B4-BE49-F238E27FC236}">
                <a16:creationId xmlns:a16="http://schemas.microsoft.com/office/drawing/2014/main" id="{C415DA6A-7E35-C8E4-B4FD-D0BF654FBC7E}"/>
              </a:ext>
            </a:extLst>
          </p:cNvPr>
          <p:cNvSpPr/>
          <p:nvPr/>
        </p:nvSpPr>
        <p:spPr>
          <a:xfrm>
            <a:off x="13071794" y="2857500"/>
            <a:ext cx="4017106"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Fusce aliquet pede non pede. Suspendisse dapibus lorem pellentesque magna. Integer nulla.</a:t>
            </a:r>
          </a:p>
        </p:txBody>
      </p:sp>
      <p:sp>
        <p:nvSpPr>
          <p:cNvPr id="44" name="Arrow: Chevron 43">
            <a:extLst>
              <a:ext uri="{FF2B5EF4-FFF2-40B4-BE49-F238E27FC236}">
                <a16:creationId xmlns:a16="http://schemas.microsoft.com/office/drawing/2014/main" id="{ADDA419F-755D-D10F-7C7E-E879576FA253}"/>
              </a:ext>
            </a:extLst>
          </p:cNvPr>
          <p:cNvSpPr/>
          <p:nvPr/>
        </p:nvSpPr>
        <p:spPr>
          <a:xfrm>
            <a:off x="701676" y="1889656"/>
            <a:ext cx="4489133"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47" name="Arrow: Chevron 46">
            <a:extLst>
              <a:ext uri="{FF2B5EF4-FFF2-40B4-BE49-F238E27FC236}">
                <a16:creationId xmlns:a16="http://schemas.microsoft.com/office/drawing/2014/main" id="{A7FA5634-7593-EEF6-B3AE-978092A52895}"/>
              </a:ext>
            </a:extLst>
          </p:cNvPr>
          <p:cNvSpPr/>
          <p:nvPr/>
        </p:nvSpPr>
        <p:spPr>
          <a:xfrm>
            <a:off x="4825049" y="1889656"/>
            <a:ext cx="4489133" cy="885824"/>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50" name="Arrow: Chevron 49">
            <a:extLst>
              <a:ext uri="{FF2B5EF4-FFF2-40B4-BE49-F238E27FC236}">
                <a16:creationId xmlns:a16="http://schemas.microsoft.com/office/drawing/2014/main" id="{C72AE954-EA69-6212-F5F9-1F1589A377E3}"/>
              </a:ext>
            </a:extLst>
          </p:cNvPr>
          <p:cNvSpPr/>
          <p:nvPr/>
        </p:nvSpPr>
        <p:spPr>
          <a:xfrm>
            <a:off x="8948421" y="1889656"/>
            <a:ext cx="4489133"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53" name="Arrow: Chevron 52">
            <a:extLst>
              <a:ext uri="{FF2B5EF4-FFF2-40B4-BE49-F238E27FC236}">
                <a16:creationId xmlns:a16="http://schemas.microsoft.com/office/drawing/2014/main" id="{9A3B7251-258C-F382-9DBD-9808F641E3D0}"/>
              </a:ext>
            </a:extLst>
          </p:cNvPr>
          <p:cNvSpPr/>
          <p:nvPr/>
        </p:nvSpPr>
        <p:spPr>
          <a:xfrm>
            <a:off x="13071794" y="1889656"/>
            <a:ext cx="4489133" cy="885824"/>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latin typeface="+mj-lt"/>
                <a:cs typeface="Arial" panose="020B0604020202020204" pitchFamily="34" charset="0"/>
              </a:rPr>
              <a:t>Heading</a:t>
            </a:r>
            <a:endParaRPr lang="en-US" b="1" dirty="0">
              <a:solidFill>
                <a:schemeClr val="bg1"/>
              </a:solidFill>
              <a:latin typeface="+mj-lt"/>
              <a:cs typeface="Arial" panose="020B0604020202020204" pitchFamily="34" charset="0"/>
            </a:endParaRPr>
          </a:p>
        </p:txBody>
      </p:sp>
      <p:sp>
        <p:nvSpPr>
          <p:cNvPr id="2" name="Slide Number Placeholder 1">
            <a:extLst>
              <a:ext uri="{FF2B5EF4-FFF2-40B4-BE49-F238E27FC236}">
                <a16:creationId xmlns:a16="http://schemas.microsoft.com/office/drawing/2014/main" id="{7A9C26DC-E9D3-5545-A47C-E5663AF125AE}"/>
              </a:ext>
            </a:extLst>
          </p:cNvPr>
          <p:cNvSpPr>
            <a:spLocks noGrp="1"/>
          </p:cNvSpPr>
          <p:nvPr>
            <p:ph type="sldNum" sz="quarter" idx="12"/>
          </p:nvPr>
        </p:nvSpPr>
        <p:spPr/>
        <p:txBody>
          <a:bodyPr/>
          <a:lstStyle/>
          <a:p>
            <a:fld id="{E2D680B1-7F17-42D2-83E2-2C9AC13983BB}" type="slidenum">
              <a:rPr lang="en-US" smtClean="0"/>
              <a:t>62</a:t>
            </a:fld>
            <a:endParaRPr lang="en-US" dirty="0"/>
          </a:p>
        </p:txBody>
      </p:sp>
    </p:spTree>
    <p:extLst>
      <p:ext uri="{BB962C8B-B14F-4D97-AF65-F5344CB8AC3E}">
        <p14:creationId xmlns:p14="http://schemas.microsoft.com/office/powerpoint/2010/main" val="42946816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F1575-351D-96EA-B0B1-9FFBFFDD236D}"/>
            </a:ext>
          </a:extLst>
        </p:cNvPr>
        <p:cNvGrpSpPr/>
        <p:nvPr/>
      </p:nvGrpSpPr>
      <p:grpSpPr>
        <a:xfrm>
          <a:off x="0" y="0"/>
          <a:ext cx="0" cy="0"/>
          <a:chOff x="0" y="0"/>
          <a:chExt cx="0" cy="0"/>
        </a:xfrm>
      </p:grpSpPr>
      <p:sp>
        <p:nvSpPr>
          <p:cNvPr id="38" name="Title 37">
            <a:extLst>
              <a:ext uri="{FF2B5EF4-FFF2-40B4-BE49-F238E27FC236}">
                <a16:creationId xmlns:a16="http://schemas.microsoft.com/office/drawing/2014/main" id="{3CE0C6A5-46AC-0050-F914-6ACB64D57D10}"/>
              </a:ext>
            </a:extLst>
          </p:cNvPr>
          <p:cNvSpPr>
            <a:spLocks noGrp="1"/>
          </p:cNvSpPr>
          <p:nvPr>
            <p:ph type="title"/>
          </p:nvPr>
        </p:nvSpPr>
        <p:spPr>
          <a:xfrm>
            <a:off x="714375" y="317500"/>
            <a:ext cx="16859250" cy="1266827"/>
          </a:xfrm>
        </p:spPr>
        <p:txBody>
          <a:bodyPr/>
          <a:lstStyle/>
          <a:p>
            <a:r>
              <a:rPr lang="en-US" dirty="0"/>
              <a:t>5-Phase chevron breakdown</a:t>
            </a:r>
          </a:p>
        </p:txBody>
      </p:sp>
      <p:sp>
        <p:nvSpPr>
          <p:cNvPr id="44" name="Arrow: Chevron 43">
            <a:extLst>
              <a:ext uri="{FF2B5EF4-FFF2-40B4-BE49-F238E27FC236}">
                <a16:creationId xmlns:a16="http://schemas.microsoft.com/office/drawing/2014/main" id="{85A7A061-2733-14BA-3984-FD2D5B3DE4FF}"/>
              </a:ext>
            </a:extLst>
          </p:cNvPr>
          <p:cNvSpPr/>
          <p:nvPr/>
        </p:nvSpPr>
        <p:spPr>
          <a:xfrm>
            <a:off x="701676" y="1889656"/>
            <a:ext cx="3666997"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Heading</a:t>
            </a:r>
            <a:endParaRPr lang="en-US" b="1" dirty="0">
              <a:solidFill>
                <a:schemeClr val="bg1"/>
              </a:solidFill>
            </a:endParaRPr>
          </a:p>
        </p:txBody>
      </p:sp>
      <p:sp>
        <p:nvSpPr>
          <p:cNvPr id="39" name="Rectangle 38">
            <a:extLst>
              <a:ext uri="{FF2B5EF4-FFF2-40B4-BE49-F238E27FC236}">
                <a16:creationId xmlns:a16="http://schemas.microsoft.com/office/drawing/2014/main" id="{C34A3391-3396-8167-9EF0-9D39496B327F}"/>
              </a:ext>
            </a:extLst>
          </p:cNvPr>
          <p:cNvSpPr/>
          <p:nvPr/>
        </p:nvSpPr>
        <p:spPr>
          <a:xfrm>
            <a:off x="701676" y="2857500"/>
            <a:ext cx="318706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a:t>
            </a:r>
          </a:p>
        </p:txBody>
      </p:sp>
      <p:sp>
        <p:nvSpPr>
          <p:cNvPr id="40" name="Rectangle 39">
            <a:extLst>
              <a:ext uri="{FF2B5EF4-FFF2-40B4-BE49-F238E27FC236}">
                <a16:creationId xmlns:a16="http://schemas.microsoft.com/office/drawing/2014/main" id="{05F2876C-8C2E-13C3-205B-7E369351A728}"/>
              </a:ext>
            </a:extLst>
          </p:cNvPr>
          <p:cNvSpPr/>
          <p:nvPr/>
        </p:nvSpPr>
        <p:spPr>
          <a:xfrm>
            <a:off x="4012925" y="2857500"/>
            <a:ext cx="318706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a:t>
            </a:r>
          </a:p>
        </p:txBody>
      </p:sp>
      <p:sp>
        <p:nvSpPr>
          <p:cNvPr id="41" name="Rectangle 40">
            <a:extLst>
              <a:ext uri="{FF2B5EF4-FFF2-40B4-BE49-F238E27FC236}">
                <a16:creationId xmlns:a16="http://schemas.microsoft.com/office/drawing/2014/main" id="{2E385A9D-A6D2-1685-BB16-674ECCCD890F}"/>
              </a:ext>
            </a:extLst>
          </p:cNvPr>
          <p:cNvSpPr/>
          <p:nvPr/>
        </p:nvSpPr>
        <p:spPr>
          <a:xfrm>
            <a:off x="7311474" y="2857500"/>
            <a:ext cx="318706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a:t>
            </a:r>
          </a:p>
        </p:txBody>
      </p:sp>
      <p:sp>
        <p:nvSpPr>
          <p:cNvPr id="42" name="Rectangle 41">
            <a:extLst>
              <a:ext uri="{FF2B5EF4-FFF2-40B4-BE49-F238E27FC236}">
                <a16:creationId xmlns:a16="http://schemas.microsoft.com/office/drawing/2014/main" id="{B9B4F920-D4AA-931E-CCF6-628C0E01525E}"/>
              </a:ext>
            </a:extLst>
          </p:cNvPr>
          <p:cNvSpPr/>
          <p:nvPr/>
        </p:nvSpPr>
        <p:spPr>
          <a:xfrm>
            <a:off x="10610023" y="2857500"/>
            <a:ext cx="318706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a:t>
            </a:r>
          </a:p>
        </p:txBody>
      </p:sp>
      <p:sp>
        <p:nvSpPr>
          <p:cNvPr id="43" name="Rectangle 42">
            <a:extLst>
              <a:ext uri="{FF2B5EF4-FFF2-40B4-BE49-F238E27FC236}">
                <a16:creationId xmlns:a16="http://schemas.microsoft.com/office/drawing/2014/main" id="{F48B6ACB-0A62-C5E5-B644-757E50758203}"/>
              </a:ext>
            </a:extLst>
          </p:cNvPr>
          <p:cNvSpPr/>
          <p:nvPr/>
        </p:nvSpPr>
        <p:spPr>
          <a:xfrm>
            <a:off x="13906626" y="2857500"/>
            <a:ext cx="3187064" cy="63023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a:t>
            </a:r>
          </a:p>
        </p:txBody>
      </p:sp>
      <p:sp>
        <p:nvSpPr>
          <p:cNvPr id="47" name="Arrow: Chevron 46">
            <a:extLst>
              <a:ext uri="{FF2B5EF4-FFF2-40B4-BE49-F238E27FC236}">
                <a16:creationId xmlns:a16="http://schemas.microsoft.com/office/drawing/2014/main" id="{D8D1C11A-19CE-E5E1-5517-BF05AA8B3CD4}"/>
              </a:ext>
            </a:extLst>
          </p:cNvPr>
          <p:cNvSpPr/>
          <p:nvPr/>
        </p:nvSpPr>
        <p:spPr>
          <a:xfrm>
            <a:off x="4002913" y="1889656"/>
            <a:ext cx="3666997" cy="885824"/>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Heading</a:t>
            </a:r>
            <a:endParaRPr lang="en-US" b="1" dirty="0">
              <a:solidFill>
                <a:schemeClr val="bg1"/>
              </a:solidFill>
            </a:endParaRPr>
          </a:p>
        </p:txBody>
      </p:sp>
      <p:sp>
        <p:nvSpPr>
          <p:cNvPr id="50" name="Arrow: Chevron 49">
            <a:extLst>
              <a:ext uri="{FF2B5EF4-FFF2-40B4-BE49-F238E27FC236}">
                <a16:creationId xmlns:a16="http://schemas.microsoft.com/office/drawing/2014/main" id="{F3BA1BE8-2468-54B2-ECF1-842EC1DAF41F}"/>
              </a:ext>
            </a:extLst>
          </p:cNvPr>
          <p:cNvSpPr/>
          <p:nvPr/>
        </p:nvSpPr>
        <p:spPr>
          <a:xfrm>
            <a:off x="7304150" y="1889656"/>
            <a:ext cx="3666997"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Heading</a:t>
            </a:r>
            <a:endParaRPr lang="en-US" b="1" dirty="0">
              <a:solidFill>
                <a:schemeClr val="bg1"/>
              </a:solidFill>
            </a:endParaRPr>
          </a:p>
        </p:txBody>
      </p:sp>
      <p:sp>
        <p:nvSpPr>
          <p:cNvPr id="53" name="Arrow: Chevron 52">
            <a:extLst>
              <a:ext uri="{FF2B5EF4-FFF2-40B4-BE49-F238E27FC236}">
                <a16:creationId xmlns:a16="http://schemas.microsoft.com/office/drawing/2014/main" id="{1BEE6B8B-0D92-98EF-09D3-D93BCA94753C}"/>
              </a:ext>
            </a:extLst>
          </p:cNvPr>
          <p:cNvSpPr/>
          <p:nvPr/>
        </p:nvSpPr>
        <p:spPr>
          <a:xfrm>
            <a:off x="10605387" y="1889656"/>
            <a:ext cx="3666997" cy="885824"/>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Heading</a:t>
            </a:r>
            <a:endParaRPr lang="en-US" b="1" dirty="0">
              <a:solidFill>
                <a:schemeClr val="bg1"/>
              </a:solidFill>
            </a:endParaRPr>
          </a:p>
        </p:txBody>
      </p:sp>
      <p:sp>
        <p:nvSpPr>
          <p:cNvPr id="56" name="Arrow: Chevron 55">
            <a:extLst>
              <a:ext uri="{FF2B5EF4-FFF2-40B4-BE49-F238E27FC236}">
                <a16:creationId xmlns:a16="http://schemas.microsoft.com/office/drawing/2014/main" id="{9A4291DC-BDD3-E989-D090-58F1710A3A3D}"/>
              </a:ext>
            </a:extLst>
          </p:cNvPr>
          <p:cNvSpPr/>
          <p:nvPr/>
        </p:nvSpPr>
        <p:spPr>
          <a:xfrm>
            <a:off x="13906626" y="1889656"/>
            <a:ext cx="3666997" cy="885824"/>
          </a:xfrm>
          <a:prstGeom prst="chevr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Heading</a:t>
            </a:r>
            <a:endParaRPr lang="en-US" b="1" dirty="0">
              <a:solidFill>
                <a:schemeClr val="bg1"/>
              </a:solidFill>
            </a:endParaRPr>
          </a:p>
        </p:txBody>
      </p:sp>
      <p:sp>
        <p:nvSpPr>
          <p:cNvPr id="2" name="Slide Number Placeholder 1">
            <a:extLst>
              <a:ext uri="{FF2B5EF4-FFF2-40B4-BE49-F238E27FC236}">
                <a16:creationId xmlns:a16="http://schemas.microsoft.com/office/drawing/2014/main" id="{E9FC0102-C425-F3FC-B5EF-3DF6B2C3C42B}"/>
              </a:ext>
            </a:extLst>
          </p:cNvPr>
          <p:cNvSpPr>
            <a:spLocks noGrp="1"/>
          </p:cNvSpPr>
          <p:nvPr>
            <p:ph type="sldNum" sz="quarter" idx="12"/>
          </p:nvPr>
        </p:nvSpPr>
        <p:spPr/>
        <p:txBody>
          <a:bodyPr/>
          <a:lstStyle/>
          <a:p>
            <a:fld id="{E2D680B1-7F17-42D2-83E2-2C9AC13983BB}" type="slidenum">
              <a:rPr lang="en-US" smtClean="0"/>
              <a:t>63</a:t>
            </a:fld>
            <a:endParaRPr lang="en-US" dirty="0"/>
          </a:p>
        </p:txBody>
      </p:sp>
    </p:spTree>
    <p:extLst>
      <p:ext uri="{BB962C8B-B14F-4D97-AF65-F5344CB8AC3E}">
        <p14:creationId xmlns:p14="http://schemas.microsoft.com/office/powerpoint/2010/main" val="35213939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8006FA14-C38A-43BC-BA06-B9B437AB0DFC}"/>
              </a:ext>
            </a:extLst>
          </p:cNvPr>
          <p:cNvSpPr>
            <a:spLocks noGrp="1"/>
          </p:cNvSpPr>
          <p:nvPr>
            <p:ph type="title"/>
          </p:nvPr>
        </p:nvSpPr>
        <p:spPr/>
        <p:txBody>
          <a:bodyPr/>
          <a:lstStyle/>
          <a:p>
            <a:r>
              <a:rPr lang="en-US" dirty="0"/>
              <a:t>3-Step Vertical Chevron</a:t>
            </a:r>
          </a:p>
        </p:txBody>
      </p:sp>
      <p:sp>
        <p:nvSpPr>
          <p:cNvPr id="18" name="Rectangle 17">
            <a:extLst>
              <a:ext uri="{FF2B5EF4-FFF2-40B4-BE49-F238E27FC236}">
                <a16:creationId xmlns:a16="http://schemas.microsoft.com/office/drawing/2014/main" id="{9EF77169-35D0-1B46-9AAB-2A9552261328}"/>
              </a:ext>
            </a:extLst>
          </p:cNvPr>
          <p:cNvSpPr/>
          <p:nvPr/>
        </p:nvSpPr>
        <p:spPr>
          <a:xfrm>
            <a:off x="3755571" y="1889124"/>
            <a:ext cx="13817817" cy="2095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p:txBody>
      </p:sp>
      <p:sp>
        <p:nvSpPr>
          <p:cNvPr id="19" name="Rectangle 18">
            <a:extLst>
              <a:ext uri="{FF2B5EF4-FFF2-40B4-BE49-F238E27FC236}">
                <a16:creationId xmlns:a16="http://schemas.microsoft.com/office/drawing/2014/main" id="{8FA4D5B5-BB2A-8547-0B45-BA2BEB8F494C}"/>
              </a:ext>
            </a:extLst>
          </p:cNvPr>
          <p:cNvSpPr/>
          <p:nvPr/>
        </p:nvSpPr>
        <p:spPr>
          <a:xfrm>
            <a:off x="3755571" y="4148102"/>
            <a:ext cx="13817817" cy="2095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p:txBody>
      </p:sp>
      <p:sp>
        <p:nvSpPr>
          <p:cNvPr id="20" name="Rectangle 19">
            <a:extLst>
              <a:ext uri="{FF2B5EF4-FFF2-40B4-BE49-F238E27FC236}">
                <a16:creationId xmlns:a16="http://schemas.microsoft.com/office/drawing/2014/main" id="{42941741-CFEE-8F0A-3C47-386EE09C54B0}"/>
              </a:ext>
            </a:extLst>
          </p:cNvPr>
          <p:cNvSpPr/>
          <p:nvPr/>
        </p:nvSpPr>
        <p:spPr>
          <a:xfrm>
            <a:off x="3755571" y="6407080"/>
            <a:ext cx="13817817" cy="2095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 nunc. Mauris eget neque at sem venenatis eleifend. Ut nonummy.</a:t>
            </a:r>
          </a:p>
        </p:txBody>
      </p:sp>
      <p:grpSp>
        <p:nvGrpSpPr>
          <p:cNvPr id="22" name="Group 21">
            <a:extLst>
              <a:ext uri="{FF2B5EF4-FFF2-40B4-BE49-F238E27FC236}">
                <a16:creationId xmlns:a16="http://schemas.microsoft.com/office/drawing/2014/main" id="{958B22A1-CAB1-617F-D3F8-153BD13E793F}"/>
              </a:ext>
            </a:extLst>
          </p:cNvPr>
          <p:cNvGrpSpPr/>
          <p:nvPr/>
        </p:nvGrpSpPr>
        <p:grpSpPr>
          <a:xfrm>
            <a:off x="714612" y="1889125"/>
            <a:ext cx="2866787" cy="2807618"/>
            <a:chOff x="714612" y="1889125"/>
            <a:chExt cx="2866787" cy="2807618"/>
          </a:xfrm>
        </p:grpSpPr>
        <p:sp>
          <p:nvSpPr>
            <p:cNvPr id="13" name="Arrow: Pentagon 12">
              <a:extLst>
                <a:ext uri="{FF2B5EF4-FFF2-40B4-BE49-F238E27FC236}">
                  <a16:creationId xmlns:a16="http://schemas.microsoft.com/office/drawing/2014/main" id="{4BE9A3D1-24D7-19A9-CFC7-03DC6940B975}"/>
                </a:ext>
              </a:extLst>
            </p:cNvPr>
            <p:cNvSpPr/>
            <p:nvPr/>
          </p:nvSpPr>
          <p:spPr>
            <a:xfrm rot="5400000">
              <a:off x="744197" y="1859540"/>
              <a:ext cx="2807618" cy="2866787"/>
            </a:xfrm>
            <a:prstGeom prst="homePlate">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A8FB89A6-6BBA-A0B8-D39C-391B8EFF6DA9}"/>
                </a:ext>
              </a:extLst>
            </p:cNvPr>
            <p:cNvSpPr txBox="1"/>
            <p:nvPr/>
          </p:nvSpPr>
          <p:spPr>
            <a:xfrm>
              <a:off x="1233606" y="3108267"/>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A8623253-0ECC-8845-70E7-9E409478CA6A}"/>
              </a:ext>
            </a:extLst>
          </p:cNvPr>
          <p:cNvGrpSpPr/>
          <p:nvPr/>
        </p:nvGrpSpPr>
        <p:grpSpPr>
          <a:xfrm>
            <a:off x="714373" y="4148103"/>
            <a:ext cx="2867025" cy="2807618"/>
            <a:chOff x="714373" y="4148103"/>
            <a:chExt cx="2867025" cy="2807618"/>
          </a:xfrm>
        </p:grpSpPr>
        <p:sp>
          <p:nvSpPr>
            <p:cNvPr id="11" name="Arrow: Chevron 10">
              <a:extLst>
                <a:ext uri="{FF2B5EF4-FFF2-40B4-BE49-F238E27FC236}">
                  <a16:creationId xmlns:a16="http://schemas.microsoft.com/office/drawing/2014/main" id="{4FCB5D68-9700-7505-9611-BD0DC51BD04F}"/>
                </a:ext>
              </a:extLst>
            </p:cNvPr>
            <p:cNvSpPr/>
            <p:nvPr/>
          </p:nvSpPr>
          <p:spPr>
            <a:xfrm rot="5400000">
              <a:off x="744077" y="4118399"/>
              <a:ext cx="2807618" cy="2867025"/>
            </a:xfrm>
            <a:prstGeom prst="chevron">
              <a:avLst>
                <a:gd name="adj" fmla="val 2473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312FAC7C-53CB-7D07-C5BC-126D24BB65DE}"/>
                </a:ext>
              </a:extLst>
            </p:cNvPr>
            <p:cNvSpPr txBox="1"/>
            <p:nvPr/>
          </p:nvSpPr>
          <p:spPr>
            <a:xfrm>
              <a:off x="1233486" y="5367245"/>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04359E20-377A-E14C-172B-9AB0FEDC8DD5}"/>
              </a:ext>
            </a:extLst>
          </p:cNvPr>
          <p:cNvGrpSpPr/>
          <p:nvPr/>
        </p:nvGrpSpPr>
        <p:grpSpPr>
          <a:xfrm>
            <a:off x="714373" y="6407081"/>
            <a:ext cx="2867025" cy="2807618"/>
            <a:chOff x="714373" y="6407081"/>
            <a:chExt cx="2867025" cy="2807618"/>
          </a:xfrm>
        </p:grpSpPr>
        <p:sp>
          <p:nvSpPr>
            <p:cNvPr id="12" name="Arrow: Chevron 11">
              <a:extLst>
                <a:ext uri="{FF2B5EF4-FFF2-40B4-BE49-F238E27FC236}">
                  <a16:creationId xmlns:a16="http://schemas.microsoft.com/office/drawing/2014/main" id="{4190B270-B2C1-3D97-212F-19AB818FE967}"/>
                </a:ext>
              </a:extLst>
            </p:cNvPr>
            <p:cNvSpPr/>
            <p:nvPr/>
          </p:nvSpPr>
          <p:spPr>
            <a:xfrm rot="5400000">
              <a:off x="744077" y="6377377"/>
              <a:ext cx="2807618" cy="2867025"/>
            </a:xfrm>
            <a:prstGeom prst="chevron">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TextBox 23">
              <a:extLst>
                <a:ext uri="{FF2B5EF4-FFF2-40B4-BE49-F238E27FC236}">
                  <a16:creationId xmlns:a16="http://schemas.microsoft.com/office/drawing/2014/main" id="{3DED11F5-C13E-9644-96A3-8D96238D6B95}"/>
                </a:ext>
              </a:extLst>
            </p:cNvPr>
            <p:cNvSpPr txBox="1"/>
            <p:nvPr/>
          </p:nvSpPr>
          <p:spPr>
            <a:xfrm>
              <a:off x="1233486" y="7626223"/>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sp>
        <p:nvSpPr>
          <p:cNvPr id="2" name="Slide Number Placeholder 1">
            <a:extLst>
              <a:ext uri="{FF2B5EF4-FFF2-40B4-BE49-F238E27FC236}">
                <a16:creationId xmlns:a16="http://schemas.microsoft.com/office/drawing/2014/main" id="{C4AEF2EE-475E-C671-E3E2-48D4135281A7}"/>
              </a:ext>
            </a:extLst>
          </p:cNvPr>
          <p:cNvSpPr>
            <a:spLocks noGrp="1"/>
          </p:cNvSpPr>
          <p:nvPr>
            <p:ph type="sldNum" sz="quarter" idx="12"/>
          </p:nvPr>
        </p:nvSpPr>
        <p:spPr/>
        <p:txBody>
          <a:bodyPr/>
          <a:lstStyle/>
          <a:p>
            <a:fld id="{E2D680B1-7F17-42D2-83E2-2C9AC13983BB}" type="slidenum">
              <a:rPr lang="en-US" smtClean="0"/>
              <a:t>64</a:t>
            </a:fld>
            <a:endParaRPr lang="en-US" dirty="0"/>
          </a:p>
        </p:txBody>
      </p:sp>
    </p:spTree>
    <p:extLst>
      <p:ext uri="{BB962C8B-B14F-4D97-AF65-F5344CB8AC3E}">
        <p14:creationId xmlns:p14="http://schemas.microsoft.com/office/powerpoint/2010/main" val="30589122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E45B2-E237-DB7F-DC24-FB898C3BFAB4}"/>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68BDE7C4-4F83-AFA0-4A4E-EDC12DAF9FC8}"/>
              </a:ext>
            </a:extLst>
          </p:cNvPr>
          <p:cNvSpPr>
            <a:spLocks noGrp="1"/>
          </p:cNvSpPr>
          <p:nvPr>
            <p:ph type="title"/>
          </p:nvPr>
        </p:nvSpPr>
        <p:spPr/>
        <p:txBody>
          <a:bodyPr/>
          <a:lstStyle/>
          <a:p>
            <a:r>
              <a:rPr lang="en-US" dirty="0"/>
              <a:t>4-Step Vertical Chevron</a:t>
            </a:r>
          </a:p>
        </p:txBody>
      </p:sp>
      <p:sp>
        <p:nvSpPr>
          <p:cNvPr id="18" name="Rectangle 17">
            <a:extLst>
              <a:ext uri="{FF2B5EF4-FFF2-40B4-BE49-F238E27FC236}">
                <a16:creationId xmlns:a16="http://schemas.microsoft.com/office/drawing/2014/main" id="{4F023053-F75A-DFDE-705D-F8FDF0496C8D}"/>
              </a:ext>
            </a:extLst>
          </p:cNvPr>
          <p:cNvSpPr/>
          <p:nvPr/>
        </p:nvSpPr>
        <p:spPr>
          <a:xfrm>
            <a:off x="3755571" y="1889124"/>
            <a:ext cx="13817817" cy="15562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p:txBody>
      </p:sp>
      <p:grpSp>
        <p:nvGrpSpPr>
          <p:cNvPr id="28" name="Group 27">
            <a:extLst>
              <a:ext uri="{FF2B5EF4-FFF2-40B4-BE49-F238E27FC236}">
                <a16:creationId xmlns:a16="http://schemas.microsoft.com/office/drawing/2014/main" id="{66CC683B-AFDA-A397-933C-A86B898E89AE}"/>
              </a:ext>
            </a:extLst>
          </p:cNvPr>
          <p:cNvGrpSpPr/>
          <p:nvPr/>
        </p:nvGrpSpPr>
        <p:grpSpPr>
          <a:xfrm>
            <a:off x="714373" y="1889125"/>
            <a:ext cx="2867026" cy="7325574"/>
            <a:chOff x="714373" y="1889125"/>
            <a:chExt cx="2867026" cy="7325574"/>
          </a:xfrm>
        </p:grpSpPr>
        <p:grpSp>
          <p:nvGrpSpPr>
            <p:cNvPr id="22" name="Group 21">
              <a:extLst>
                <a:ext uri="{FF2B5EF4-FFF2-40B4-BE49-F238E27FC236}">
                  <a16:creationId xmlns:a16="http://schemas.microsoft.com/office/drawing/2014/main" id="{F191DD83-C65F-344D-5A0A-AF47EEB123C9}"/>
                </a:ext>
              </a:extLst>
            </p:cNvPr>
            <p:cNvGrpSpPr/>
            <p:nvPr/>
          </p:nvGrpSpPr>
          <p:grpSpPr>
            <a:xfrm>
              <a:off x="714612" y="1889125"/>
              <a:ext cx="2866787" cy="2105714"/>
              <a:chOff x="714612" y="1889125"/>
              <a:chExt cx="2866787" cy="2807618"/>
            </a:xfrm>
          </p:grpSpPr>
          <p:sp>
            <p:nvSpPr>
              <p:cNvPr id="13" name="Arrow: Pentagon 12">
                <a:extLst>
                  <a:ext uri="{FF2B5EF4-FFF2-40B4-BE49-F238E27FC236}">
                    <a16:creationId xmlns:a16="http://schemas.microsoft.com/office/drawing/2014/main" id="{BE8A72D7-682B-1FDC-331D-0A67E7DB00B0}"/>
                  </a:ext>
                </a:extLst>
              </p:cNvPr>
              <p:cNvSpPr/>
              <p:nvPr/>
            </p:nvSpPr>
            <p:spPr>
              <a:xfrm rot="5400000">
                <a:off x="744197" y="1859540"/>
                <a:ext cx="2807618" cy="2866787"/>
              </a:xfrm>
              <a:prstGeom prst="homePlate">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40DB11F3-E4AA-FD08-264F-20062DFC5DE3}"/>
                  </a:ext>
                </a:extLst>
              </p:cNvPr>
              <p:cNvSpPr txBox="1"/>
              <p:nvPr/>
            </p:nvSpPr>
            <p:spPr>
              <a:xfrm>
                <a:off x="1233606" y="3046711"/>
                <a:ext cx="1828800" cy="492443"/>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B79B9A92-C02D-4FF0-3230-321505D171E1}"/>
                </a:ext>
              </a:extLst>
            </p:cNvPr>
            <p:cNvGrpSpPr/>
            <p:nvPr/>
          </p:nvGrpSpPr>
          <p:grpSpPr>
            <a:xfrm>
              <a:off x="714373" y="3629078"/>
              <a:ext cx="2867025" cy="2105714"/>
              <a:chOff x="714373" y="4148103"/>
              <a:chExt cx="2867025" cy="2807618"/>
            </a:xfrm>
          </p:grpSpPr>
          <p:sp>
            <p:nvSpPr>
              <p:cNvPr id="11" name="Arrow: Chevron 10">
                <a:extLst>
                  <a:ext uri="{FF2B5EF4-FFF2-40B4-BE49-F238E27FC236}">
                    <a16:creationId xmlns:a16="http://schemas.microsoft.com/office/drawing/2014/main" id="{713BC6B5-B311-55ED-F45F-E26B1BF2006B}"/>
                  </a:ext>
                </a:extLst>
              </p:cNvPr>
              <p:cNvSpPr/>
              <p:nvPr/>
            </p:nvSpPr>
            <p:spPr>
              <a:xfrm rot="5400000">
                <a:off x="744077" y="4118399"/>
                <a:ext cx="2807618" cy="2867025"/>
              </a:xfrm>
              <a:prstGeom prst="chevron">
                <a:avLst>
                  <a:gd name="adj" fmla="val 2473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6652C3F7-96A2-EA4B-972A-761621F07679}"/>
                  </a:ext>
                </a:extLst>
              </p:cNvPr>
              <p:cNvSpPr txBox="1"/>
              <p:nvPr/>
            </p:nvSpPr>
            <p:spPr>
              <a:xfrm>
                <a:off x="1233486" y="5305689"/>
                <a:ext cx="1828800" cy="492443"/>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ACEA77FA-89B2-8946-1723-D3548BAC3E01}"/>
                </a:ext>
              </a:extLst>
            </p:cNvPr>
            <p:cNvGrpSpPr/>
            <p:nvPr/>
          </p:nvGrpSpPr>
          <p:grpSpPr>
            <a:xfrm>
              <a:off x="714373" y="5369032"/>
              <a:ext cx="2867025" cy="2105714"/>
              <a:chOff x="714373" y="6407081"/>
              <a:chExt cx="2867025" cy="2807618"/>
            </a:xfrm>
          </p:grpSpPr>
          <p:sp>
            <p:nvSpPr>
              <p:cNvPr id="12" name="Arrow: Chevron 11">
                <a:extLst>
                  <a:ext uri="{FF2B5EF4-FFF2-40B4-BE49-F238E27FC236}">
                    <a16:creationId xmlns:a16="http://schemas.microsoft.com/office/drawing/2014/main" id="{37B7D99D-B563-47ED-2DF5-DD6930F9F336}"/>
                  </a:ext>
                </a:extLst>
              </p:cNvPr>
              <p:cNvSpPr/>
              <p:nvPr/>
            </p:nvSpPr>
            <p:spPr>
              <a:xfrm rot="5400000">
                <a:off x="744077" y="6377377"/>
                <a:ext cx="2807618" cy="2867025"/>
              </a:xfrm>
              <a:prstGeom prst="chevron">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TextBox 23">
                <a:extLst>
                  <a:ext uri="{FF2B5EF4-FFF2-40B4-BE49-F238E27FC236}">
                    <a16:creationId xmlns:a16="http://schemas.microsoft.com/office/drawing/2014/main" id="{BBFAC76B-AF44-C8CF-803D-398EBA41F0B2}"/>
                  </a:ext>
                </a:extLst>
              </p:cNvPr>
              <p:cNvSpPr txBox="1"/>
              <p:nvPr/>
            </p:nvSpPr>
            <p:spPr>
              <a:xfrm>
                <a:off x="1233486" y="7564667"/>
                <a:ext cx="1828800" cy="492443"/>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55360099-6EAE-235F-CA6C-3809D8F24039}"/>
                </a:ext>
              </a:extLst>
            </p:cNvPr>
            <p:cNvGrpSpPr/>
            <p:nvPr/>
          </p:nvGrpSpPr>
          <p:grpSpPr>
            <a:xfrm>
              <a:off x="714373" y="7108985"/>
              <a:ext cx="2867025" cy="2105714"/>
              <a:chOff x="714373" y="4148103"/>
              <a:chExt cx="2867025" cy="2807618"/>
            </a:xfrm>
          </p:grpSpPr>
          <p:sp>
            <p:nvSpPr>
              <p:cNvPr id="5" name="Arrow: Chevron 4">
                <a:extLst>
                  <a:ext uri="{FF2B5EF4-FFF2-40B4-BE49-F238E27FC236}">
                    <a16:creationId xmlns:a16="http://schemas.microsoft.com/office/drawing/2014/main" id="{74E0AC8F-061F-9C1E-D909-78F47F4D860E}"/>
                  </a:ext>
                </a:extLst>
              </p:cNvPr>
              <p:cNvSpPr/>
              <p:nvPr/>
            </p:nvSpPr>
            <p:spPr>
              <a:xfrm rot="5400000">
                <a:off x="744077" y="4118399"/>
                <a:ext cx="2807618" cy="2867025"/>
              </a:xfrm>
              <a:prstGeom prst="chevron">
                <a:avLst>
                  <a:gd name="adj" fmla="val 2473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TextBox 5">
                <a:extLst>
                  <a:ext uri="{FF2B5EF4-FFF2-40B4-BE49-F238E27FC236}">
                    <a16:creationId xmlns:a16="http://schemas.microsoft.com/office/drawing/2014/main" id="{F2857799-458C-DA9C-81BD-0EC8CED6F182}"/>
                  </a:ext>
                </a:extLst>
              </p:cNvPr>
              <p:cNvSpPr txBox="1"/>
              <p:nvPr/>
            </p:nvSpPr>
            <p:spPr>
              <a:xfrm>
                <a:off x="1233486" y="5305689"/>
                <a:ext cx="1828800" cy="492443"/>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sp>
        <p:nvSpPr>
          <p:cNvPr id="16" name="Rectangle 15">
            <a:extLst>
              <a:ext uri="{FF2B5EF4-FFF2-40B4-BE49-F238E27FC236}">
                <a16:creationId xmlns:a16="http://schemas.microsoft.com/office/drawing/2014/main" id="{0505AF7D-1211-E618-1F84-D091DD126670}"/>
              </a:ext>
            </a:extLst>
          </p:cNvPr>
          <p:cNvSpPr/>
          <p:nvPr/>
        </p:nvSpPr>
        <p:spPr>
          <a:xfrm>
            <a:off x="3755571" y="3629078"/>
            <a:ext cx="13817817" cy="15562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p:txBody>
      </p:sp>
      <p:sp>
        <p:nvSpPr>
          <p:cNvPr id="17" name="Rectangle 16">
            <a:extLst>
              <a:ext uri="{FF2B5EF4-FFF2-40B4-BE49-F238E27FC236}">
                <a16:creationId xmlns:a16="http://schemas.microsoft.com/office/drawing/2014/main" id="{D1DB03B6-7B96-5C78-F7A2-150942664892}"/>
              </a:ext>
            </a:extLst>
          </p:cNvPr>
          <p:cNvSpPr/>
          <p:nvPr/>
        </p:nvSpPr>
        <p:spPr>
          <a:xfrm>
            <a:off x="3755571" y="5369032"/>
            <a:ext cx="13817817" cy="15562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p:txBody>
      </p:sp>
      <p:sp>
        <p:nvSpPr>
          <p:cNvPr id="27" name="Rectangle 26">
            <a:extLst>
              <a:ext uri="{FF2B5EF4-FFF2-40B4-BE49-F238E27FC236}">
                <a16:creationId xmlns:a16="http://schemas.microsoft.com/office/drawing/2014/main" id="{BC410558-B48D-5830-731C-92964FE5F456}"/>
              </a:ext>
            </a:extLst>
          </p:cNvPr>
          <p:cNvSpPr/>
          <p:nvPr/>
        </p:nvSpPr>
        <p:spPr>
          <a:xfrm>
            <a:off x="3755571" y="7108985"/>
            <a:ext cx="13817817" cy="15562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p:txBody>
      </p:sp>
      <p:sp>
        <p:nvSpPr>
          <p:cNvPr id="7" name="Slide Number Placeholder 6">
            <a:extLst>
              <a:ext uri="{FF2B5EF4-FFF2-40B4-BE49-F238E27FC236}">
                <a16:creationId xmlns:a16="http://schemas.microsoft.com/office/drawing/2014/main" id="{5DB3A6ED-ACCA-8851-4184-6743B6A231F4}"/>
              </a:ext>
            </a:extLst>
          </p:cNvPr>
          <p:cNvSpPr>
            <a:spLocks noGrp="1"/>
          </p:cNvSpPr>
          <p:nvPr>
            <p:ph type="sldNum" sz="quarter" idx="12"/>
          </p:nvPr>
        </p:nvSpPr>
        <p:spPr/>
        <p:txBody>
          <a:bodyPr/>
          <a:lstStyle/>
          <a:p>
            <a:fld id="{E2D680B1-7F17-42D2-83E2-2C9AC13983BB}" type="slidenum">
              <a:rPr lang="en-US" smtClean="0"/>
              <a:t>65</a:t>
            </a:fld>
            <a:endParaRPr lang="en-US" dirty="0"/>
          </a:p>
        </p:txBody>
      </p:sp>
    </p:spTree>
    <p:extLst>
      <p:ext uri="{BB962C8B-B14F-4D97-AF65-F5344CB8AC3E}">
        <p14:creationId xmlns:p14="http://schemas.microsoft.com/office/powerpoint/2010/main" val="1433690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6D1A4-897D-203A-1ACE-463A3E8CA1FE}"/>
            </a:ext>
          </a:extLst>
        </p:cNvPr>
        <p:cNvGrpSpPr/>
        <p:nvPr/>
      </p:nvGrpSpPr>
      <p:grpSpPr>
        <a:xfrm>
          <a:off x="0" y="0"/>
          <a:ext cx="0" cy="0"/>
          <a:chOff x="0" y="0"/>
          <a:chExt cx="0" cy="0"/>
        </a:xfrm>
      </p:grpSpPr>
      <p:sp>
        <p:nvSpPr>
          <p:cNvPr id="34" name="Title 33">
            <a:extLst>
              <a:ext uri="{FF2B5EF4-FFF2-40B4-BE49-F238E27FC236}">
                <a16:creationId xmlns:a16="http://schemas.microsoft.com/office/drawing/2014/main" id="{891B78D2-CE9D-13DC-82BC-1C6760B987C9}"/>
              </a:ext>
            </a:extLst>
          </p:cNvPr>
          <p:cNvSpPr>
            <a:spLocks noGrp="1"/>
          </p:cNvSpPr>
          <p:nvPr>
            <p:ph type="title"/>
          </p:nvPr>
        </p:nvSpPr>
        <p:spPr/>
        <p:txBody>
          <a:bodyPr/>
          <a:lstStyle/>
          <a:p>
            <a:r>
              <a:rPr lang="en-US" dirty="0"/>
              <a:t>5-Step Vertical Chevron</a:t>
            </a:r>
          </a:p>
        </p:txBody>
      </p:sp>
      <p:sp>
        <p:nvSpPr>
          <p:cNvPr id="18" name="Rectangle 17">
            <a:extLst>
              <a:ext uri="{FF2B5EF4-FFF2-40B4-BE49-F238E27FC236}">
                <a16:creationId xmlns:a16="http://schemas.microsoft.com/office/drawing/2014/main" id="{F3F028DD-8E5C-B6E9-9818-29E73D5931F2}"/>
              </a:ext>
            </a:extLst>
          </p:cNvPr>
          <p:cNvSpPr/>
          <p:nvPr/>
        </p:nvSpPr>
        <p:spPr>
          <a:xfrm>
            <a:off x="3755571" y="1889125"/>
            <a:ext cx="13817817" cy="12786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grpSp>
        <p:nvGrpSpPr>
          <p:cNvPr id="29" name="Group 28">
            <a:extLst>
              <a:ext uri="{FF2B5EF4-FFF2-40B4-BE49-F238E27FC236}">
                <a16:creationId xmlns:a16="http://schemas.microsoft.com/office/drawing/2014/main" id="{8DC899B0-C23E-3E40-6146-269B61FA2134}"/>
              </a:ext>
            </a:extLst>
          </p:cNvPr>
          <p:cNvGrpSpPr/>
          <p:nvPr/>
        </p:nvGrpSpPr>
        <p:grpSpPr>
          <a:xfrm>
            <a:off x="714613" y="1889125"/>
            <a:ext cx="2866787" cy="1689537"/>
            <a:chOff x="714613" y="1889125"/>
            <a:chExt cx="2866787" cy="1689537"/>
          </a:xfrm>
        </p:grpSpPr>
        <p:sp>
          <p:nvSpPr>
            <p:cNvPr id="13" name="Arrow: Pentagon 12">
              <a:extLst>
                <a:ext uri="{FF2B5EF4-FFF2-40B4-BE49-F238E27FC236}">
                  <a16:creationId xmlns:a16="http://schemas.microsoft.com/office/drawing/2014/main" id="{96BD98A3-6E5B-E9D5-744B-EC0B58661C46}"/>
                </a:ext>
              </a:extLst>
            </p:cNvPr>
            <p:cNvSpPr/>
            <p:nvPr/>
          </p:nvSpPr>
          <p:spPr>
            <a:xfrm rot="5400000">
              <a:off x="1303238" y="1300500"/>
              <a:ext cx="1689537" cy="2866787"/>
            </a:xfrm>
            <a:prstGeom prst="homePlate">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09C1F7E-E940-2280-9A75-B8DEE0E685FF}"/>
                </a:ext>
              </a:extLst>
            </p:cNvPr>
            <p:cNvSpPr txBox="1"/>
            <p:nvPr/>
          </p:nvSpPr>
          <p:spPr>
            <a:xfrm>
              <a:off x="1233606" y="2549228"/>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9058DFD3-5534-D194-66DA-91B39FFAFB4B}"/>
              </a:ext>
            </a:extLst>
          </p:cNvPr>
          <p:cNvGrpSpPr/>
          <p:nvPr/>
        </p:nvGrpSpPr>
        <p:grpSpPr>
          <a:xfrm>
            <a:off x="714374" y="3285191"/>
            <a:ext cx="2867025" cy="1689537"/>
            <a:chOff x="714374" y="3285191"/>
            <a:chExt cx="2867025" cy="1689537"/>
          </a:xfrm>
        </p:grpSpPr>
        <p:sp>
          <p:nvSpPr>
            <p:cNvPr id="11" name="Arrow: Chevron 10">
              <a:extLst>
                <a:ext uri="{FF2B5EF4-FFF2-40B4-BE49-F238E27FC236}">
                  <a16:creationId xmlns:a16="http://schemas.microsoft.com/office/drawing/2014/main" id="{A9DB0AF2-779C-3299-CB61-1C761CD65096}"/>
                </a:ext>
              </a:extLst>
            </p:cNvPr>
            <p:cNvSpPr/>
            <p:nvPr/>
          </p:nvSpPr>
          <p:spPr>
            <a:xfrm rot="5400000">
              <a:off x="1303118" y="2696447"/>
              <a:ext cx="1689537" cy="2867025"/>
            </a:xfrm>
            <a:prstGeom prst="chevron">
              <a:avLst>
                <a:gd name="adj" fmla="val 2473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851EE66E-C2EA-CCFA-9192-9EC6218A3615}"/>
                </a:ext>
              </a:extLst>
            </p:cNvPr>
            <p:cNvSpPr txBox="1"/>
            <p:nvPr/>
          </p:nvSpPr>
          <p:spPr>
            <a:xfrm>
              <a:off x="1233486" y="3945293"/>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371D97C8-3171-22EC-E45F-E65A4FDA21AF}"/>
              </a:ext>
            </a:extLst>
          </p:cNvPr>
          <p:cNvGrpSpPr/>
          <p:nvPr/>
        </p:nvGrpSpPr>
        <p:grpSpPr>
          <a:xfrm>
            <a:off x="714374" y="4681257"/>
            <a:ext cx="2867025" cy="1689537"/>
            <a:chOff x="714374" y="4681257"/>
            <a:chExt cx="2867025" cy="1689537"/>
          </a:xfrm>
        </p:grpSpPr>
        <p:sp>
          <p:nvSpPr>
            <p:cNvPr id="12" name="Arrow: Chevron 11">
              <a:extLst>
                <a:ext uri="{FF2B5EF4-FFF2-40B4-BE49-F238E27FC236}">
                  <a16:creationId xmlns:a16="http://schemas.microsoft.com/office/drawing/2014/main" id="{4A5A1D23-A710-CDFE-2FEE-199AAF073AF3}"/>
                </a:ext>
              </a:extLst>
            </p:cNvPr>
            <p:cNvSpPr/>
            <p:nvPr/>
          </p:nvSpPr>
          <p:spPr>
            <a:xfrm rot="5400000">
              <a:off x="1303118" y="4092513"/>
              <a:ext cx="1689537" cy="2867025"/>
            </a:xfrm>
            <a:prstGeom prst="chevron">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TextBox 23">
              <a:extLst>
                <a:ext uri="{FF2B5EF4-FFF2-40B4-BE49-F238E27FC236}">
                  <a16:creationId xmlns:a16="http://schemas.microsoft.com/office/drawing/2014/main" id="{D64E1DAA-FBFB-5BF1-5E10-17CA34589631}"/>
                </a:ext>
              </a:extLst>
            </p:cNvPr>
            <p:cNvSpPr txBox="1"/>
            <p:nvPr/>
          </p:nvSpPr>
          <p:spPr>
            <a:xfrm>
              <a:off x="1233486" y="5414899"/>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5559B726-26FC-AABC-6E73-AA5E80524840}"/>
              </a:ext>
            </a:extLst>
          </p:cNvPr>
          <p:cNvGrpSpPr/>
          <p:nvPr/>
        </p:nvGrpSpPr>
        <p:grpSpPr>
          <a:xfrm>
            <a:off x="714374" y="6077322"/>
            <a:ext cx="2867025" cy="1689537"/>
            <a:chOff x="714374" y="6077322"/>
            <a:chExt cx="2867025" cy="1689537"/>
          </a:xfrm>
        </p:grpSpPr>
        <p:sp>
          <p:nvSpPr>
            <p:cNvPr id="5" name="Arrow: Chevron 4">
              <a:extLst>
                <a:ext uri="{FF2B5EF4-FFF2-40B4-BE49-F238E27FC236}">
                  <a16:creationId xmlns:a16="http://schemas.microsoft.com/office/drawing/2014/main" id="{66AF3B9A-3C15-8805-11BB-9EC7D91E80D2}"/>
                </a:ext>
              </a:extLst>
            </p:cNvPr>
            <p:cNvSpPr/>
            <p:nvPr/>
          </p:nvSpPr>
          <p:spPr>
            <a:xfrm rot="5400000">
              <a:off x="1303118" y="5488578"/>
              <a:ext cx="1689537" cy="2867025"/>
            </a:xfrm>
            <a:prstGeom prst="chevron">
              <a:avLst>
                <a:gd name="adj" fmla="val 2473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TextBox 5">
              <a:extLst>
                <a:ext uri="{FF2B5EF4-FFF2-40B4-BE49-F238E27FC236}">
                  <a16:creationId xmlns:a16="http://schemas.microsoft.com/office/drawing/2014/main" id="{2382E677-349F-46FD-5110-7138BF5CB783}"/>
                </a:ext>
              </a:extLst>
            </p:cNvPr>
            <p:cNvSpPr txBox="1"/>
            <p:nvPr/>
          </p:nvSpPr>
          <p:spPr>
            <a:xfrm>
              <a:off x="1233486" y="6737424"/>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EC74F0BC-5589-3385-2143-5FB8F589C554}"/>
              </a:ext>
            </a:extLst>
          </p:cNvPr>
          <p:cNvGrpSpPr/>
          <p:nvPr/>
        </p:nvGrpSpPr>
        <p:grpSpPr>
          <a:xfrm>
            <a:off x="714374" y="7525164"/>
            <a:ext cx="2867025" cy="1689537"/>
            <a:chOff x="714374" y="7525164"/>
            <a:chExt cx="2867025" cy="1689537"/>
          </a:xfrm>
        </p:grpSpPr>
        <p:sp>
          <p:nvSpPr>
            <p:cNvPr id="8" name="Arrow: Chevron 7">
              <a:extLst>
                <a:ext uri="{FF2B5EF4-FFF2-40B4-BE49-F238E27FC236}">
                  <a16:creationId xmlns:a16="http://schemas.microsoft.com/office/drawing/2014/main" id="{CAA44F4F-9736-9FDE-90D1-A9D8F5C70309}"/>
                </a:ext>
              </a:extLst>
            </p:cNvPr>
            <p:cNvSpPr/>
            <p:nvPr/>
          </p:nvSpPr>
          <p:spPr>
            <a:xfrm rot="5400000">
              <a:off x="1303118" y="6936420"/>
              <a:ext cx="1689537" cy="2867025"/>
            </a:xfrm>
            <a:prstGeom prst="chevron">
              <a:avLst>
                <a:gd name="adj" fmla="val 2473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TextBox 8">
              <a:extLst>
                <a:ext uri="{FF2B5EF4-FFF2-40B4-BE49-F238E27FC236}">
                  <a16:creationId xmlns:a16="http://schemas.microsoft.com/office/drawing/2014/main" id="{D340259F-2270-AE0A-BEE5-17B6018E31CF}"/>
                </a:ext>
              </a:extLst>
            </p:cNvPr>
            <p:cNvSpPr txBox="1"/>
            <p:nvPr/>
          </p:nvSpPr>
          <p:spPr>
            <a:xfrm>
              <a:off x="1233486" y="8185266"/>
              <a:ext cx="1828800" cy="369332"/>
            </a:xfrm>
            <a:prstGeom prst="rect">
              <a:avLst/>
            </a:prstGeom>
            <a:noFill/>
          </p:spPr>
          <p:txBody>
            <a:bodyPr wrap="square" rtlCol="0">
              <a:noAutofit/>
            </a:bodyPr>
            <a:lstStyle/>
            <a:p>
              <a:pPr algn="ctr"/>
              <a:r>
                <a:rPr lang="en-IN" b="1" dirty="0">
                  <a:solidFill>
                    <a:schemeClr val="bg1"/>
                  </a:solidFill>
                  <a:latin typeface="Arial" panose="020B0604020202020204" pitchFamily="34" charset="0"/>
                  <a:cs typeface="Arial" panose="020B0604020202020204" pitchFamily="34" charset="0"/>
                </a:rPr>
                <a:t>Heading</a:t>
              </a:r>
              <a:endParaRPr lang="en-US" b="1" dirty="0">
                <a:solidFill>
                  <a:schemeClr val="bg1"/>
                </a:solidFill>
                <a:latin typeface="Arial" panose="020B0604020202020204" pitchFamily="34" charset="0"/>
                <a:cs typeface="Arial" panose="020B0604020202020204" pitchFamily="34" charset="0"/>
              </a:endParaRPr>
            </a:p>
          </p:txBody>
        </p:sp>
      </p:grpSp>
      <p:sp>
        <p:nvSpPr>
          <p:cNvPr id="35" name="Rectangle 34">
            <a:extLst>
              <a:ext uri="{FF2B5EF4-FFF2-40B4-BE49-F238E27FC236}">
                <a16:creationId xmlns:a16="http://schemas.microsoft.com/office/drawing/2014/main" id="{559A8AA0-7397-F19E-B727-653D8877D779}"/>
              </a:ext>
            </a:extLst>
          </p:cNvPr>
          <p:cNvSpPr/>
          <p:nvPr/>
        </p:nvSpPr>
        <p:spPr>
          <a:xfrm>
            <a:off x="3755571" y="3298135"/>
            <a:ext cx="13817817" cy="12786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36" name="Rectangle 35">
            <a:extLst>
              <a:ext uri="{FF2B5EF4-FFF2-40B4-BE49-F238E27FC236}">
                <a16:creationId xmlns:a16="http://schemas.microsoft.com/office/drawing/2014/main" id="{1E01B011-58C5-9DCD-4C29-1FB0280B1F6D}"/>
              </a:ext>
            </a:extLst>
          </p:cNvPr>
          <p:cNvSpPr/>
          <p:nvPr/>
        </p:nvSpPr>
        <p:spPr>
          <a:xfrm>
            <a:off x="3755571" y="4707145"/>
            <a:ext cx="13817817" cy="12786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37" name="Rectangle 36">
            <a:extLst>
              <a:ext uri="{FF2B5EF4-FFF2-40B4-BE49-F238E27FC236}">
                <a16:creationId xmlns:a16="http://schemas.microsoft.com/office/drawing/2014/main" id="{73C52474-DDA3-6620-022E-365DF2E91619}"/>
              </a:ext>
            </a:extLst>
          </p:cNvPr>
          <p:cNvSpPr/>
          <p:nvPr/>
        </p:nvSpPr>
        <p:spPr>
          <a:xfrm>
            <a:off x="3755571" y="6116155"/>
            <a:ext cx="13817817" cy="12786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38" name="Rectangle 37">
            <a:extLst>
              <a:ext uri="{FF2B5EF4-FFF2-40B4-BE49-F238E27FC236}">
                <a16:creationId xmlns:a16="http://schemas.microsoft.com/office/drawing/2014/main" id="{6BC21A6A-F221-94CA-C772-781EB3E9E335}"/>
              </a:ext>
            </a:extLst>
          </p:cNvPr>
          <p:cNvSpPr/>
          <p:nvPr/>
        </p:nvSpPr>
        <p:spPr>
          <a:xfrm>
            <a:off x="3755571" y="7525164"/>
            <a:ext cx="13817817" cy="12786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6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 name="Slide Number Placeholder 1">
            <a:extLst>
              <a:ext uri="{FF2B5EF4-FFF2-40B4-BE49-F238E27FC236}">
                <a16:creationId xmlns:a16="http://schemas.microsoft.com/office/drawing/2014/main" id="{4C23F129-E09A-989F-E626-C8C25F8DF0C5}"/>
              </a:ext>
            </a:extLst>
          </p:cNvPr>
          <p:cNvSpPr>
            <a:spLocks noGrp="1"/>
          </p:cNvSpPr>
          <p:nvPr>
            <p:ph type="sldNum" sz="quarter" idx="12"/>
          </p:nvPr>
        </p:nvSpPr>
        <p:spPr/>
        <p:txBody>
          <a:bodyPr/>
          <a:lstStyle/>
          <a:p>
            <a:fld id="{E2D680B1-7F17-42D2-83E2-2C9AC13983BB}" type="slidenum">
              <a:rPr lang="en-US" smtClean="0"/>
              <a:t>66</a:t>
            </a:fld>
            <a:endParaRPr lang="en-US" dirty="0"/>
          </a:p>
        </p:txBody>
      </p:sp>
    </p:spTree>
    <p:extLst>
      <p:ext uri="{BB962C8B-B14F-4D97-AF65-F5344CB8AC3E}">
        <p14:creationId xmlns:p14="http://schemas.microsoft.com/office/powerpoint/2010/main" val="8080809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60244-6C90-9543-E2DF-A980AC701A37}"/>
              </a:ext>
            </a:extLst>
          </p:cNvPr>
          <p:cNvSpPr>
            <a:spLocks noGrp="1"/>
          </p:cNvSpPr>
          <p:nvPr>
            <p:ph type="title"/>
          </p:nvPr>
        </p:nvSpPr>
        <p:spPr/>
        <p:txBody>
          <a:bodyPr/>
          <a:lstStyle/>
          <a:p>
            <a:r>
              <a:rPr lang="en-US" dirty="0"/>
              <a:t>Title &amp; Text Slide</a:t>
            </a:r>
          </a:p>
        </p:txBody>
      </p:sp>
      <p:sp>
        <p:nvSpPr>
          <p:cNvPr id="5" name="Rectangle 4">
            <a:extLst>
              <a:ext uri="{FF2B5EF4-FFF2-40B4-BE49-F238E27FC236}">
                <a16:creationId xmlns:a16="http://schemas.microsoft.com/office/drawing/2014/main" id="{FC16504C-6172-B256-3232-23D239EF1136}"/>
              </a:ext>
            </a:extLst>
          </p:cNvPr>
          <p:cNvSpPr/>
          <p:nvPr/>
        </p:nvSpPr>
        <p:spPr>
          <a:xfrm>
            <a:off x="714375" y="1889656"/>
            <a:ext cx="16859250" cy="522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r>
              <a:rPr lang="en-US" sz="2000" b="1" dirty="0"/>
              <a:t>Heading</a:t>
            </a:r>
          </a:p>
        </p:txBody>
      </p:sp>
      <p:sp>
        <p:nvSpPr>
          <p:cNvPr id="6" name="Rectangle 5">
            <a:extLst>
              <a:ext uri="{FF2B5EF4-FFF2-40B4-BE49-F238E27FC236}">
                <a16:creationId xmlns:a16="http://schemas.microsoft.com/office/drawing/2014/main" id="{8D4AA628-F32D-8FA8-B907-F52AFAC960DB}"/>
              </a:ext>
            </a:extLst>
          </p:cNvPr>
          <p:cNvSpPr/>
          <p:nvPr/>
        </p:nvSpPr>
        <p:spPr>
          <a:xfrm>
            <a:off x="714375" y="2411655"/>
            <a:ext cx="16859250" cy="6824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a:spcBef>
                <a:spcPts val="300"/>
              </a:spcBef>
              <a:spcAft>
                <a:spcPts val="300"/>
              </a:spcAft>
              <a:buClr>
                <a:schemeClr val="accent1"/>
              </a:buClr>
              <a:buSzPct val="100000"/>
            </a:pPr>
            <a:r>
              <a:rPr lang="en-US" sz="2000" b="1" dirty="0">
                <a:solidFill>
                  <a:schemeClr val="accent1"/>
                </a:solidFill>
                <a:latin typeface="Arial" panose="020B0604020202020204" pitchFamily="34" charset="0"/>
                <a:ea typeface="Calibri" panose="020F0502020204030204" pitchFamily="34" charset="0"/>
                <a:cs typeface="Arial" panose="020B0604020202020204" pitchFamily="34" charset="0"/>
              </a:rPr>
              <a:t>Subtitl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a:spcBef>
                <a:spcPts val="600"/>
              </a:spcBef>
              <a:spcAft>
                <a:spcPts val="300"/>
              </a:spcAft>
              <a:buClr>
                <a:schemeClr val="accent1"/>
              </a:buClr>
              <a:buSzPct val="100000"/>
            </a:pPr>
            <a:r>
              <a:rPr lang="en-US" sz="2000" b="1" dirty="0">
                <a:solidFill>
                  <a:schemeClr val="accent1"/>
                </a:solidFill>
                <a:latin typeface="Arial" panose="020B0604020202020204" pitchFamily="34" charset="0"/>
                <a:ea typeface="Calibri" panose="020F0502020204030204" pitchFamily="34" charset="0"/>
                <a:cs typeface="Arial" panose="020B0604020202020204" pitchFamily="34" charset="0"/>
              </a:rPr>
              <a:t>Subtitl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a:spcBef>
                <a:spcPts val="600"/>
              </a:spcBef>
              <a:spcAft>
                <a:spcPts val="300"/>
              </a:spcAft>
              <a:buClr>
                <a:schemeClr val="accent1"/>
              </a:buClr>
              <a:buSzPct val="100000"/>
            </a:pPr>
            <a:r>
              <a:rPr lang="en-US" sz="2000" b="1" dirty="0">
                <a:solidFill>
                  <a:schemeClr val="accent1"/>
                </a:solidFill>
                <a:latin typeface="Arial" panose="020B0604020202020204" pitchFamily="34" charset="0"/>
                <a:ea typeface="Calibri" panose="020F0502020204030204" pitchFamily="34" charset="0"/>
                <a:cs typeface="Arial" panose="020B0604020202020204" pitchFamily="34" charset="0"/>
              </a:rPr>
              <a:t>Subtitl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7" name="Slide Number Placeholder 6">
            <a:extLst>
              <a:ext uri="{FF2B5EF4-FFF2-40B4-BE49-F238E27FC236}">
                <a16:creationId xmlns:a16="http://schemas.microsoft.com/office/drawing/2014/main" id="{9E1B4A7F-D5E1-B24C-8133-81ADFE27EA10}"/>
              </a:ext>
            </a:extLst>
          </p:cNvPr>
          <p:cNvSpPr>
            <a:spLocks noGrp="1"/>
          </p:cNvSpPr>
          <p:nvPr>
            <p:ph type="sldNum" sz="quarter" idx="12"/>
          </p:nvPr>
        </p:nvSpPr>
        <p:spPr/>
        <p:txBody>
          <a:bodyPr/>
          <a:lstStyle/>
          <a:p>
            <a:fld id="{E2D680B1-7F17-42D2-83E2-2C9AC13983BB}" type="slidenum">
              <a:rPr lang="en-US" smtClean="0"/>
              <a:t>67</a:t>
            </a:fld>
            <a:endParaRPr lang="en-US" dirty="0"/>
          </a:p>
        </p:txBody>
      </p:sp>
    </p:spTree>
    <p:extLst>
      <p:ext uri="{BB962C8B-B14F-4D97-AF65-F5344CB8AC3E}">
        <p14:creationId xmlns:p14="http://schemas.microsoft.com/office/powerpoint/2010/main" val="19600875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41319FB-EEA3-699A-4452-638959B7B666}"/>
              </a:ext>
            </a:extLst>
          </p:cNvPr>
          <p:cNvSpPr>
            <a:spLocks noGrp="1"/>
          </p:cNvSpPr>
          <p:nvPr>
            <p:ph type="title"/>
          </p:nvPr>
        </p:nvSpPr>
        <p:spPr/>
        <p:txBody>
          <a:bodyPr/>
          <a:lstStyle/>
          <a:p>
            <a:r>
              <a:rPr lang="en-US" dirty="0"/>
              <a:t>Horizontal Header Layout</a:t>
            </a:r>
          </a:p>
        </p:txBody>
      </p:sp>
      <p:sp>
        <p:nvSpPr>
          <p:cNvPr id="8" name="Rectangle 7">
            <a:extLst>
              <a:ext uri="{FF2B5EF4-FFF2-40B4-BE49-F238E27FC236}">
                <a16:creationId xmlns:a16="http://schemas.microsoft.com/office/drawing/2014/main" id="{A2AC39FC-3693-AF8D-5346-F9F9457448EF}"/>
              </a:ext>
            </a:extLst>
          </p:cNvPr>
          <p:cNvSpPr/>
          <p:nvPr/>
        </p:nvSpPr>
        <p:spPr>
          <a:xfrm>
            <a:off x="3117534" y="1889656"/>
            <a:ext cx="7136604" cy="51304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Sub title</a:t>
            </a:r>
          </a:p>
        </p:txBody>
      </p:sp>
      <p:sp>
        <p:nvSpPr>
          <p:cNvPr id="9" name="Rectangle 8">
            <a:extLst>
              <a:ext uri="{FF2B5EF4-FFF2-40B4-BE49-F238E27FC236}">
                <a16:creationId xmlns:a16="http://schemas.microsoft.com/office/drawing/2014/main" id="{2D1C839E-F715-E580-1EEB-88BB6A7DEFA5}"/>
              </a:ext>
            </a:extLst>
          </p:cNvPr>
          <p:cNvSpPr/>
          <p:nvPr/>
        </p:nvSpPr>
        <p:spPr>
          <a:xfrm>
            <a:off x="10437019" y="1889656"/>
            <a:ext cx="7136604" cy="50791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Sub title</a:t>
            </a:r>
          </a:p>
        </p:txBody>
      </p:sp>
      <p:sp>
        <p:nvSpPr>
          <p:cNvPr id="7" name="Rectangle 6">
            <a:extLst>
              <a:ext uri="{FF2B5EF4-FFF2-40B4-BE49-F238E27FC236}">
                <a16:creationId xmlns:a16="http://schemas.microsoft.com/office/drawing/2014/main" id="{51EEB8C2-A159-563A-35B4-A0D81D4732F5}"/>
              </a:ext>
            </a:extLst>
          </p:cNvPr>
          <p:cNvSpPr/>
          <p:nvPr/>
        </p:nvSpPr>
        <p:spPr>
          <a:xfrm>
            <a:off x="714375" y="2585579"/>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0" name="Rectangle 9">
            <a:extLst>
              <a:ext uri="{FF2B5EF4-FFF2-40B4-BE49-F238E27FC236}">
                <a16:creationId xmlns:a16="http://schemas.microsoft.com/office/drawing/2014/main" id="{9660D1A6-7674-E8C6-0606-B61EC6E3F55B}"/>
              </a:ext>
            </a:extLst>
          </p:cNvPr>
          <p:cNvSpPr/>
          <p:nvPr/>
        </p:nvSpPr>
        <p:spPr>
          <a:xfrm>
            <a:off x="714375" y="4288713"/>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1" name="Rectangle 10">
            <a:extLst>
              <a:ext uri="{FF2B5EF4-FFF2-40B4-BE49-F238E27FC236}">
                <a16:creationId xmlns:a16="http://schemas.microsoft.com/office/drawing/2014/main" id="{00891F31-367C-1C23-FE1A-7B6803E4E4EB}"/>
              </a:ext>
            </a:extLst>
          </p:cNvPr>
          <p:cNvSpPr/>
          <p:nvPr/>
        </p:nvSpPr>
        <p:spPr>
          <a:xfrm>
            <a:off x="714375" y="5991846"/>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2" name="Rectangle 11">
            <a:extLst>
              <a:ext uri="{FF2B5EF4-FFF2-40B4-BE49-F238E27FC236}">
                <a16:creationId xmlns:a16="http://schemas.microsoft.com/office/drawing/2014/main" id="{1DB77EAA-DE2E-3739-EF64-738A9DC7398D}"/>
              </a:ext>
            </a:extLst>
          </p:cNvPr>
          <p:cNvSpPr/>
          <p:nvPr/>
        </p:nvSpPr>
        <p:spPr>
          <a:xfrm>
            <a:off x="714375" y="7694979"/>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7" name="Rectangle 16">
            <a:extLst>
              <a:ext uri="{FF2B5EF4-FFF2-40B4-BE49-F238E27FC236}">
                <a16:creationId xmlns:a16="http://schemas.microsoft.com/office/drawing/2014/main" id="{090ACD98-F811-9959-A88C-38DAFCD7BDF0}"/>
              </a:ext>
            </a:extLst>
          </p:cNvPr>
          <p:cNvSpPr/>
          <p:nvPr/>
        </p:nvSpPr>
        <p:spPr>
          <a:xfrm>
            <a:off x="3117534" y="2585579"/>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18" name="Rectangle 17">
            <a:extLst>
              <a:ext uri="{FF2B5EF4-FFF2-40B4-BE49-F238E27FC236}">
                <a16:creationId xmlns:a16="http://schemas.microsoft.com/office/drawing/2014/main" id="{9CB9692B-5A7F-F7B2-D6E7-CB9A59446E07}"/>
              </a:ext>
            </a:extLst>
          </p:cNvPr>
          <p:cNvSpPr/>
          <p:nvPr/>
        </p:nvSpPr>
        <p:spPr>
          <a:xfrm>
            <a:off x="3117534" y="4288713"/>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19" name="Rectangle 18">
            <a:extLst>
              <a:ext uri="{FF2B5EF4-FFF2-40B4-BE49-F238E27FC236}">
                <a16:creationId xmlns:a16="http://schemas.microsoft.com/office/drawing/2014/main" id="{A7D011D3-BAFB-D6A2-6B7A-B064FC71F1EC}"/>
              </a:ext>
            </a:extLst>
          </p:cNvPr>
          <p:cNvSpPr/>
          <p:nvPr/>
        </p:nvSpPr>
        <p:spPr>
          <a:xfrm>
            <a:off x="3117534" y="5991846"/>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0" name="Rectangle 19">
            <a:extLst>
              <a:ext uri="{FF2B5EF4-FFF2-40B4-BE49-F238E27FC236}">
                <a16:creationId xmlns:a16="http://schemas.microsoft.com/office/drawing/2014/main" id="{D8F45F71-DD8C-EBEB-5155-1B40E0218436}"/>
              </a:ext>
            </a:extLst>
          </p:cNvPr>
          <p:cNvSpPr/>
          <p:nvPr/>
        </p:nvSpPr>
        <p:spPr>
          <a:xfrm>
            <a:off x="3117534" y="7694979"/>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1" name="Rectangle 20">
            <a:extLst>
              <a:ext uri="{FF2B5EF4-FFF2-40B4-BE49-F238E27FC236}">
                <a16:creationId xmlns:a16="http://schemas.microsoft.com/office/drawing/2014/main" id="{743FB052-E5C9-E9E9-D8E2-2EFC975B1BE2}"/>
              </a:ext>
            </a:extLst>
          </p:cNvPr>
          <p:cNvSpPr/>
          <p:nvPr/>
        </p:nvSpPr>
        <p:spPr>
          <a:xfrm>
            <a:off x="10437019" y="2585579"/>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2" name="Rectangle 21">
            <a:extLst>
              <a:ext uri="{FF2B5EF4-FFF2-40B4-BE49-F238E27FC236}">
                <a16:creationId xmlns:a16="http://schemas.microsoft.com/office/drawing/2014/main" id="{5EEF6AA7-EF39-F65E-71A6-93C0F8CFC801}"/>
              </a:ext>
            </a:extLst>
          </p:cNvPr>
          <p:cNvSpPr/>
          <p:nvPr/>
        </p:nvSpPr>
        <p:spPr>
          <a:xfrm>
            <a:off x="10437019" y="4288713"/>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3" name="Rectangle 22">
            <a:extLst>
              <a:ext uri="{FF2B5EF4-FFF2-40B4-BE49-F238E27FC236}">
                <a16:creationId xmlns:a16="http://schemas.microsoft.com/office/drawing/2014/main" id="{154F684D-3482-0212-A58A-325AE9615449}"/>
              </a:ext>
            </a:extLst>
          </p:cNvPr>
          <p:cNvSpPr/>
          <p:nvPr/>
        </p:nvSpPr>
        <p:spPr>
          <a:xfrm>
            <a:off x="10437019" y="5991846"/>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4" name="Rectangle 23">
            <a:extLst>
              <a:ext uri="{FF2B5EF4-FFF2-40B4-BE49-F238E27FC236}">
                <a16:creationId xmlns:a16="http://schemas.microsoft.com/office/drawing/2014/main" id="{8D6C73C4-1CBE-833F-6A19-5CD45063C0BC}"/>
              </a:ext>
            </a:extLst>
          </p:cNvPr>
          <p:cNvSpPr/>
          <p:nvPr/>
        </p:nvSpPr>
        <p:spPr>
          <a:xfrm>
            <a:off x="10437019" y="7694979"/>
            <a:ext cx="7136604" cy="152025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 name="Slide Number Placeholder 1">
            <a:extLst>
              <a:ext uri="{FF2B5EF4-FFF2-40B4-BE49-F238E27FC236}">
                <a16:creationId xmlns:a16="http://schemas.microsoft.com/office/drawing/2014/main" id="{CAC1A969-FB83-C7F4-0BC4-001844C5A371}"/>
              </a:ext>
            </a:extLst>
          </p:cNvPr>
          <p:cNvSpPr>
            <a:spLocks noGrp="1"/>
          </p:cNvSpPr>
          <p:nvPr>
            <p:ph type="sldNum" sz="quarter" idx="12"/>
          </p:nvPr>
        </p:nvSpPr>
        <p:spPr/>
        <p:txBody>
          <a:bodyPr/>
          <a:lstStyle/>
          <a:p>
            <a:fld id="{E2D680B1-7F17-42D2-83E2-2C9AC13983BB}" type="slidenum">
              <a:rPr lang="en-US" smtClean="0"/>
              <a:t>68</a:t>
            </a:fld>
            <a:endParaRPr lang="en-US" dirty="0"/>
          </a:p>
        </p:txBody>
      </p:sp>
    </p:spTree>
    <p:extLst>
      <p:ext uri="{BB962C8B-B14F-4D97-AF65-F5344CB8AC3E}">
        <p14:creationId xmlns:p14="http://schemas.microsoft.com/office/powerpoint/2010/main" val="22985948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D4C63-629D-FAD4-3495-6502E9A6E30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F65DA6A-359E-41DA-C10A-19EA00ADA08C}"/>
              </a:ext>
            </a:extLst>
          </p:cNvPr>
          <p:cNvSpPr>
            <a:spLocks noGrp="1"/>
          </p:cNvSpPr>
          <p:nvPr>
            <p:ph type="title"/>
          </p:nvPr>
        </p:nvSpPr>
        <p:spPr>
          <a:xfrm>
            <a:off x="714375" y="317500"/>
            <a:ext cx="16859250" cy="1266827"/>
          </a:xfrm>
        </p:spPr>
        <p:txBody>
          <a:bodyPr/>
          <a:lstStyle/>
          <a:p>
            <a:r>
              <a:rPr lang="en-US" dirty="0"/>
              <a:t>Horizontal Header Layout</a:t>
            </a:r>
          </a:p>
        </p:txBody>
      </p:sp>
      <p:sp>
        <p:nvSpPr>
          <p:cNvPr id="8" name="Rectangle 7">
            <a:extLst>
              <a:ext uri="{FF2B5EF4-FFF2-40B4-BE49-F238E27FC236}">
                <a16:creationId xmlns:a16="http://schemas.microsoft.com/office/drawing/2014/main" id="{3984B511-29DB-1523-A05D-F286E102AFA1}"/>
              </a:ext>
            </a:extLst>
          </p:cNvPr>
          <p:cNvSpPr/>
          <p:nvPr/>
        </p:nvSpPr>
        <p:spPr>
          <a:xfrm>
            <a:off x="3117534" y="1889656"/>
            <a:ext cx="7136604" cy="51304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Sub title</a:t>
            </a:r>
          </a:p>
        </p:txBody>
      </p:sp>
      <p:sp>
        <p:nvSpPr>
          <p:cNvPr id="9" name="Rectangle 8">
            <a:extLst>
              <a:ext uri="{FF2B5EF4-FFF2-40B4-BE49-F238E27FC236}">
                <a16:creationId xmlns:a16="http://schemas.microsoft.com/office/drawing/2014/main" id="{E2837E97-8EF9-9899-3198-C93CF6D88049}"/>
              </a:ext>
            </a:extLst>
          </p:cNvPr>
          <p:cNvSpPr/>
          <p:nvPr/>
        </p:nvSpPr>
        <p:spPr>
          <a:xfrm>
            <a:off x="10437019" y="1889656"/>
            <a:ext cx="7136604" cy="50791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Sub title</a:t>
            </a:r>
          </a:p>
        </p:txBody>
      </p:sp>
      <p:sp>
        <p:nvSpPr>
          <p:cNvPr id="7" name="Rectangle 6">
            <a:extLst>
              <a:ext uri="{FF2B5EF4-FFF2-40B4-BE49-F238E27FC236}">
                <a16:creationId xmlns:a16="http://schemas.microsoft.com/office/drawing/2014/main" id="{A29C7FDB-E758-A619-C387-376BDC23CF18}"/>
              </a:ext>
            </a:extLst>
          </p:cNvPr>
          <p:cNvSpPr/>
          <p:nvPr/>
        </p:nvSpPr>
        <p:spPr>
          <a:xfrm>
            <a:off x="714375" y="2585579"/>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0" name="Rectangle 9">
            <a:extLst>
              <a:ext uri="{FF2B5EF4-FFF2-40B4-BE49-F238E27FC236}">
                <a16:creationId xmlns:a16="http://schemas.microsoft.com/office/drawing/2014/main" id="{72C78627-1100-1949-0002-36BE301BE959}"/>
              </a:ext>
            </a:extLst>
          </p:cNvPr>
          <p:cNvSpPr/>
          <p:nvPr/>
        </p:nvSpPr>
        <p:spPr>
          <a:xfrm>
            <a:off x="714375" y="4288712"/>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1" name="Rectangle 10">
            <a:extLst>
              <a:ext uri="{FF2B5EF4-FFF2-40B4-BE49-F238E27FC236}">
                <a16:creationId xmlns:a16="http://schemas.microsoft.com/office/drawing/2014/main" id="{A1F6FB3E-1D6D-24E5-99A6-3D74DE24916D}"/>
              </a:ext>
            </a:extLst>
          </p:cNvPr>
          <p:cNvSpPr/>
          <p:nvPr/>
        </p:nvSpPr>
        <p:spPr>
          <a:xfrm>
            <a:off x="714375" y="5991845"/>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2" name="Rectangle 11">
            <a:extLst>
              <a:ext uri="{FF2B5EF4-FFF2-40B4-BE49-F238E27FC236}">
                <a16:creationId xmlns:a16="http://schemas.microsoft.com/office/drawing/2014/main" id="{107582E0-52EF-6BA0-FBFE-2C6BB387D636}"/>
              </a:ext>
            </a:extLst>
          </p:cNvPr>
          <p:cNvSpPr/>
          <p:nvPr/>
        </p:nvSpPr>
        <p:spPr>
          <a:xfrm>
            <a:off x="714375" y="7694979"/>
            <a:ext cx="2220279" cy="152025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r>
              <a:rPr lang="en-US" sz="2000" b="1" dirty="0"/>
              <a:t>Heading</a:t>
            </a:r>
          </a:p>
        </p:txBody>
      </p:sp>
      <p:sp>
        <p:nvSpPr>
          <p:cNvPr id="17" name="Rectangle 16">
            <a:extLst>
              <a:ext uri="{FF2B5EF4-FFF2-40B4-BE49-F238E27FC236}">
                <a16:creationId xmlns:a16="http://schemas.microsoft.com/office/drawing/2014/main" id="{930E5A36-51D2-E4C4-000F-A0AAABB58A1A}"/>
              </a:ext>
            </a:extLst>
          </p:cNvPr>
          <p:cNvSpPr/>
          <p:nvPr/>
        </p:nvSpPr>
        <p:spPr>
          <a:xfrm>
            <a:off x="3117534" y="2585579"/>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18" name="Rectangle 17">
            <a:extLst>
              <a:ext uri="{FF2B5EF4-FFF2-40B4-BE49-F238E27FC236}">
                <a16:creationId xmlns:a16="http://schemas.microsoft.com/office/drawing/2014/main" id="{9F59929C-BEE5-3433-E515-890F0D84456A}"/>
              </a:ext>
            </a:extLst>
          </p:cNvPr>
          <p:cNvSpPr/>
          <p:nvPr/>
        </p:nvSpPr>
        <p:spPr>
          <a:xfrm>
            <a:off x="3117534" y="4288713"/>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19" name="Rectangle 18">
            <a:extLst>
              <a:ext uri="{FF2B5EF4-FFF2-40B4-BE49-F238E27FC236}">
                <a16:creationId xmlns:a16="http://schemas.microsoft.com/office/drawing/2014/main" id="{8EF3A5AD-0E9D-06C6-ABE8-EF556F4D1A40}"/>
              </a:ext>
            </a:extLst>
          </p:cNvPr>
          <p:cNvSpPr/>
          <p:nvPr/>
        </p:nvSpPr>
        <p:spPr>
          <a:xfrm>
            <a:off x="3117534" y="5991846"/>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0" name="Rectangle 19">
            <a:extLst>
              <a:ext uri="{FF2B5EF4-FFF2-40B4-BE49-F238E27FC236}">
                <a16:creationId xmlns:a16="http://schemas.microsoft.com/office/drawing/2014/main" id="{7772492F-1EA2-FFBE-0850-BFFC214336DF}"/>
              </a:ext>
            </a:extLst>
          </p:cNvPr>
          <p:cNvSpPr/>
          <p:nvPr/>
        </p:nvSpPr>
        <p:spPr>
          <a:xfrm>
            <a:off x="3117534" y="7694979"/>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1" name="Rectangle 20">
            <a:extLst>
              <a:ext uri="{FF2B5EF4-FFF2-40B4-BE49-F238E27FC236}">
                <a16:creationId xmlns:a16="http://schemas.microsoft.com/office/drawing/2014/main" id="{B8A23602-924B-5ADE-3F27-993924F00C70}"/>
              </a:ext>
            </a:extLst>
          </p:cNvPr>
          <p:cNvSpPr/>
          <p:nvPr/>
        </p:nvSpPr>
        <p:spPr>
          <a:xfrm>
            <a:off x="10437019" y="2585579"/>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2" name="Rectangle 21">
            <a:extLst>
              <a:ext uri="{FF2B5EF4-FFF2-40B4-BE49-F238E27FC236}">
                <a16:creationId xmlns:a16="http://schemas.microsoft.com/office/drawing/2014/main" id="{45651247-3520-6CF0-C122-A7590D550451}"/>
              </a:ext>
            </a:extLst>
          </p:cNvPr>
          <p:cNvSpPr/>
          <p:nvPr/>
        </p:nvSpPr>
        <p:spPr>
          <a:xfrm>
            <a:off x="10437019" y="4288713"/>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3" name="Rectangle 22">
            <a:extLst>
              <a:ext uri="{FF2B5EF4-FFF2-40B4-BE49-F238E27FC236}">
                <a16:creationId xmlns:a16="http://schemas.microsoft.com/office/drawing/2014/main" id="{11409C22-1197-F9B5-E0F8-F7DC2CD243CD}"/>
              </a:ext>
            </a:extLst>
          </p:cNvPr>
          <p:cNvSpPr/>
          <p:nvPr/>
        </p:nvSpPr>
        <p:spPr>
          <a:xfrm>
            <a:off x="10437019" y="5991846"/>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24" name="Rectangle 23">
            <a:extLst>
              <a:ext uri="{FF2B5EF4-FFF2-40B4-BE49-F238E27FC236}">
                <a16:creationId xmlns:a16="http://schemas.microsoft.com/office/drawing/2014/main" id="{BF1CAA1F-26A4-92E8-BD97-0B9EE268FF6E}"/>
              </a:ext>
            </a:extLst>
          </p:cNvPr>
          <p:cNvSpPr/>
          <p:nvPr/>
        </p:nvSpPr>
        <p:spPr>
          <a:xfrm>
            <a:off x="10437019" y="7694979"/>
            <a:ext cx="7136604" cy="1520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cxnSp>
        <p:nvCxnSpPr>
          <p:cNvPr id="6" name="Straight Connector 5">
            <a:extLst>
              <a:ext uri="{FF2B5EF4-FFF2-40B4-BE49-F238E27FC236}">
                <a16:creationId xmlns:a16="http://schemas.microsoft.com/office/drawing/2014/main" id="{EA3E63C3-833A-F3EF-69F2-862D1CC03E08}"/>
              </a:ext>
            </a:extLst>
          </p:cNvPr>
          <p:cNvCxnSpPr>
            <a:cxnSpLocks/>
          </p:cNvCxnSpPr>
          <p:nvPr/>
        </p:nvCxnSpPr>
        <p:spPr>
          <a:xfrm>
            <a:off x="714375" y="4197272"/>
            <a:ext cx="1685925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83B5A6BC-5250-101D-AF9C-644AE49672F3}"/>
              </a:ext>
            </a:extLst>
          </p:cNvPr>
          <p:cNvCxnSpPr>
            <a:cxnSpLocks/>
          </p:cNvCxnSpPr>
          <p:nvPr/>
        </p:nvCxnSpPr>
        <p:spPr>
          <a:xfrm>
            <a:off x="714375" y="5900405"/>
            <a:ext cx="1685925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847D065-A68D-31CA-2C2A-01D54D65DDE5}"/>
              </a:ext>
            </a:extLst>
          </p:cNvPr>
          <p:cNvCxnSpPr>
            <a:cxnSpLocks/>
          </p:cNvCxnSpPr>
          <p:nvPr/>
        </p:nvCxnSpPr>
        <p:spPr>
          <a:xfrm>
            <a:off x="714375" y="7603538"/>
            <a:ext cx="1685925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2" name="Slide Number Placeholder 1">
            <a:extLst>
              <a:ext uri="{FF2B5EF4-FFF2-40B4-BE49-F238E27FC236}">
                <a16:creationId xmlns:a16="http://schemas.microsoft.com/office/drawing/2014/main" id="{2C62A40B-9961-6516-156C-80BAD7085415}"/>
              </a:ext>
            </a:extLst>
          </p:cNvPr>
          <p:cNvSpPr>
            <a:spLocks noGrp="1"/>
          </p:cNvSpPr>
          <p:nvPr>
            <p:ph type="sldNum" sz="quarter" idx="12"/>
          </p:nvPr>
        </p:nvSpPr>
        <p:spPr/>
        <p:txBody>
          <a:bodyPr/>
          <a:lstStyle/>
          <a:p>
            <a:fld id="{E2D680B1-7F17-42D2-83E2-2C9AC13983BB}" type="slidenum">
              <a:rPr lang="en-US" smtClean="0"/>
              <a:t>69</a:t>
            </a:fld>
            <a:endParaRPr lang="en-US" dirty="0"/>
          </a:p>
        </p:txBody>
      </p:sp>
    </p:spTree>
    <p:extLst>
      <p:ext uri="{BB962C8B-B14F-4D97-AF65-F5344CB8AC3E}">
        <p14:creationId xmlns:p14="http://schemas.microsoft.com/office/powerpoint/2010/main" val="2767112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44562AB-E8AA-6BF5-5824-9EFD037E1AE7}"/>
              </a:ext>
            </a:extLst>
          </p:cNvPr>
          <p:cNvSpPr>
            <a:spLocks noGrp="1"/>
          </p:cNvSpPr>
          <p:nvPr>
            <p:ph type="body" sz="quarter" idx="11"/>
          </p:nvPr>
        </p:nvSpPr>
        <p:spPr>
          <a:xfrm>
            <a:off x="6049962" y="4038600"/>
            <a:ext cx="9952038" cy="2476500"/>
          </a:xfrm>
        </p:spPr>
        <p:txBody>
          <a:bodyPr/>
          <a:lstStyle/>
          <a:p>
            <a:r>
              <a:rPr lang="en-US" dirty="0"/>
              <a:t>Divider Slide Title</a:t>
            </a:r>
          </a:p>
        </p:txBody>
      </p:sp>
      <p:sp>
        <p:nvSpPr>
          <p:cNvPr id="2" name="Slide Number Placeholder 1">
            <a:extLst>
              <a:ext uri="{FF2B5EF4-FFF2-40B4-BE49-F238E27FC236}">
                <a16:creationId xmlns:a16="http://schemas.microsoft.com/office/drawing/2014/main" id="{98C1C961-8E9B-32A5-C9B3-64125AC5E92A}"/>
              </a:ext>
            </a:extLst>
          </p:cNvPr>
          <p:cNvSpPr>
            <a:spLocks noGrp="1"/>
          </p:cNvSpPr>
          <p:nvPr>
            <p:ph type="sldNum" sz="quarter" idx="12"/>
          </p:nvPr>
        </p:nvSpPr>
        <p:spPr/>
        <p:txBody>
          <a:bodyPr/>
          <a:lstStyle/>
          <a:p>
            <a:fld id="{E2D680B1-7F17-42D2-83E2-2C9AC13983BB}" type="slidenum">
              <a:rPr lang="en-US" smtClean="0"/>
              <a:t>7</a:t>
            </a:fld>
            <a:endParaRPr lang="en-US" dirty="0"/>
          </a:p>
        </p:txBody>
      </p:sp>
    </p:spTree>
    <p:extLst>
      <p:ext uri="{BB962C8B-B14F-4D97-AF65-F5344CB8AC3E}">
        <p14:creationId xmlns:p14="http://schemas.microsoft.com/office/powerpoint/2010/main" val="41317664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FEB17-F7A5-EB8E-360D-9E1F0D69968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B1895D6-5ABB-8902-0F3B-1CAB1664CF3B}"/>
              </a:ext>
            </a:extLst>
          </p:cNvPr>
          <p:cNvSpPr>
            <a:spLocks noGrp="1"/>
          </p:cNvSpPr>
          <p:nvPr>
            <p:ph type="ctrTitle"/>
          </p:nvPr>
        </p:nvSpPr>
        <p:spPr>
          <a:xfrm>
            <a:off x="742950" y="4572119"/>
            <a:ext cx="11601450" cy="1354217"/>
          </a:xfrm>
        </p:spPr>
        <p:txBody>
          <a:bodyPr/>
          <a:lstStyle/>
          <a:p>
            <a:r>
              <a:rPr lang="en-US" dirty="0"/>
              <a:t>Graphic Slides</a:t>
            </a:r>
          </a:p>
        </p:txBody>
      </p:sp>
      <p:sp>
        <p:nvSpPr>
          <p:cNvPr id="2" name="Slide Number Placeholder 1">
            <a:extLst>
              <a:ext uri="{FF2B5EF4-FFF2-40B4-BE49-F238E27FC236}">
                <a16:creationId xmlns:a16="http://schemas.microsoft.com/office/drawing/2014/main" id="{19F0391C-2DD1-339E-0F14-BB11676A472E}"/>
              </a:ext>
            </a:extLst>
          </p:cNvPr>
          <p:cNvSpPr>
            <a:spLocks noGrp="1"/>
          </p:cNvSpPr>
          <p:nvPr>
            <p:ph type="sldNum" sz="quarter" idx="12"/>
          </p:nvPr>
        </p:nvSpPr>
        <p:spPr/>
        <p:txBody>
          <a:bodyPr/>
          <a:lstStyle/>
          <a:p>
            <a:fld id="{E2D680B1-7F17-42D2-83E2-2C9AC13983BB}" type="slidenum">
              <a:rPr lang="en-US" smtClean="0"/>
              <a:pPr/>
              <a:t>70</a:t>
            </a:fld>
            <a:endParaRPr lang="en-US" dirty="0"/>
          </a:p>
        </p:txBody>
      </p:sp>
    </p:spTree>
    <p:extLst>
      <p:ext uri="{BB962C8B-B14F-4D97-AF65-F5344CB8AC3E}">
        <p14:creationId xmlns:p14="http://schemas.microsoft.com/office/powerpoint/2010/main" val="11959288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 name="Title 332">
            <a:extLst>
              <a:ext uri="{FF2B5EF4-FFF2-40B4-BE49-F238E27FC236}">
                <a16:creationId xmlns:a16="http://schemas.microsoft.com/office/drawing/2014/main" id="{D997407C-D019-C494-2E0B-9932D71B6987}"/>
              </a:ext>
            </a:extLst>
          </p:cNvPr>
          <p:cNvSpPr>
            <a:spLocks noGrp="1"/>
          </p:cNvSpPr>
          <p:nvPr>
            <p:ph type="title"/>
          </p:nvPr>
        </p:nvSpPr>
        <p:spPr/>
        <p:txBody>
          <a:bodyPr/>
          <a:lstStyle/>
          <a:p>
            <a:r>
              <a:rPr lang="en-US" dirty="0"/>
              <a:t>Map Insight</a:t>
            </a:r>
          </a:p>
        </p:txBody>
      </p:sp>
      <p:sp>
        <p:nvSpPr>
          <p:cNvPr id="335" name="Rectangle 334">
            <a:extLst>
              <a:ext uri="{FF2B5EF4-FFF2-40B4-BE49-F238E27FC236}">
                <a16:creationId xmlns:a16="http://schemas.microsoft.com/office/drawing/2014/main" id="{3F7F07AD-5B48-EF47-E1A9-050A9A9C1862}"/>
              </a:ext>
            </a:extLst>
          </p:cNvPr>
          <p:cNvSpPr/>
          <p:nvPr/>
        </p:nvSpPr>
        <p:spPr>
          <a:xfrm>
            <a:off x="12039600" y="2482189"/>
            <a:ext cx="5534024" cy="6140510"/>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marL="360000" indent="-360000">
              <a:spcBef>
                <a:spcPts val="300"/>
              </a:spcBef>
              <a:spcAft>
                <a:spcPts val="300"/>
              </a:spcAft>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a:p>
            <a:pPr marL="360000" indent="-360000">
              <a:spcBef>
                <a:spcPts val="300"/>
              </a:spcBef>
              <a:spcAft>
                <a:spcPts val="300"/>
              </a:spcAft>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Suspendisse dui purus, scelerisque at, vulputate vitae, pretium mattis</a:t>
            </a:r>
            <a:endParaRPr lang="en-US" dirty="0">
              <a:solidFill>
                <a:schemeClr val="tx1"/>
              </a:solidFill>
            </a:endParaRPr>
          </a:p>
        </p:txBody>
      </p:sp>
      <p:grpSp>
        <p:nvGrpSpPr>
          <p:cNvPr id="636" name="Group 635">
            <a:extLst>
              <a:ext uri="{FF2B5EF4-FFF2-40B4-BE49-F238E27FC236}">
                <a16:creationId xmlns:a16="http://schemas.microsoft.com/office/drawing/2014/main" id="{766757FD-1C76-317C-63D0-52D3EBCF2B9B}"/>
              </a:ext>
            </a:extLst>
          </p:cNvPr>
          <p:cNvGrpSpPr>
            <a:grpSpLocks noChangeAspect="1"/>
          </p:cNvGrpSpPr>
          <p:nvPr/>
        </p:nvGrpSpPr>
        <p:grpSpPr>
          <a:xfrm>
            <a:off x="914400" y="2482189"/>
            <a:ext cx="10376286" cy="6140510"/>
            <a:chOff x="13290763" y="1598535"/>
            <a:chExt cx="8860930" cy="5243748"/>
          </a:xfrm>
          <a:solidFill>
            <a:schemeClr val="accent2"/>
          </a:solidFill>
        </p:grpSpPr>
        <p:sp>
          <p:nvSpPr>
            <p:cNvPr id="637" name="Freeform 5">
              <a:extLst>
                <a:ext uri="{FF2B5EF4-FFF2-40B4-BE49-F238E27FC236}">
                  <a16:creationId xmlns:a16="http://schemas.microsoft.com/office/drawing/2014/main" id="{C0850695-69DE-751A-2C71-D8938F62DAFA}"/>
                </a:ext>
              </a:extLst>
            </p:cNvPr>
            <p:cNvSpPr>
              <a:spLocks/>
            </p:cNvSpPr>
            <p:nvPr/>
          </p:nvSpPr>
          <p:spPr bwMode="auto">
            <a:xfrm>
              <a:off x="15603438" y="3426319"/>
              <a:ext cx="55861" cy="27522"/>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38" name="Freeform 7">
              <a:extLst>
                <a:ext uri="{FF2B5EF4-FFF2-40B4-BE49-F238E27FC236}">
                  <a16:creationId xmlns:a16="http://schemas.microsoft.com/office/drawing/2014/main" id="{45B64132-6B7A-3A0A-F11C-1D4A6575FA6A}"/>
                </a:ext>
              </a:extLst>
            </p:cNvPr>
            <p:cNvSpPr>
              <a:spLocks/>
            </p:cNvSpPr>
            <p:nvPr/>
          </p:nvSpPr>
          <p:spPr bwMode="auto">
            <a:xfrm>
              <a:off x="16813243" y="2437146"/>
              <a:ext cx="279309" cy="147324"/>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39" name="Freeform 12">
              <a:extLst>
                <a:ext uri="{FF2B5EF4-FFF2-40B4-BE49-F238E27FC236}">
                  <a16:creationId xmlns:a16="http://schemas.microsoft.com/office/drawing/2014/main" id="{0AECFDFC-3916-211B-31C3-BBFEC291D219}"/>
                </a:ext>
              </a:extLst>
            </p:cNvPr>
            <p:cNvSpPr>
              <a:spLocks/>
            </p:cNvSpPr>
            <p:nvPr/>
          </p:nvSpPr>
          <p:spPr bwMode="auto">
            <a:xfrm>
              <a:off x="15627378" y="1598535"/>
              <a:ext cx="1514651" cy="1126782"/>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0" name="Freeform 14">
              <a:extLst>
                <a:ext uri="{FF2B5EF4-FFF2-40B4-BE49-F238E27FC236}">
                  <a16:creationId xmlns:a16="http://schemas.microsoft.com/office/drawing/2014/main" id="{C90CADF1-3258-C16D-25BC-4AE265BBA347}"/>
                </a:ext>
              </a:extLst>
            </p:cNvPr>
            <p:cNvSpPr>
              <a:spLocks/>
            </p:cNvSpPr>
            <p:nvPr/>
          </p:nvSpPr>
          <p:spPr bwMode="auto">
            <a:xfrm>
              <a:off x="14546853" y="3714490"/>
              <a:ext cx="750143" cy="587675"/>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1" name="Freeform 15">
              <a:extLst>
                <a:ext uri="{FF2B5EF4-FFF2-40B4-BE49-F238E27FC236}">
                  <a16:creationId xmlns:a16="http://schemas.microsoft.com/office/drawing/2014/main" id="{80CCBD22-2670-AD25-AB4F-84FE6F222FC8}"/>
                </a:ext>
              </a:extLst>
            </p:cNvPr>
            <p:cNvSpPr>
              <a:spLocks/>
            </p:cNvSpPr>
            <p:nvPr/>
          </p:nvSpPr>
          <p:spPr bwMode="auto">
            <a:xfrm>
              <a:off x="15234751" y="4175888"/>
              <a:ext cx="27132" cy="82566"/>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2" name="Freeform 16">
              <a:extLst>
                <a:ext uri="{FF2B5EF4-FFF2-40B4-BE49-F238E27FC236}">
                  <a16:creationId xmlns:a16="http://schemas.microsoft.com/office/drawing/2014/main" id="{5432C360-AFD4-F721-D13F-C883B78BAF35}"/>
                </a:ext>
              </a:extLst>
            </p:cNvPr>
            <p:cNvSpPr>
              <a:spLocks/>
            </p:cNvSpPr>
            <p:nvPr/>
          </p:nvSpPr>
          <p:spPr bwMode="auto">
            <a:xfrm>
              <a:off x="15708777" y="5040402"/>
              <a:ext cx="316018" cy="424163"/>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3" name="Freeform 17">
              <a:extLst>
                <a:ext uri="{FF2B5EF4-FFF2-40B4-BE49-F238E27FC236}">
                  <a16:creationId xmlns:a16="http://schemas.microsoft.com/office/drawing/2014/main" id="{11C58E84-C2FE-B212-C73A-99E8C9045DF6}"/>
                </a:ext>
              </a:extLst>
            </p:cNvPr>
            <p:cNvSpPr>
              <a:spLocks/>
            </p:cNvSpPr>
            <p:nvPr/>
          </p:nvSpPr>
          <p:spPr bwMode="auto">
            <a:xfrm>
              <a:off x="15887535" y="5341525"/>
              <a:ext cx="207486" cy="280077"/>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4" name="Freeform 18">
              <a:extLst>
                <a:ext uri="{FF2B5EF4-FFF2-40B4-BE49-F238E27FC236}">
                  <a16:creationId xmlns:a16="http://schemas.microsoft.com/office/drawing/2014/main" id="{984D7950-32E5-2C40-9868-F4D1FB2F528E}"/>
                </a:ext>
              </a:extLst>
            </p:cNvPr>
            <p:cNvSpPr>
              <a:spLocks/>
            </p:cNvSpPr>
            <p:nvPr/>
          </p:nvSpPr>
          <p:spPr bwMode="auto">
            <a:xfrm>
              <a:off x="15983297" y="5689597"/>
              <a:ext cx="143645" cy="173226"/>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5" name="Freeform 19">
              <a:extLst>
                <a:ext uri="{FF2B5EF4-FFF2-40B4-BE49-F238E27FC236}">
                  <a16:creationId xmlns:a16="http://schemas.microsoft.com/office/drawing/2014/main" id="{D04A1922-DC3B-3DF3-CE76-AC19E155ABB3}"/>
                </a:ext>
              </a:extLst>
            </p:cNvPr>
            <p:cNvSpPr>
              <a:spLocks/>
            </p:cNvSpPr>
            <p:nvPr/>
          </p:nvSpPr>
          <p:spPr bwMode="auto">
            <a:xfrm>
              <a:off x="15419892" y="4747374"/>
              <a:ext cx="319210" cy="568248"/>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6" name="Freeform 20">
              <a:extLst>
                <a:ext uri="{FF2B5EF4-FFF2-40B4-BE49-F238E27FC236}">
                  <a16:creationId xmlns:a16="http://schemas.microsoft.com/office/drawing/2014/main" id="{272EF693-DB6D-0F38-5224-8B6E5863EA87}"/>
                </a:ext>
              </a:extLst>
            </p:cNvPr>
            <p:cNvSpPr>
              <a:spLocks/>
            </p:cNvSpPr>
            <p:nvPr/>
          </p:nvSpPr>
          <p:spPr bwMode="auto">
            <a:xfrm>
              <a:off x="15475753" y="4365305"/>
              <a:ext cx="306442" cy="514823"/>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7" name="Freeform 21">
              <a:extLst>
                <a:ext uri="{FF2B5EF4-FFF2-40B4-BE49-F238E27FC236}">
                  <a16:creationId xmlns:a16="http://schemas.microsoft.com/office/drawing/2014/main" id="{5BAEBDF3-76C6-C316-6884-9AC35EA6AFA0}"/>
                </a:ext>
              </a:extLst>
            </p:cNvPr>
            <p:cNvSpPr>
              <a:spLocks/>
            </p:cNvSpPr>
            <p:nvPr/>
          </p:nvSpPr>
          <p:spPr bwMode="auto">
            <a:xfrm>
              <a:off x="15619398" y="4362066"/>
              <a:ext cx="343151" cy="370737"/>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8" name="Freeform 22">
              <a:extLst>
                <a:ext uri="{FF2B5EF4-FFF2-40B4-BE49-F238E27FC236}">
                  <a16:creationId xmlns:a16="http://schemas.microsoft.com/office/drawing/2014/main" id="{EADF96EF-36CD-B650-BE72-73A78CBF2653}"/>
                </a:ext>
              </a:extLst>
            </p:cNvPr>
            <p:cNvSpPr>
              <a:spLocks/>
            </p:cNvSpPr>
            <p:nvPr/>
          </p:nvSpPr>
          <p:spPr bwMode="auto">
            <a:xfrm>
              <a:off x="15900304" y="4486724"/>
              <a:ext cx="135664" cy="233128"/>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49" name="Freeform 23">
              <a:extLst>
                <a:ext uri="{FF2B5EF4-FFF2-40B4-BE49-F238E27FC236}">
                  <a16:creationId xmlns:a16="http://schemas.microsoft.com/office/drawing/2014/main" id="{685EC0FB-87C5-B933-063B-E094885C5FC1}"/>
                </a:ext>
              </a:extLst>
            </p:cNvPr>
            <p:cNvSpPr>
              <a:spLocks/>
            </p:cNvSpPr>
            <p:nvPr/>
          </p:nvSpPr>
          <p:spPr bwMode="auto">
            <a:xfrm>
              <a:off x="15996066" y="4562815"/>
              <a:ext cx="102147" cy="137610"/>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0" name="Freeform 24">
              <a:extLst>
                <a:ext uri="{FF2B5EF4-FFF2-40B4-BE49-F238E27FC236}">
                  <a16:creationId xmlns:a16="http://schemas.microsoft.com/office/drawing/2014/main" id="{4852FD6F-7BB7-A59A-6E83-C9967D1BF178}"/>
                </a:ext>
              </a:extLst>
            </p:cNvPr>
            <p:cNvSpPr>
              <a:spLocks/>
            </p:cNvSpPr>
            <p:nvPr/>
          </p:nvSpPr>
          <p:spPr bwMode="auto">
            <a:xfrm>
              <a:off x="16085445" y="4575766"/>
              <a:ext cx="71822" cy="113326"/>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1" name="Freeform 25">
              <a:extLst>
                <a:ext uri="{FF2B5EF4-FFF2-40B4-BE49-F238E27FC236}">
                  <a16:creationId xmlns:a16="http://schemas.microsoft.com/office/drawing/2014/main" id="{D0F8E094-7456-DAF8-64B1-3B7164B06D5A}"/>
                </a:ext>
              </a:extLst>
            </p:cNvPr>
            <p:cNvSpPr>
              <a:spLocks/>
            </p:cNvSpPr>
            <p:nvPr/>
          </p:nvSpPr>
          <p:spPr bwMode="auto">
            <a:xfrm>
              <a:off x="15312957" y="4402540"/>
              <a:ext cx="82995" cy="100374"/>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2" name="Freeform 26">
              <a:extLst>
                <a:ext uri="{FF2B5EF4-FFF2-40B4-BE49-F238E27FC236}">
                  <a16:creationId xmlns:a16="http://schemas.microsoft.com/office/drawing/2014/main" id="{508855A3-DA54-4C75-ADBD-58D2004B801E}"/>
                </a:ext>
              </a:extLst>
            </p:cNvPr>
            <p:cNvSpPr>
              <a:spLocks/>
            </p:cNvSpPr>
            <p:nvPr/>
          </p:nvSpPr>
          <p:spPr bwMode="auto">
            <a:xfrm>
              <a:off x="15268267" y="4285976"/>
              <a:ext cx="111724" cy="139229"/>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3" name="Freeform 27">
              <a:extLst>
                <a:ext uri="{FF2B5EF4-FFF2-40B4-BE49-F238E27FC236}">
                  <a16:creationId xmlns:a16="http://schemas.microsoft.com/office/drawing/2014/main" id="{14BE3A6B-A129-7DCD-23A0-AD8A717D5292}"/>
                </a:ext>
              </a:extLst>
            </p:cNvPr>
            <p:cNvSpPr>
              <a:spLocks/>
            </p:cNvSpPr>
            <p:nvPr/>
          </p:nvSpPr>
          <p:spPr bwMode="auto">
            <a:xfrm>
              <a:off x="15225174" y="4255216"/>
              <a:ext cx="154817" cy="97136"/>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4" name="Freeform 28">
              <a:extLst>
                <a:ext uri="{FF2B5EF4-FFF2-40B4-BE49-F238E27FC236}">
                  <a16:creationId xmlns:a16="http://schemas.microsoft.com/office/drawing/2014/main" id="{1454AF70-7C02-D05E-2E8F-47EFB5A0FBD0}"/>
                </a:ext>
              </a:extLst>
            </p:cNvPr>
            <p:cNvSpPr>
              <a:spLocks/>
            </p:cNvSpPr>
            <p:nvPr/>
          </p:nvSpPr>
          <p:spPr bwMode="auto">
            <a:xfrm>
              <a:off x="15210809" y="4308641"/>
              <a:ext cx="60650" cy="37235"/>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5" name="Freeform 29">
              <a:extLst>
                <a:ext uri="{FF2B5EF4-FFF2-40B4-BE49-F238E27FC236}">
                  <a16:creationId xmlns:a16="http://schemas.microsoft.com/office/drawing/2014/main" id="{34E003EB-CEB6-BDE7-F159-FA7193656089}"/>
                </a:ext>
              </a:extLst>
            </p:cNvPr>
            <p:cNvSpPr>
              <a:spLocks/>
            </p:cNvSpPr>
            <p:nvPr/>
          </p:nvSpPr>
          <p:spPr bwMode="auto">
            <a:xfrm>
              <a:off x="15159736" y="4201791"/>
              <a:ext cx="94167" cy="126277"/>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6" name="Freeform 30">
              <a:extLst>
                <a:ext uri="{FF2B5EF4-FFF2-40B4-BE49-F238E27FC236}">
                  <a16:creationId xmlns:a16="http://schemas.microsoft.com/office/drawing/2014/main" id="{0F35335F-1DBD-6BB7-B3C6-1602E4CAFDDE}"/>
                </a:ext>
              </a:extLst>
            </p:cNvPr>
            <p:cNvSpPr>
              <a:spLocks/>
            </p:cNvSpPr>
            <p:nvPr/>
          </p:nvSpPr>
          <p:spPr bwMode="auto">
            <a:xfrm>
              <a:off x="15429469" y="4706900"/>
              <a:ext cx="145240" cy="200748"/>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7" name="Freeform 31">
              <a:extLst>
                <a:ext uri="{FF2B5EF4-FFF2-40B4-BE49-F238E27FC236}">
                  <a16:creationId xmlns:a16="http://schemas.microsoft.com/office/drawing/2014/main" id="{7A22D1A6-AE03-B1C0-E7B3-56E361266089}"/>
                </a:ext>
              </a:extLst>
            </p:cNvPr>
            <p:cNvSpPr>
              <a:spLocks/>
            </p:cNvSpPr>
            <p:nvPr/>
          </p:nvSpPr>
          <p:spPr bwMode="auto">
            <a:xfrm>
              <a:off x="15175697" y="4742517"/>
              <a:ext cx="19152" cy="4371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8" name="Freeform 32">
              <a:extLst>
                <a:ext uri="{FF2B5EF4-FFF2-40B4-BE49-F238E27FC236}">
                  <a16:creationId xmlns:a16="http://schemas.microsoft.com/office/drawing/2014/main" id="{A59E3753-7312-099E-0981-6CFC28752924}"/>
                </a:ext>
              </a:extLst>
            </p:cNvPr>
            <p:cNvSpPr>
              <a:spLocks/>
            </p:cNvSpPr>
            <p:nvPr/>
          </p:nvSpPr>
          <p:spPr bwMode="auto">
            <a:xfrm>
              <a:off x="15198042" y="4760326"/>
              <a:ext cx="12769" cy="16190"/>
            </a:xfrm>
            <a:custGeom>
              <a:avLst/>
              <a:gdLst/>
              <a:ahLst/>
              <a:cxnLst>
                <a:cxn ang="0">
                  <a:pos x="2" y="5"/>
                </a:cxn>
                <a:cxn ang="0">
                  <a:pos x="3" y="2"/>
                </a:cxn>
                <a:cxn ang="0">
                  <a:pos x="2" y="5"/>
                </a:cxn>
              </a:cxnLst>
              <a:rect l="0" t="0" r="r" b="b"/>
              <a:pathLst>
                <a:path w="4" h="5">
                  <a:moveTo>
                    <a:pt x="2" y="5"/>
                  </a:moveTo>
                  <a:cubicBezTo>
                    <a:pt x="0" y="3"/>
                    <a:pt x="2" y="0"/>
                    <a:pt x="3" y="2"/>
                  </a:cubicBezTo>
                  <a:cubicBezTo>
                    <a:pt x="4" y="2"/>
                    <a:pt x="3" y="5"/>
                    <a:pt x="2"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59" name="Freeform 33">
              <a:extLst>
                <a:ext uri="{FF2B5EF4-FFF2-40B4-BE49-F238E27FC236}">
                  <a16:creationId xmlns:a16="http://schemas.microsoft.com/office/drawing/2014/main" id="{A2A17F25-CE2F-A92C-467C-C816894976D3}"/>
                </a:ext>
              </a:extLst>
            </p:cNvPr>
            <p:cNvSpPr>
              <a:spLocks/>
            </p:cNvSpPr>
            <p:nvPr/>
          </p:nvSpPr>
          <p:spPr bwMode="auto">
            <a:xfrm>
              <a:off x="15218790" y="4770039"/>
              <a:ext cx="9577" cy="9713"/>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0" name="Freeform 34">
              <a:extLst>
                <a:ext uri="{FF2B5EF4-FFF2-40B4-BE49-F238E27FC236}">
                  <a16:creationId xmlns:a16="http://schemas.microsoft.com/office/drawing/2014/main" id="{CF93F450-8CE3-50EA-6640-13C217FCAB7B}"/>
                </a:ext>
              </a:extLst>
            </p:cNvPr>
            <p:cNvSpPr>
              <a:spLocks/>
            </p:cNvSpPr>
            <p:nvPr/>
          </p:nvSpPr>
          <p:spPr bwMode="auto">
            <a:xfrm>
              <a:off x="15194849" y="4750612"/>
              <a:ext cx="9577" cy="16190"/>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1" name="Freeform 35">
              <a:extLst>
                <a:ext uri="{FF2B5EF4-FFF2-40B4-BE49-F238E27FC236}">
                  <a16:creationId xmlns:a16="http://schemas.microsoft.com/office/drawing/2014/main" id="{D4D87859-0AD7-1EE0-5CED-C58C95A2B49E}"/>
                </a:ext>
              </a:extLst>
            </p:cNvPr>
            <p:cNvSpPr>
              <a:spLocks/>
            </p:cNvSpPr>
            <p:nvPr/>
          </p:nvSpPr>
          <p:spPr bwMode="auto">
            <a:xfrm>
              <a:off x="15169313" y="4757087"/>
              <a:ext cx="15960" cy="9713"/>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2" name="Freeform 36">
              <a:extLst>
                <a:ext uri="{FF2B5EF4-FFF2-40B4-BE49-F238E27FC236}">
                  <a16:creationId xmlns:a16="http://schemas.microsoft.com/office/drawing/2014/main" id="{ABBD47CF-C3DF-5821-D9A5-7AC078B04067}"/>
                </a:ext>
              </a:extLst>
            </p:cNvPr>
            <p:cNvSpPr>
              <a:spLocks/>
            </p:cNvSpPr>
            <p:nvPr/>
          </p:nvSpPr>
          <p:spPr bwMode="auto">
            <a:xfrm>
              <a:off x="15198042" y="4786229"/>
              <a:ext cx="9577" cy="9713"/>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3" name="Freeform 37">
              <a:extLst>
                <a:ext uri="{FF2B5EF4-FFF2-40B4-BE49-F238E27FC236}">
                  <a16:creationId xmlns:a16="http://schemas.microsoft.com/office/drawing/2014/main" id="{487622F1-7620-DCFE-854B-F6AC05945B18}"/>
                </a:ext>
              </a:extLst>
            </p:cNvPr>
            <p:cNvSpPr>
              <a:spLocks/>
            </p:cNvSpPr>
            <p:nvPr/>
          </p:nvSpPr>
          <p:spPr bwMode="auto">
            <a:xfrm>
              <a:off x="15198042" y="4739279"/>
              <a:ext cx="6384" cy="3238"/>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4" name="Freeform 38">
              <a:extLst>
                <a:ext uri="{FF2B5EF4-FFF2-40B4-BE49-F238E27FC236}">
                  <a16:creationId xmlns:a16="http://schemas.microsoft.com/office/drawing/2014/main" id="{F0804D04-8A43-2E5E-E623-B0B8A92B3C6F}"/>
                </a:ext>
              </a:extLst>
            </p:cNvPr>
            <p:cNvSpPr>
              <a:spLocks/>
            </p:cNvSpPr>
            <p:nvPr/>
          </p:nvSpPr>
          <p:spPr bwMode="auto">
            <a:xfrm>
              <a:off x="15501291" y="4175888"/>
              <a:ext cx="55861" cy="2914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5" name="Freeform 39">
              <a:extLst>
                <a:ext uri="{FF2B5EF4-FFF2-40B4-BE49-F238E27FC236}">
                  <a16:creationId xmlns:a16="http://schemas.microsoft.com/office/drawing/2014/main" id="{82A585EA-0408-810E-59B8-22F4D904B651}"/>
                </a:ext>
              </a:extLst>
            </p:cNvPr>
            <p:cNvSpPr>
              <a:spLocks/>
            </p:cNvSpPr>
            <p:nvPr/>
          </p:nvSpPr>
          <p:spPr bwMode="auto">
            <a:xfrm>
              <a:off x="15593862" y="4132177"/>
              <a:ext cx="75015" cy="69614"/>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6" name="Freeform 40">
              <a:extLst>
                <a:ext uri="{FF2B5EF4-FFF2-40B4-BE49-F238E27FC236}">
                  <a16:creationId xmlns:a16="http://schemas.microsoft.com/office/drawing/2014/main" id="{8E421D22-547C-2821-DB9B-B821548C8148}"/>
                </a:ext>
              </a:extLst>
            </p:cNvPr>
            <p:cNvSpPr>
              <a:spLocks/>
            </p:cNvSpPr>
            <p:nvPr/>
          </p:nvSpPr>
          <p:spPr bwMode="auto">
            <a:xfrm>
              <a:off x="15656107" y="4125701"/>
              <a:ext cx="92570" cy="85804"/>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7" name="Freeform 153">
              <a:extLst>
                <a:ext uri="{FF2B5EF4-FFF2-40B4-BE49-F238E27FC236}">
                  <a16:creationId xmlns:a16="http://schemas.microsoft.com/office/drawing/2014/main" id="{525D13C7-C08A-B961-161D-AB5E3FCCB29A}"/>
                </a:ext>
              </a:extLst>
            </p:cNvPr>
            <p:cNvSpPr>
              <a:spLocks/>
            </p:cNvSpPr>
            <p:nvPr/>
          </p:nvSpPr>
          <p:spPr bwMode="auto">
            <a:xfrm>
              <a:off x="16802071" y="4221219"/>
              <a:ext cx="11172" cy="1457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8" name="Freeform 154">
              <a:extLst>
                <a:ext uri="{FF2B5EF4-FFF2-40B4-BE49-F238E27FC236}">
                  <a16:creationId xmlns:a16="http://schemas.microsoft.com/office/drawing/2014/main" id="{63263C08-CBF4-871D-A758-DBDB3BBDA94A}"/>
                </a:ext>
              </a:extLst>
            </p:cNvPr>
            <p:cNvSpPr>
              <a:spLocks/>
            </p:cNvSpPr>
            <p:nvPr/>
          </p:nvSpPr>
          <p:spPr bwMode="auto">
            <a:xfrm>
              <a:off x="16822820" y="4235789"/>
              <a:ext cx="12769" cy="9713"/>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69" name="Freeform 155">
              <a:extLst>
                <a:ext uri="{FF2B5EF4-FFF2-40B4-BE49-F238E27FC236}">
                  <a16:creationId xmlns:a16="http://schemas.microsoft.com/office/drawing/2014/main" id="{E794400D-8B1A-18DE-2DB8-CD6007F87B36}"/>
                </a:ext>
              </a:extLst>
            </p:cNvPr>
            <p:cNvSpPr>
              <a:spLocks/>
            </p:cNvSpPr>
            <p:nvPr/>
          </p:nvSpPr>
          <p:spPr bwMode="auto">
            <a:xfrm>
              <a:off x="16819627" y="4285976"/>
              <a:ext cx="9577" cy="12952"/>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0" name="Freeform 157">
              <a:extLst>
                <a:ext uri="{FF2B5EF4-FFF2-40B4-BE49-F238E27FC236}">
                  <a16:creationId xmlns:a16="http://schemas.microsoft.com/office/drawing/2014/main" id="{4E41D5B8-6CC2-F827-B2CA-459782AAEFF4}"/>
                </a:ext>
              </a:extLst>
            </p:cNvPr>
            <p:cNvSpPr>
              <a:spLocks/>
            </p:cNvSpPr>
            <p:nvPr/>
          </p:nvSpPr>
          <p:spPr bwMode="auto">
            <a:xfrm>
              <a:off x="15956165" y="6437547"/>
              <a:ext cx="52670" cy="46949"/>
            </a:xfrm>
            <a:custGeom>
              <a:avLst/>
              <a:gdLst/>
              <a:ahLst/>
              <a:cxnLst>
                <a:cxn ang="0">
                  <a:pos x="2" y="14"/>
                </a:cxn>
                <a:cxn ang="0">
                  <a:pos x="0" y="10"/>
                </a:cxn>
                <a:cxn ang="0">
                  <a:pos x="2" y="7"/>
                </a:cxn>
                <a:cxn ang="0">
                  <a:pos x="5" y="6"/>
                </a:cxn>
                <a:cxn ang="0">
                  <a:pos x="5" y="4"/>
                </a:cxn>
                <a:cxn ang="0">
                  <a:pos x="5" y="3"/>
                </a:cxn>
                <a:cxn ang="0">
                  <a:pos x="6" y="1"/>
                </a:cxn>
                <a:cxn ang="0">
                  <a:pos x="10" y="1"/>
                </a:cxn>
                <a:cxn ang="0">
                  <a:pos x="11" y="3"/>
                </a:cxn>
                <a:cxn ang="0">
                  <a:pos x="11" y="4"/>
                </a:cxn>
                <a:cxn ang="0">
                  <a:pos x="13" y="3"/>
                </a:cxn>
                <a:cxn ang="0">
                  <a:pos x="16" y="3"/>
                </a:cxn>
                <a:cxn ang="0">
                  <a:pos x="16" y="4"/>
                </a:cxn>
                <a:cxn ang="0">
                  <a:pos x="14" y="6"/>
                </a:cxn>
                <a:cxn ang="0">
                  <a:pos x="11" y="7"/>
                </a:cxn>
                <a:cxn ang="0">
                  <a:pos x="8" y="9"/>
                </a:cxn>
                <a:cxn ang="0">
                  <a:pos x="8" y="10"/>
                </a:cxn>
                <a:cxn ang="0">
                  <a:pos x="6" y="10"/>
                </a:cxn>
                <a:cxn ang="0">
                  <a:pos x="5" y="12"/>
                </a:cxn>
                <a:cxn ang="0">
                  <a:pos x="2" y="14"/>
                </a:cxn>
              </a:cxnLst>
              <a:rect l="0" t="0" r="r" b="b"/>
              <a:pathLst>
                <a:path w="17" h="15">
                  <a:moveTo>
                    <a:pt x="2" y="14"/>
                  </a:moveTo>
                  <a:cubicBezTo>
                    <a:pt x="0" y="12"/>
                    <a:pt x="0" y="10"/>
                    <a:pt x="0" y="10"/>
                  </a:cubicBezTo>
                  <a:cubicBezTo>
                    <a:pt x="2" y="10"/>
                    <a:pt x="0" y="9"/>
                    <a:pt x="2" y="7"/>
                  </a:cubicBezTo>
                  <a:cubicBezTo>
                    <a:pt x="5" y="6"/>
                    <a:pt x="3" y="6"/>
                    <a:pt x="5" y="6"/>
                  </a:cubicBezTo>
                  <a:cubicBezTo>
                    <a:pt x="6" y="6"/>
                    <a:pt x="6" y="6"/>
                    <a:pt x="5" y="4"/>
                  </a:cubicBezTo>
                  <a:cubicBezTo>
                    <a:pt x="5" y="4"/>
                    <a:pt x="6" y="4"/>
                    <a:pt x="5" y="3"/>
                  </a:cubicBezTo>
                  <a:cubicBezTo>
                    <a:pt x="5" y="3"/>
                    <a:pt x="8" y="3"/>
                    <a:pt x="6" y="1"/>
                  </a:cubicBezTo>
                  <a:cubicBezTo>
                    <a:pt x="6" y="0"/>
                    <a:pt x="8" y="1"/>
                    <a:pt x="10" y="1"/>
                  </a:cubicBezTo>
                  <a:cubicBezTo>
                    <a:pt x="11" y="1"/>
                    <a:pt x="11" y="3"/>
                    <a:pt x="11" y="3"/>
                  </a:cubicBezTo>
                  <a:cubicBezTo>
                    <a:pt x="10" y="3"/>
                    <a:pt x="11" y="3"/>
                    <a:pt x="11" y="4"/>
                  </a:cubicBezTo>
                  <a:cubicBezTo>
                    <a:pt x="13" y="6"/>
                    <a:pt x="11" y="3"/>
                    <a:pt x="13" y="3"/>
                  </a:cubicBezTo>
                  <a:cubicBezTo>
                    <a:pt x="14" y="1"/>
                    <a:pt x="14" y="1"/>
                    <a:pt x="16" y="3"/>
                  </a:cubicBezTo>
                  <a:cubicBezTo>
                    <a:pt x="16" y="4"/>
                    <a:pt x="14" y="4"/>
                    <a:pt x="16" y="4"/>
                  </a:cubicBezTo>
                  <a:cubicBezTo>
                    <a:pt x="17" y="6"/>
                    <a:pt x="16" y="6"/>
                    <a:pt x="14" y="6"/>
                  </a:cubicBezTo>
                  <a:cubicBezTo>
                    <a:pt x="11" y="7"/>
                    <a:pt x="14" y="9"/>
                    <a:pt x="11" y="7"/>
                  </a:cubicBezTo>
                  <a:cubicBezTo>
                    <a:pt x="6" y="7"/>
                    <a:pt x="5" y="7"/>
                    <a:pt x="8" y="9"/>
                  </a:cubicBezTo>
                  <a:cubicBezTo>
                    <a:pt x="10" y="9"/>
                    <a:pt x="10" y="12"/>
                    <a:pt x="8" y="10"/>
                  </a:cubicBezTo>
                  <a:cubicBezTo>
                    <a:pt x="6" y="9"/>
                    <a:pt x="8" y="12"/>
                    <a:pt x="6" y="10"/>
                  </a:cubicBezTo>
                  <a:cubicBezTo>
                    <a:pt x="3" y="9"/>
                    <a:pt x="6" y="14"/>
                    <a:pt x="5" y="12"/>
                  </a:cubicBezTo>
                  <a:cubicBezTo>
                    <a:pt x="0" y="10"/>
                    <a:pt x="5" y="15"/>
                    <a:pt x="2" y="1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1" name="Freeform 158">
              <a:extLst>
                <a:ext uri="{FF2B5EF4-FFF2-40B4-BE49-F238E27FC236}">
                  <a16:creationId xmlns:a16="http://schemas.microsoft.com/office/drawing/2014/main" id="{E4F7EE18-389C-AA03-56AB-CB8DFD6A0B97}"/>
                </a:ext>
              </a:extLst>
            </p:cNvPr>
            <p:cNvSpPr>
              <a:spLocks/>
            </p:cNvSpPr>
            <p:nvPr/>
          </p:nvSpPr>
          <p:spPr bwMode="auto">
            <a:xfrm>
              <a:off x="15925840" y="6440785"/>
              <a:ext cx="46286" cy="33997"/>
            </a:xfrm>
            <a:custGeom>
              <a:avLst/>
              <a:gdLst/>
              <a:ahLst/>
              <a:cxnLst>
                <a:cxn ang="0">
                  <a:pos x="3" y="11"/>
                </a:cxn>
                <a:cxn ang="0">
                  <a:pos x="1" y="10"/>
                </a:cxn>
                <a:cxn ang="0">
                  <a:pos x="1" y="8"/>
                </a:cxn>
                <a:cxn ang="0">
                  <a:pos x="4" y="8"/>
                </a:cxn>
                <a:cxn ang="0">
                  <a:pos x="6" y="6"/>
                </a:cxn>
                <a:cxn ang="0">
                  <a:pos x="4" y="5"/>
                </a:cxn>
                <a:cxn ang="0">
                  <a:pos x="4" y="5"/>
                </a:cxn>
                <a:cxn ang="0">
                  <a:pos x="4" y="3"/>
                </a:cxn>
                <a:cxn ang="0">
                  <a:pos x="4" y="2"/>
                </a:cxn>
                <a:cxn ang="0">
                  <a:pos x="9" y="2"/>
                </a:cxn>
                <a:cxn ang="0">
                  <a:pos x="10" y="2"/>
                </a:cxn>
                <a:cxn ang="0">
                  <a:pos x="13" y="0"/>
                </a:cxn>
                <a:cxn ang="0">
                  <a:pos x="13" y="3"/>
                </a:cxn>
                <a:cxn ang="0">
                  <a:pos x="10" y="6"/>
                </a:cxn>
                <a:cxn ang="0">
                  <a:pos x="7" y="8"/>
                </a:cxn>
                <a:cxn ang="0">
                  <a:pos x="6" y="10"/>
                </a:cxn>
                <a:cxn ang="0">
                  <a:pos x="4" y="11"/>
                </a:cxn>
                <a:cxn ang="0">
                  <a:pos x="3" y="11"/>
                </a:cxn>
              </a:cxnLst>
              <a:rect l="0" t="0" r="r" b="b"/>
              <a:pathLst>
                <a:path w="15" h="11">
                  <a:moveTo>
                    <a:pt x="3" y="11"/>
                  </a:moveTo>
                  <a:cubicBezTo>
                    <a:pt x="1" y="10"/>
                    <a:pt x="3" y="11"/>
                    <a:pt x="1" y="10"/>
                  </a:cubicBezTo>
                  <a:cubicBezTo>
                    <a:pt x="0" y="8"/>
                    <a:pt x="1" y="10"/>
                    <a:pt x="1" y="8"/>
                  </a:cubicBezTo>
                  <a:cubicBezTo>
                    <a:pt x="1" y="8"/>
                    <a:pt x="3" y="10"/>
                    <a:pt x="4" y="8"/>
                  </a:cubicBezTo>
                  <a:cubicBezTo>
                    <a:pt x="4" y="6"/>
                    <a:pt x="6" y="6"/>
                    <a:pt x="6" y="6"/>
                  </a:cubicBezTo>
                  <a:cubicBezTo>
                    <a:pt x="7" y="5"/>
                    <a:pt x="6" y="5"/>
                    <a:pt x="4" y="5"/>
                  </a:cubicBezTo>
                  <a:cubicBezTo>
                    <a:pt x="3" y="6"/>
                    <a:pt x="3" y="5"/>
                    <a:pt x="4" y="5"/>
                  </a:cubicBezTo>
                  <a:cubicBezTo>
                    <a:pt x="6" y="5"/>
                    <a:pt x="6" y="3"/>
                    <a:pt x="4" y="3"/>
                  </a:cubicBezTo>
                  <a:cubicBezTo>
                    <a:pt x="3" y="2"/>
                    <a:pt x="1" y="0"/>
                    <a:pt x="4" y="2"/>
                  </a:cubicBezTo>
                  <a:cubicBezTo>
                    <a:pt x="9" y="3"/>
                    <a:pt x="7" y="2"/>
                    <a:pt x="9" y="2"/>
                  </a:cubicBezTo>
                  <a:cubicBezTo>
                    <a:pt x="9" y="0"/>
                    <a:pt x="9" y="2"/>
                    <a:pt x="10" y="2"/>
                  </a:cubicBezTo>
                  <a:cubicBezTo>
                    <a:pt x="12" y="2"/>
                    <a:pt x="12" y="0"/>
                    <a:pt x="13" y="0"/>
                  </a:cubicBezTo>
                  <a:cubicBezTo>
                    <a:pt x="15" y="2"/>
                    <a:pt x="15" y="2"/>
                    <a:pt x="13" y="3"/>
                  </a:cubicBezTo>
                  <a:cubicBezTo>
                    <a:pt x="12" y="5"/>
                    <a:pt x="12" y="3"/>
                    <a:pt x="10" y="6"/>
                  </a:cubicBezTo>
                  <a:cubicBezTo>
                    <a:pt x="9" y="8"/>
                    <a:pt x="9" y="8"/>
                    <a:pt x="7" y="8"/>
                  </a:cubicBezTo>
                  <a:cubicBezTo>
                    <a:pt x="6" y="8"/>
                    <a:pt x="6" y="10"/>
                    <a:pt x="6" y="10"/>
                  </a:cubicBezTo>
                  <a:cubicBezTo>
                    <a:pt x="4" y="11"/>
                    <a:pt x="4" y="10"/>
                    <a:pt x="4" y="11"/>
                  </a:cubicBezTo>
                  <a:cubicBezTo>
                    <a:pt x="4" y="11"/>
                    <a:pt x="4" y="11"/>
                    <a:pt x="3" y="1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2" name="Freeform 232">
              <a:extLst>
                <a:ext uri="{FF2B5EF4-FFF2-40B4-BE49-F238E27FC236}">
                  <a16:creationId xmlns:a16="http://schemas.microsoft.com/office/drawing/2014/main" id="{43AAD84B-90D3-8D35-0DDD-93F0C6A2D952}"/>
                </a:ext>
              </a:extLst>
            </p:cNvPr>
            <p:cNvSpPr>
              <a:spLocks noEditPoints="1"/>
            </p:cNvSpPr>
            <p:nvPr/>
          </p:nvSpPr>
          <p:spPr bwMode="auto">
            <a:xfrm>
              <a:off x="15560345" y="5288101"/>
              <a:ext cx="218658" cy="1330769"/>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3" name="Freeform 233">
              <a:extLst>
                <a:ext uri="{FF2B5EF4-FFF2-40B4-BE49-F238E27FC236}">
                  <a16:creationId xmlns:a16="http://schemas.microsoft.com/office/drawing/2014/main" id="{E4576D4F-DA88-8226-3CFB-7EAF6EA4C61A}"/>
                </a:ext>
              </a:extLst>
            </p:cNvPr>
            <p:cNvSpPr>
              <a:spLocks noEditPoints="1"/>
            </p:cNvSpPr>
            <p:nvPr/>
          </p:nvSpPr>
          <p:spPr bwMode="auto">
            <a:xfrm>
              <a:off x="15613014" y="5425710"/>
              <a:ext cx="494775" cy="1172113"/>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4" name="Freeform 234">
              <a:extLst>
                <a:ext uri="{FF2B5EF4-FFF2-40B4-BE49-F238E27FC236}">
                  <a16:creationId xmlns:a16="http://schemas.microsoft.com/office/drawing/2014/main" id="{7CA8D63B-9C18-00B5-A1ED-453A20E58F83}"/>
                </a:ext>
              </a:extLst>
            </p:cNvPr>
            <p:cNvSpPr>
              <a:spLocks/>
            </p:cNvSpPr>
            <p:nvPr/>
          </p:nvSpPr>
          <p:spPr bwMode="auto">
            <a:xfrm>
              <a:off x="16061504" y="6821236"/>
              <a:ext cx="27132" cy="21047"/>
            </a:xfrm>
            <a:custGeom>
              <a:avLst/>
              <a:gdLst/>
              <a:ahLst/>
              <a:cxnLst>
                <a:cxn ang="0">
                  <a:pos x="1" y="4"/>
                </a:cxn>
                <a:cxn ang="0">
                  <a:pos x="6" y="2"/>
                </a:cxn>
                <a:cxn ang="0">
                  <a:pos x="1" y="4"/>
                </a:cxn>
              </a:cxnLst>
              <a:rect l="0" t="0" r="r" b="b"/>
              <a:pathLst>
                <a:path w="9" h="7">
                  <a:moveTo>
                    <a:pt x="1" y="4"/>
                  </a:moveTo>
                  <a:cubicBezTo>
                    <a:pt x="0" y="2"/>
                    <a:pt x="3" y="0"/>
                    <a:pt x="6" y="2"/>
                  </a:cubicBezTo>
                  <a:cubicBezTo>
                    <a:pt x="9" y="4"/>
                    <a:pt x="3" y="7"/>
                    <a:pt x="1"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5" name="Freeform 239">
              <a:extLst>
                <a:ext uri="{FF2B5EF4-FFF2-40B4-BE49-F238E27FC236}">
                  <a16:creationId xmlns:a16="http://schemas.microsoft.com/office/drawing/2014/main" id="{04CC2E0A-CA53-6BB5-1044-1AA8694AEF46}"/>
                </a:ext>
              </a:extLst>
            </p:cNvPr>
            <p:cNvSpPr>
              <a:spLocks noEditPoints="1"/>
            </p:cNvSpPr>
            <p:nvPr/>
          </p:nvSpPr>
          <p:spPr bwMode="auto">
            <a:xfrm>
              <a:off x="15482138" y="3907144"/>
              <a:ext cx="154817" cy="197511"/>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6" name="Freeform 240">
              <a:extLst>
                <a:ext uri="{FF2B5EF4-FFF2-40B4-BE49-F238E27FC236}">
                  <a16:creationId xmlns:a16="http://schemas.microsoft.com/office/drawing/2014/main" id="{C288BC79-928F-F89F-8AAA-C2983DA2860A}"/>
                </a:ext>
              </a:extLst>
            </p:cNvPr>
            <p:cNvSpPr>
              <a:spLocks noEditPoints="1"/>
            </p:cNvSpPr>
            <p:nvPr/>
          </p:nvSpPr>
          <p:spPr bwMode="auto">
            <a:xfrm>
              <a:off x="15340090" y="4025326"/>
              <a:ext cx="266541" cy="11656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7" name="Freeform 241">
              <a:extLst>
                <a:ext uri="{FF2B5EF4-FFF2-40B4-BE49-F238E27FC236}">
                  <a16:creationId xmlns:a16="http://schemas.microsoft.com/office/drawing/2014/main" id="{EF47ABF6-5FE9-C6D5-DF07-1783CDF4F20A}"/>
                </a:ext>
              </a:extLst>
            </p:cNvPr>
            <p:cNvSpPr>
              <a:spLocks/>
            </p:cNvSpPr>
            <p:nvPr/>
          </p:nvSpPr>
          <p:spPr bwMode="auto">
            <a:xfrm>
              <a:off x="15622591" y="4161317"/>
              <a:ext cx="14364" cy="9713"/>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8" name="Freeform 242">
              <a:extLst>
                <a:ext uri="{FF2B5EF4-FFF2-40B4-BE49-F238E27FC236}">
                  <a16:creationId xmlns:a16="http://schemas.microsoft.com/office/drawing/2014/main" id="{626ECD47-4F5D-4180-51AC-2C6D3897E799}"/>
                </a:ext>
              </a:extLst>
            </p:cNvPr>
            <p:cNvSpPr>
              <a:spLocks/>
            </p:cNvSpPr>
            <p:nvPr/>
          </p:nvSpPr>
          <p:spPr bwMode="auto">
            <a:xfrm>
              <a:off x="15721546" y="4365305"/>
              <a:ext cx="17557" cy="17808"/>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79" name="Freeform 243">
              <a:extLst>
                <a:ext uri="{FF2B5EF4-FFF2-40B4-BE49-F238E27FC236}">
                  <a16:creationId xmlns:a16="http://schemas.microsoft.com/office/drawing/2014/main" id="{89ED1920-9208-C994-E8ED-12697A39D4BC}"/>
                </a:ext>
              </a:extLst>
            </p:cNvPr>
            <p:cNvSpPr>
              <a:spLocks/>
            </p:cNvSpPr>
            <p:nvPr/>
          </p:nvSpPr>
          <p:spPr bwMode="auto">
            <a:xfrm>
              <a:off x="15739102" y="4371780"/>
              <a:ext cx="9577" cy="11332"/>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0" name="Freeform 244">
              <a:extLst>
                <a:ext uri="{FF2B5EF4-FFF2-40B4-BE49-F238E27FC236}">
                  <a16:creationId xmlns:a16="http://schemas.microsoft.com/office/drawing/2014/main" id="{B8EA42F8-0FB8-EE8E-AE86-ADB854D8C85E}"/>
                </a:ext>
              </a:extLst>
            </p:cNvPr>
            <p:cNvSpPr>
              <a:spLocks/>
            </p:cNvSpPr>
            <p:nvPr/>
          </p:nvSpPr>
          <p:spPr bwMode="auto">
            <a:xfrm>
              <a:off x="15844442" y="4405777"/>
              <a:ext cx="19152" cy="9713"/>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1" name="Freeform 245">
              <a:extLst>
                <a:ext uri="{FF2B5EF4-FFF2-40B4-BE49-F238E27FC236}">
                  <a16:creationId xmlns:a16="http://schemas.microsoft.com/office/drawing/2014/main" id="{3A380316-BCDA-DA57-645B-39D70C660B3F}"/>
                </a:ext>
              </a:extLst>
            </p:cNvPr>
            <p:cNvSpPr>
              <a:spLocks/>
            </p:cNvSpPr>
            <p:nvPr/>
          </p:nvSpPr>
          <p:spPr bwMode="auto">
            <a:xfrm>
              <a:off x="15925841" y="4475392"/>
              <a:ext cx="3192" cy="3238"/>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2" name="Freeform 246">
              <a:extLst>
                <a:ext uri="{FF2B5EF4-FFF2-40B4-BE49-F238E27FC236}">
                  <a16:creationId xmlns:a16="http://schemas.microsoft.com/office/drawing/2014/main" id="{E2BDCC83-601D-D887-C9EE-609315E65738}"/>
                </a:ext>
              </a:extLst>
            </p:cNvPr>
            <p:cNvSpPr>
              <a:spLocks/>
            </p:cNvSpPr>
            <p:nvPr/>
          </p:nvSpPr>
          <p:spPr bwMode="auto">
            <a:xfrm>
              <a:off x="15919456" y="4478630"/>
              <a:ext cx="9577" cy="4857"/>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3" name="Freeform 247">
              <a:extLst>
                <a:ext uri="{FF2B5EF4-FFF2-40B4-BE49-F238E27FC236}">
                  <a16:creationId xmlns:a16="http://schemas.microsoft.com/office/drawing/2014/main" id="{6C7859FD-59CA-A92A-A868-4D6FECD3B0F3}"/>
                </a:ext>
              </a:extLst>
            </p:cNvPr>
            <p:cNvSpPr>
              <a:spLocks/>
            </p:cNvSpPr>
            <p:nvPr/>
          </p:nvSpPr>
          <p:spPr bwMode="auto">
            <a:xfrm>
              <a:off x="15929033" y="4483487"/>
              <a:ext cx="4788" cy="3238"/>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4" name="Freeform 248">
              <a:extLst>
                <a:ext uri="{FF2B5EF4-FFF2-40B4-BE49-F238E27FC236}">
                  <a16:creationId xmlns:a16="http://schemas.microsoft.com/office/drawing/2014/main" id="{FD739ECC-6F31-5785-5552-4E2D82BD6626}"/>
                </a:ext>
              </a:extLst>
            </p:cNvPr>
            <p:cNvSpPr>
              <a:spLocks/>
            </p:cNvSpPr>
            <p:nvPr/>
          </p:nvSpPr>
          <p:spPr bwMode="auto">
            <a:xfrm>
              <a:off x="15925841" y="4475392"/>
              <a:ext cx="3192" cy="3238"/>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5" name="Freeform 249">
              <a:extLst>
                <a:ext uri="{FF2B5EF4-FFF2-40B4-BE49-F238E27FC236}">
                  <a16:creationId xmlns:a16="http://schemas.microsoft.com/office/drawing/2014/main" id="{335871A5-8896-58DB-D157-049E105A4D9C}"/>
                </a:ext>
              </a:extLst>
            </p:cNvPr>
            <p:cNvSpPr>
              <a:spLocks/>
            </p:cNvSpPr>
            <p:nvPr/>
          </p:nvSpPr>
          <p:spPr bwMode="auto">
            <a:xfrm>
              <a:off x="15929033" y="4396064"/>
              <a:ext cx="7980" cy="16190"/>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6" name="Freeform 250">
              <a:extLst>
                <a:ext uri="{FF2B5EF4-FFF2-40B4-BE49-F238E27FC236}">
                  <a16:creationId xmlns:a16="http://schemas.microsoft.com/office/drawing/2014/main" id="{0EB9F871-2985-79C0-7AD9-A297836E4925}"/>
                </a:ext>
              </a:extLst>
            </p:cNvPr>
            <p:cNvSpPr>
              <a:spLocks/>
            </p:cNvSpPr>
            <p:nvPr/>
          </p:nvSpPr>
          <p:spPr bwMode="auto">
            <a:xfrm>
              <a:off x="15900304" y="4415492"/>
              <a:ext cx="33517" cy="24284"/>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7" name="Freeform 251">
              <a:extLst>
                <a:ext uri="{FF2B5EF4-FFF2-40B4-BE49-F238E27FC236}">
                  <a16:creationId xmlns:a16="http://schemas.microsoft.com/office/drawing/2014/main" id="{75EEC1C2-653E-B142-6A5B-F183136ACE22}"/>
                </a:ext>
              </a:extLst>
            </p:cNvPr>
            <p:cNvSpPr>
              <a:spLocks/>
            </p:cNvSpPr>
            <p:nvPr/>
          </p:nvSpPr>
          <p:spPr bwMode="auto">
            <a:xfrm>
              <a:off x="15903496" y="4371780"/>
              <a:ext cx="12769" cy="8095"/>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8" name="Freeform 252">
              <a:extLst>
                <a:ext uri="{FF2B5EF4-FFF2-40B4-BE49-F238E27FC236}">
                  <a16:creationId xmlns:a16="http://schemas.microsoft.com/office/drawing/2014/main" id="{8C66D6DC-B3BB-5792-6CD6-2D363BC009BF}"/>
                </a:ext>
              </a:extLst>
            </p:cNvPr>
            <p:cNvSpPr>
              <a:spLocks/>
            </p:cNvSpPr>
            <p:nvPr/>
          </p:nvSpPr>
          <p:spPr bwMode="auto">
            <a:xfrm>
              <a:off x="15919456" y="4336163"/>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89" name="Freeform 253">
              <a:extLst>
                <a:ext uri="{FF2B5EF4-FFF2-40B4-BE49-F238E27FC236}">
                  <a16:creationId xmlns:a16="http://schemas.microsoft.com/office/drawing/2014/main" id="{C42AB917-D698-368F-B11A-0C6D687842AA}"/>
                </a:ext>
              </a:extLst>
            </p:cNvPr>
            <p:cNvSpPr>
              <a:spLocks/>
            </p:cNvSpPr>
            <p:nvPr/>
          </p:nvSpPr>
          <p:spPr bwMode="auto">
            <a:xfrm>
              <a:off x="15925841" y="4315117"/>
              <a:ext cx="7980" cy="12952"/>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0" name="Freeform 254">
              <a:extLst>
                <a:ext uri="{FF2B5EF4-FFF2-40B4-BE49-F238E27FC236}">
                  <a16:creationId xmlns:a16="http://schemas.microsoft.com/office/drawing/2014/main" id="{96F9E7B9-7E8B-D6D4-079F-6590D878A8B6}"/>
                </a:ext>
              </a:extLst>
            </p:cNvPr>
            <p:cNvSpPr>
              <a:spLocks/>
            </p:cNvSpPr>
            <p:nvPr/>
          </p:nvSpPr>
          <p:spPr bwMode="auto">
            <a:xfrm>
              <a:off x="15916264" y="4268168"/>
              <a:ext cx="3192" cy="1457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1" name="Freeform 255">
              <a:extLst>
                <a:ext uri="{FF2B5EF4-FFF2-40B4-BE49-F238E27FC236}">
                  <a16:creationId xmlns:a16="http://schemas.microsoft.com/office/drawing/2014/main" id="{89728CD9-125F-9061-CAFE-0BACDE44EFE1}"/>
                </a:ext>
              </a:extLst>
            </p:cNvPr>
            <p:cNvSpPr>
              <a:spLocks/>
            </p:cNvSpPr>
            <p:nvPr/>
          </p:nvSpPr>
          <p:spPr bwMode="auto">
            <a:xfrm>
              <a:off x="15956165" y="4336163"/>
              <a:ext cx="9577" cy="16190"/>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2" name="Freeform 256">
              <a:extLst>
                <a:ext uri="{FF2B5EF4-FFF2-40B4-BE49-F238E27FC236}">
                  <a16:creationId xmlns:a16="http://schemas.microsoft.com/office/drawing/2014/main" id="{DEA756DD-7501-E3A8-BA04-63F5264D6FBC}"/>
                </a:ext>
              </a:extLst>
            </p:cNvPr>
            <p:cNvSpPr>
              <a:spLocks/>
            </p:cNvSpPr>
            <p:nvPr/>
          </p:nvSpPr>
          <p:spPr bwMode="auto">
            <a:xfrm>
              <a:off x="15817309" y="4185602"/>
              <a:ext cx="3192" cy="6475"/>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3" name="Freeform 257">
              <a:extLst>
                <a:ext uri="{FF2B5EF4-FFF2-40B4-BE49-F238E27FC236}">
                  <a16:creationId xmlns:a16="http://schemas.microsoft.com/office/drawing/2014/main" id="{68D03A31-9003-30CD-2B83-9F40C29293E8}"/>
                </a:ext>
              </a:extLst>
            </p:cNvPr>
            <p:cNvSpPr>
              <a:spLocks/>
            </p:cNvSpPr>
            <p:nvPr/>
          </p:nvSpPr>
          <p:spPr bwMode="auto">
            <a:xfrm>
              <a:off x="15828482" y="4201791"/>
              <a:ext cx="12769" cy="3238"/>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4" name="Freeform 258">
              <a:extLst>
                <a:ext uri="{FF2B5EF4-FFF2-40B4-BE49-F238E27FC236}">
                  <a16:creationId xmlns:a16="http://schemas.microsoft.com/office/drawing/2014/main" id="{31980F84-691A-BC74-DBF4-22A732C540C1}"/>
                </a:ext>
              </a:extLst>
            </p:cNvPr>
            <p:cNvSpPr>
              <a:spLocks/>
            </p:cNvSpPr>
            <p:nvPr/>
          </p:nvSpPr>
          <p:spPr bwMode="auto">
            <a:xfrm>
              <a:off x="15919456" y="4285976"/>
              <a:ext cx="14364" cy="22665"/>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5" name="Freeform 259">
              <a:extLst>
                <a:ext uri="{FF2B5EF4-FFF2-40B4-BE49-F238E27FC236}">
                  <a16:creationId xmlns:a16="http://schemas.microsoft.com/office/drawing/2014/main" id="{3CC38FF8-97A9-62A0-5693-485A8645CE23}"/>
                </a:ext>
              </a:extLst>
            </p:cNvPr>
            <p:cNvSpPr>
              <a:spLocks/>
            </p:cNvSpPr>
            <p:nvPr/>
          </p:nvSpPr>
          <p:spPr bwMode="auto">
            <a:xfrm>
              <a:off x="15903496" y="4239027"/>
              <a:ext cx="12769" cy="19427"/>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6" name="Freeform 260">
              <a:extLst>
                <a:ext uri="{FF2B5EF4-FFF2-40B4-BE49-F238E27FC236}">
                  <a16:creationId xmlns:a16="http://schemas.microsoft.com/office/drawing/2014/main" id="{1699D971-48CB-9B05-F08B-FBFB5E723F5A}"/>
                </a:ext>
              </a:extLst>
            </p:cNvPr>
            <p:cNvSpPr>
              <a:spLocks/>
            </p:cNvSpPr>
            <p:nvPr/>
          </p:nvSpPr>
          <p:spPr bwMode="auto">
            <a:xfrm>
              <a:off x="15909880" y="4239027"/>
              <a:ext cx="15960" cy="9713"/>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7" name="Freeform 261">
              <a:extLst>
                <a:ext uri="{FF2B5EF4-FFF2-40B4-BE49-F238E27FC236}">
                  <a16:creationId xmlns:a16="http://schemas.microsoft.com/office/drawing/2014/main" id="{93D475EC-25D4-A0CD-8646-0B2F73BFBEE5}"/>
                </a:ext>
              </a:extLst>
            </p:cNvPr>
            <p:cNvSpPr>
              <a:spLocks/>
            </p:cNvSpPr>
            <p:nvPr/>
          </p:nvSpPr>
          <p:spPr bwMode="auto">
            <a:xfrm>
              <a:off x="15919456" y="4255216"/>
              <a:ext cx="6384" cy="3238"/>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8" name="Freeform 262">
              <a:extLst>
                <a:ext uri="{FF2B5EF4-FFF2-40B4-BE49-F238E27FC236}">
                  <a16:creationId xmlns:a16="http://schemas.microsoft.com/office/drawing/2014/main" id="{B4EBF92F-BF59-DF58-4D2E-A0EB9F570336}"/>
                </a:ext>
              </a:extLst>
            </p:cNvPr>
            <p:cNvSpPr>
              <a:spLocks/>
            </p:cNvSpPr>
            <p:nvPr/>
          </p:nvSpPr>
          <p:spPr bwMode="auto">
            <a:xfrm>
              <a:off x="15873171" y="4192077"/>
              <a:ext cx="6384" cy="3238"/>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699" name="Freeform 263">
              <a:extLst>
                <a:ext uri="{FF2B5EF4-FFF2-40B4-BE49-F238E27FC236}">
                  <a16:creationId xmlns:a16="http://schemas.microsoft.com/office/drawing/2014/main" id="{E55C7765-1407-CD6E-AD8B-B71306D05B97}"/>
                </a:ext>
              </a:extLst>
            </p:cNvPr>
            <p:cNvSpPr>
              <a:spLocks/>
            </p:cNvSpPr>
            <p:nvPr/>
          </p:nvSpPr>
          <p:spPr bwMode="auto">
            <a:xfrm>
              <a:off x="15873171" y="4179126"/>
              <a:ext cx="6384" cy="12952"/>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0" name="Freeform 264">
              <a:extLst>
                <a:ext uri="{FF2B5EF4-FFF2-40B4-BE49-F238E27FC236}">
                  <a16:creationId xmlns:a16="http://schemas.microsoft.com/office/drawing/2014/main" id="{49A97365-75DC-DFEE-E2ED-520A91986658}"/>
                </a:ext>
              </a:extLst>
            </p:cNvPr>
            <p:cNvSpPr>
              <a:spLocks/>
            </p:cNvSpPr>
            <p:nvPr/>
          </p:nvSpPr>
          <p:spPr bwMode="auto">
            <a:xfrm>
              <a:off x="15893919" y="4229314"/>
              <a:ext cx="6384" cy="6475"/>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1" name="Freeform 265">
              <a:extLst>
                <a:ext uri="{FF2B5EF4-FFF2-40B4-BE49-F238E27FC236}">
                  <a16:creationId xmlns:a16="http://schemas.microsoft.com/office/drawing/2014/main" id="{CFC05BE3-1841-5DA0-B1BE-F0F07315F47E}"/>
                </a:ext>
              </a:extLst>
            </p:cNvPr>
            <p:cNvSpPr>
              <a:spLocks/>
            </p:cNvSpPr>
            <p:nvPr/>
          </p:nvSpPr>
          <p:spPr bwMode="auto">
            <a:xfrm>
              <a:off x="15887535" y="4214742"/>
              <a:ext cx="3192" cy="6475"/>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2" name="Freeform 266">
              <a:extLst>
                <a:ext uri="{FF2B5EF4-FFF2-40B4-BE49-F238E27FC236}">
                  <a16:creationId xmlns:a16="http://schemas.microsoft.com/office/drawing/2014/main" id="{043AECD8-5964-6FEF-B4C1-A4C337CDFCBE}"/>
                </a:ext>
              </a:extLst>
            </p:cNvPr>
            <p:cNvSpPr>
              <a:spLocks/>
            </p:cNvSpPr>
            <p:nvPr/>
          </p:nvSpPr>
          <p:spPr bwMode="auto">
            <a:xfrm>
              <a:off x="15881151" y="4211504"/>
              <a:ext cx="6384" cy="9713"/>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3" name="Freeform 267">
              <a:extLst>
                <a:ext uri="{FF2B5EF4-FFF2-40B4-BE49-F238E27FC236}">
                  <a16:creationId xmlns:a16="http://schemas.microsoft.com/office/drawing/2014/main" id="{4E111E98-81FD-3E27-B9E4-482B3FA06245}"/>
                </a:ext>
              </a:extLst>
            </p:cNvPr>
            <p:cNvSpPr>
              <a:spLocks/>
            </p:cNvSpPr>
            <p:nvPr/>
          </p:nvSpPr>
          <p:spPr bwMode="auto">
            <a:xfrm>
              <a:off x="15903496" y="4221219"/>
              <a:ext cx="6384" cy="3238"/>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4" name="Freeform 268">
              <a:extLst>
                <a:ext uri="{FF2B5EF4-FFF2-40B4-BE49-F238E27FC236}">
                  <a16:creationId xmlns:a16="http://schemas.microsoft.com/office/drawing/2014/main" id="{DACEE0BE-E58F-8858-03E5-D6AC06C7270B}"/>
                </a:ext>
              </a:extLst>
            </p:cNvPr>
            <p:cNvSpPr>
              <a:spLocks/>
            </p:cNvSpPr>
            <p:nvPr/>
          </p:nvSpPr>
          <p:spPr bwMode="auto">
            <a:xfrm>
              <a:off x="15903496" y="4201791"/>
              <a:ext cx="6384" cy="9713"/>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5" name="Freeform 269">
              <a:extLst>
                <a:ext uri="{FF2B5EF4-FFF2-40B4-BE49-F238E27FC236}">
                  <a16:creationId xmlns:a16="http://schemas.microsoft.com/office/drawing/2014/main" id="{9B1A7951-396B-A69B-0D96-B7A4D1C15709}"/>
                </a:ext>
              </a:extLst>
            </p:cNvPr>
            <p:cNvSpPr>
              <a:spLocks noEditPoints="1"/>
            </p:cNvSpPr>
            <p:nvPr/>
          </p:nvSpPr>
          <p:spPr bwMode="auto">
            <a:xfrm>
              <a:off x="13962699" y="1626057"/>
              <a:ext cx="2173820" cy="1777597"/>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6" name="Freeform 270">
              <a:extLst>
                <a:ext uri="{FF2B5EF4-FFF2-40B4-BE49-F238E27FC236}">
                  <a16:creationId xmlns:a16="http://schemas.microsoft.com/office/drawing/2014/main" id="{F273606F-F416-2D41-235E-79CEB75308E4}"/>
                </a:ext>
              </a:extLst>
            </p:cNvPr>
            <p:cNvSpPr>
              <a:spLocks/>
            </p:cNvSpPr>
            <p:nvPr/>
          </p:nvSpPr>
          <p:spPr bwMode="auto">
            <a:xfrm>
              <a:off x="16786111" y="3539645"/>
              <a:ext cx="23941" cy="11332"/>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7" name="Freeform 271">
              <a:extLst>
                <a:ext uri="{FF2B5EF4-FFF2-40B4-BE49-F238E27FC236}">
                  <a16:creationId xmlns:a16="http://schemas.microsoft.com/office/drawing/2014/main" id="{869F5770-8BB0-D2FF-9CAB-97AE1FB769C1}"/>
                </a:ext>
              </a:extLst>
            </p:cNvPr>
            <p:cNvSpPr>
              <a:spLocks/>
            </p:cNvSpPr>
            <p:nvPr/>
          </p:nvSpPr>
          <p:spPr bwMode="auto">
            <a:xfrm>
              <a:off x="16749402" y="3510504"/>
              <a:ext cx="14364" cy="9713"/>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8" name="Freeform 272">
              <a:extLst>
                <a:ext uri="{FF2B5EF4-FFF2-40B4-BE49-F238E27FC236}">
                  <a16:creationId xmlns:a16="http://schemas.microsoft.com/office/drawing/2014/main" id="{28618D3E-561E-BB39-489F-2F41AB377C70}"/>
                </a:ext>
              </a:extLst>
            </p:cNvPr>
            <p:cNvSpPr>
              <a:spLocks/>
            </p:cNvSpPr>
            <p:nvPr/>
          </p:nvSpPr>
          <p:spPr bwMode="auto">
            <a:xfrm>
              <a:off x="16720673" y="3513741"/>
              <a:ext cx="19152" cy="12952"/>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09" name="Freeform 289">
              <a:extLst>
                <a:ext uri="{FF2B5EF4-FFF2-40B4-BE49-F238E27FC236}">
                  <a16:creationId xmlns:a16="http://schemas.microsoft.com/office/drawing/2014/main" id="{7F50CB22-76F9-6458-8C11-BBA378101496}"/>
                </a:ext>
              </a:extLst>
            </p:cNvPr>
            <p:cNvSpPr>
              <a:spLocks noEditPoints="1"/>
            </p:cNvSpPr>
            <p:nvPr/>
          </p:nvSpPr>
          <p:spPr bwMode="auto">
            <a:xfrm>
              <a:off x="13290763" y="2216971"/>
              <a:ext cx="2529738" cy="1978345"/>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0" name="Freeform 290">
              <a:extLst>
                <a:ext uri="{FF2B5EF4-FFF2-40B4-BE49-F238E27FC236}">
                  <a16:creationId xmlns:a16="http://schemas.microsoft.com/office/drawing/2014/main" id="{50BF817D-0009-168D-A9E9-2589B9E8388C}"/>
                </a:ext>
              </a:extLst>
            </p:cNvPr>
            <p:cNvSpPr>
              <a:spLocks/>
            </p:cNvSpPr>
            <p:nvPr/>
          </p:nvSpPr>
          <p:spPr bwMode="auto">
            <a:xfrm>
              <a:off x="15587478" y="4585480"/>
              <a:ext cx="987954" cy="1230395"/>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1" name="Freeform 291">
              <a:extLst>
                <a:ext uri="{FF2B5EF4-FFF2-40B4-BE49-F238E27FC236}">
                  <a16:creationId xmlns:a16="http://schemas.microsoft.com/office/drawing/2014/main" id="{062493A3-667D-0E0D-F536-F2479737B94B}"/>
                </a:ext>
              </a:extLst>
            </p:cNvPr>
            <p:cNvSpPr>
              <a:spLocks/>
            </p:cNvSpPr>
            <p:nvPr/>
          </p:nvSpPr>
          <p:spPr bwMode="auto">
            <a:xfrm>
              <a:off x="16185996" y="4682617"/>
              <a:ext cx="7980" cy="9713"/>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2" name="Freeform 292">
              <a:extLst>
                <a:ext uri="{FF2B5EF4-FFF2-40B4-BE49-F238E27FC236}">
                  <a16:creationId xmlns:a16="http://schemas.microsoft.com/office/drawing/2014/main" id="{7DBD8BDC-AAB6-8E61-7BD6-006D70716428}"/>
                </a:ext>
              </a:extLst>
            </p:cNvPr>
            <p:cNvSpPr>
              <a:spLocks/>
            </p:cNvSpPr>
            <p:nvPr/>
          </p:nvSpPr>
          <p:spPr bwMode="auto">
            <a:xfrm>
              <a:off x="16185996" y="4729566"/>
              <a:ext cx="11172" cy="12952"/>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3" name="Freeform 293">
              <a:extLst>
                <a:ext uri="{FF2B5EF4-FFF2-40B4-BE49-F238E27FC236}">
                  <a16:creationId xmlns:a16="http://schemas.microsoft.com/office/drawing/2014/main" id="{79FC5A62-50C4-098C-2053-0770804944EB}"/>
                </a:ext>
              </a:extLst>
            </p:cNvPr>
            <p:cNvSpPr>
              <a:spLocks/>
            </p:cNvSpPr>
            <p:nvPr/>
          </p:nvSpPr>
          <p:spPr bwMode="auto">
            <a:xfrm>
              <a:off x="16179613" y="4732804"/>
              <a:ext cx="7980" cy="1457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4" name="Freeform 294">
              <a:extLst>
                <a:ext uri="{FF2B5EF4-FFF2-40B4-BE49-F238E27FC236}">
                  <a16:creationId xmlns:a16="http://schemas.microsoft.com/office/drawing/2014/main" id="{2D066EA5-C401-8ECB-1E7F-D8F0C357BB20}"/>
                </a:ext>
              </a:extLst>
            </p:cNvPr>
            <p:cNvSpPr>
              <a:spLocks/>
            </p:cNvSpPr>
            <p:nvPr/>
          </p:nvSpPr>
          <p:spPr bwMode="auto">
            <a:xfrm>
              <a:off x="16160459" y="4757088"/>
              <a:ext cx="9577" cy="9713"/>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5" name="Freeform 295">
              <a:extLst>
                <a:ext uri="{FF2B5EF4-FFF2-40B4-BE49-F238E27FC236}">
                  <a16:creationId xmlns:a16="http://schemas.microsoft.com/office/drawing/2014/main" id="{22EEFE47-4ABF-0878-2527-6B48C0CC8621}"/>
                </a:ext>
              </a:extLst>
            </p:cNvPr>
            <p:cNvSpPr>
              <a:spLocks/>
            </p:cNvSpPr>
            <p:nvPr/>
          </p:nvSpPr>
          <p:spPr bwMode="auto">
            <a:xfrm>
              <a:off x="16166844" y="4766801"/>
              <a:ext cx="9577" cy="9713"/>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6" name="Freeform 296">
              <a:extLst>
                <a:ext uri="{FF2B5EF4-FFF2-40B4-BE49-F238E27FC236}">
                  <a16:creationId xmlns:a16="http://schemas.microsoft.com/office/drawing/2014/main" id="{CBB7FB79-B903-853F-7695-343E4D6BE221}"/>
                </a:ext>
              </a:extLst>
            </p:cNvPr>
            <p:cNvSpPr>
              <a:spLocks/>
            </p:cNvSpPr>
            <p:nvPr/>
          </p:nvSpPr>
          <p:spPr bwMode="auto">
            <a:xfrm>
              <a:off x="16166844" y="4760326"/>
              <a:ext cx="9577" cy="6475"/>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7" name="Freeform 297">
              <a:extLst>
                <a:ext uri="{FF2B5EF4-FFF2-40B4-BE49-F238E27FC236}">
                  <a16:creationId xmlns:a16="http://schemas.microsoft.com/office/drawing/2014/main" id="{AAEC2B03-25B2-E0A6-585B-18378469EBDA}"/>
                </a:ext>
              </a:extLst>
            </p:cNvPr>
            <p:cNvSpPr>
              <a:spLocks/>
            </p:cNvSpPr>
            <p:nvPr/>
          </p:nvSpPr>
          <p:spPr bwMode="auto">
            <a:xfrm>
              <a:off x="16187593" y="4723090"/>
              <a:ext cx="9577" cy="9713"/>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8" name="Freeform 298">
              <a:extLst>
                <a:ext uri="{FF2B5EF4-FFF2-40B4-BE49-F238E27FC236}">
                  <a16:creationId xmlns:a16="http://schemas.microsoft.com/office/drawing/2014/main" id="{9F65E23F-B4A4-41D0-7892-37FE5A65AED6}"/>
                </a:ext>
              </a:extLst>
            </p:cNvPr>
            <p:cNvSpPr>
              <a:spLocks/>
            </p:cNvSpPr>
            <p:nvPr/>
          </p:nvSpPr>
          <p:spPr bwMode="auto">
            <a:xfrm>
              <a:off x="15379991" y="4452727"/>
              <a:ext cx="151625" cy="79329"/>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19" name="Freeform 299">
              <a:extLst>
                <a:ext uri="{FF2B5EF4-FFF2-40B4-BE49-F238E27FC236}">
                  <a16:creationId xmlns:a16="http://schemas.microsoft.com/office/drawing/2014/main" id="{63316185-DF3B-EFCC-E9FA-E8F9B22AF82B}"/>
                </a:ext>
              </a:extLst>
            </p:cNvPr>
            <p:cNvSpPr>
              <a:spLocks/>
            </p:cNvSpPr>
            <p:nvPr/>
          </p:nvSpPr>
          <p:spPr bwMode="auto">
            <a:xfrm>
              <a:off x="15415105" y="4512628"/>
              <a:ext cx="7980" cy="16190"/>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0" name="Freeform 300">
              <a:extLst>
                <a:ext uri="{FF2B5EF4-FFF2-40B4-BE49-F238E27FC236}">
                  <a16:creationId xmlns:a16="http://schemas.microsoft.com/office/drawing/2014/main" id="{56A69E08-7259-1ADF-1510-100DA9149FFC}"/>
                </a:ext>
              </a:extLst>
            </p:cNvPr>
            <p:cNvSpPr>
              <a:spLocks/>
            </p:cNvSpPr>
            <p:nvPr/>
          </p:nvSpPr>
          <p:spPr bwMode="auto">
            <a:xfrm>
              <a:off x="15485331" y="4486724"/>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1" name="Freeform 6">
              <a:extLst>
                <a:ext uri="{FF2B5EF4-FFF2-40B4-BE49-F238E27FC236}">
                  <a16:creationId xmlns:a16="http://schemas.microsoft.com/office/drawing/2014/main" id="{B71EFB77-7264-C419-311F-C99B29D6A59E}"/>
                </a:ext>
              </a:extLst>
            </p:cNvPr>
            <p:cNvSpPr>
              <a:spLocks/>
            </p:cNvSpPr>
            <p:nvPr/>
          </p:nvSpPr>
          <p:spPr bwMode="auto">
            <a:xfrm>
              <a:off x="17978882" y="3026743"/>
              <a:ext cx="448292" cy="305283"/>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2" name="Freeform 8">
              <a:extLst>
                <a:ext uri="{FF2B5EF4-FFF2-40B4-BE49-F238E27FC236}">
                  <a16:creationId xmlns:a16="http://schemas.microsoft.com/office/drawing/2014/main" id="{AB9C3473-AF13-7F9F-4B56-807A32CF6FD8}"/>
                </a:ext>
              </a:extLst>
            </p:cNvPr>
            <p:cNvSpPr>
              <a:spLocks/>
            </p:cNvSpPr>
            <p:nvPr/>
          </p:nvSpPr>
          <p:spPr bwMode="auto">
            <a:xfrm>
              <a:off x="17169064" y="2917483"/>
              <a:ext cx="114081" cy="159069"/>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3" name="Freeform 9">
              <a:extLst>
                <a:ext uri="{FF2B5EF4-FFF2-40B4-BE49-F238E27FC236}">
                  <a16:creationId xmlns:a16="http://schemas.microsoft.com/office/drawing/2014/main" id="{9D5B1CE3-3948-5F07-D6F6-5904957C2A72}"/>
                </a:ext>
              </a:extLst>
            </p:cNvPr>
            <p:cNvSpPr>
              <a:spLocks/>
            </p:cNvSpPr>
            <p:nvPr/>
          </p:nvSpPr>
          <p:spPr bwMode="auto">
            <a:xfrm>
              <a:off x="19603337" y="3042809"/>
              <a:ext cx="800177" cy="385621"/>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4" name="Freeform 10">
              <a:extLst>
                <a:ext uri="{FF2B5EF4-FFF2-40B4-BE49-F238E27FC236}">
                  <a16:creationId xmlns:a16="http://schemas.microsoft.com/office/drawing/2014/main" id="{7A89EEF8-DF01-9611-4510-8AB47FC336F3}"/>
                </a:ext>
              </a:extLst>
            </p:cNvPr>
            <p:cNvSpPr>
              <a:spLocks/>
            </p:cNvSpPr>
            <p:nvPr/>
          </p:nvSpPr>
          <p:spPr bwMode="auto">
            <a:xfrm>
              <a:off x="19246631" y="2989787"/>
              <a:ext cx="1528049" cy="1142400"/>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5" name="Freeform 11">
              <a:extLst>
                <a:ext uri="{FF2B5EF4-FFF2-40B4-BE49-F238E27FC236}">
                  <a16:creationId xmlns:a16="http://schemas.microsoft.com/office/drawing/2014/main" id="{8486171B-DB97-2FFC-A20B-DCD060FB561F}"/>
                </a:ext>
              </a:extLst>
            </p:cNvPr>
            <p:cNvSpPr>
              <a:spLocks noEditPoints="1"/>
            </p:cNvSpPr>
            <p:nvPr/>
          </p:nvSpPr>
          <p:spPr bwMode="auto">
            <a:xfrm>
              <a:off x="21544329" y="5833737"/>
              <a:ext cx="305289" cy="427396"/>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6" name="Freeform 13">
              <a:extLst>
                <a:ext uri="{FF2B5EF4-FFF2-40B4-BE49-F238E27FC236}">
                  <a16:creationId xmlns:a16="http://schemas.microsoft.com/office/drawing/2014/main" id="{10A47E6F-A213-BA6A-D862-EB50308A90BD}"/>
                </a:ext>
              </a:extLst>
            </p:cNvPr>
            <p:cNvSpPr>
              <a:spLocks/>
            </p:cNvSpPr>
            <p:nvPr/>
          </p:nvSpPr>
          <p:spPr bwMode="auto">
            <a:xfrm>
              <a:off x="18499478" y="5107486"/>
              <a:ext cx="186387" cy="443464"/>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7" name="Freeform 42">
              <a:extLst>
                <a:ext uri="{FF2B5EF4-FFF2-40B4-BE49-F238E27FC236}">
                  <a16:creationId xmlns:a16="http://schemas.microsoft.com/office/drawing/2014/main" id="{5EC88C4D-FD50-AD3E-EF06-A122E2B72894}"/>
                </a:ext>
              </a:extLst>
            </p:cNvPr>
            <p:cNvSpPr>
              <a:spLocks/>
            </p:cNvSpPr>
            <p:nvPr/>
          </p:nvSpPr>
          <p:spPr bwMode="auto">
            <a:xfrm>
              <a:off x="19405704" y="3799590"/>
              <a:ext cx="212095" cy="139788"/>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8" name="Freeform 43">
              <a:extLst>
                <a:ext uri="{FF2B5EF4-FFF2-40B4-BE49-F238E27FC236}">
                  <a16:creationId xmlns:a16="http://schemas.microsoft.com/office/drawing/2014/main" id="{9578B34D-921B-29D8-EC0E-77C757A8B554}"/>
                </a:ext>
              </a:extLst>
            </p:cNvPr>
            <p:cNvSpPr>
              <a:spLocks/>
            </p:cNvSpPr>
            <p:nvPr/>
          </p:nvSpPr>
          <p:spPr bwMode="auto">
            <a:xfrm>
              <a:off x="19621012" y="3868680"/>
              <a:ext cx="93193" cy="61056"/>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29" name="Freeform 44">
              <a:extLst>
                <a:ext uri="{FF2B5EF4-FFF2-40B4-BE49-F238E27FC236}">
                  <a16:creationId xmlns:a16="http://schemas.microsoft.com/office/drawing/2014/main" id="{18BDD823-79B7-3186-E806-B24E7AD5798F}"/>
                </a:ext>
              </a:extLst>
            </p:cNvPr>
            <p:cNvSpPr>
              <a:spLocks/>
            </p:cNvSpPr>
            <p:nvPr/>
          </p:nvSpPr>
          <p:spPr bwMode="auto">
            <a:xfrm>
              <a:off x="19603337" y="3926523"/>
              <a:ext cx="120509" cy="197631"/>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0" name="Freeform 45">
              <a:extLst>
                <a:ext uri="{FF2B5EF4-FFF2-40B4-BE49-F238E27FC236}">
                  <a16:creationId xmlns:a16="http://schemas.microsoft.com/office/drawing/2014/main" id="{5BAFB335-A615-A3D9-894D-51D0497FF00D}"/>
                </a:ext>
              </a:extLst>
            </p:cNvPr>
            <p:cNvSpPr>
              <a:spLocks/>
            </p:cNvSpPr>
            <p:nvPr/>
          </p:nvSpPr>
          <p:spPr bwMode="auto">
            <a:xfrm>
              <a:off x="18930096" y="3531262"/>
              <a:ext cx="355099" cy="318136"/>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1" name="Freeform 46">
              <a:extLst>
                <a:ext uri="{FF2B5EF4-FFF2-40B4-BE49-F238E27FC236}">
                  <a16:creationId xmlns:a16="http://schemas.microsoft.com/office/drawing/2014/main" id="{8333D965-7B9D-FAFA-BC9B-1B272629F072}"/>
                </a:ext>
              </a:extLst>
            </p:cNvPr>
            <p:cNvSpPr>
              <a:spLocks/>
            </p:cNvSpPr>
            <p:nvPr/>
          </p:nvSpPr>
          <p:spPr bwMode="auto">
            <a:xfrm>
              <a:off x="18938129" y="3581071"/>
              <a:ext cx="417763" cy="441857"/>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2" name="Freeform 47">
              <a:extLst>
                <a:ext uri="{FF2B5EF4-FFF2-40B4-BE49-F238E27FC236}">
                  <a16:creationId xmlns:a16="http://schemas.microsoft.com/office/drawing/2014/main" id="{419E554F-23AD-58B0-BC08-6599D9C6765A}"/>
                </a:ext>
              </a:extLst>
            </p:cNvPr>
            <p:cNvSpPr>
              <a:spLocks/>
            </p:cNvSpPr>
            <p:nvPr/>
          </p:nvSpPr>
          <p:spPr bwMode="auto">
            <a:xfrm>
              <a:off x="18520367" y="3484667"/>
              <a:ext cx="477214" cy="491666"/>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3" name="Freeform 48">
              <a:extLst>
                <a:ext uri="{FF2B5EF4-FFF2-40B4-BE49-F238E27FC236}">
                  <a16:creationId xmlns:a16="http://schemas.microsoft.com/office/drawing/2014/main" id="{C1A5D2BE-15BD-8A13-3622-9AFF66DAD13F}"/>
                </a:ext>
              </a:extLst>
            </p:cNvPr>
            <p:cNvSpPr>
              <a:spLocks/>
            </p:cNvSpPr>
            <p:nvPr/>
          </p:nvSpPr>
          <p:spPr bwMode="auto">
            <a:xfrm>
              <a:off x="18078501" y="3401115"/>
              <a:ext cx="461146" cy="223339"/>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4" name="Freeform 49">
              <a:extLst>
                <a:ext uri="{FF2B5EF4-FFF2-40B4-BE49-F238E27FC236}">
                  <a16:creationId xmlns:a16="http://schemas.microsoft.com/office/drawing/2014/main" id="{1DAE5648-C3E0-FFBD-9162-E315ABDF1AA7}"/>
                </a:ext>
              </a:extLst>
            </p:cNvPr>
            <p:cNvSpPr>
              <a:spLocks/>
            </p:cNvSpPr>
            <p:nvPr/>
          </p:nvSpPr>
          <p:spPr bwMode="auto">
            <a:xfrm>
              <a:off x="18726035" y="3381834"/>
              <a:ext cx="359919" cy="268327"/>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5" name="Freeform 50">
              <a:extLst>
                <a:ext uri="{FF2B5EF4-FFF2-40B4-BE49-F238E27FC236}">
                  <a16:creationId xmlns:a16="http://schemas.microsoft.com/office/drawing/2014/main" id="{D1BC25F3-D83B-AEB1-B645-8672DD675E20}"/>
                </a:ext>
              </a:extLst>
            </p:cNvPr>
            <p:cNvSpPr>
              <a:spLocks/>
            </p:cNvSpPr>
            <p:nvPr/>
          </p:nvSpPr>
          <p:spPr bwMode="auto">
            <a:xfrm>
              <a:off x="18814407" y="3285429"/>
              <a:ext cx="435438" cy="295642"/>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6" name="Freeform 51">
              <a:extLst>
                <a:ext uri="{FF2B5EF4-FFF2-40B4-BE49-F238E27FC236}">
                  <a16:creationId xmlns:a16="http://schemas.microsoft.com/office/drawing/2014/main" id="{5406B12A-6684-6721-106C-10AC3BF5690E}"/>
                </a:ext>
              </a:extLst>
            </p:cNvPr>
            <p:cNvSpPr>
              <a:spLocks/>
            </p:cNvSpPr>
            <p:nvPr/>
          </p:nvSpPr>
          <p:spPr bwMode="auto">
            <a:xfrm>
              <a:off x="19147011" y="3368981"/>
              <a:ext cx="268333" cy="143001"/>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7" name="Freeform 52">
              <a:extLst>
                <a:ext uri="{FF2B5EF4-FFF2-40B4-BE49-F238E27FC236}">
                  <a16:creationId xmlns:a16="http://schemas.microsoft.com/office/drawing/2014/main" id="{6414698E-A71F-4F8B-20A4-541AE03CE696}"/>
                </a:ext>
              </a:extLst>
            </p:cNvPr>
            <p:cNvSpPr>
              <a:spLocks/>
            </p:cNvSpPr>
            <p:nvPr/>
          </p:nvSpPr>
          <p:spPr bwMode="auto">
            <a:xfrm>
              <a:off x="19093987" y="3444498"/>
              <a:ext cx="199241" cy="155855"/>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8" name="Freeform 53">
              <a:extLst>
                <a:ext uri="{FF2B5EF4-FFF2-40B4-BE49-F238E27FC236}">
                  <a16:creationId xmlns:a16="http://schemas.microsoft.com/office/drawing/2014/main" id="{65C7AF13-6F7C-CDBF-9DB4-EE3FA95C0687}"/>
                </a:ext>
              </a:extLst>
            </p:cNvPr>
            <p:cNvSpPr>
              <a:spLocks/>
            </p:cNvSpPr>
            <p:nvPr/>
          </p:nvSpPr>
          <p:spPr bwMode="auto">
            <a:xfrm>
              <a:off x="20397087" y="3965085"/>
              <a:ext cx="53024" cy="126933"/>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39" name="Freeform 54">
              <a:extLst>
                <a:ext uri="{FF2B5EF4-FFF2-40B4-BE49-F238E27FC236}">
                  <a16:creationId xmlns:a16="http://schemas.microsoft.com/office/drawing/2014/main" id="{54ABCE02-2E4C-41A4-7312-8E5525B94200}"/>
                </a:ext>
              </a:extLst>
            </p:cNvPr>
            <p:cNvSpPr>
              <a:spLocks/>
            </p:cNvSpPr>
            <p:nvPr/>
          </p:nvSpPr>
          <p:spPr bwMode="auto">
            <a:xfrm>
              <a:off x="20509562" y="3378621"/>
              <a:ext cx="155858" cy="189597"/>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0" name="Freeform 55">
              <a:extLst>
                <a:ext uri="{FF2B5EF4-FFF2-40B4-BE49-F238E27FC236}">
                  <a16:creationId xmlns:a16="http://schemas.microsoft.com/office/drawing/2014/main" id="{DE970E81-C4E0-1064-315E-811644C3D8EC}"/>
                </a:ext>
              </a:extLst>
            </p:cNvPr>
            <p:cNvSpPr>
              <a:spLocks/>
            </p:cNvSpPr>
            <p:nvPr/>
          </p:nvSpPr>
          <p:spPr bwMode="auto">
            <a:xfrm>
              <a:off x="20549731" y="3528048"/>
              <a:ext cx="88374" cy="149428"/>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1" name="Freeform 56">
              <a:extLst>
                <a:ext uri="{FF2B5EF4-FFF2-40B4-BE49-F238E27FC236}">
                  <a16:creationId xmlns:a16="http://schemas.microsoft.com/office/drawing/2014/main" id="{30D83392-D54A-3E2D-0363-36D9BAB17B2A}"/>
                </a:ext>
              </a:extLst>
            </p:cNvPr>
            <p:cNvSpPr>
              <a:spLocks/>
            </p:cNvSpPr>
            <p:nvPr/>
          </p:nvSpPr>
          <p:spPr bwMode="auto">
            <a:xfrm>
              <a:off x="20546518" y="3699971"/>
              <a:ext cx="28922" cy="17674"/>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2" name="Freeform 57">
              <a:extLst>
                <a:ext uri="{FF2B5EF4-FFF2-40B4-BE49-F238E27FC236}">
                  <a16:creationId xmlns:a16="http://schemas.microsoft.com/office/drawing/2014/main" id="{B86BFB50-2CA6-F14E-C790-2C5C28E53E3F}"/>
                </a:ext>
              </a:extLst>
            </p:cNvPr>
            <p:cNvSpPr>
              <a:spLocks/>
            </p:cNvSpPr>
            <p:nvPr/>
          </p:nvSpPr>
          <p:spPr bwMode="auto">
            <a:xfrm>
              <a:off x="20628464" y="3661409"/>
              <a:ext cx="9641" cy="22494"/>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3" name="Freeform 58">
              <a:extLst>
                <a:ext uri="{FF2B5EF4-FFF2-40B4-BE49-F238E27FC236}">
                  <a16:creationId xmlns:a16="http://schemas.microsoft.com/office/drawing/2014/main" id="{4559711B-31F3-7A41-1E14-CB3E934D1D86}"/>
                </a:ext>
              </a:extLst>
            </p:cNvPr>
            <p:cNvSpPr>
              <a:spLocks/>
            </p:cNvSpPr>
            <p:nvPr/>
          </p:nvSpPr>
          <p:spPr bwMode="auto">
            <a:xfrm>
              <a:off x="20546518" y="3667836"/>
              <a:ext cx="12854" cy="6427"/>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4" name="Freeform 59">
              <a:extLst>
                <a:ext uri="{FF2B5EF4-FFF2-40B4-BE49-F238E27FC236}">
                  <a16:creationId xmlns:a16="http://schemas.microsoft.com/office/drawing/2014/main" id="{BD4127D7-64A9-A34C-A475-4436292BD4B1}"/>
                </a:ext>
              </a:extLst>
            </p:cNvPr>
            <p:cNvSpPr>
              <a:spLocks/>
            </p:cNvSpPr>
            <p:nvPr/>
          </p:nvSpPr>
          <p:spPr bwMode="auto">
            <a:xfrm>
              <a:off x="20546518" y="3653376"/>
              <a:ext cx="3213" cy="8034"/>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5" name="Freeform 60">
              <a:extLst>
                <a:ext uri="{FF2B5EF4-FFF2-40B4-BE49-F238E27FC236}">
                  <a16:creationId xmlns:a16="http://schemas.microsoft.com/office/drawing/2014/main" id="{3C2BF5FF-2F0E-B17B-0D8D-0C6F422696F4}"/>
                </a:ext>
              </a:extLst>
            </p:cNvPr>
            <p:cNvSpPr>
              <a:spLocks/>
            </p:cNvSpPr>
            <p:nvPr/>
          </p:nvSpPr>
          <p:spPr bwMode="auto">
            <a:xfrm>
              <a:off x="20556159" y="3600352"/>
              <a:ext cx="3213" cy="6427"/>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6" name="Freeform 61">
              <a:extLst>
                <a:ext uri="{FF2B5EF4-FFF2-40B4-BE49-F238E27FC236}">
                  <a16:creationId xmlns:a16="http://schemas.microsoft.com/office/drawing/2014/main" id="{FD45D5A4-FDAA-189D-0774-3F745361C8C8}"/>
                </a:ext>
              </a:extLst>
            </p:cNvPr>
            <p:cNvSpPr>
              <a:spLocks/>
            </p:cNvSpPr>
            <p:nvPr/>
          </p:nvSpPr>
          <p:spPr bwMode="auto">
            <a:xfrm>
              <a:off x="20609183" y="3653376"/>
              <a:ext cx="9641" cy="8034"/>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7" name="Freeform 62">
              <a:extLst>
                <a:ext uri="{FF2B5EF4-FFF2-40B4-BE49-F238E27FC236}">
                  <a16:creationId xmlns:a16="http://schemas.microsoft.com/office/drawing/2014/main" id="{8E60FAFC-1756-5FE7-F5C3-72D64ED088E6}"/>
                </a:ext>
              </a:extLst>
            </p:cNvPr>
            <p:cNvSpPr>
              <a:spLocks/>
            </p:cNvSpPr>
            <p:nvPr/>
          </p:nvSpPr>
          <p:spPr bwMode="auto">
            <a:xfrm>
              <a:off x="20593115" y="3653376"/>
              <a:ext cx="6427" cy="8034"/>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8" name="Freeform 63">
              <a:extLst>
                <a:ext uri="{FF2B5EF4-FFF2-40B4-BE49-F238E27FC236}">
                  <a16:creationId xmlns:a16="http://schemas.microsoft.com/office/drawing/2014/main" id="{87BE3FD2-65E3-DCEC-4A14-DE1173F2FD2B}"/>
                </a:ext>
              </a:extLst>
            </p:cNvPr>
            <p:cNvSpPr>
              <a:spLocks/>
            </p:cNvSpPr>
            <p:nvPr/>
          </p:nvSpPr>
          <p:spPr bwMode="auto">
            <a:xfrm>
              <a:off x="20559372" y="3677476"/>
              <a:ext cx="6427" cy="6427"/>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49" name="Freeform 64">
              <a:extLst>
                <a:ext uri="{FF2B5EF4-FFF2-40B4-BE49-F238E27FC236}">
                  <a16:creationId xmlns:a16="http://schemas.microsoft.com/office/drawing/2014/main" id="{4B5483F2-D63D-204B-AE16-6C0CF23DBF13}"/>
                </a:ext>
              </a:extLst>
            </p:cNvPr>
            <p:cNvSpPr>
              <a:spLocks/>
            </p:cNvSpPr>
            <p:nvPr/>
          </p:nvSpPr>
          <p:spPr bwMode="auto">
            <a:xfrm>
              <a:off x="20556159" y="3556970"/>
              <a:ext cx="3213" cy="11247"/>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0" name="Freeform 65">
              <a:extLst>
                <a:ext uri="{FF2B5EF4-FFF2-40B4-BE49-F238E27FC236}">
                  <a16:creationId xmlns:a16="http://schemas.microsoft.com/office/drawing/2014/main" id="{81F138FC-B63F-5ED0-A1A1-FFAB41B99428}"/>
                </a:ext>
              </a:extLst>
            </p:cNvPr>
            <p:cNvSpPr>
              <a:spLocks/>
            </p:cNvSpPr>
            <p:nvPr/>
          </p:nvSpPr>
          <p:spPr bwMode="auto">
            <a:xfrm>
              <a:off x="20114293" y="4132187"/>
              <a:ext cx="61058" cy="65877"/>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1" name="Freeform 66">
              <a:extLst>
                <a:ext uri="{FF2B5EF4-FFF2-40B4-BE49-F238E27FC236}">
                  <a16:creationId xmlns:a16="http://schemas.microsoft.com/office/drawing/2014/main" id="{6E912F05-69FD-B84E-2912-216C043A461B}"/>
                </a:ext>
              </a:extLst>
            </p:cNvPr>
            <p:cNvSpPr>
              <a:spLocks/>
            </p:cNvSpPr>
            <p:nvPr/>
          </p:nvSpPr>
          <p:spPr bwMode="auto">
            <a:xfrm>
              <a:off x="19402489" y="4453538"/>
              <a:ext cx="56237" cy="125326"/>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2" name="Freeform 67">
              <a:extLst>
                <a:ext uri="{FF2B5EF4-FFF2-40B4-BE49-F238E27FC236}">
                  <a16:creationId xmlns:a16="http://schemas.microsoft.com/office/drawing/2014/main" id="{CA874351-8BBC-4818-0BA2-53EFDAE688B4}"/>
                </a:ext>
              </a:extLst>
            </p:cNvPr>
            <p:cNvSpPr>
              <a:spLocks/>
            </p:cNvSpPr>
            <p:nvPr/>
          </p:nvSpPr>
          <p:spPr bwMode="auto">
            <a:xfrm>
              <a:off x="19710991" y="3859039"/>
              <a:ext cx="224949" cy="594499"/>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3" name="Freeform 68">
              <a:extLst>
                <a:ext uri="{FF2B5EF4-FFF2-40B4-BE49-F238E27FC236}">
                  <a16:creationId xmlns:a16="http://schemas.microsoft.com/office/drawing/2014/main" id="{47A467FD-D7DB-3730-D75C-D955E232FC24}"/>
                </a:ext>
              </a:extLst>
            </p:cNvPr>
            <p:cNvSpPr>
              <a:spLocks/>
            </p:cNvSpPr>
            <p:nvPr/>
          </p:nvSpPr>
          <p:spPr bwMode="auto">
            <a:xfrm>
              <a:off x="19839534" y="4124153"/>
              <a:ext cx="208881" cy="461138"/>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4" name="Freeform 69">
              <a:extLst>
                <a:ext uri="{FF2B5EF4-FFF2-40B4-BE49-F238E27FC236}">
                  <a16:creationId xmlns:a16="http://schemas.microsoft.com/office/drawing/2014/main" id="{861586BF-640A-51CF-F02C-179EE625A5A9}"/>
                </a:ext>
              </a:extLst>
            </p:cNvPr>
            <p:cNvSpPr>
              <a:spLocks/>
            </p:cNvSpPr>
            <p:nvPr/>
          </p:nvSpPr>
          <p:spPr bwMode="auto">
            <a:xfrm>
              <a:off x="19720632" y="4337852"/>
              <a:ext cx="16068" cy="72304"/>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5" name="Freeform 70">
              <a:extLst>
                <a:ext uri="{FF2B5EF4-FFF2-40B4-BE49-F238E27FC236}">
                  <a16:creationId xmlns:a16="http://schemas.microsoft.com/office/drawing/2014/main" id="{AEA4A80D-D6FA-6165-4218-E51CD4B6FECD}"/>
                </a:ext>
              </a:extLst>
            </p:cNvPr>
            <p:cNvSpPr>
              <a:spLocks/>
            </p:cNvSpPr>
            <p:nvPr/>
          </p:nvSpPr>
          <p:spPr bwMode="auto">
            <a:xfrm>
              <a:off x="19714206" y="4419796"/>
              <a:ext cx="9641" cy="16068"/>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6" name="Freeform 71">
              <a:extLst>
                <a:ext uri="{FF2B5EF4-FFF2-40B4-BE49-F238E27FC236}">
                  <a16:creationId xmlns:a16="http://schemas.microsoft.com/office/drawing/2014/main" id="{AD6885DF-C26C-008B-5127-4DBA6357900A}"/>
                </a:ext>
              </a:extLst>
            </p:cNvPr>
            <p:cNvSpPr>
              <a:spLocks/>
            </p:cNvSpPr>
            <p:nvPr/>
          </p:nvSpPr>
          <p:spPr bwMode="auto">
            <a:xfrm>
              <a:off x="19746341" y="4532268"/>
              <a:ext cx="12854" cy="17674"/>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7" name="Freeform 72">
              <a:extLst>
                <a:ext uri="{FF2B5EF4-FFF2-40B4-BE49-F238E27FC236}">
                  <a16:creationId xmlns:a16="http://schemas.microsoft.com/office/drawing/2014/main" id="{E4160988-8EA8-BD5D-666D-03796EBBDAC3}"/>
                </a:ext>
              </a:extLst>
            </p:cNvPr>
            <p:cNvSpPr>
              <a:spLocks/>
            </p:cNvSpPr>
            <p:nvPr/>
          </p:nvSpPr>
          <p:spPr bwMode="auto">
            <a:xfrm>
              <a:off x="19720632" y="4466391"/>
              <a:ext cx="9641" cy="12854"/>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8" name="Freeform 73">
              <a:extLst>
                <a:ext uri="{FF2B5EF4-FFF2-40B4-BE49-F238E27FC236}">
                  <a16:creationId xmlns:a16="http://schemas.microsoft.com/office/drawing/2014/main" id="{4E3C379B-5E13-96B7-A8C4-809FC104FE55}"/>
                </a:ext>
              </a:extLst>
            </p:cNvPr>
            <p:cNvSpPr>
              <a:spLocks/>
            </p:cNvSpPr>
            <p:nvPr/>
          </p:nvSpPr>
          <p:spPr bwMode="auto">
            <a:xfrm>
              <a:off x="19739913" y="4506560"/>
              <a:ext cx="6427" cy="6427"/>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59" name="Freeform 74">
              <a:extLst>
                <a:ext uri="{FF2B5EF4-FFF2-40B4-BE49-F238E27FC236}">
                  <a16:creationId xmlns:a16="http://schemas.microsoft.com/office/drawing/2014/main" id="{B13D134F-6DA5-5476-512E-8EB67710FD93}"/>
                </a:ext>
              </a:extLst>
            </p:cNvPr>
            <p:cNvSpPr>
              <a:spLocks/>
            </p:cNvSpPr>
            <p:nvPr/>
          </p:nvSpPr>
          <p:spPr bwMode="auto">
            <a:xfrm>
              <a:off x="19958436" y="4026142"/>
              <a:ext cx="183173" cy="473992"/>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0" name="Freeform 75">
              <a:extLst>
                <a:ext uri="{FF2B5EF4-FFF2-40B4-BE49-F238E27FC236}">
                  <a16:creationId xmlns:a16="http://schemas.microsoft.com/office/drawing/2014/main" id="{57629743-011B-F8AE-7C9C-B10666214C82}"/>
                </a:ext>
              </a:extLst>
            </p:cNvPr>
            <p:cNvSpPr>
              <a:spLocks/>
            </p:cNvSpPr>
            <p:nvPr/>
          </p:nvSpPr>
          <p:spPr bwMode="auto">
            <a:xfrm>
              <a:off x="19911839" y="4061491"/>
              <a:ext cx="186387" cy="271541"/>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1" name="Freeform 76">
              <a:extLst>
                <a:ext uri="{FF2B5EF4-FFF2-40B4-BE49-F238E27FC236}">
                  <a16:creationId xmlns:a16="http://schemas.microsoft.com/office/drawing/2014/main" id="{691293E9-13CE-85BE-7DA7-8EC519F8ECAE}"/>
                </a:ext>
              </a:extLst>
            </p:cNvPr>
            <p:cNvSpPr>
              <a:spLocks/>
            </p:cNvSpPr>
            <p:nvPr/>
          </p:nvSpPr>
          <p:spPr bwMode="auto">
            <a:xfrm>
              <a:off x="19958436" y="4304110"/>
              <a:ext cx="136577" cy="131754"/>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2" name="Freeform 77">
              <a:extLst>
                <a:ext uri="{FF2B5EF4-FFF2-40B4-BE49-F238E27FC236}">
                  <a16:creationId xmlns:a16="http://schemas.microsoft.com/office/drawing/2014/main" id="{5F5BA46B-03E5-5BBC-2F9F-5021AAB885DB}"/>
                </a:ext>
              </a:extLst>
            </p:cNvPr>
            <p:cNvSpPr>
              <a:spLocks/>
            </p:cNvSpPr>
            <p:nvPr/>
          </p:nvSpPr>
          <p:spPr bwMode="auto">
            <a:xfrm>
              <a:off x="18290597" y="3743353"/>
              <a:ext cx="517383" cy="530228"/>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3" name="Freeform 78">
              <a:extLst>
                <a:ext uri="{FF2B5EF4-FFF2-40B4-BE49-F238E27FC236}">
                  <a16:creationId xmlns:a16="http://schemas.microsoft.com/office/drawing/2014/main" id="{AC8D3F8B-7ABC-3A78-2300-6F165A1BC8CA}"/>
                </a:ext>
              </a:extLst>
            </p:cNvPr>
            <p:cNvSpPr>
              <a:spLocks/>
            </p:cNvSpPr>
            <p:nvPr/>
          </p:nvSpPr>
          <p:spPr bwMode="auto">
            <a:xfrm>
              <a:off x="18390218" y="3571431"/>
              <a:ext cx="242624" cy="277968"/>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4" name="Freeform 79">
              <a:extLst>
                <a:ext uri="{FF2B5EF4-FFF2-40B4-BE49-F238E27FC236}">
                  <a16:creationId xmlns:a16="http://schemas.microsoft.com/office/drawing/2014/main" id="{8F84CE5C-1167-8E55-F63C-C13975395385}"/>
                </a:ext>
              </a:extLst>
            </p:cNvPr>
            <p:cNvSpPr>
              <a:spLocks/>
            </p:cNvSpPr>
            <p:nvPr/>
          </p:nvSpPr>
          <p:spPr bwMode="auto">
            <a:xfrm>
              <a:off x="18586245" y="3815658"/>
              <a:ext cx="43383" cy="53023"/>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5" name="Freeform 80">
              <a:extLst>
                <a:ext uri="{FF2B5EF4-FFF2-40B4-BE49-F238E27FC236}">
                  <a16:creationId xmlns:a16="http://schemas.microsoft.com/office/drawing/2014/main" id="{F5B1783B-F122-C963-A6B0-3CC0E9827F0D}"/>
                </a:ext>
              </a:extLst>
            </p:cNvPr>
            <p:cNvSpPr>
              <a:spLocks/>
            </p:cNvSpPr>
            <p:nvPr/>
          </p:nvSpPr>
          <p:spPr bwMode="auto">
            <a:xfrm>
              <a:off x="18714788" y="3973119"/>
              <a:ext cx="199241" cy="268327"/>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6" name="Freeform 81">
              <a:extLst>
                <a:ext uri="{FF2B5EF4-FFF2-40B4-BE49-F238E27FC236}">
                  <a16:creationId xmlns:a16="http://schemas.microsoft.com/office/drawing/2014/main" id="{DB928796-79D1-1D72-9864-F9115CF49CBA}"/>
                </a:ext>
              </a:extLst>
            </p:cNvPr>
            <p:cNvSpPr>
              <a:spLocks/>
            </p:cNvSpPr>
            <p:nvPr/>
          </p:nvSpPr>
          <p:spPr bwMode="auto">
            <a:xfrm>
              <a:off x="18480197" y="4167536"/>
              <a:ext cx="268333" cy="202450"/>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7" name="Freeform 82">
              <a:extLst>
                <a:ext uri="{FF2B5EF4-FFF2-40B4-BE49-F238E27FC236}">
                  <a16:creationId xmlns:a16="http://schemas.microsoft.com/office/drawing/2014/main" id="{1873B925-E45E-B1FF-F906-D5F438A4EDBE}"/>
                </a:ext>
              </a:extLst>
            </p:cNvPr>
            <p:cNvSpPr>
              <a:spLocks/>
            </p:cNvSpPr>
            <p:nvPr/>
          </p:nvSpPr>
          <p:spPr bwMode="auto">
            <a:xfrm>
              <a:off x="17654312" y="3714432"/>
              <a:ext cx="404908" cy="437036"/>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8" name="Freeform 84">
              <a:extLst>
                <a:ext uri="{FF2B5EF4-FFF2-40B4-BE49-F238E27FC236}">
                  <a16:creationId xmlns:a16="http://schemas.microsoft.com/office/drawing/2014/main" id="{4D8B9B6B-B37A-9F42-D562-1DFE5C7EF128}"/>
                </a:ext>
              </a:extLst>
            </p:cNvPr>
            <p:cNvSpPr>
              <a:spLocks/>
            </p:cNvSpPr>
            <p:nvPr/>
          </p:nvSpPr>
          <p:spPr bwMode="auto">
            <a:xfrm>
              <a:off x="18231146" y="3630881"/>
              <a:ext cx="59451" cy="3695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69" name="Freeform 85">
              <a:extLst>
                <a:ext uri="{FF2B5EF4-FFF2-40B4-BE49-F238E27FC236}">
                  <a16:creationId xmlns:a16="http://schemas.microsoft.com/office/drawing/2014/main" id="{B79CDFAA-A427-B5AE-AE0B-8D744E79436D}"/>
                </a:ext>
              </a:extLst>
            </p:cNvPr>
            <p:cNvSpPr>
              <a:spLocks/>
            </p:cNvSpPr>
            <p:nvPr/>
          </p:nvSpPr>
          <p:spPr bwMode="auto">
            <a:xfrm>
              <a:off x="17786068" y="3614814"/>
              <a:ext cx="8034" cy="9640"/>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0" name="Freeform 86">
              <a:extLst>
                <a:ext uri="{FF2B5EF4-FFF2-40B4-BE49-F238E27FC236}">
                  <a16:creationId xmlns:a16="http://schemas.microsoft.com/office/drawing/2014/main" id="{0528C49E-1EC8-2A29-1BB4-7B073FAA7E2E}"/>
                </a:ext>
              </a:extLst>
            </p:cNvPr>
            <p:cNvSpPr>
              <a:spLocks/>
            </p:cNvSpPr>
            <p:nvPr/>
          </p:nvSpPr>
          <p:spPr bwMode="auto">
            <a:xfrm>
              <a:off x="17222087" y="3574644"/>
              <a:ext cx="510957" cy="599318"/>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1" name="Freeform 87">
              <a:extLst>
                <a:ext uri="{FF2B5EF4-FFF2-40B4-BE49-F238E27FC236}">
                  <a16:creationId xmlns:a16="http://schemas.microsoft.com/office/drawing/2014/main" id="{ABA4D7E4-628B-1E48-616E-7CCE2AE945A5}"/>
                </a:ext>
              </a:extLst>
            </p:cNvPr>
            <p:cNvSpPr>
              <a:spLocks/>
            </p:cNvSpPr>
            <p:nvPr/>
          </p:nvSpPr>
          <p:spPr bwMode="auto">
            <a:xfrm>
              <a:off x="17617356" y="3571431"/>
              <a:ext cx="109261" cy="237799"/>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2" name="Freeform 88">
              <a:extLst>
                <a:ext uri="{FF2B5EF4-FFF2-40B4-BE49-F238E27FC236}">
                  <a16:creationId xmlns:a16="http://schemas.microsoft.com/office/drawing/2014/main" id="{04043AB2-EA64-831D-A4A0-1F0DD7742E39}"/>
                </a:ext>
              </a:extLst>
            </p:cNvPr>
            <p:cNvSpPr>
              <a:spLocks/>
            </p:cNvSpPr>
            <p:nvPr/>
          </p:nvSpPr>
          <p:spPr bwMode="auto">
            <a:xfrm>
              <a:off x="18041545" y="3759421"/>
              <a:ext cx="282793" cy="332598"/>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3" name="Freeform 89">
              <a:extLst>
                <a:ext uri="{FF2B5EF4-FFF2-40B4-BE49-F238E27FC236}">
                  <a16:creationId xmlns:a16="http://schemas.microsoft.com/office/drawing/2014/main" id="{494CEFA3-22F8-0283-3585-83C0526D3FCC}"/>
                </a:ext>
              </a:extLst>
            </p:cNvPr>
            <p:cNvSpPr>
              <a:spLocks/>
            </p:cNvSpPr>
            <p:nvPr/>
          </p:nvSpPr>
          <p:spPr bwMode="auto">
            <a:xfrm>
              <a:off x="18314699" y="3571431"/>
              <a:ext cx="165499" cy="168709"/>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4" name="Freeform 90">
              <a:extLst>
                <a:ext uri="{FF2B5EF4-FFF2-40B4-BE49-F238E27FC236}">
                  <a16:creationId xmlns:a16="http://schemas.microsoft.com/office/drawing/2014/main" id="{66556910-7BC8-C26F-6226-0E48B595F00A}"/>
                </a:ext>
              </a:extLst>
            </p:cNvPr>
            <p:cNvSpPr>
              <a:spLocks/>
            </p:cNvSpPr>
            <p:nvPr/>
          </p:nvSpPr>
          <p:spPr bwMode="auto">
            <a:xfrm>
              <a:off x="18300238" y="3661409"/>
              <a:ext cx="36956" cy="53023"/>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5" name="Freeform 91">
              <a:extLst>
                <a:ext uri="{FF2B5EF4-FFF2-40B4-BE49-F238E27FC236}">
                  <a16:creationId xmlns:a16="http://schemas.microsoft.com/office/drawing/2014/main" id="{ADF6B450-FA8C-7F64-9BFD-41E09BD5F65D}"/>
                </a:ext>
              </a:extLst>
            </p:cNvPr>
            <p:cNvSpPr>
              <a:spLocks/>
            </p:cNvSpPr>
            <p:nvPr/>
          </p:nvSpPr>
          <p:spPr bwMode="auto">
            <a:xfrm>
              <a:off x="18297024" y="3706398"/>
              <a:ext cx="109261" cy="136574"/>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6" name="Freeform 92">
              <a:extLst>
                <a:ext uri="{FF2B5EF4-FFF2-40B4-BE49-F238E27FC236}">
                  <a16:creationId xmlns:a16="http://schemas.microsoft.com/office/drawing/2014/main" id="{6A63C1D3-C040-CDDF-6DEC-9F1C6A129FFF}"/>
                </a:ext>
              </a:extLst>
            </p:cNvPr>
            <p:cNvSpPr>
              <a:spLocks/>
            </p:cNvSpPr>
            <p:nvPr/>
          </p:nvSpPr>
          <p:spPr bwMode="auto">
            <a:xfrm>
              <a:off x="18449668" y="4379627"/>
              <a:ext cx="265119" cy="422575"/>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7" name="Freeform 93">
              <a:extLst>
                <a:ext uri="{FF2B5EF4-FFF2-40B4-BE49-F238E27FC236}">
                  <a16:creationId xmlns:a16="http://schemas.microsoft.com/office/drawing/2014/main" id="{65192DF8-D3AD-1336-6312-E3D8687E587E}"/>
                </a:ext>
              </a:extLst>
            </p:cNvPr>
            <p:cNvSpPr>
              <a:spLocks/>
            </p:cNvSpPr>
            <p:nvPr/>
          </p:nvSpPr>
          <p:spPr bwMode="auto">
            <a:xfrm>
              <a:off x="18240787" y="4288042"/>
              <a:ext cx="382414" cy="364732"/>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8" name="Freeform 94">
              <a:extLst>
                <a:ext uri="{FF2B5EF4-FFF2-40B4-BE49-F238E27FC236}">
                  <a16:creationId xmlns:a16="http://schemas.microsoft.com/office/drawing/2014/main" id="{7F8E14A9-E4F4-F2D7-B6D6-FDEB88A8CE77}"/>
                </a:ext>
              </a:extLst>
            </p:cNvPr>
            <p:cNvSpPr>
              <a:spLocks/>
            </p:cNvSpPr>
            <p:nvPr/>
          </p:nvSpPr>
          <p:spPr bwMode="auto">
            <a:xfrm>
              <a:off x="18327553" y="4198064"/>
              <a:ext cx="171925" cy="181563"/>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79" name="Freeform 95">
              <a:extLst>
                <a:ext uri="{FF2B5EF4-FFF2-40B4-BE49-F238E27FC236}">
                  <a16:creationId xmlns:a16="http://schemas.microsoft.com/office/drawing/2014/main" id="{EB83C99B-4AF0-7B5E-7081-C7BEBCD61F02}"/>
                </a:ext>
              </a:extLst>
            </p:cNvPr>
            <p:cNvSpPr>
              <a:spLocks/>
            </p:cNvSpPr>
            <p:nvPr/>
          </p:nvSpPr>
          <p:spPr bwMode="auto">
            <a:xfrm>
              <a:off x="18467343" y="4360346"/>
              <a:ext cx="44990" cy="65877"/>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0" name="Freeform 96">
              <a:extLst>
                <a:ext uri="{FF2B5EF4-FFF2-40B4-BE49-F238E27FC236}">
                  <a16:creationId xmlns:a16="http://schemas.microsoft.com/office/drawing/2014/main" id="{3FC46CAC-DAE7-69B6-7139-6259605B03F5}"/>
                </a:ext>
              </a:extLst>
            </p:cNvPr>
            <p:cNvSpPr>
              <a:spLocks/>
            </p:cNvSpPr>
            <p:nvPr/>
          </p:nvSpPr>
          <p:spPr bwMode="auto">
            <a:xfrm>
              <a:off x="17736258" y="4578864"/>
              <a:ext cx="482035" cy="60092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1" name="Freeform 97">
              <a:extLst>
                <a:ext uri="{FF2B5EF4-FFF2-40B4-BE49-F238E27FC236}">
                  <a16:creationId xmlns:a16="http://schemas.microsoft.com/office/drawing/2014/main" id="{4306564D-556C-0F29-BA7F-92626CDDFB41}"/>
                </a:ext>
              </a:extLst>
            </p:cNvPr>
            <p:cNvSpPr>
              <a:spLocks/>
            </p:cNvSpPr>
            <p:nvPr/>
          </p:nvSpPr>
          <p:spPr bwMode="auto">
            <a:xfrm>
              <a:off x="18268102" y="4596539"/>
              <a:ext cx="202455" cy="297249"/>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2" name="Freeform 98">
              <a:extLst>
                <a:ext uri="{FF2B5EF4-FFF2-40B4-BE49-F238E27FC236}">
                  <a16:creationId xmlns:a16="http://schemas.microsoft.com/office/drawing/2014/main" id="{08A04166-4843-5192-8803-036037A6012F}"/>
                </a:ext>
              </a:extLst>
            </p:cNvPr>
            <p:cNvSpPr>
              <a:spLocks/>
            </p:cNvSpPr>
            <p:nvPr/>
          </p:nvSpPr>
          <p:spPr bwMode="auto">
            <a:xfrm>
              <a:off x="18168482" y="4622247"/>
              <a:ext cx="131756" cy="175135"/>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3" name="Freeform 99">
              <a:extLst>
                <a:ext uri="{FF2B5EF4-FFF2-40B4-BE49-F238E27FC236}">
                  <a16:creationId xmlns:a16="http://schemas.microsoft.com/office/drawing/2014/main" id="{6C69D7A7-B9D1-8D1B-E732-2DA621D4B55C}"/>
                </a:ext>
              </a:extLst>
            </p:cNvPr>
            <p:cNvSpPr>
              <a:spLocks/>
            </p:cNvSpPr>
            <p:nvPr/>
          </p:nvSpPr>
          <p:spPr bwMode="auto">
            <a:xfrm>
              <a:off x="17716975" y="4927530"/>
              <a:ext cx="318143" cy="384013"/>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4" name="Freeform 100">
              <a:extLst>
                <a:ext uri="{FF2B5EF4-FFF2-40B4-BE49-F238E27FC236}">
                  <a16:creationId xmlns:a16="http://schemas.microsoft.com/office/drawing/2014/main" id="{042F54F9-1217-4178-C645-9EBA5CDA486A}"/>
                </a:ext>
              </a:extLst>
            </p:cNvPr>
            <p:cNvSpPr>
              <a:spLocks/>
            </p:cNvSpPr>
            <p:nvPr/>
          </p:nvSpPr>
          <p:spPr bwMode="auto">
            <a:xfrm>
              <a:off x="17978882" y="4999833"/>
              <a:ext cx="289221" cy="313317"/>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5" name="Freeform 101">
              <a:extLst>
                <a:ext uri="{FF2B5EF4-FFF2-40B4-BE49-F238E27FC236}">
                  <a16:creationId xmlns:a16="http://schemas.microsoft.com/office/drawing/2014/main" id="{C1F42A35-0D6A-841C-2303-318F7B999458}"/>
                </a:ext>
              </a:extLst>
            </p:cNvPr>
            <p:cNvSpPr>
              <a:spLocks/>
            </p:cNvSpPr>
            <p:nvPr/>
          </p:nvSpPr>
          <p:spPr bwMode="auto">
            <a:xfrm>
              <a:off x="18178122" y="5073744"/>
              <a:ext cx="271546" cy="507733"/>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6" name="Freeform 102">
              <a:extLst>
                <a:ext uri="{FF2B5EF4-FFF2-40B4-BE49-F238E27FC236}">
                  <a16:creationId xmlns:a16="http://schemas.microsoft.com/office/drawing/2014/main" id="{09B543D0-9A49-A33F-FDFF-764CD8CA2C6D}"/>
                </a:ext>
              </a:extLst>
            </p:cNvPr>
            <p:cNvSpPr>
              <a:spLocks/>
            </p:cNvSpPr>
            <p:nvPr/>
          </p:nvSpPr>
          <p:spPr bwMode="auto">
            <a:xfrm>
              <a:off x="17716975" y="5263340"/>
              <a:ext cx="342245" cy="390441"/>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7" name="Freeform 103">
              <a:extLst>
                <a:ext uri="{FF2B5EF4-FFF2-40B4-BE49-F238E27FC236}">
                  <a16:creationId xmlns:a16="http://schemas.microsoft.com/office/drawing/2014/main" id="{247A1557-69EA-EFE3-B487-B431F39C3E66}"/>
                </a:ext>
              </a:extLst>
            </p:cNvPr>
            <p:cNvSpPr>
              <a:spLocks/>
            </p:cNvSpPr>
            <p:nvPr/>
          </p:nvSpPr>
          <p:spPr bwMode="auto">
            <a:xfrm>
              <a:off x="17932285" y="5295475"/>
              <a:ext cx="226556" cy="295642"/>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8" name="Freeform 104">
              <a:extLst>
                <a:ext uri="{FF2B5EF4-FFF2-40B4-BE49-F238E27FC236}">
                  <a16:creationId xmlns:a16="http://schemas.microsoft.com/office/drawing/2014/main" id="{10D23AC5-65FA-183F-77AE-947FF8FF39E8}"/>
                </a:ext>
              </a:extLst>
            </p:cNvPr>
            <p:cNvSpPr>
              <a:spLocks/>
            </p:cNvSpPr>
            <p:nvPr/>
          </p:nvSpPr>
          <p:spPr bwMode="auto">
            <a:xfrm>
              <a:off x="18059220" y="5226385"/>
              <a:ext cx="199241" cy="215305"/>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89" name="Freeform 105">
              <a:extLst>
                <a:ext uri="{FF2B5EF4-FFF2-40B4-BE49-F238E27FC236}">
                  <a16:creationId xmlns:a16="http://schemas.microsoft.com/office/drawing/2014/main" id="{822BFC31-81D7-B93B-4F5A-8DDC11DDFF36}"/>
                </a:ext>
              </a:extLst>
            </p:cNvPr>
            <p:cNvSpPr>
              <a:spLocks/>
            </p:cNvSpPr>
            <p:nvPr/>
          </p:nvSpPr>
          <p:spPr bwMode="auto">
            <a:xfrm>
              <a:off x="17842305" y="5432050"/>
              <a:ext cx="408123" cy="414542"/>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0" name="Freeform 106">
              <a:extLst>
                <a:ext uri="{FF2B5EF4-FFF2-40B4-BE49-F238E27FC236}">
                  <a16:creationId xmlns:a16="http://schemas.microsoft.com/office/drawing/2014/main" id="{D695A7F6-9BE0-1CDA-137E-2EA70D27388F}"/>
                </a:ext>
              </a:extLst>
            </p:cNvPr>
            <p:cNvSpPr>
              <a:spLocks/>
            </p:cNvSpPr>
            <p:nvPr/>
          </p:nvSpPr>
          <p:spPr bwMode="auto">
            <a:xfrm>
              <a:off x="18097783" y="5628074"/>
              <a:ext cx="70699" cy="85158"/>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1" name="Freeform 107">
              <a:extLst>
                <a:ext uri="{FF2B5EF4-FFF2-40B4-BE49-F238E27FC236}">
                  <a16:creationId xmlns:a16="http://schemas.microsoft.com/office/drawing/2014/main" id="{DE3DFF1A-9B56-5959-BF0B-0F34899C96E1}"/>
                </a:ext>
              </a:extLst>
            </p:cNvPr>
            <p:cNvSpPr>
              <a:spLocks/>
            </p:cNvSpPr>
            <p:nvPr/>
          </p:nvSpPr>
          <p:spPr bwMode="auto">
            <a:xfrm>
              <a:off x="18194190" y="5541308"/>
              <a:ext cx="36956" cy="59450"/>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2" name="Freeform 108">
              <a:extLst>
                <a:ext uri="{FF2B5EF4-FFF2-40B4-BE49-F238E27FC236}">
                  <a16:creationId xmlns:a16="http://schemas.microsoft.com/office/drawing/2014/main" id="{9FBEE532-2FDE-0BC1-F621-ABCDB340BB90}"/>
                </a:ext>
              </a:extLst>
            </p:cNvPr>
            <p:cNvSpPr>
              <a:spLocks/>
            </p:cNvSpPr>
            <p:nvPr/>
          </p:nvSpPr>
          <p:spPr bwMode="auto">
            <a:xfrm>
              <a:off x="18240787" y="5040002"/>
              <a:ext cx="86766" cy="242620"/>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3" name="Freeform 109">
              <a:extLst>
                <a:ext uri="{FF2B5EF4-FFF2-40B4-BE49-F238E27FC236}">
                  <a16:creationId xmlns:a16="http://schemas.microsoft.com/office/drawing/2014/main" id="{CA2ECF39-92FF-5A60-303D-DFCBC495B7FA}"/>
                </a:ext>
              </a:extLst>
            </p:cNvPr>
            <p:cNvSpPr>
              <a:spLocks/>
            </p:cNvSpPr>
            <p:nvPr/>
          </p:nvSpPr>
          <p:spPr bwMode="auto">
            <a:xfrm>
              <a:off x="17760359" y="4026142"/>
              <a:ext cx="274759" cy="499700"/>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4" name="Freeform 110">
              <a:extLst>
                <a:ext uri="{FF2B5EF4-FFF2-40B4-BE49-F238E27FC236}">
                  <a16:creationId xmlns:a16="http://schemas.microsoft.com/office/drawing/2014/main" id="{92EDF7E6-AF02-A587-42D0-1762ABB47913}"/>
                </a:ext>
              </a:extLst>
            </p:cNvPr>
            <p:cNvSpPr>
              <a:spLocks/>
            </p:cNvSpPr>
            <p:nvPr/>
          </p:nvSpPr>
          <p:spPr bwMode="auto">
            <a:xfrm>
              <a:off x="17435789" y="4026142"/>
              <a:ext cx="403302" cy="367946"/>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5" name="Freeform 111">
              <a:extLst>
                <a:ext uri="{FF2B5EF4-FFF2-40B4-BE49-F238E27FC236}">
                  <a16:creationId xmlns:a16="http://schemas.microsoft.com/office/drawing/2014/main" id="{3394C964-D006-42D7-6611-0DE540916F4D}"/>
                </a:ext>
              </a:extLst>
            </p:cNvPr>
            <p:cNvSpPr>
              <a:spLocks/>
            </p:cNvSpPr>
            <p:nvPr/>
          </p:nvSpPr>
          <p:spPr bwMode="auto">
            <a:xfrm>
              <a:off x="17127287" y="3976333"/>
              <a:ext cx="414549" cy="477205"/>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6" name="Freeform 112">
              <a:extLst>
                <a:ext uri="{FF2B5EF4-FFF2-40B4-BE49-F238E27FC236}">
                  <a16:creationId xmlns:a16="http://schemas.microsoft.com/office/drawing/2014/main" id="{0D6E7618-F690-E19E-4EC9-0E30954A088F}"/>
                </a:ext>
              </a:extLst>
            </p:cNvPr>
            <p:cNvSpPr>
              <a:spLocks/>
            </p:cNvSpPr>
            <p:nvPr/>
          </p:nvSpPr>
          <p:spPr bwMode="auto">
            <a:xfrm>
              <a:off x="17009992" y="3905635"/>
              <a:ext cx="308502" cy="398474"/>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7" name="Freeform 113">
              <a:extLst>
                <a:ext uri="{FF2B5EF4-FFF2-40B4-BE49-F238E27FC236}">
                  <a16:creationId xmlns:a16="http://schemas.microsoft.com/office/drawing/2014/main" id="{583901FD-314D-04CB-9495-2F412748F369}"/>
                </a:ext>
              </a:extLst>
            </p:cNvPr>
            <p:cNvSpPr>
              <a:spLocks/>
            </p:cNvSpPr>
            <p:nvPr/>
          </p:nvSpPr>
          <p:spPr bwMode="auto">
            <a:xfrm>
              <a:off x="17504881" y="4323391"/>
              <a:ext cx="298861" cy="29885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8" name="Freeform 114">
              <a:extLst>
                <a:ext uri="{FF2B5EF4-FFF2-40B4-BE49-F238E27FC236}">
                  <a16:creationId xmlns:a16="http://schemas.microsoft.com/office/drawing/2014/main" id="{19D44503-CDD6-E69D-9EDA-49EE3ECBA977}"/>
                </a:ext>
              </a:extLst>
            </p:cNvPr>
            <p:cNvSpPr>
              <a:spLocks/>
            </p:cNvSpPr>
            <p:nvPr/>
          </p:nvSpPr>
          <p:spPr bwMode="auto">
            <a:xfrm>
              <a:off x="17789281" y="4416582"/>
              <a:ext cx="326177" cy="268327"/>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799" name="Freeform 115">
              <a:extLst>
                <a:ext uri="{FF2B5EF4-FFF2-40B4-BE49-F238E27FC236}">
                  <a16:creationId xmlns:a16="http://schemas.microsoft.com/office/drawing/2014/main" id="{4560411A-5EFC-AAB3-74A3-EE4350964AEF}"/>
                </a:ext>
              </a:extLst>
            </p:cNvPr>
            <p:cNvSpPr>
              <a:spLocks/>
            </p:cNvSpPr>
            <p:nvPr/>
          </p:nvSpPr>
          <p:spPr bwMode="auto">
            <a:xfrm>
              <a:off x="17644671" y="4350706"/>
              <a:ext cx="194421" cy="351879"/>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0" name="Freeform 116">
              <a:extLst>
                <a:ext uri="{FF2B5EF4-FFF2-40B4-BE49-F238E27FC236}">
                  <a16:creationId xmlns:a16="http://schemas.microsoft.com/office/drawing/2014/main" id="{3FE65AB2-5EC8-8988-124A-EDC83E2C1C28}"/>
                </a:ext>
              </a:extLst>
            </p:cNvPr>
            <p:cNvSpPr>
              <a:spLocks/>
            </p:cNvSpPr>
            <p:nvPr/>
          </p:nvSpPr>
          <p:spPr bwMode="auto">
            <a:xfrm>
              <a:off x="17733043" y="4884147"/>
              <a:ext cx="27315" cy="43383"/>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1" name="Freeform 117">
              <a:extLst>
                <a:ext uri="{FF2B5EF4-FFF2-40B4-BE49-F238E27FC236}">
                  <a16:creationId xmlns:a16="http://schemas.microsoft.com/office/drawing/2014/main" id="{A0CFB7E8-08C0-1981-81F8-C551E551E4CB}"/>
                </a:ext>
              </a:extLst>
            </p:cNvPr>
            <p:cNvSpPr>
              <a:spLocks/>
            </p:cNvSpPr>
            <p:nvPr/>
          </p:nvSpPr>
          <p:spPr bwMode="auto">
            <a:xfrm>
              <a:off x="17707335" y="4638314"/>
              <a:ext cx="189600" cy="269934"/>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2" name="Freeform 118">
              <a:extLst>
                <a:ext uri="{FF2B5EF4-FFF2-40B4-BE49-F238E27FC236}">
                  <a16:creationId xmlns:a16="http://schemas.microsoft.com/office/drawing/2014/main" id="{515C91F3-2AB6-BB5C-C49A-64F9F355186B}"/>
                </a:ext>
              </a:extLst>
            </p:cNvPr>
            <p:cNvSpPr>
              <a:spLocks/>
            </p:cNvSpPr>
            <p:nvPr/>
          </p:nvSpPr>
          <p:spPr bwMode="auto">
            <a:xfrm>
              <a:off x="17644671" y="4681697"/>
              <a:ext cx="149431" cy="189597"/>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3" name="Freeform 119">
              <a:extLst>
                <a:ext uri="{FF2B5EF4-FFF2-40B4-BE49-F238E27FC236}">
                  <a16:creationId xmlns:a16="http://schemas.microsoft.com/office/drawing/2014/main" id="{EE066710-78E1-0611-AFD9-C7BAF02B1679}"/>
                </a:ext>
              </a:extLst>
            </p:cNvPr>
            <p:cNvSpPr>
              <a:spLocks/>
            </p:cNvSpPr>
            <p:nvPr/>
          </p:nvSpPr>
          <p:spPr bwMode="auto">
            <a:xfrm>
              <a:off x="17663952" y="4681697"/>
              <a:ext cx="49810" cy="43383"/>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4" name="Freeform 120">
              <a:extLst>
                <a:ext uri="{FF2B5EF4-FFF2-40B4-BE49-F238E27FC236}">
                  <a16:creationId xmlns:a16="http://schemas.microsoft.com/office/drawing/2014/main" id="{3C60BF83-24BF-1012-D65B-DE18E05332A1}"/>
                </a:ext>
              </a:extLst>
            </p:cNvPr>
            <p:cNvSpPr>
              <a:spLocks/>
            </p:cNvSpPr>
            <p:nvPr/>
          </p:nvSpPr>
          <p:spPr bwMode="auto">
            <a:xfrm>
              <a:off x="17636637" y="4638314"/>
              <a:ext cx="17675" cy="17674"/>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5" name="Freeform 121">
              <a:extLst>
                <a:ext uri="{FF2B5EF4-FFF2-40B4-BE49-F238E27FC236}">
                  <a16:creationId xmlns:a16="http://schemas.microsoft.com/office/drawing/2014/main" id="{BE2EE60D-A643-06D0-2AFE-F37B859AF217}"/>
                </a:ext>
              </a:extLst>
            </p:cNvPr>
            <p:cNvSpPr>
              <a:spLocks/>
            </p:cNvSpPr>
            <p:nvPr/>
          </p:nvSpPr>
          <p:spPr bwMode="auto">
            <a:xfrm>
              <a:off x="17588434" y="4741146"/>
              <a:ext cx="16068" cy="11247"/>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6" name="Freeform 122">
              <a:extLst>
                <a:ext uri="{FF2B5EF4-FFF2-40B4-BE49-F238E27FC236}">
                  <a16:creationId xmlns:a16="http://schemas.microsoft.com/office/drawing/2014/main" id="{B0482D02-0BF1-DFB9-4DB7-186394B15E61}"/>
                </a:ext>
              </a:extLst>
            </p:cNvPr>
            <p:cNvSpPr>
              <a:spLocks/>
            </p:cNvSpPr>
            <p:nvPr/>
          </p:nvSpPr>
          <p:spPr bwMode="auto">
            <a:xfrm>
              <a:off x="18141166" y="4781315"/>
              <a:ext cx="56237" cy="59450"/>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7" name="Freeform 123">
              <a:extLst>
                <a:ext uri="{FF2B5EF4-FFF2-40B4-BE49-F238E27FC236}">
                  <a16:creationId xmlns:a16="http://schemas.microsoft.com/office/drawing/2014/main" id="{40BD0258-0732-73D6-F303-259F2469D9E4}"/>
                </a:ext>
              </a:extLst>
            </p:cNvPr>
            <p:cNvSpPr>
              <a:spLocks/>
            </p:cNvSpPr>
            <p:nvPr/>
          </p:nvSpPr>
          <p:spPr bwMode="auto">
            <a:xfrm>
              <a:off x="18150807" y="4821484"/>
              <a:ext cx="57844" cy="69090"/>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8" name="Freeform 124">
              <a:extLst>
                <a:ext uri="{FF2B5EF4-FFF2-40B4-BE49-F238E27FC236}">
                  <a16:creationId xmlns:a16="http://schemas.microsoft.com/office/drawing/2014/main" id="{275F3CDB-145B-4102-C826-8B1A7D06856A}"/>
                </a:ext>
              </a:extLst>
            </p:cNvPr>
            <p:cNvSpPr>
              <a:spLocks/>
            </p:cNvSpPr>
            <p:nvPr/>
          </p:nvSpPr>
          <p:spPr bwMode="auto">
            <a:xfrm>
              <a:off x="17295999" y="4281615"/>
              <a:ext cx="199241" cy="1847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09" name="Freeform 125">
              <a:extLst>
                <a:ext uri="{FF2B5EF4-FFF2-40B4-BE49-F238E27FC236}">
                  <a16:creationId xmlns:a16="http://schemas.microsoft.com/office/drawing/2014/main" id="{51F35E67-85F4-C31F-192C-6C119DB15444}"/>
                </a:ext>
              </a:extLst>
            </p:cNvPr>
            <p:cNvSpPr>
              <a:spLocks/>
            </p:cNvSpPr>
            <p:nvPr/>
          </p:nvSpPr>
          <p:spPr bwMode="auto">
            <a:xfrm>
              <a:off x="17451857" y="4366773"/>
              <a:ext cx="86766" cy="192810"/>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0" name="Freeform 126">
              <a:extLst>
                <a:ext uri="{FF2B5EF4-FFF2-40B4-BE49-F238E27FC236}">
                  <a16:creationId xmlns:a16="http://schemas.microsoft.com/office/drawing/2014/main" id="{A6A0D178-C72A-543F-B9E8-F091811EDC0D}"/>
                </a:ext>
              </a:extLst>
            </p:cNvPr>
            <p:cNvSpPr>
              <a:spLocks/>
            </p:cNvSpPr>
            <p:nvPr/>
          </p:nvSpPr>
          <p:spPr bwMode="auto">
            <a:xfrm>
              <a:off x="17222087" y="4416582"/>
              <a:ext cx="157465" cy="202450"/>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1" name="Freeform 127">
              <a:extLst>
                <a:ext uri="{FF2B5EF4-FFF2-40B4-BE49-F238E27FC236}">
                  <a16:creationId xmlns:a16="http://schemas.microsoft.com/office/drawing/2014/main" id="{40B647E9-F710-0B25-43CC-423890800DC7}"/>
                </a:ext>
              </a:extLst>
            </p:cNvPr>
            <p:cNvSpPr>
              <a:spLocks/>
            </p:cNvSpPr>
            <p:nvPr/>
          </p:nvSpPr>
          <p:spPr bwMode="auto">
            <a:xfrm>
              <a:off x="17352236" y="4410155"/>
              <a:ext cx="115688" cy="202450"/>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2" name="Freeform 128">
              <a:extLst>
                <a:ext uri="{FF2B5EF4-FFF2-40B4-BE49-F238E27FC236}">
                  <a16:creationId xmlns:a16="http://schemas.microsoft.com/office/drawing/2014/main" id="{C2C5E6D2-D0A7-4D5D-56F6-E558BA102B30}"/>
                </a:ext>
              </a:extLst>
            </p:cNvPr>
            <p:cNvSpPr>
              <a:spLocks/>
            </p:cNvSpPr>
            <p:nvPr/>
          </p:nvSpPr>
          <p:spPr bwMode="auto">
            <a:xfrm>
              <a:off x="17432576" y="4410155"/>
              <a:ext cx="48203" cy="155855"/>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3" name="Freeform 129">
              <a:extLst>
                <a:ext uri="{FF2B5EF4-FFF2-40B4-BE49-F238E27FC236}">
                  <a16:creationId xmlns:a16="http://schemas.microsoft.com/office/drawing/2014/main" id="{E48A51B0-D68E-3263-39DC-4C5CCE49DB6D}"/>
                </a:ext>
              </a:extLst>
            </p:cNvPr>
            <p:cNvSpPr>
              <a:spLocks/>
            </p:cNvSpPr>
            <p:nvPr/>
          </p:nvSpPr>
          <p:spPr bwMode="auto">
            <a:xfrm>
              <a:off x="17109612" y="3621240"/>
              <a:ext cx="305289" cy="271541"/>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4" name="Freeform 130">
              <a:extLst>
                <a:ext uri="{FF2B5EF4-FFF2-40B4-BE49-F238E27FC236}">
                  <a16:creationId xmlns:a16="http://schemas.microsoft.com/office/drawing/2014/main" id="{496F74D7-76C0-0D6D-11A9-660DA26C6382}"/>
                </a:ext>
              </a:extLst>
            </p:cNvPr>
            <p:cNvSpPr>
              <a:spLocks/>
            </p:cNvSpPr>
            <p:nvPr/>
          </p:nvSpPr>
          <p:spPr bwMode="auto">
            <a:xfrm>
              <a:off x="17009992" y="3892781"/>
              <a:ext cx="212095" cy="22173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5" name="Freeform 131">
              <a:extLst>
                <a:ext uri="{FF2B5EF4-FFF2-40B4-BE49-F238E27FC236}">
                  <a16:creationId xmlns:a16="http://schemas.microsoft.com/office/drawing/2014/main" id="{A026599A-643B-26CF-B2E4-A439A26F9BF6}"/>
                </a:ext>
              </a:extLst>
            </p:cNvPr>
            <p:cNvSpPr>
              <a:spLocks/>
            </p:cNvSpPr>
            <p:nvPr/>
          </p:nvSpPr>
          <p:spPr bwMode="auto">
            <a:xfrm>
              <a:off x="17037308" y="3876714"/>
              <a:ext cx="19281" cy="16068"/>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6" name="Freeform 132">
              <a:extLst>
                <a:ext uri="{FF2B5EF4-FFF2-40B4-BE49-F238E27FC236}">
                  <a16:creationId xmlns:a16="http://schemas.microsoft.com/office/drawing/2014/main" id="{EF57EC9F-DDA5-A34B-30BA-5603FF372595}"/>
                </a:ext>
              </a:extLst>
            </p:cNvPr>
            <p:cNvSpPr>
              <a:spLocks/>
            </p:cNvSpPr>
            <p:nvPr/>
          </p:nvSpPr>
          <p:spPr bwMode="auto">
            <a:xfrm>
              <a:off x="17071050" y="3859039"/>
              <a:ext cx="25709" cy="24102"/>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7" name="Freeform 133">
              <a:extLst>
                <a:ext uri="{FF2B5EF4-FFF2-40B4-BE49-F238E27FC236}">
                  <a16:creationId xmlns:a16="http://schemas.microsoft.com/office/drawing/2014/main" id="{5F4BC3A9-6B2F-E5A2-12A1-43D9B727A5E4}"/>
                </a:ext>
              </a:extLst>
            </p:cNvPr>
            <p:cNvSpPr>
              <a:spLocks/>
            </p:cNvSpPr>
            <p:nvPr/>
          </p:nvSpPr>
          <p:spPr bwMode="auto">
            <a:xfrm>
              <a:off x="17090331" y="3842971"/>
              <a:ext cx="9641" cy="16068"/>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8" name="Freeform 134">
              <a:extLst>
                <a:ext uri="{FF2B5EF4-FFF2-40B4-BE49-F238E27FC236}">
                  <a16:creationId xmlns:a16="http://schemas.microsoft.com/office/drawing/2014/main" id="{3A0C8D6C-7971-4472-C363-F033F3B8EF70}"/>
                </a:ext>
              </a:extLst>
            </p:cNvPr>
            <p:cNvSpPr>
              <a:spLocks/>
            </p:cNvSpPr>
            <p:nvPr/>
          </p:nvSpPr>
          <p:spPr bwMode="auto">
            <a:xfrm>
              <a:off x="17009992" y="3862252"/>
              <a:ext cx="24102" cy="24102"/>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19" name="Freeform 135">
              <a:extLst>
                <a:ext uri="{FF2B5EF4-FFF2-40B4-BE49-F238E27FC236}">
                  <a16:creationId xmlns:a16="http://schemas.microsoft.com/office/drawing/2014/main" id="{E6EDEE76-C084-5AA6-D859-2375D3B586EA}"/>
                </a:ext>
              </a:extLst>
            </p:cNvPr>
            <p:cNvSpPr>
              <a:spLocks/>
            </p:cNvSpPr>
            <p:nvPr/>
          </p:nvSpPr>
          <p:spPr bwMode="auto">
            <a:xfrm>
              <a:off x="16987497" y="3852613"/>
              <a:ext cx="9641" cy="17674"/>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0" name="Freeform 136">
              <a:extLst>
                <a:ext uri="{FF2B5EF4-FFF2-40B4-BE49-F238E27FC236}">
                  <a16:creationId xmlns:a16="http://schemas.microsoft.com/office/drawing/2014/main" id="{C2DEB8B7-BA48-2497-94BE-475D60C76ED6}"/>
                </a:ext>
              </a:extLst>
            </p:cNvPr>
            <p:cNvSpPr>
              <a:spLocks/>
            </p:cNvSpPr>
            <p:nvPr/>
          </p:nvSpPr>
          <p:spPr bwMode="auto">
            <a:xfrm>
              <a:off x="17000352" y="3876714"/>
              <a:ext cx="9641" cy="6427"/>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1" name="Freeform 137">
              <a:extLst>
                <a:ext uri="{FF2B5EF4-FFF2-40B4-BE49-F238E27FC236}">
                  <a16:creationId xmlns:a16="http://schemas.microsoft.com/office/drawing/2014/main" id="{88EEDF3E-22D7-BCCA-F9FC-0D6E87934AA3}"/>
                </a:ext>
              </a:extLst>
            </p:cNvPr>
            <p:cNvSpPr>
              <a:spLocks/>
            </p:cNvSpPr>
            <p:nvPr/>
          </p:nvSpPr>
          <p:spPr bwMode="auto">
            <a:xfrm>
              <a:off x="16981070" y="3886354"/>
              <a:ext cx="9641" cy="9640"/>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2" name="Freeform 138">
              <a:extLst>
                <a:ext uri="{FF2B5EF4-FFF2-40B4-BE49-F238E27FC236}">
                  <a16:creationId xmlns:a16="http://schemas.microsoft.com/office/drawing/2014/main" id="{84E68F2C-CDA2-8A9A-4BF1-7FA7C01CD327}"/>
                </a:ext>
              </a:extLst>
            </p:cNvPr>
            <p:cNvSpPr>
              <a:spLocks/>
            </p:cNvSpPr>
            <p:nvPr/>
          </p:nvSpPr>
          <p:spPr bwMode="auto">
            <a:xfrm>
              <a:off x="17152996" y="4490493"/>
              <a:ext cx="99621" cy="131754"/>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3" name="Freeform 139">
              <a:extLst>
                <a:ext uri="{FF2B5EF4-FFF2-40B4-BE49-F238E27FC236}">
                  <a16:creationId xmlns:a16="http://schemas.microsoft.com/office/drawing/2014/main" id="{5C2626F7-0854-7D35-F28A-6B6AFE289525}"/>
                </a:ext>
              </a:extLst>
            </p:cNvPr>
            <p:cNvSpPr>
              <a:spLocks/>
            </p:cNvSpPr>
            <p:nvPr/>
          </p:nvSpPr>
          <p:spPr bwMode="auto">
            <a:xfrm>
              <a:off x="17106399" y="4443897"/>
              <a:ext cx="73912" cy="96405"/>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4" name="Freeform 140">
              <a:extLst>
                <a:ext uri="{FF2B5EF4-FFF2-40B4-BE49-F238E27FC236}">
                  <a16:creationId xmlns:a16="http://schemas.microsoft.com/office/drawing/2014/main" id="{7A41C145-469D-46FF-7BBD-2A24B3C2C374}"/>
                </a:ext>
              </a:extLst>
            </p:cNvPr>
            <p:cNvSpPr>
              <a:spLocks/>
            </p:cNvSpPr>
            <p:nvPr/>
          </p:nvSpPr>
          <p:spPr bwMode="auto">
            <a:xfrm>
              <a:off x="17000352" y="4241446"/>
              <a:ext cx="159071" cy="134967"/>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5" name="Freeform 141">
              <a:extLst>
                <a:ext uri="{FF2B5EF4-FFF2-40B4-BE49-F238E27FC236}">
                  <a16:creationId xmlns:a16="http://schemas.microsoft.com/office/drawing/2014/main" id="{A8B7E1B9-01EF-FA02-53AE-5E1C2BEB3FFC}"/>
                </a:ext>
              </a:extLst>
            </p:cNvPr>
            <p:cNvSpPr>
              <a:spLocks/>
            </p:cNvSpPr>
            <p:nvPr/>
          </p:nvSpPr>
          <p:spPr bwMode="auto">
            <a:xfrm>
              <a:off x="17016419" y="4329818"/>
              <a:ext cx="80339" cy="27315"/>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6" name="Freeform 142">
              <a:extLst>
                <a:ext uri="{FF2B5EF4-FFF2-40B4-BE49-F238E27FC236}">
                  <a16:creationId xmlns:a16="http://schemas.microsoft.com/office/drawing/2014/main" id="{D38CE408-FFFA-CA45-3ECF-BA6FC90AECAD}"/>
                </a:ext>
              </a:extLst>
            </p:cNvPr>
            <p:cNvSpPr>
              <a:spLocks/>
            </p:cNvSpPr>
            <p:nvPr/>
          </p:nvSpPr>
          <p:spPr bwMode="auto">
            <a:xfrm>
              <a:off x="17063016" y="4366773"/>
              <a:ext cx="186387" cy="173529"/>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7" name="Freeform 143">
              <a:extLst>
                <a:ext uri="{FF2B5EF4-FFF2-40B4-BE49-F238E27FC236}">
                  <a16:creationId xmlns:a16="http://schemas.microsoft.com/office/drawing/2014/main" id="{BC81FBE5-DAD5-7741-E816-5815B134A650}"/>
                </a:ext>
              </a:extLst>
            </p:cNvPr>
            <p:cNvSpPr>
              <a:spLocks/>
            </p:cNvSpPr>
            <p:nvPr/>
          </p:nvSpPr>
          <p:spPr bwMode="auto">
            <a:xfrm>
              <a:off x="17024453" y="4360346"/>
              <a:ext cx="75519" cy="59450"/>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8" name="Freeform 144">
              <a:extLst>
                <a:ext uri="{FF2B5EF4-FFF2-40B4-BE49-F238E27FC236}">
                  <a16:creationId xmlns:a16="http://schemas.microsoft.com/office/drawing/2014/main" id="{65D4FCFE-D1E0-8D4F-597A-10FE80679C34}"/>
                </a:ext>
              </a:extLst>
            </p:cNvPr>
            <p:cNvSpPr>
              <a:spLocks/>
            </p:cNvSpPr>
            <p:nvPr/>
          </p:nvSpPr>
          <p:spPr bwMode="auto">
            <a:xfrm>
              <a:off x="17034094" y="4384448"/>
              <a:ext cx="3213" cy="9640"/>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29" name="Freeform 145">
              <a:extLst>
                <a:ext uri="{FF2B5EF4-FFF2-40B4-BE49-F238E27FC236}">
                  <a16:creationId xmlns:a16="http://schemas.microsoft.com/office/drawing/2014/main" id="{F42AA367-8ECD-6B17-CB99-D4407B58F2AF}"/>
                </a:ext>
              </a:extLst>
            </p:cNvPr>
            <p:cNvSpPr>
              <a:spLocks/>
            </p:cNvSpPr>
            <p:nvPr/>
          </p:nvSpPr>
          <p:spPr bwMode="auto">
            <a:xfrm>
              <a:off x="17034094" y="4394088"/>
              <a:ext cx="9641" cy="12854"/>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0" name="Freeform 146">
              <a:extLst>
                <a:ext uri="{FF2B5EF4-FFF2-40B4-BE49-F238E27FC236}">
                  <a16:creationId xmlns:a16="http://schemas.microsoft.com/office/drawing/2014/main" id="{32AFCFC9-181D-9372-034B-FF3BA9085F7F}"/>
                </a:ext>
              </a:extLst>
            </p:cNvPr>
            <p:cNvSpPr>
              <a:spLocks/>
            </p:cNvSpPr>
            <p:nvPr/>
          </p:nvSpPr>
          <p:spPr bwMode="auto">
            <a:xfrm>
              <a:off x="17034094" y="4410155"/>
              <a:ext cx="3213" cy="9640"/>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1" name="Freeform 147">
              <a:extLst>
                <a:ext uri="{FF2B5EF4-FFF2-40B4-BE49-F238E27FC236}">
                  <a16:creationId xmlns:a16="http://schemas.microsoft.com/office/drawing/2014/main" id="{385213ED-8B15-B370-BE20-C1EAEF960EE9}"/>
                </a:ext>
              </a:extLst>
            </p:cNvPr>
            <p:cNvSpPr>
              <a:spLocks/>
            </p:cNvSpPr>
            <p:nvPr/>
          </p:nvSpPr>
          <p:spPr bwMode="auto">
            <a:xfrm>
              <a:off x="17037308" y="4410155"/>
              <a:ext cx="6427" cy="6427"/>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2" name="Freeform 148">
              <a:extLst>
                <a:ext uri="{FF2B5EF4-FFF2-40B4-BE49-F238E27FC236}">
                  <a16:creationId xmlns:a16="http://schemas.microsoft.com/office/drawing/2014/main" id="{B83A7029-1E05-0DA1-ADE9-B0281D026BC0}"/>
                </a:ext>
              </a:extLst>
            </p:cNvPr>
            <p:cNvSpPr>
              <a:spLocks/>
            </p:cNvSpPr>
            <p:nvPr/>
          </p:nvSpPr>
          <p:spPr bwMode="auto">
            <a:xfrm>
              <a:off x="17043734" y="4406942"/>
              <a:ext cx="3213" cy="3213"/>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3" name="Freeform 149">
              <a:extLst>
                <a:ext uri="{FF2B5EF4-FFF2-40B4-BE49-F238E27FC236}">
                  <a16:creationId xmlns:a16="http://schemas.microsoft.com/office/drawing/2014/main" id="{600DAF4C-541D-C19A-07F6-20910136EE53}"/>
                </a:ext>
              </a:extLst>
            </p:cNvPr>
            <p:cNvSpPr>
              <a:spLocks/>
            </p:cNvSpPr>
            <p:nvPr/>
          </p:nvSpPr>
          <p:spPr bwMode="auto">
            <a:xfrm>
              <a:off x="17027667" y="4394088"/>
              <a:ext cx="6427" cy="6427"/>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4" name="Freeform 150">
              <a:extLst>
                <a:ext uri="{FF2B5EF4-FFF2-40B4-BE49-F238E27FC236}">
                  <a16:creationId xmlns:a16="http://schemas.microsoft.com/office/drawing/2014/main" id="{DD02D925-9739-A4D6-C58F-A4395FEDD93E}"/>
                </a:ext>
              </a:extLst>
            </p:cNvPr>
            <p:cNvSpPr>
              <a:spLocks/>
            </p:cNvSpPr>
            <p:nvPr/>
          </p:nvSpPr>
          <p:spPr bwMode="auto">
            <a:xfrm>
              <a:off x="17046948" y="4394088"/>
              <a:ext cx="6427" cy="6427"/>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5" name="Freeform 151">
              <a:extLst>
                <a:ext uri="{FF2B5EF4-FFF2-40B4-BE49-F238E27FC236}">
                  <a16:creationId xmlns:a16="http://schemas.microsoft.com/office/drawing/2014/main" id="{E4D0669C-B0C9-0F48-5EA9-3685FE41B908}"/>
                </a:ext>
              </a:extLst>
            </p:cNvPr>
            <p:cNvSpPr>
              <a:spLocks/>
            </p:cNvSpPr>
            <p:nvPr/>
          </p:nvSpPr>
          <p:spPr bwMode="auto">
            <a:xfrm>
              <a:off x="16844494" y="4280009"/>
              <a:ext cx="16068" cy="17674"/>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6" name="Freeform 152">
              <a:extLst>
                <a:ext uri="{FF2B5EF4-FFF2-40B4-BE49-F238E27FC236}">
                  <a16:creationId xmlns:a16="http://schemas.microsoft.com/office/drawing/2014/main" id="{FE63A862-285E-DF3F-C043-5A06F8586049}"/>
                </a:ext>
              </a:extLst>
            </p:cNvPr>
            <p:cNvSpPr>
              <a:spLocks/>
            </p:cNvSpPr>
            <p:nvPr/>
          </p:nvSpPr>
          <p:spPr bwMode="auto">
            <a:xfrm>
              <a:off x="16862168" y="4254301"/>
              <a:ext cx="16068" cy="9640"/>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7" name="Freeform 156">
              <a:extLst>
                <a:ext uri="{FF2B5EF4-FFF2-40B4-BE49-F238E27FC236}">
                  <a16:creationId xmlns:a16="http://schemas.microsoft.com/office/drawing/2014/main" id="{4BB0799A-C683-1FF8-6652-4863A624CB0B}"/>
                </a:ext>
              </a:extLst>
            </p:cNvPr>
            <p:cNvSpPr>
              <a:spLocks/>
            </p:cNvSpPr>
            <p:nvPr/>
          </p:nvSpPr>
          <p:spPr bwMode="auto">
            <a:xfrm>
              <a:off x="16854134" y="4281615"/>
              <a:ext cx="8034" cy="6427"/>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8" name="Freeform 159">
              <a:extLst>
                <a:ext uri="{FF2B5EF4-FFF2-40B4-BE49-F238E27FC236}">
                  <a16:creationId xmlns:a16="http://schemas.microsoft.com/office/drawing/2014/main" id="{265C7B0E-35E0-EE02-01E2-3975650F51A3}"/>
                </a:ext>
              </a:extLst>
            </p:cNvPr>
            <p:cNvSpPr>
              <a:spLocks/>
            </p:cNvSpPr>
            <p:nvPr/>
          </p:nvSpPr>
          <p:spPr bwMode="auto">
            <a:xfrm>
              <a:off x="18094570" y="3179384"/>
              <a:ext cx="89980" cy="109260"/>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39" name="Freeform 160">
              <a:extLst>
                <a:ext uri="{FF2B5EF4-FFF2-40B4-BE49-F238E27FC236}">
                  <a16:creationId xmlns:a16="http://schemas.microsoft.com/office/drawing/2014/main" id="{D576338E-9D1F-E10E-9059-1D0E16780BA6}"/>
                </a:ext>
              </a:extLst>
            </p:cNvPr>
            <p:cNvSpPr>
              <a:spLocks/>
            </p:cNvSpPr>
            <p:nvPr/>
          </p:nvSpPr>
          <p:spPr bwMode="auto">
            <a:xfrm>
              <a:off x="17938711" y="3189024"/>
              <a:ext cx="229770" cy="167103"/>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0" name="Freeform 161">
              <a:extLst>
                <a:ext uri="{FF2B5EF4-FFF2-40B4-BE49-F238E27FC236}">
                  <a16:creationId xmlns:a16="http://schemas.microsoft.com/office/drawing/2014/main" id="{1AA9E7CF-DD43-6957-2A0F-1BFB634D749C}"/>
                </a:ext>
              </a:extLst>
            </p:cNvPr>
            <p:cNvSpPr>
              <a:spLocks/>
            </p:cNvSpPr>
            <p:nvPr/>
          </p:nvSpPr>
          <p:spPr bwMode="auto">
            <a:xfrm>
              <a:off x="18078501" y="3405935"/>
              <a:ext cx="77125" cy="78731"/>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1" name="Freeform 162">
              <a:extLst>
                <a:ext uri="{FF2B5EF4-FFF2-40B4-BE49-F238E27FC236}">
                  <a16:creationId xmlns:a16="http://schemas.microsoft.com/office/drawing/2014/main" id="{928D08AD-F4E1-CD72-4138-2373F9CB5B57}"/>
                </a:ext>
              </a:extLst>
            </p:cNvPr>
            <p:cNvSpPr>
              <a:spLocks/>
            </p:cNvSpPr>
            <p:nvPr/>
          </p:nvSpPr>
          <p:spPr bwMode="auto">
            <a:xfrm>
              <a:off x="18012623" y="2748774"/>
              <a:ext cx="125329" cy="89979"/>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2" name="Freeform 163">
              <a:extLst>
                <a:ext uri="{FF2B5EF4-FFF2-40B4-BE49-F238E27FC236}">
                  <a16:creationId xmlns:a16="http://schemas.microsoft.com/office/drawing/2014/main" id="{F731E9E2-98D8-C7C0-BA79-DDE2EAF7C8CE}"/>
                </a:ext>
              </a:extLst>
            </p:cNvPr>
            <p:cNvSpPr>
              <a:spLocks/>
            </p:cNvSpPr>
            <p:nvPr/>
          </p:nvSpPr>
          <p:spPr bwMode="auto">
            <a:xfrm>
              <a:off x="17949960" y="2808224"/>
              <a:ext cx="187993" cy="99618"/>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3" name="Freeform 164">
              <a:extLst>
                <a:ext uri="{FF2B5EF4-FFF2-40B4-BE49-F238E27FC236}">
                  <a16:creationId xmlns:a16="http://schemas.microsoft.com/office/drawing/2014/main" id="{A29B2C88-6915-EA60-F7D4-03028032F315}"/>
                </a:ext>
              </a:extLst>
            </p:cNvPr>
            <p:cNvSpPr>
              <a:spLocks/>
            </p:cNvSpPr>
            <p:nvPr/>
          </p:nvSpPr>
          <p:spPr bwMode="auto">
            <a:xfrm>
              <a:off x="17949960" y="2877314"/>
              <a:ext cx="147824" cy="109260"/>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4" name="Freeform 165">
              <a:extLst>
                <a:ext uri="{FF2B5EF4-FFF2-40B4-BE49-F238E27FC236}">
                  <a16:creationId xmlns:a16="http://schemas.microsoft.com/office/drawing/2014/main" id="{6EF7C0DC-B4D4-71C5-B8FA-50B352671E45}"/>
                </a:ext>
              </a:extLst>
            </p:cNvPr>
            <p:cNvSpPr>
              <a:spLocks/>
            </p:cNvSpPr>
            <p:nvPr/>
          </p:nvSpPr>
          <p:spPr bwMode="auto">
            <a:xfrm>
              <a:off x="17998163" y="2886955"/>
              <a:ext cx="252265" cy="196024"/>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5" name="Freeform 166">
              <a:extLst>
                <a:ext uri="{FF2B5EF4-FFF2-40B4-BE49-F238E27FC236}">
                  <a16:creationId xmlns:a16="http://schemas.microsoft.com/office/drawing/2014/main" id="{5F9DA813-210F-7C63-97C7-15B1B18E750D}"/>
                </a:ext>
              </a:extLst>
            </p:cNvPr>
            <p:cNvSpPr>
              <a:spLocks/>
            </p:cNvSpPr>
            <p:nvPr/>
          </p:nvSpPr>
          <p:spPr bwMode="auto">
            <a:xfrm>
              <a:off x="17776427" y="2941585"/>
              <a:ext cx="265119" cy="22173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6" name="Freeform 167">
              <a:extLst>
                <a:ext uri="{FF2B5EF4-FFF2-40B4-BE49-F238E27FC236}">
                  <a16:creationId xmlns:a16="http://schemas.microsoft.com/office/drawing/2014/main" id="{CE7B4047-088C-ABF0-5106-AC9D7877AE0E}"/>
                </a:ext>
              </a:extLst>
            </p:cNvPr>
            <p:cNvSpPr>
              <a:spLocks/>
            </p:cNvSpPr>
            <p:nvPr/>
          </p:nvSpPr>
          <p:spPr bwMode="auto">
            <a:xfrm>
              <a:off x="17308854" y="3086192"/>
              <a:ext cx="332604" cy="314923"/>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7" name="Freeform 168">
              <a:extLst>
                <a:ext uri="{FF2B5EF4-FFF2-40B4-BE49-F238E27FC236}">
                  <a16:creationId xmlns:a16="http://schemas.microsoft.com/office/drawing/2014/main" id="{CAA3F50C-CB51-D5F4-0CE2-1A24B32FF7E1}"/>
                </a:ext>
              </a:extLst>
            </p:cNvPr>
            <p:cNvSpPr>
              <a:spLocks/>
            </p:cNvSpPr>
            <p:nvPr/>
          </p:nvSpPr>
          <p:spPr bwMode="auto">
            <a:xfrm>
              <a:off x="17189952" y="3405935"/>
              <a:ext cx="99621" cy="1847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8" name="Freeform 169">
              <a:extLst>
                <a:ext uri="{FF2B5EF4-FFF2-40B4-BE49-F238E27FC236}">
                  <a16:creationId xmlns:a16="http://schemas.microsoft.com/office/drawing/2014/main" id="{03B3527C-8227-F669-9B67-FAF4F7BE9550}"/>
                </a:ext>
              </a:extLst>
            </p:cNvPr>
            <p:cNvSpPr>
              <a:spLocks/>
            </p:cNvSpPr>
            <p:nvPr/>
          </p:nvSpPr>
          <p:spPr bwMode="auto">
            <a:xfrm>
              <a:off x="17644671" y="3378621"/>
              <a:ext cx="25709" cy="56236"/>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49" name="Freeform 170">
              <a:extLst>
                <a:ext uri="{FF2B5EF4-FFF2-40B4-BE49-F238E27FC236}">
                  <a16:creationId xmlns:a16="http://schemas.microsoft.com/office/drawing/2014/main" id="{9AAA72C8-8608-65A6-F5CC-0ED0C626D178}"/>
                </a:ext>
              </a:extLst>
            </p:cNvPr>
            <p:cNvSpPr>
              <a:spLocks noEditPoints="1"/>
            </p:cNvSpPr>
            <p:nvPr/>
          </p:nvSpPr>
          <p:spPr bwMode="auto">
            <a:xfrm>
              <a:off x="17588434" y="3232406"/>
              <a:ext cx="306895" cy="367946"/>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0" name="Freeform 171">
              <a:extLst>
                <a:ext uri="{FF2B5EF4-FFF2-40B4-BE49-F238E27FC236}">
                  <a16:creationId xmlns:a16="http://schemas.microsoft.com/office/drawing/2014/main" id="{7CA8F86C-EB74-80BE-3DF2-B5C6D905D740}"/>
                </a:ext>
              </a:extLst>
            </p:cNvPr>
            <p:cNvSpPr>
              <a:spLocks/>
            </p:cNvSpPr>
            <p:nvPr/>
          </p:nvSpPr>
          <p:spPr bwMode="auto">
            <a:xfrm>
              <a:off x="17577185" y="3200271"/>
              <a:ext cx="117295" cy="78731"/>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1" name="Freeform 172">
              <a:extLst>
                <a:ext uri="{FF2B5EF4-FFF2-40B4-BE49-F238E27FC236}">
                  <a16:creationId xmlns:a16="http://schemas.microsoft.com/office/drawing/2014/main" id="{92056E6F-B599-8304-23B1-A67449FBE088}"/>
                </a:ext>
              </a:extLst>
            </p:cNvPr>
            <p:cNvSpPr>
              <a:spLocks/>
            </p:cNvSpPr>
            <p:nvPr/>
          </p:nvSpPr>
          <p:spPr bwMode="auto">
            <a:xfrm>
              <a:off x="17660738" y="3153676"/>
              <a:ext cx="199241" cy="106045"/>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2" name="Freeform 173">
              <a:extLst>
                <a:ext uri="{FF2B5EF4-FFF2-40B4-BE49-F238E27FC236}">
                  <a16:creationId xmlns:a16="http://schemas.microsoft.com/office/drawing/2014/main" id="{6C25CD49-20FC-A1B5-2A1C-04CB980C541B}"/>
                </a:ext>
              </a:extLst>
            </p:cNvPr>
            <p:cNvSpPr>
              <a:spLocks/>
            </p:cNvSpPr>
            <p:nvPr/>
          </p:nvSpPr>
          <p:spPr bwMode="auto">
            <a:xfrm>
              <a:off x="17733043" y="3082978"/>
              <a:ext cx="163892" cy="96405"/>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3" name="Freeform 174">
              <a:extLst>
                <a:ext uri="{FF2B5EF4-FFF2-40B4-BE49-F238E27FC236}">
                  <a16:creationId xmlns:a16="http://schemas.microsoft.com/office/drawing/2014/main" id="{DD4164E9-3871-D95F-C510-40024DD0989A}"/>
                </a:ext>
              </a:extLst>
            </p:cNvPr>
            <p:cNvSpPr>
              <a:spLocks/>
            </p:cNvSpPr>
            <p:nvPr/>
          </p:nvSpPr>
          <p:spPr bwMode="auto">
            <a:xfrm>
              <a:off x="17985308" y="3332025"/>
              <a:ext cx="155858" cy="112473"/>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4" name="Freeform 175">
              <a:extLst>
                <a:ext uri="{FF2B5EF4-FFF2-40B4-BE49-F238E27FC236}">
                  <a16:creationId xmlns:a16="http://schemas.microsoft.com/office/drawing/2014/main" id="{6F5750CD-0C7C-7B02-FB93-0E74BB0AD521}"/>
                </a:ext>
              </a:extLst>
            </p:cNvPr>
            <p:cNvSpPr>
              <a:spLocks/>
            </p:cNvSpPr>
            <p:nvPr/>
          </p:nvSpPr>
          <p:spPr bwMode="auto">
            <a:xfrm>
              <a:off x="17896936" y="3266148"/>
              <a:ext cx="109261" cy="149428"/>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5" name="Freeform 176">
              <a:extLst>
                <a:ext uri="{FF2B5EF4-FFF2-40B4-BE49-F238E27FC236}">
                  <a16:creationId xmlns:a16="http://schemas.microsoft.com/office/drawing/2014/main" id="{24E62AB6-0A38-7651-24DB-05C886E35969}"/>
                </a:ext>
              </a:extLst>
            </p:cNvPr>
            <p:cNvSpPr>
              <a:spLocks/>
            </p:cNvSpPr>
            <p:nvPr/>
          </p:nvSpPr>
          <p:spPr bwMode="auto">
            <a:xfrm>
              <a:off x="17938711" y="3397902"/>
              <a:ext cx="64271" cy="56236"/>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6" name="Freeform 177">
              <a:extLst>
                <a:ext uri="{FF2B5EF4-FFF2-40B4-BE49-F238E27FC236}">
                  <a16:creationId xmlns:a16="http://schemas.microsoft.com/office/drawing/2014/main" id="{5BFF70AF-F963-4D89-7AC2-0B6853B5FA60}"/>
                </a:ext>
              </a:extLst>
            </p:cNvPr>
            <p:cNvSpPr>
              <a:spLocks/>
            </p:cNvSpPr>
            <p:nvPr/>
          </p:nvSpPr>
          <p:spPr bwMode="auto">
            <a:xfrm>
              <a:off x="17909789" y="3381834"/>
              <a:ext cx="43383" cy="112473"/>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7" name="Freeform 178">
              <a:extLst>
                <a:ext uri="{FF2B5EF4-FFF2-40B4-BE49-F238E27FC236}">
                  <a16:creationId xmlns:a16="http://schemas.microsoft.com/office/drawing/2014/main" id="{CEFE4058-0BD1-924B-3CC0-B6E13B03043B}"/>
                </a:ext>
              </a:extLst>
            </p:cNvPr>
            <p:cNvSpPr>
              <a:spLocks/>
            </p:cNvSpPr>
            <p:nvPr/>
          </p:nvSpPr>
          <p:spPr bwMode="auto">
            <a:xfrm>
              <a:off x="17832664" y="3172957"/>
              <a:ext cx="165499" cy="106045"/>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8" name="Freeform 179">
              <a:extLst>
                <a:ext uri="{FF2B5EF4-FFF2-40B4-BE49-F238E27FC236}">
                  <a16:creationId xmlns:a16="http://schemas.microsoft.com/office/drawing/2014/main" id="{51A83395-4C22-F648-B308-A4A00DC2A76A}"/>
                </a:ext>
              </a:extLst>
            </p:cNvPr>
            <p:cNvSpPr>
              <a:spLocks/>
            </p:cNvSpPr>
            <p:nvPr/>
          </p:nvSpPr>
          <p:spPr bwMode="auto">
            <a:xfrm>
              <a:off x="17847125" y="3132788"/>
              <a:ext cx="147824" cy="7712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59" name="Freeform 180">
              <a:extLst>
                <a:ext uri="{FF2B5EF4-FFF2-40B4-BE49-F238E27FC236}">
                  <a16:creationId xmlns:a16="http://schemas.microsoft.com/office/drawing/2014/main" id="{23356E01-2BAD-B6A3-5AD3-7E77B81BACB9}"/>
                </a:ext>
              </a:extLst>
            </p:cNvPr>
            <p:cNvSpPr>
              <a:spLocks/>
            </p:cNvSpPr>
            <p:nvPr/>
          </p:nvSpPr>
          <p:spPr bwMode="auto">
            <a:xfrm>
              <a:off x="17766786" y="3235620"/>
              <a:ext cx="75519" cy="59450"/>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0" name="Freeform 181">
              <a:extLst>
                <a:ext uri="{FF2B5EF4-FFF2-40B4-BE49-F238E27FC236}">
                  <a16:creationId xmlns:a16="http://schemas.microsoft.com/office/drawing/2014/main" id="{C4549AE2-C952-5253-4EB0-858DD6133C0A}"/>
                </a:ext>
              </a:extLst>
            </p:cNvPr>
            <p:cNvSpPr>
              <a:spLocks/>
            </p:cNvSpPr>
            <p:nvPr/>
          </p:nvSpPr>
          <p:spPr bwMode="auto">
            <a:xfrm>
              <a:off x="17766786" y="3250080"/>
              <a:ext cx="152644" cy="15103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1" name="Freeform 182">
              <a:extLst>
                <a:ext uri="{FF2B5EF4-FFF2-40B4-BE49-F238E27FC236}">
                  <a16:creationId xmlns:a16="http://schemas.microsoft.com/office/drawing/2014/main" id="{01056B59-7291-6F06-240A-F34A036E73EB}"/>
                </a:ext>
              </a:extLst>
            </p:cNvPr>
            <p:cNvSpPr>
              <a:spLocks/>
            </p:cNvSpPr>
            <p:nvPr/>
          </p:nvSpPr>
          <p:spPr bwMode="auto">
            <a:xfrm>
              <a:off x="17816596" y="3288642"/>
              <a:ext cx="106047" cy="102832"/>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2" name="Freeform 183">
              <a:extLst>
                <a:ext uri="{FF2B5EF4-FFF2-40B4-BE49-F238E27FC236}">
                  <a16:creationId xmlns:a16="http://schemas.microsoft.com/office/drawing/2014/main" id="{69B51CD3-CC1E-3D4B-993B-4B8C8BDE0602}"/>
                </a:ext>
              </a:extLst>
            </p:cNvPr>
            <p:cNvSpPr>
              <a:spLocks/>
            </p:cNvSpPr>
            <p:nvPr/>
          </p:nvSpPr>
          <p:spPr bwMode="auto">
            <a:xfrm>
              <a:off x="17885688" y="3352913"/>
              <a:ext cx="53024" cy="62664"/>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3" name="Freeform 184">
              <a:extLst>
                <a:ext uri="{FF2B5EF4-FFF2-40B4-BE49-F238E27FC236}">
                  <a16:creationId xmlns:a16="http://schemas.microsoft.com/office/drawing/2014/main" id="{3EA1AA30-C77F-8046-23F5-BFFF89BAF0C2}"/>
                </a:ext>
              </a:extLst>
            </p:cNvPr>
            <p:cNvSpPr>
              <a:spLocks noEditPoints="1"/>
            </p:cNvSpPr>
            <p:nvPr/>
          </p:nvSpPr>
          <p:spPr bwMode="auto">
            <a:xfrm>
              <a:off x="17633424" y="2824291"/>
              <a:ext cx="179959" cy="130147"/>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4" name="Freeform 185">
              <a:extLst>
                <a:ext uri="{FF2B5EF4-FFF2-40B4-BE49-F238E27FC236}">
                  <a16:creationId xmlns:a16="http://schemas.microsoft.com/office/drawing/2014/main" id="{C02B3DC6-79CA-609A-D495-A2FF9685EAAC}"/>
                </a:ext>
              </a:extLst>
            </p:cNvPr>
            <p:cNvSpPr>
              <a:spLocks noEditPoints="1"/>
            </p:cNvSpPr>
            <p:nvPr/>
          </p:nvSpPr>
          <p:spPr bwMode="auto">
            <a:xfrm>
              <a:off x="17577185" y="2936764"/>
              <a:ext cx="229770" cy="286002"/>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5" name="Freeform 186">
              <a:extLst>
                <a:ext uri="{FF2B5EF4-FFF2-40B4-BE49-F238E27FC236}">
                  <a16:creationId xmlns:a16="http://schemas.microsoft.com/office/drawing/2014/main" id="{B4FAAE79-3DA6-381C-4748-E3C6D1F41AF0}"/>
                </a:ext>
              </a:extLst>
            </p:cNvPr>
            <p:cNvSpPr>
              <a:spLocks/>
            </p:cNvSpPr>
            <p:nvPr/>
          </p:nvSpPr>
          <p:spPr bwMode="auto">
            <a:xfrm>
              <a:off x="17520948" y="2994607"/>
              <a:ext cx="93193" cy="99618"/>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6" name="Freeform 187">
              <a:extLst>
                <a:ext uri="{FF2B5EF4-FFF2-40B4-BE49-F238E27FC236}">
                  <a16:creationId xmlns:a16="http://schemas.microsoft.com/office/drawing/2014/main" id="{387CA5B6-F2E1-4985-B087-F2C90AFBD679}"/>
                </a:ext>
              </a:extLst>
            </p:cNvPr>
            <p:cNvSpPr>
              <a:spLocks/>
            </p:cNvSpPr>
            <p:nvPr/>
          </p:nvSpPr>
          <p:spPr bwMode="auto">
            <a:xfrm>
              <a:off x="17495240" y="3066911"/>
              <a:ext cx="106047" cy="78731"/>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7" name="Freeform 188">
              <a:extLst>
                <a:ext uri="{FF2B5EF4-FFF2-40B4-BE49-F238E27FC236}">
                  <a16:creationId xmlns:a16="http://schemas.microsoft.com/office/drawing/2014/main" id="{D7CD878D-B635-85CD-0B86-074113B8CBB8}"/>
                </a:ext>
              </a:extLst>
            </p:cNvPr>
            <p:cNvSpPr>
              <a:spLocks/>
            </p:cNvSpPr>
            <p:nvPr/>
          </p:nvSpPr>
          <p:spPr bwMode="auto">
            <a:xfrm>
              <a:off x="17570759" y="3113507"/>
              <a:ext cx="30529" cy="32135"/>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8" name="Freeform 189">
              <a:extLst>
                <a:ext uri="{FF2B5EF4-FFF2-40B4-BE49-F238E27FC236}">
                  <a16:creationId xmlns:a16="http://schemas.microsoft.com/office/drawing/2014/main" id="{BAAF0023-3CFA-9DBF-C8DC-EFE0CBB8AFC9}"/>
                </a:ext>
              </a:extLst>
            </p:cNvPr>
            <p:cNvSpPr>
              <a:spLocks/>
            </p:cNvSpPr>
            <p:nvPr/>
          </p:nvSpPr>
          <p:spPr bwMode="auto">
            <a:xfrm>
              <a:off x="17969241" y="2788942"/>
              <a:ext cx="43383" cy="28921"/>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69" name="Freeform 190">
              <a:extLst>
                <a:ext uri="{FF2B5EF4-FFF2-40B4-BE49-F238E27FC236}">
                  <a16:creationId xmlns:a16="http://schemas.microsoft.com/office/drawing/2014/main" id="{BF4BA51A-EE22-45C8-B753-87B662978EC8}"/>
                </a:ext>
              </a:extLst>
            </p:cNvPr>
            <p:cNvSpPr>
              <a:spLocks/>
            </p:cNvSpPr>
            <p:nvPr/>
          </p:nvSpPr>
          <p:spPr bwMode="auto">
            <a:xfrm>
              <a:off x="17978882" y="2771269"/>
              <a:ext cx="27315" cy="17674"/>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0" name="Freeform 191">
              <a:extLst>
                <a:ext uri="{FF2B5EF4-FFF2-40B4-BE49-F238E27FC236}">
                  <a16:creationId xmlns:a16="http://schemas.microsoft.com/office/drawing/2014/main" id="{7997CF47-E696-FD0A-275C-ECEE0F300839}"/>
                </a:ext>
              </a:extLst>
            </p:cNvPr>
            <p:cNvSpPr>
              <a:spLocks/>
            </p:cNvSpPr>
            <p:nvPr/>
          </p:nvSpPr>
          <p:spPr bwMode="auto">
            <a:xfrm>
              <a:off x="18002983" y="2785729"/>
              <a:ext cx="9641" cy="12854"/>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1" name="Freeform 192">
              <a:extLst>
                <a:ext uri="{FF2B5EF4-FFF2-40B4-BE49-F238E27FC236}">
                  <a16:creationId xmlns:a16="http://schemas.microsoft.com/office/drawing/2014/main" id="{5FE43B99-8164-2429-5F42-7E584E5B18BE}"/>
                </a:ext>
              </a:extLst>
            </p:cNvPr>
            <p:cNvSpPr>
              <a:spLocks/>
            </p:cNvSpPr>
            <p:nvPr/>
          </p:nvSpPr>
          <p:spPr bwMode="auto">
            <a:xfrm>
              <a:off x="18002983" y="2777695"/>
              <a:ext cx="9641" cy="3213"/>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2" name="Freeform 193">
              <a:extLst>
                <a:ext uri="{FF2B5EF4-FFF2-40B4-BE49-F238E27FC236}">
                  <a16:creationId xmlns:a16="http://schemas.microsoft.com/office/drawing/2014/main" id="{34CEBAAB-EB15-9319-01D5-61412070621B}"/>
                </a:ext>
              </a:extLst>
            </p:cNvPr>
            <p:cNvSpPr>
              <a:spLocks noEditPoints="1"/>
            </p:cNvSpPr>
            <p:nvPr/>
          </p:nvSpPr>
          <p:spPr bwMode="auto">
            <a:xfrm>
              <a:off x="17707335" y="2350299"/>
              <a:ext cx="324570" cy="576824"/>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3" name="Freeform 194">
              <a:extLst>
                <a:ext uri="{FF2B5EF4-FFF2-40B4-BE49-F238E27FC236}">
                  <a16:creationId xmlns:a16="http://schemas.microsoft.com/office/drawing/2014/main" id="{47C729D3-51C8-692B-7136-0E0D41AE7E81}"/>
                </a:ext>
              </a:extLst>
            </p:cNvPr>
            <p:cNvSpPr>
              <a:spLocks/>
            </p:cNvSpPr>
            <p:nvPr/>
          </p:nvSpPr>
          <p:spPr bwMode="auto">
            <a:xfrm>
              <a:off x="18549289" y="3409149"/>
              <a:ext cx="130149" cy="131754"/>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4" name="Freeform 195">
              <a:extLst>
                <a:ext uri="{FF2B5EF4-FFF2-40B4-BE49-F238E27FC236}">
                  <a16:creationId xmlns:a16="http://schemas.microsoft.com/office/drawing/2014/main" id="{3EAB5D34-A3EC-4B3D-6ED0-651C83E618B9}"/>
                </a:ext>
              </a:extLst>
            </p:cNvPr>
            <p:cNvSpPr>
              <a:spLocks/>
            </p:cNvSpPr>
            <p:nvPr/>
          </p:nvSpPr>
          <p:spPr bwMode="auto">
            <a:xfrm>
              <a:off x="18539648" y="3487880"/>
              <a:ext cx="36956" cy="33742"/>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5" name="Freeform 196">
              <a:extLst>
                <a:ext uri="{FF2B5EF4-FFF2-40B4-BE49-F238E27FC236}">
                  <a16:creationId xmlns:a16="http://schemas.microsoft.com/office/drawing/2014/main" id="{DA8A5BCC-3A42-E83C-D328-9F7B7AD1D245}"/>
                </a:ext>
              </a:extLst>
            </p:cNvPr>
            <p:cNvSpPr>
              <a:spLocks/>
            </p:cNvSpPr>
            <p:nvPr/>
          </p:nvSpPr>
          <p:spPr bwMode="auto">
            <a:xfrm>
              <a:off x="18505905" y="3434856"/>
              <a:ext cx="80339" cy="86764"/>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6" name="Freeform 197">
              <a:extLst>
                <a:ext uri="{FF2B5EF4-FFF2-40B4-BE49-F238E27FC236}">
                  <a16:creationId xmlns:a16="http://schemas.microsoft.com/office/drawing/2014/main" id="{718D29F4-32F5-DF6E-0C4C-53A65AD6984D}"/>
                </a:ext>
              </a:extLst>
            </p:cNvPr>
            <p:cNvSpPr>
              <a:spLocks/>
            </p:cNvSpPr>
            <p:nvPr/>
          </p:nvSpPr>
          <p:spPr bwMode="auto">
            <a:xfrm>
              <a:off x="18417533" y="3356126"/>
              <a:ext cx="175139" cy="91585"/>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7" name="Freeform 198">
              <a:extLst>
                <a:ext uri="{FF2B5EF4-FFF2-40B4-BE49-F238E27FC236}">
                  <a16:creationId xmlns:a16="http://schemas.microsoft.com/office/drawing/2014/main" id="{E853791C-37BC-0C9C-E6AE-1C54028D6663}"/>
                </a:ext>
              </a:extLst>
            </p:cNvPr>
            <p:cNvSpPr>
              <a:spLocks/>
            </p:cNvSpPr>
            <p:nvPr/>
          </p:nvSpPr>
          <p:spPr bwMode="auto">
            <a:xfrm>
              <a:off x="18570177" y="2907842"/>
              <a:ext cx="1023520" cy="557543"/>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8" name="Freeform 199">
              <a:extLst>
                <a:ext uri="{FF2B5EF4-FFF2-40B4-BE49-F238E27FC236}">
                  <a16:creationId xmlns:a16="http://schemas.microsoft.com/office/drawing/2014/main" id="{715556E5-CCF8-8813-D1DE-C915164AF358}"/>
                </a:ext>
              </a:extLst>
            </p:cNvPr>
            <p:cNvSpPr>
              <a:spLocks noEditPoints="1"/>
            </p:cNvSpPr>
            <p:nvPr/>
          </p:nvSpPr>
          <p:spPr bwMode="auto">
            <a:xfrm>
              <a:off x="17919430" y="2300490"/>
              <a:ext cx="298861" cy="448284"/>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79" name="Freeform 200">
              <a:extLst>
                <a:ext uri="{FF2B5EF4-FFF2-40B4-BE49-F238E27FC236}">
                  <a16:creationId xmlns:a16="http://schemas.microsoft.com/office/drawing/2014/main" id="{50B91077-6F5E-71DC-F83A-FE98A065952B}"/>
                </a:ext>
              </a:extLst>
            </p:cNvPr>
            <p:cNvSpPr>
              <a:spLocks noEditPoints="1"/>
            </p:cNvSpPr>
            <p:nvPr/>
          </p:nvSpPr>
          <p:spPr bwMode="auto">
            <a:xfrm>
              <a:off x="17548263" y="1783117"/>
              <a:ext cx="660387" cy="1034748"/>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0" name="Freeform 201">
              <a:extLst>
                <a:ext uri="{FF2B5EF4-FFF2-40B4-BE49-F238E27FC236}">
                  <a16:creationId xmlns:a16="http://schemas.microsoft.com/office/drawing/2014/main" id="{E87D5CB3-335F-FB64-69C4-1602BF325A0F}"/>
                </a:ext>
              </a:extLst>
            </p:cNvPr>
            <p:cNvSpPr>
              <a:spLocks noEditPoints="1"/>
            </p:cNvSpPr>
            <p:nvPr/>
          </p:nvSpPr>
          <p:spPr bwMode="auto">
            <a:xfrm>
              <a:off x="17223694" y="2702178"/>
              <a:ext cx="257085" cy="420969"/>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1" name="Freeform 202">
              <a:extLst>
                <a:ext uri="{FF2B5EF4-FFF2-40B4-BE49-F238E27FC236}">
                  <a16:creationId xmlns:a16="http://schemas.microsoft.com/office/drawing/2014/main" id="{F664C019-61B7-AFBB-265C-D781F7FE2D10}"/>
                </a:ext>
              </a:extLst>
            </p:cNvPr>
            <p:cNvSpPr>
              <a:spLocks/>
            </p:cNvSpPr>
            <p:nvPr/>
          </p:nvSpPr>
          <p:spPr bwMode="auto">
            <a:xfrm>
              <a:off x="17249402" y="2645941"/>
              <a:ext cx="12854" cy="9640"/>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2" name="Freeform 203">
              <a:extLst>
                <a:ext uri="{FF2B5EF4-FFF2-40B4-BE49-F238E27FC236}">
                  <a16:creationId xmlns:a16="http://schemas.microsoft.com/office/drawing/2014/main" id="{1328A3CA-DD73-F0E6-C7DA-EB66A198B829}"/>
                </a:ext>
              </a:extLst>
            </p:cNvPr>
            <p:cNvSpPr>
              <a:spLocks/>
            </p:cNvSpPr>
            <p:nvPr/>
          </p:nvSpPr>
          <p:spPr bwMode="auto">
            <a:xfrm>
              <a:off x="17265470" y="2655582"/>
              <a:ext cx="6427" cy="9640"/>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3" name="Freeform 204">
              <a:extLst>
                <a:ext uri="{FF2B5EF4-FFF2-40B4-BE49-F238E27FC236}">
                  <a16:creationId xmlns:a16="http://schemas.microsoft.com/office/drawing/2014/main" id="{6E8B28C6-5E2F-9310-EA97-2ECE3EB0D101}"/>
                </a:ext>
              </a:extLst>
            </p:cNvPr>
            <p:cNvSpPr>
              <a:spLocks/>
            </p:cNvSpPr>
            <p:nvPr/>
          </p:nvSpPr>
          <p:spPr bwMode="auto">
            <a:xfrm>
              <a:off x="17262257" y="2671650"/>
              <a:ext cx="9641" cy="11247"/>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4" name="Freeform 205">
              <a:extLst>
                <a:ext uri="{FF2B5EF4-FFF2-40B4-BE49-F238E27FC236}">
                  <a16:creationId xmlns:a16="http://schemas.microsoft.com/office/drawing/2014/main" id="{51051CF6-D3A2-0531-3DC8-11801F6B40CE}"/>
                </a:ext>
              </a:extLst>
            </p:cNvPr>
            <p:cNvSpPr>
              <a:spLocks/>
            </p:cNvSpPr>
            <p:nvPr/>
          </p:nvSpPr>
          <p:spPr bwMode="auto">
            <a:xfrm>
              <a:off x="17259043" y="2639515"/>
              <a:ext cx="12854" cy="19281"/>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5" name="Freeform 206">
              <a:extLst>
                <a:ext uri="{FF2B5EF4-FFF2-40B4-BE49-F238E27FC236}">
                  <a16:creationId xmlns:a16="http://schemas.microsoft.com/office/drawing/2014/main" id="{4A925A70-6E84-ED02-833F-570E10B3A68F}"/>
                </a:ext>
              </a:extLst>
            </p:cNvPr>
            <p:cNvSpPr>
              <a:spLocks/>
            </p:cNvSpPr>
            <p:nvPr/>
          </p:nvSpPr>
          <p:spPr bwMode="auto">
            <a:xfrm>
              <a:off x="17262257" y="2639515"/>
              <a:ext cx="12854" cy="9640"/>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6" name="Freeform 207">
              <a:extLst>
                <a:ext uri="{FF2B5EF4-FFF2-40B4-BE49-F238E27FC236}">
                  <a16:creationId xmlns:a16="http://schemas.microsoft.com/office/drawing/2014/main" id="{275F99E1-2A97-D89D-1AAC-2CA60D3B6849}"/>
                </a:ext>
              </a:extLst>
            </p:cNvPr>
            <p:cNvSpPr>
              <a:spLocks/>
            </p:cNvSpPr>
            <p:nvPr/>
          </p:nvSpPr>
          <p:spPr bwMode="auto">
            <a:xfrm>
              <a:off x="17271898" y="2636301"/>
              <a:ext cx="8034" cy="9640"/>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7" name="Freeform 208">
              <a:extLst>
                <a:ext uri="{FF2B5EF4-FFF2-40B4-BE49-F238E27FC236}">
                  <a16:creationId xmlns:a16="http://schemas.microsoft.com/office/drawing/2014/main" id="{8232F100-7949-B632-F011-D926FE3DE69C}"/>
                </a:ext>
              </a:extLst>
            </p:cNvPr>
            <p:cNvSpPr>
              <a:spLocks/>
            </p:cNvSpPr>
            <p:nvPr/>
          </p:nvSpPr>
          <p:spPr bwMode="auto">
            <a:xfrm>
              <a:off x="17271898" y="2636301"/>
              <a:ext cx="3213" cy="9640"/>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8" name="Freeform 209">
              <a:extLst>
                <a:ext uri="{FF2B5EF4-FFF2-40B4-BE49-F238E27FC236}">
                  <a16:creationId xmlns:a16="http://schemas.microsoft.com/office/drawing/2014/main" id="{1C04BEE4-ED7E-E0DF-4331-4335D453C05C}"/>
                </a:ext>
              </a:extLst>
            </p:cNvPr>
            <p:cNvSpPr>
              <a:spLocks noEditPoints="1"/>
            </p:cNvSpPr>
            <p:nvPr/>
          </p:nvSpPr>
          <p:spPr bwMode="auto">
            <a:xfrm>
              <a:off x="17199593" y="3348092"/>
              <a:ext cx="342245" cy="273148"/>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89" name="Freeform 210">
              <a:extLst>
                <a:ext uri="{FF2B5EF4-FFF2-40B4-BE49-F238E27FC236}">
                  <a16:creationId xmlns:a16="http://schemas.microsoft.com/office/drawing/2014/main" id="{0069BAD6-E392-86BC-0B13-AF946CC1FAAE}"/>
                </a:ext>
              </a:extLst>
            </p:cNvPr>
            <p:cNvSpPr>
              <a:spLocks noEditPoints="1"/>
            </p:cNvSpPr>
            <p:nvPr/>
          </p:nvSpPr>
          <p:spPr bwMode="auto">
            <a:xfrm>
              <a:off x="20327997" y="4177177"/>
              <a:ext cx="241017" cy="457924"/>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0" name="Freeform 211">
              <a:extLst>
                <a:ext uri="{FF2B5EF4-FFF2-40B4-BE49-F238E27FC236}">
                  <a16:creationId xmlns:a16="http://schemas.microsoft.com/office/drawing/2014/main" id="{A3F3A8E6-D319-F4EF-DAF2-7D678AE2DD20}"/>
                </a:ext>
              </a:extLst>
            </p:cNvPr>
            <p:cNvSpPr>
              <a:spLocks/>
            </p:cNvSpPr>
            <p:nvPr/>
          </p:nvSpPr>
          <p:spPr bwMode="auto">
            <a:xfrm>
              <a:off x="21799808" y="5285835"/>
              <a:ext cx="56237" cy="27315"/>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1" name="Freeform 212">
              <a:extLst>
                <a:ext uri="{FF2B5EF4-FFF2-40B4-BE49-F238E27FC236}">
                  <a16:creationId xmlns:a16="http://schemas.microsoft.com/office/drawing/2014/main" id="{6251847F-4D1D-96EB-E578-B417A133D80E}"/>
                </a:ext>
              </a:extLst>
            </p:cNvPr>
            <p:cNvSpPr>
              <a:spLocks/>
            </p:cNvSpPr>
            <p:nvPr/>
          </p:nvSpPr>
          <p:spPr bwMode="auto">
            <a:xfrm>
              <a:off x="21839978" y="5242453"/>
              <a:ext cx="49810" cy="33742"/>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2" name="Freeform 213">
              <a:extLst>
                <a:ext uri="{FF2B5EF4-FFF2-40B4-BE49-F238E27FC236}">
                  <a16:creationId xmlns:a16="http://schemas.microsoft.com/office/drawing/2014/main" id="{8D347247-C9E5-A6A0-7B1E-63CCEC898A92}"/>
                </a:ext>
              </a:extLst>
            </p:cNvPr>
            <p:cNvSpPr>
              <a:spLocks/>
            </p:cNvSpPr>
            <p:nvPr/>
          </p:nvSpPr>
          <p:spPr bwMode="auto">
            <a:xfrm>
              <a:off x="20138396" y="4540302"/>
              <a:ext cx="245837" cy="194416"/>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3" name="Freeform 214">
              <a:extLst>
                <a:ext uri="{FF2B5EF4-FFF2-40B4-BE49-F238E27FC236}">
                  <a16:creationId xmlns:a16="http://schemas.microsoft.com/office/drawing/2014/main" id="{45FB7821-EC7D-B919-01D5-98CE02708B84}"/>
                </a:ext>
              </a:extLst>
            </p:cNvPr>
            <p:cNvSpPr>
              <a:spLocks/>
            </p:cNvSpPr>
            <p:nvPr/>
          </p:nvSpPr>
          <p:spPr bwMode="auto">
            <a:xfrm>
              <a:off x="20250870" y="4596539"/>
              <a:ext cx="30529" cy="38562"/>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4" name="Freeform 215">
              <a:extLst>
                <a:ext uri="{FF2B5EF4-FFF2-40B4-BE49-F238E27FC236}">
                  <a16:creationId xmlns:a16="http://schemas.microsoft.com/office/drawing/2014/main" id="{79C078F0-A1DB-4449-54A2-AA2D6A9F085B}"/>
                </a:ext>
              </a:extLst>
            </p:cNvPr>
            <p:cNvSpPr>
              <a:spLocks/>
            </p:cNvSpPr>
            <p:nvPr/>
          </p:nvSpPr>
          <p:spPr bwMode="auto">
            <a:xfrm>
              <a:off x="20276579" y="4602966"/>
              <a:ext cx="8034" cy="25708"/>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5" name="Freeform 216">
              <a:extLst>
                <a:ext uri="{FF2B5EF4-FFF2-40B4-BE49-F238E27FC236}">
                  <a16:creationId xmlns:a16="http://schemas.microsoft.com/office/drawing/2014/main" id="{8D0AF7BC-4EFF-8928-7246-A3D1389EDFFE}"/>
                </a:ext>
              </a:extLst>
            </p:cNvPr>
            <p:cNvSpPr>
              <a:spLocks noEditPoints="1"/>
            </p:cNvSpPr>
            <p:nvPr/>
          </p:nvSpPr>
          <p:spPr bwMode="auto">
            <a:xfrm>
              <a:off x="20898404" y="4794169"/>
              <a:ext cx="393661" cy="313317"/>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6" name="Freeform 217">
              <a:extLst>
                <a:ext uri="{FF2B5EF4-FFF2-40B4-BE49-F238E27FC236}">
                  <a16:creationId xmlns:a16="http://schemas.microsoft.com/office/drawing/2014/main" id="{5F36DB15-72C3-B33A-C494-CF95378D0C05}"/>
                </a:ext>
              </a:extLst>
            </p:cNvPr>
            <p:cNvSpPr>
              <a:spLocks noEditPoints="1"/>
            </p:cNvSpPr>
            <p:nvPr/>
          </p:nvSpPr>
          <p:spPr bwMode="auto">
            <a:xfrm>
              <a:off x="21282424" y="4951631"/>
              <a:ext cx="165499" cy="165495"/>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7" name="Freeform 218">
              <a:extLst>
                <a:ext uri="{FF2B5EF4-FFF2-40B4-BE49-F238E27FC236}">
                  <a16:creationId xmlns:a16="http://schemas.microsoft.com/office/drawing/2014/main" id="{76E3D0AF-4350-0D50-EEB3-D93702A1AB4E}"/>
                </a:ext>
              </a:extLst>
            </p:cNvPr>
            <p:cNvSpPr>
              <a:spLocks noEditPoints="1"/>
            </p:cNvSpPr>
            <p:nvPr/>
          </p:nvSpPr>
          <p:spPr bwMode="auto">
            <a:xfrm>
              <a:off x="21547543" y="5199070"/>
              <a:ext cx="77125" cy="162282"/>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8" name="Freeform 219">
              <a:extLst>
                <a:ext uri="{FF2B5EF4-FFF2-40B4-BE49-F238E27FC236}">
                  <a16:creationId xmlns:a16="http://schemas.microsoft.com/office/drawing/2014/main" id="{99FBA940-2982-700E-5B4D-7613DA4A51AB}"/>
                </a:ext>
              </a:extLst>
            </p:cNvPr>
            <p:cNvSpPr>
              <a:spLocks noEditPoints="1"/>
            </p:cNvSpPr>
            <p:nvPr/>
          </p:nvSpPr>
          <p:spPr bwMode="auto">
            <a:xfrm>
              <a:off x="21478452" y="5372600"/>
              <a:ext cx="118902" cy="72304"/>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899" name="Freeform 220">
              <a:extLst>
                <a:ext uri="{FF2B5EF4-FFF2-40B4-BE49-F238E27FC236}">
                  <a16:creationId xmlns:a16="http://schemas.microsoft.com/office/drawing/2014/main" id="{56CCD69C-2859-7C2B-308C-17695D5E9F23}"/>
                </a:ext>
              </a:extLst>
            </p:cNvPr>
            <p:cNvSpPr>
              <a:spLocks/>
            </p:cNvSpPr>
            <p:nvPr/>
          </p:nvSpPr>
          <p:spPr bwMode="auto">
            <a:xfrm>
              <a:off x="19911840" y="4543516"/>
              <a:ext cx="102834" cy="178350"/>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0" name="Freeform 221">
              <a:extLst>
                <a:ext uri="{FF2B5EF4-FFF2-40B4-BE49-F238E27FC236}">
                  <a16:creationId xmlns:a16="http://schemas.microsoft.com/office/drawing/2014/main" id="{742B842F-144B-506B-39B5-1C0D2119336F}"/>
                </a:ext>
              </a:extLst>
            </p:cNvPr>
            <p:cNvSpPr>
              <a:spLocks/>
            </p:cNvSpPr>
            <p:nvPr/>
          </p:nvSpPr>
          <p:spPr bwMode="auto">
            <a:xfrm>
              <a:off x="19995393" y="4709012"/>
              <a:ext cx="9641" cy="12854"/>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1" name="Freeform 222">
              <a:extLst>
                <a:ext uri="{FF2B5EF4-FFF2-40B4-BE49-F238E27FC236}">
                  <a16:creationId xmlns:a16="http://schemas.microsoft.com/office/drawing/2014/main" id="{EFD0F888-2618-1335-0EBB-C4C08ACDC006}"/>
                </a:ext>
              </a:extLst>
            </p:cNvPr>
            <p:cNvSpPr>
              <a:spLocks noEditPoints="1"/>
            </p:cNvSpPr>
            <p:nvPr/>
          </p:nvSpPr>
          <p:spPr bwMode="auto">
            <a:xfrm>
              <a:off x="19783297" y="4575651"/>
              <a:ext cx="1115107" cy="510947"/>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2" name="Freeform 223">
              <a:extLst>
                <a:ext uri="{FF2B5EF4-FFF2-40B4-BE49-F238E27FC236}">
                  <a16:creationId xmlns:a16="http://schemas.microsoft.com/office/drawing/2014/main" id="{46B7E1E7-44DD-8F83-49DB-3B2724B44C1B}"/>
                </a:ext>
              </a:extLst>
            </p:cNvPr>
            <p:cNvSpPr>
              <a:spLocks/>
            </p:cNvSpPr>
            <p:nvPr/>
          </p:nvSpPr>
          <p:spPr bwMode="auto">
            <a:xfrm>
              <a:off x="18685865" y="3939378"/>
              <a:ext cx="22495" cy="53023"/>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3" name="Freeform 224">
              <a:extLst>
                <a:ext uri="{FF2B5EF4-FFF2-40B4-BE49-F238E27FC236}">
                  <a16:creationId xmlns:a16="http://schemas.microsoft.com/office/drawing/2014/main" id="{F6714D4E-6C3A-B474-D6FC-FC1996A87F2E}"/>
                </a:ext>
              </a:extLst>
            </p:cNvPr>
            <p:cNvSpPr>
              <a:spLocks/>
            </p:cNvSpPr>
            <p:nvPr/>
          </p:nvSpPr>
          <p:spPr bwMode="auto">
            <a:xfrm>
              <a:off x="18820835" y="3936163"/>
              <a:ext cx="11247" cy="22494"/>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4" name="Freeform 225">
              <a:extLst>
                <a:ext uri="{FF2B5EF4-FFF2-40B4-BE49-F238E27FC236}">
                  <a16:creationId xmlns:a16="http://schemas.microsoft.com/office/drawing/2014/main" id="{3FD92A2B-310A-193C-9702-15DEE01ADE4F}"/>
                </a:ext>
              </a:extLst>
            </p:cNvPr>
            <p:cNvSpPr>
              <a:spLocks/>
            </p:cNvSpPr>
            <p:nvPr/>
          </p:nvSpPr>
          <p:spPr bwMode="auto">
            <a:xfrm>
              <a:off x="18695506" y="3945804"/>
              <a:ext cx="133363" cy="118900"/>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5" name="Freeform 226">
              <a:extLst>
                <a:ext uri="{FF2B5EF4-FFF2-40B4-BE49-F238E27FC236}">
                  <a16:creationId xmlns:a16="http://schemas.microsoft.com/office/drawing/2014/main" id="{62C3D1A5-C705-2961-3239-93F8A6CC4DEF}"/>
                </a:ext>
              </a:extLst>
            </p:cNvPr>
            <p:cNvSpPr>
              <a:spLocks/>
            </p:cNvSpPr>
            <p:nvPr/>
          </p:nvSpPr>
          <p:spPr bwMode="auto">
            <a:xfrm>
              <a:off x="18798341" y="3912063"/>
              <a:ext cx="30529" cy="17674"/>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6" name="Freeform 227">
              <a:extLst>
                <a:ext uri="{FF2B5EF4-FFF2-40B4-BE49-F238E27FC236}">
                  <a16:creationId xmlns:a16="http://schemas.microsoft.com/office/drawing/2014/main" id="{84201847-385C-505F-CFD8-20C1B26D4F97}"/>
                </a:ext>
              </a:extLst>
            </p:cNvPr>
            <p:cNvSpPr>
              <a:spLocks/>
            </p:cNvSpPr>
            <p:nvPr/>
          </p:nvSpPr>
          <p:spPr bwMode="auto">
            <a:xfrm>
              <a:off x="18623201" y="3817264"/>
              <a:ext cx="6427" cy="16068"/>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7" name="Freeform 228">
              <a:extLst>
                <a:ext uri="{FF2B5EF4-FFF2-40B4-BE49-F238E27FC236}">
                  <a16:creationId xmlns:a16="http://schemas.microsoft.com/office/drawing/2014/main" id="{888357DF-4322-F3AF-F634-0909BBBDA04D}"/>
                </a:ext>
              </a:extLst>
            </p:cNvPr>
            <p:cNvSpPr>
              <a:spLocks/>
            </p:cNvSpPr>
            <p:nvPr/>
          </p:nvSpPr>
          <p:spPr bwMode="auto">
            <a:xfrm>
              <a:off x="18297025" y="3730500"/>
              <a:ext cx="17675" cy="46596"/>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8" name="Freeform 229">
              <a:extLst>
                <a:ext uri="{FF2B5EF4-FFF2-40B4-BE49-F238E27FC236}">
                  <a16:creationId xmlns:a16="http://schemas.microsoft.com/office/drawing/2014/main" id="{70D9BFED-D653-64B6-B179-2A49A0BB5853}"/>
                </a:ext>
              </a:extLst>
            </p:cNvPr>
            <p:cNvSpPr>
              <a:spLocks/>
            </p:cNvSpPr>
            <p:nvPr/>
          </p:nvSpPr>
          <p:spPr bwMode="auto">
            <a:xfrm>
              <a:off x="18284170" y="3706398"/>
              <a:ext cx="30529" cy="126933"/>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09" name="Freeform 230">
              <a:extLst>
                <a:ext uri="{FF2B5EF4-FFF2-40B4-BE49-F238E27FC236}">
                  <a16:creationId xmlns:a16="http://schemas.microsoft.com/office/drawing/2014/main" id="{AF47A3BE-701E-55D5-1E41-BCC1D94114F3}"/>
                </a:ext>
              </a:extLst>
            </p:cNvPr>
            <p:cNvSpPr>
              <a:spLocks/>
            </p:cNvSpPr>
            <p:nvPr/>
          </p:nvSpPr>
          <p:spPr bwMode="auto">
            <a:xfrm>
              <a:off x="18277743" y="3765848"/>
              <a:ext cx="12854" cy="14460"/>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0" name="Freeform 231">
              <a:extLst>
                <a:ext uri="{FF2B5EF4-FFF2-40B4-BE49-F238E27FC236}">
                  <a16:creationId xmlns:a16="http://schemas.microsoft.com/office/drawing/2014/main" id="{90E1A7AA-B604-237E-4787-EBB2115EFA04}"/>
                </a:ext>
              </a:extLst>
            </p:cNvPr>
            <p:cNvSpPr>
              <a:spLocks noEditPoints="1"/>
            </p:cNvSpPr>
            <p:nvPr/>
          </p:nvSpPr>
          <p:spPr bwMode="auto">
            <a:xfrm>
              <a:off x="17919431" y="3415577"/>
              <a:ext cx="212095" cy="244227"/>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1" name="Freeform 235">
              <a:extLst>
                <a:ext uri="{FF2B5EF4-FFF2-40B4-BE49-F238E27FC236}">
                  <a16:creationId xmlns:a16="http://schemas.microsoft.com/office/drawing/2014/main" id="{7FA08908-0455-8735-4B78-E761AE1AE571}"/>
                </a:ext>
              </a:extLst>
            </p:cNvPr>
            <p:cNvSpPr>
              <a:spLocks/>
            </p:cNvSpPr>
            <p:nvPr/>
          </p:nvSpPr>
          <p:spPr bwMode="auto">
            <a:xfrm>
              <a:off x="19132550" y="6330223"/>
              <a:ext cx="46597" cy="43383"/>
            </a:xfrm>
            <a:custGeom>
              <a:avLst/>
              <a:gdLst/>
              <a:ahLst/>
              <a:cxnLst>
                <a:cxn ang="0">
                  <a:pos x="2" y="14"/>
                </a:cxn>
                <a:cxn ang="0">
                  <a:pos x="2" y="9"/>
                </a:cxn>
                <a:cxn ang="0">
                  <a:pos x="2" y="3"/>
                </a:cxn>
                <a:cxn ang="0">
                  <a:pos x="3" y="1"/>
                </a:cxn>
                <a:cxn ang="0">
                  <a:pos x="3" y="6"/>
                </a:cxn>
                <a:cxn ang="0">
                  <a:pos x="8" y="4"/>
                </a:cxn>
                <a:cxn ang="0">
                  <a:pos x="8" y="7"/>
                </a:cxn>
                <a:cxn ang="0">
                  <a:pos x="14" y="6"/>
                </a:cxn>
                <a:cxn ang="0">
                  <a:pos x="12" y="9"/>
                </a:cxn>
                <a:cxn ang="0">
                  <a:pos x="9" y="10"/>
                </a:cxn>
                <a:cxn ang="0">
                  <a:pos x="12" y="14"/>
                </a:cxn>
                <a:cxn ang="0">
                  <a:pos x="3" y="12"/>
                </a:cxn>
                <a:cxn ang="0">
                  <a:pos x="2" y="14"/>
                </a:cxn>
              </a:cxnLst>
              <a:rect l="0" t="0" r="r" b="b"/>
              <a:pathLst>
                <a:path w="15" h="14">
                  <a:moveTo>
                    <a:pt x="2" y="14"/>
                  </a:moveTo>
                  <a:cubicBezTo>
                    <a:pt x="0" y="12"/>
                    <a:pt x="3" y="10"/>
                    <a:pt x="2" y="9"/>
                  </a:cubicBezTo>
                  <a:cubicBezTo>
                    <a:pt x="0" y="7"/>
                    <a:pt x="0" y="4"/>
                    <a:pt x="2" y="3"/>
                  </a:cubicBezTo>
                  <a:cubicBezTo>
                    <a:pt x="2" y="1"/>
                    <a:pt x="2" y="0"/>
                    <a:pt x="3" y="1"/>
                  </a:cubicBezTo>
                  <a:cubicBezTo>
                    <a:pt x="5" y="3"/>
                    <a:pt x="2" y="4"/>
                    <a:pt x="3" y="6"/>
                  </a:cubicBezTo>
                  <a:cubicBezTo>
                    <a:pt x="6" y="7"/>
                    <a:pt x="8" y="1"/>
                    <a:pt x="8" y="4"/>
                  </a:cubicBezTo>
                  <a:cubicBezTo>
                    <a:pt x="8" y="7"/>
                    <a:pt x="5" y="7"/>
                    <a:pt x="8" y="7"/>
                  </a:cubicBezTo>
                  <a:cubicBezTo>
                    <a:pt x="11" y="7"/>
                    <a:pt x="12" y="4"/>
                    <a:pt x="14" y="6"/>
                  </a:cubicBezTo>
                  <a:cubicBezTo>
                    <a:pt x="15" y="6"/>
                    <a:pt x="15" y="10"/>
                    <a:pt x="12" y="9"/>
                  </a:cubicBezTo>
                  <a:cubicBezTo>
                    <a:pt x="9" y="9"/>
                    <a:pt x="8" y="10"/>
                    <a:pt x="9" y="10"/>
                  </a:cubicBezTo>
                  <a:cubicBezTo>
                    <a:pt x="9" y="10"/>
                    <a:pt x="15" y="12"/>
                    <a:pt x="12" y="14"/>
                  </a:cubicBezTo>
                  <a:cubicBezTo>
                    <a:pt x="8" y="14"/>
                    <a:pt x="5" y="10"/>
                    <a:pt x="3" y="12"/>
                  </a:cubicBezTo>
                  <a:cubicBezTo>
                    <a:pt x="3" y="14"/>
                    <a:pt x="2" y="14"/>
                    <a:pt x="2" y="14"/>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2" name="Freeform 236">
              <a:extLst>
                <a:ext uri="{FF2B5EF4-FFF2-40B4-BE49-F238E27FC236}">
                  <a16:creationId xmlns:a16="http://schemas.microsoft.com/office/drawing/2014/main" id="{8E358F09-37CC-04A3-76D2-5C22AA1B2FF4}"/>
                </a:ext>
              </a:extLst>
            </p:cNvPr>
            <p:cNvSpPr>
              <a:spLocks noEditPoints="1"/>
            </p:cNvSpPr>
            <p:nvPr/>
          </p:nvSpPr>
          <p:spPr bwMode="auto">
            <a:xfrm>
              <a:off x="20493494" y="3285429"/>
              <a:ext cx="546306" cy="719825"/>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3" name="Freeform 237">
              <a:extLst>
                <a:ext uri="{FF2B5EF4-FFF2-40B4-BE49-F238E27FC236}">
                  <a16:creationId xmlns:a16="http://schemas.microsoft.com/office/drawing/2014/main" id="{77F17F25-F5DB-F7CE-BB86-E24DE4884544}"/>
                </a:ext>
              </a:extLst>
            </p:cNvPr>
            <p:cNvSpPr>
              <a:spLocks noEditPoints="1"/>
            </p:cNvSpPr>
            <p:nvPr/>
          </p:nvSpPr>
          <p:spPr bwMode="auto">
            <a:xfrm>
              <a:off x="17916217" y="1720453"/>
              <a:ext cx="4235476" cy="1724045"/>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4" name="Freeform 238">
              <a:extLst>
                <a:ext uri="{FF2B5EF4-FFF2-40B4-BE49-F238E27FC236}">
                  <a16:creationId xmlns:a16="http://schemas.microsoft.com/office/drawing/2014/main" id="{4F49A642-56FA-1E58-69AE-B2A5BD0F369B}"/>
                </a:ext>
              </a:extLst>
            </p:cNvPr>
            <p:cNvSpPr>
              <a:spLocks noEditPoints="1"/>
            </p:cNvSpPr>
            <p:nvPr/>
          </p:nvSpPr>
          <p:spPr bwMode="auto">
            <a:xfrm>
              <a:off x="20223555" y="5073744"/>
              <a:ext cx="1015486" cy="1078131"/>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5" name="Freeform 273">
              <a:extLst>
                <a:ext uri="{FF2B5EF4-FFF2-40B4-BE49-F238E27FC236}">
                  <a16:creationId xmlns:a16="http://schemas.microsoft.com/office/drawing/2014/main" id="{1647D710-ABE3-83F4-71D1-1EC318F4C3F7}"/>
                </a:ext>
              </a:extLst>
            </p:cNvPr>
            <p:cNvSpPr>
              <a:spLocks/>
            </p:cNvSpPr>
            <p:nvPr/>
          </p:nvSpPr>
          <p:spPr bwMode="auto">
            <a:xfrm>
              <a:off x="17006779" y="3720859"/>
              <a:ext cx="17675" cy="9640"/>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6" name="Freeform 274">
              <a:extLst>
                <a:ext uri="{FF2B5EF4-FFF2-40B4-BE49-F238E27FC236}">
                  <a16:creationId xmlns:a16="http://schemas.microsoft.com/office/drawing/2014/main" id="{A946F02D-7025-EE1D-9DE0-B67CA78DFB55}"/>
                </a:ext>
              </a:extLst>
            </p:cNvPr>
            <p:cNvSpPr>
              <a:spLocks/>
            </p:cNvSpPr>
            <p:nvPr/>
          </p:nvSpPr>
          <p:spPr bwMode="auto">
            <a:xfrm>
              <a:off x="18499478" y="5096238"/>
              <a:ext cx="12854" cy="20888"/>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7" name="Freeform 275">
              <a:extLst>
                <a:ext uri="{FF2B5EF4-FFF2-40B4-BE49-F238E27FC236}">
                  <a16:creationId xmlns:a16="http://schemas.microsoft.com/office/drawing/2014/main" id="{74966416-A537-8422-20BD-CDAED3A0BCF3}"/>
                </a:ext>
              </a:extLst>
            </p:cNvPr>
            <p:cNvSpPr>
              <a:spLocks/>
            </p:cNvSpPr>
            <p:nvPr/>
          </p:nvSpPr>
          <p:spPr bwMode="auto">
            <a:xfrm>
              <a:off x="18542862" y="5136408"/>
              <a:ext cx="9641" cy="16068"/>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8" name="Freeform 276">
              <a:extLst>
                <a:ext uri="{FF2B5EF4-FFF2-40B4-BE49-F238E27FC236}">
                  <a16:creationId xmlns:a16="http://schemas.microsoft.com/office/drawing/2014/main" id="{FFD57B20-F43E-8E4F-208B-0F0F285188B5}"/>
                </a:ext>
              </a:extLst>
            </p:cNvPr>
            <p:cNvSpPr>
              <a:spLocks/>
            </p:cNvSpPr>
            <p:nvPr/>
          </p:nvSpPr>
          <p:spPr bwMode="auto">
            <a:xfrm>
              <a:off x="18523581" y="5120340"/>
              <a:ext cx="9641" cy="9640"/>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19" name="Freeform 277">
              <a:extLst>
                <a:ext uri="{FF2B5EF4-FFF2-40B4-BE49-F238E27FC236}">
                  <a16:creationId xmlns:a16="http://schemas.microsoft.com/office/drawing/2014/main" id="{B815C5D3-D53F-5C00-3168-FF7FEC6828A2}"/>
                </a:ext>
              </a:extLst>
            </p:cNvPr>
            <p:cNvSpPr>
              <a:spLocks/>
            </p:cNvSpPr>
            <p:nvPr/>
          </p:nvSpPr>
          <p:spPr bwMode="auto">
            <a:xfrm>
              <a:off x="18158841" y="4781315"/>
              <a:ext cx="274759" cy="33581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0" name="Freeform 278">
              <a:extLst>
                <a:ext uri="{FF2B5EF4-FFF2-40B4-BE49-F238E27FC236}">
                  <a16:creationId xmlns:a16="http://schemas.microsoft.com/office/drawing/2014/main" id="{58106605-9CA8-23AC-B75E-C99B17F41C6B}"/>
                </a:ext>
              </a:extLst>
            </p:cNvPr>
            <p:cNvSpPr>
              <a:spLocks/>
            </p:cNvSpPr>
            <p:nvPr/>
          </p:nvSpPr>
          <p:spPr bwMode="auto">
            <a:xfrm>
              <a:off x="18399859" y="4921102"/>
              <a:ext cx="14460" cy="30528"/>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1" name="Freeform 279">
              <a:extLst>
                <a:ext uri="{FF2B5EF4-FFF2-40B4-BE49-F238E27FC236}">
                  <a16:creationId xmlns:a16="http://schemas.microsoft.com/office/drawing/2014/main" id="{CD60C1FA-497F-7A21-3EEF-917195FF292D}"/>
                </a:ext>
              </a:extLst>
            </p:cNvPr>
            <p:cNvSpPr>
              <a:spLocks/>
            </p:cNvSpPr>
            <p:nvPr/>
          </p:nvSpPr>
          <p:spPr bwMode="auto">
            <a:xfrm>
              <a:off x="18409499" y="4900215"/>
              <a:ext cx="8034" cy="17674"/>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2" name="Freeform 280">
              <a:extLst>
                <a:ext uri="{FF2B5EF4-FFF2-40B4-BE49-F238E27FC236}">
                  <a16:creationId xmlns:a16="http://schemas.microsoft.com/office/drawing/2014/main" id="{03E4CDCA-94E5-1835-C9C3-5565E58A09DE}"/>
                </a:ext>
              </a:extLst>
            </p:cNvPr>
            <p:cNvSpPr>
              <a:spLocks/>
            </p:cNvSpPr>
            <p:nvPr/>
          </p:nvSpPr>
          <p:spPr bwMode="auto">
            <a:xfrm>
              <a:off x="18409499" y="4980552"/>
              <a:ext cx="14460" cy="16068"/>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3" name="Freeform 281">
              <a:extLst>
                <a:ext uri="{FF2B5EF4-FFF2-40B4-BE49-F238E27FC236}">
                  <a16:creationId xmlns:a16="http://schemas.microsoft.com/office/drawing/2014/main" id="{F81FDE7F-7E02-357E-BD05-8973FF52D474}"/>
                </a:ext>
              </a:extLst>
            </p:cNvPr>
            <p:cNvSpPr>
              <a:spLocks/>
            </p:cNvSpPr>
            <p:nvPr/>
          </p:nvSpPr>
          <p:spPr bwMode="auto">
            <a:xfrm>
              <a:off x="18795127" y="5391881"/>
              <a:ext cx="25709" cy="24102"/>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4" name="Freeform 282">
              <a:extLst>
                <a:ext uri="{FF2B5EF4-FFF2-40B4-BE49-F238E27FC236}">
                  <a16:creationId xmlns:a16="http://schemas.microsoft.com/office/drawing/2014/main" id="{AC70A338-B6AA-D697-5FAD-8512AD422BA2}"/>
                </a:ext>
              </a:extLst>
            </p:cNvPr>
            <p:cNvSpPr>
              <a:spLocks/>
            </p:cNvSpPr>
            <p:nvPr/>
          </p:nvSpPr>
          <p:spPr bwMode="auto">
            <a:xfrm>
              <a:off x="18841723" y="5361352"/>
              <a:ext cx="25709" cy="27315"/>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5" name="Freeform 283">
              <a:extLst>
                <a:ext uri="{FF2B5EF4-FFF2-40B4-BE49-F238E27FC236}">
                  <a16:creationId xmlns:a16="http://schemas.microsoft.com/office/drawing/2014/main" id="{8FBCB323-1013-F5F0-E667-80304301E7D3}"/>
                </a:ext>
              </a:extLst>
            </p:cNvPr>
            <p:cNvSpPr>
              <a:spLocks/>
            </p:cNvSpPr>
            <p:nvPr/>
          </p:nvSpPr>
          <p:spPr bwMode="auto">
            <a:xfrm>
              <a:off x="17839092" y="3365767"/>
              <a:ext cx="20888" cy="6427"/>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6" name="Freeform 284">
              <a:extLst>
                <a:ext uri="{FF2B5EF4-FFF2-40B4-BE49-F238E27FC236}">
                  <a16:creationId xmlns:a16="http://schemas.microsoft.com/office/drawing/2014/main" id="{BFDC6EB8-0AFF-4B31-0423-4F335E52FF09}"/>
                </a:ext>
              </a:extLst>
            </p:cNvPr>
            <p:cNvSpPr>
              <a:spLocks/>
            </p:cNvSpPr>
            <p:nvPr/>
          </p:nvSpPr>
          <p:spPr bwMode="auto">
            <a:xfrm>
              <a:off x="17839092" y="3362553"/>
              <a:ext cx="17675" cy="3213"/>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7" name="Freeform 285">
              <a:extLst>
                <a:ext uri="{FF2B5EF4-FFF2-40B4-BE49-F238E27FC236}">
                  <a16:creationId xmlns:a16="http://schemas.microsoft.com/office/drawing/2014/main" id="{D5D308C7-0948-C949-6CE9-36B316420168}"/>
                </a:ext>
              </a:extLst>
            </p:cNvPr>
            <p:cNvSpPr>
              <a:spLocks/>
            </p:cNvSpPr>
            <p:nvPr/>
          </p:nvSpPr>
          <p:spPr bwMode="auto">
            <a:xfrm>
              <a:off x="17842305" y="3378621"/>
              <a:ext cx="14460" cy="3213"/>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8" name="Freeform 286">
              <a:extLst>
                <a:ext uri="{FF2B5EF4-FFF2-40B4-BE49-F238E27FC236}">
                  <a16:creationId xmlns:a16="http://schemas.microsoft.com/office/drawing/2014/main" id="{6C77946C-4EBB-AA70-FBF4-5504497E3103}"/>
                </a:ext>
              </a:extLst>
            </p:cNvPr>
            <p:cNvSpPr>
              <a:spLocks/>
            </p:cNvSpPr>
            <p:nvPr/>
          </p:nvSpPr>
          <p:spPr bwMode="auto">
            <a:xfrm>
              <a:off x="17789281" y="3299890"/>
              <a:ext cx="8034" cy="9640"/>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29" name="Freeform 287">
              <a:extLst>
                <a:ext uri="{FF2B5EF4-FFF2-40B4-BE49-F238E27FC236}">
                  <a16:creationId xmlns:a16="http://schemas.microsoft.com/office/drawing/2014/main" id="{F4500FAB-6B20-E40E-8C21-828553202AAA}"/>
                </a:ext>
              </a:extLst>
            </p:cNvPr>
            <p:cNvSpPr>
              <a:spLocks/>
            </p:cNvSpPr>
            <p:nvPr/>
          </p:nvSpPr>
          <p:spPr bwMode="auto">
            <a:xfrm>
              <a:off x="17786068" y="3299890"/>
              <a:ext cx="8034" cy="22494"/>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30" name="Freeform 288">
              <a:extLst>
                <a:ext uri="{FF2B5EF4-FFF2-40B4-BE49-F238E27FC236}">
                  <a16:creationId xmlns:a16="http://schemas.microsoft.com/office/drawing/2014/main" id="{1682744A-1360-16A3-E27F-D0524A781EBC}"/>
                </a:ext>
              </a:extLst>
            </p:cNvPr>
            <p:cNvSpPr>
              <a:spLocks/>
            </p:cNvSpPr>
            <p:nvPr/>
          </p:nvSpPr>
          <p:spPr bwMode="auto">
            <a:xfrm>
              <a:off x="17794102" y="3312744"/>
              <a:ext cx="12854" cy="19281"/>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31" name="Freeform 301">
              <a:extLst>
                <a:ext uri="{FF2B5EF4-FFF2-40B4-BE49-F238E27FC236}">
                  <a16:creationId xmlns:a16="http://schemas.microsoft.com/office/drawing/2014/main" id="{CB9474A8-E3F7-CD68-FCFC-A628B2CB0B70}"/>
                </a:ext>
              </a:extLst>
            </p:cNvPr>
            <p:cNvSpPr>
              <a:spLocks/>
            </p:cNvSpPr>
            <p:nvPr/>
          </p:nvSpPr>
          <p:spPr bwMode="auto">
            <a:xfrm>
              <a:off x="17471139" y="3388262"/>
              <a:ext cx="6427" cy="9640"/>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32" name="Freeform 1256">
              <a:extLst>
                <a:ext uri="{FF2B5EF4-FFF2-40B4-BE49-F238E27FC236}">
                  <a16:creationId xmlns:a16="http://schemas.microsoft.com/office/drawing/2014/main" id="{E3B6CD85-B5B2-F323-146A-A77D435ED80A}"/>
                </a:ext>
              </a:extLst>
            </p:cNvPr>
            <p:cNvSpPr/>
            <p:nvPr/>
          </p:nvSpPr>
          <p:spPr bwMode="ltGray">
            <a:xfrm>
              <a:off x="18021021" y="4384586"/>
              <a:ext cx="263119" cy="74736"/>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grpFill/>
            <a:ln w="6350" cmpd="sng">
              <a:solidFill>
                <a:schemeClr val="bg1">
                  <a:lumMod val="95000"/>
                </a:schemeClr>
              </a:solidFill>
              <a:round/>
              <a:headEnd/>
              <a:tailEnd/>
            </a:ln>
          </p:spPr>
          <p:txBody>
            <a:bodyPr/>
            <a:lstStyle/>
            <a:p>
              <a:endParaRPr lang="en-US" dirty="0">
                <a:solidFill>
                  <a:schemeClr val="tx2"/>
                </a:solidFill>
                <a:latin typeface="Lato" panose="020F0502020204030203" pitchFamily="34" charset="0"/>
              </a:endParaRPr>
            </a:p>
          </p:txBody>
        </p:sp>
        <p:sp>
          <p:nvSpPr>
            <p:cNvPr id="933" name="Freeform 1257">
              <a:extLst>
                <a:ext uri="{FF2B5EF4-FFF2-40B4-BE49-F238E27FC236}">
                  <a16:creationId xmlns:a16="http://schemas.microsoft.com/office/drawing/2014/main" id="{1DCCF253-5FAF-7A39-A10F-DD2DB61C87E6}"/>
                </a:ext>
              </a:extLst>
            </p:cNvPr>
            <p:cNvSpPr/>
            <p:nvPr/>
          </p:nvSpPr>
          <p:spPr bwMode="ltGray">
            <a:xfrm>
              <a:off x="18018160" y="4382057"/>
              <a:ext cx="305902" cy="262440"/>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grpFill/>
            <a:ln w="6350" cmpd="sng">
              <a:solidFill>
                <a:schemeClr val="bg1">
                  <a:lumMod val="95000"/>
                </a:schemeClr>
              </a:solidFill>
              <a:round/>
              <a:headEnd/>
              <a:tailEnd/>
            </a:ln>
          </p:spPr>
          <p:txBody>
            <a:bodyPr/>
            <a:lstStyle/>
            <a:p>
              <a:endParaRPr lang="en-US" dirty="0">
                <a:solidFill>
                  <a:schemeClr val="tx2"/>
                </a:solidFill>
                <a:latin typeface="Lato" panose="020F0502020204030203" pitchFamily="34" charset="0"/>
              </a:endParaRPr>
            </a:p>
          </p:txBody>
        </p:sp>
        <p:sp>
          <p:nvSpPr>
            <p:cNvPr id="934" name="Freeform 83">
              <a:extLst>
                <a:ext uri="{FF2B5EF4-FFF2-40B4-BE49-F238E27FC236}">
                  <a16:creationId xmlns:a16="http://schemas.microsoft.com/office/drawing/2014/main" id="{4C2E493A-C928-1EB1-C99E-24C8FEA30314}"/>
                </a:ext>
              </a:extLst>
            </p:cNvPr>
            <p:cNvSpPr>
              <a:spLocks/>
            </p:cNvSpPr>
            <p:nvPr/>
          </p:nvSpPr>
          <p:spPr bwMode="auto">
            <a:xfrm>
              <a:off x="17975254" y="4039603"/>
              <a:ext cx="411739" cy="423486"/>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val 5555"/>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val 5000"/>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grpFill/>
            <a:ln w="6350" cmpd="sng">
              <a:solidFill>
                <a:schemeClr val="bg1">
                  <a:lumMod val="95000"/>
                </a:schemeClr>
              </a:solidFill>
              <a:round/>
              <a:headEnd/>
              <a:tailEnd/>
            </a:ln>
          </p:spPr>
          <p:txBody>
            <a:bodyPr/>
            <a:lstStyle/>
            <a:p>
              <a:endParaRPr lang="en-GB" dirty="0">
                <a:latin typeface="Lato" panose="020F0502020204030203" pitchFamily="34" charset="0"/>
              </a:endParaRPr>
            </a:p>
          </p:txBody>
        </p:sp>
        <p:sp>
          <p:nvSpPr>
            <p:cNvPr id="935" name="Freeform 1260">
              <a:extLst>
                <a:ext uri="{FF2B5EF4-FFF2-40B4-BE49-F238E27FC236}">
                  <a16:creationId xmlns:a16="http://schemas.microsoft.com/office/drawing/2014/main" id="{E01BD09C-89A2-22CB-1792-A6C805515DDA}"/>
                </a:ext>
              </a:extLst>
            </p:cNvPr>
            <p:cNvSpPr>
              <a:spLocks/>
            </p:cNvSpPr>
            <p:nvPr/>
          </p:nvSpPr>
          <p:spPr bwMode="auto">
            <a:xfrm>
              <a:off x="19121586" y="3595050"/>
              <a:ext cx="724376" cy="911823"/>
            </a:xfrm>
            <a:custGeom>
              <a:avLst/>
              <a:gdLst>
                <a:gd name="connsiteX0" fmla="*/ 167645 w 724376"/>
                <a:gd name="connsiteY0" fmla="*/ 0 h 911823"/>
                <a:gd name="connsiteX1" fmla="*/ 177724 w 724376"/>
                <a:gd name="connsiteY1" fmla="*/ 2263 h 911823"/>
                <a:gd name="connsiteX2" fmla="*/ 185716 w 724376"/>
                <a:gd name="connsiteY2" fmla="*/ 110 h 911823"/>
                <a:gd name="connsiteX3" fmla="*/ 187702 w 724376"/>
                <a:gd name="connsiteY3" fmla="*/ 6568 h 911823"/>
                <a:gd name="connsiteX4" fmla="*/ 217889 w 724376"/>
                <a:gd name="connsiteY4" fmla="*/ 29032 h 911823"/>
                <a:gd name="connsiteX5" fmla="*/ 219416 w 724376"/>
                <a:gd name="connsiteY5" fmla="*/ 37091 h 911823"/>
                <a:gd name="connsiteX6" fmla="*/ 231837 w 724376"/>
                <a:gd name="connsiteY6" fmla="*/ 41230 h 911823"/>
                <a:gd name="connsiteX7" fmla="*/ 232265 w 724376"/>
                <a:gd name="connsiteY7" fmla="*/ 43312 h 911823"/>
                <a:gd name="connsiteX8" fmla="*/ 236925 w 724376"/>
                <a:gd name="connsiteY8" fmla="*/ 38670 h 911823"/>
                <a:gd name="connsiteX9" fmla="*/ 243160 w 724376"/>
                <a:gd name="connsiteY9" fmla="*/ 38670 h 911823"/>
                <a:gd name="connsiteX10" fmla="*/ 271217 w 724376"/>
                <a:gd name="connsiteY10" fmla="*/ 26194 h 911823"/>
                <a:gd name="connsiteX11" fmla="*/ 286414 w 724376"/>
                <a:gd name="connsiteY11" fmla="*/ 32432 h 911823"/>
                <a:gd name="connsiteX12" fmla="*/ 289901 w 724376"/>
                <a:gd name="connsiteY12" fmla="*/ 38635 h 911823"/>
                <a:gd name="connsiteX13" fmla="*/ 294553 w 724376"/>
                <a:gd name="connsiteY13" fmla="*/ 39850 h 911823"/>
                <a:gd name="connsiteX14" fmla="*/ 295256 w 724376"/>
                <a:gd name="connsiteY14" fmla="*/ 40805 h 911823"/>
                <a:gd name="connsiteX15" fmla="*/ 295766 w 724376"/>
                <a:gd name="connsiteY15" fmla="*/ 41009 h 911823"/>
                <a:gd name="connsiteX16" fmla="*/ 299273 w 724376"/>
                <a:gd name="connsiteY16" fmla="*/ 38670 h 911823"/>
                <a:gd name="connsiteX17" fmla="*/ 302780 w 724376"/>
                <a:gd name="connsiteY17" fmla="*/ 38670 h 911823"/>
                <a:gd name="connsiteX18" fmla="*/ 299712 w 724376"/>
                <a:gd name="connsiteY18" fmla="*/ 46855 h 911823"/>
                <a:gd name="connsiteX19" fmla="*/ 300407 w 724376"/>
                <a:gd name="connsiteY19" fmla="*/ 47798 h 911823"/>
                <a:gd name="connsiteX20" fmla="*/ 299490 w 724376"/>
                <a:gd name="connsiteY20" fmla="*/ 50745 h 911823"/>
                <a:gd name="connsiteX21" fmla="*/ 300053 w 724376"/>
                <a:gd name="connsiteY21" fmla="*/ 57774 h 911823"/>
                <a:gd name="connsiteX22" fmla="*/ 296156 w 724376"/>
                <a:gd name="connsiteY22" fmla="*/ 69860 h 911823"/>
                <a:gd name="connsiteX23" fmla="*/ 295566 w 724376"/>
                <a:gd name="connsiteY23" fmla="*/ 70393 h 911823"/>
                <a:gd name="connsiteX24" fmla="*/ 295215 w 724376"/>
                <a:gd name="connsiteY24" fmla="*/ 76334 h 911823"/>
                <a:gd name="connsiteX25" fmla="*/ 289717 w 724376"/>
                <a:gd name="connsiteY25" fmla="*/ 77934 h 911823"/>
                <a:gd name="connsiteX26" fmla="*/ 285994 w 724376"/>
                <a:gd name="connsiteY26" fmla="*/ 80497 h 911823"/>
                <a:gd name="connsiteX27" fmla="*/ 284465 w 724376"/>
                <a:gd name="connsiteY27" fmla="*/ 83895 h 911823"/>
                <a:gd name="connsiteX28" fmla="*/ 284047 w 724376"/>
                <a:gd name="connsiteY28" fmla="*/ 84899 h 911823"/>
                <a:gd name="connsiteX29" fmla="*/ 284372 w 724376"/>
                <a:gd name="connsiteY29" fmla="*/ 90077 h 911823"/>
                <a:gd name="connsiteX30" fmla="*/ 279179 w 724376"/>
                <a:gd name="connsiteY30" fmla="*/ 95045 h 911823"/>
                <a:gd name="connsiteX31" fmla="*/ 273631 w 724376"/>
                <a:gd name="connsiteY31" fmla="*/ 94161 h 911823"/>
                <a:gd name="connsiteX32" fmla="*/ 267257 w 724376"/>
                <a:gd name="connsiteY32" fmla="*/ 96554 h 911823"/>
                <a:gd name="connsiteX33" fmla="*/ 267461 w 724376"/>
                <a:gd name="connsiteY33" fmla="*/ 97643 h 911823"/>
                <a:gd name="connsiteX34" fmla="*/ 271594 w 724376"/>
                <a:gd name="connsiteY34" fmla="*/ 106856 h 911823"/>
                <a:gd name="connsiteX35" fmla="*/ 267522 w 724376"/>
                <a:gd name="connsiteY35" fmla="*/ 109064 h 911823"/>
                <a:gd name="connsiteX36" fmla="*/ 267677 w 724376"/>
                <a:gd name="connsiteY36" fmla="*/ 110465 h 911823"/>
                <a:gd name="connsiteX37" fmla="*/ 271996 w 724376"/>
                <a:gd name="connsiteY37" fmla="*/ 115475 h 911823"/>
                <a:gd name="connsiteX38" fmla="*/ 274582 w 724376"/>
                <a:gd name="connsiteY38" fmla="*/ 117710 h 911823"/>
                <a:gd name="connsiteX39" fmla="*/ 279230 w 724376"/>
                <a:gd name="connsiteY39" fmla="*/ 118999 h 911823"/>
                <a:gd name="connsiteX40" fmla="*/ 279151 w 724376"/>
                <a:gd name="connsiteY40" fmla="*/ 121658 h 911823"/>
                <a:gd name="connsiteX41" fmla="*/ 280569 w 724376"/>
                <a:gd name="connsiteY41" fmla="*/ 122883 h 911823"/>
                <a:gd name="connsiteX42" fmla="*/ 282517 w 724376"/>
                <a:gd name="connsiteY42" fmla="*/ 131070 h 911823"/>
                <a:gd name="connsiteX43" fmla="*/ 282658 w 724376"/>
                <a:gd name="connsiteY43" fmla="*/ 134209 h 911823"/>
                <a:gd name="connsiteX44" fmla="*/ 283557 w 724376"/>
                <a:gd name="connsiteY44" fmla="*/ 135833 h 911823"/>
                <a:gd name="connsiteX45" fmla="*/ 282753 w 724376"/>
                <a:gd name="connsiteY45" fmla="*/ 136315 h 911823"/>
                <a:gd name="connsiteX46" fmla="*/ 282761 w 724376"/>
                <a:gd name="connsiteY46" fmla="*/ 136480 h 911823"/>
                <a:gd name="connsiteX47" fmla="*/ 277451 w 724376"/>
                <a:gd name="connsiteY47" fmla="*/ 141597 h 911823"/>
                <a:gd name="connsiteX48" fmla="*/ 271607 w 724376"/>
                <a:gd name="connsiteY48" fmla="*/ 145106 h 911823"/>
                <a:gd name="connsiteX49" fmla="*/ 270469 w 724376"/>
                <a:gd name="connsiteY49" fmla="*/ 143968 h 911823"/>
                <a:gd name="connsiteX50" fmla="*/ 269049 w 724376"/>
                <a:gd name="connsiteY50" fmla="*/ 144940 h 911823"/>
                <a:gd name="connsiteX51" fmla="*/ 265231 w 724376"/>
                <a:gd name="connsiteY51" fmla="*/ 142456 h 911823"/>
                <a:gd name="connsiteX52" fmla="*/ 264500 w 724376"/>
                <a:gd name="connsiteY52" fmla="*/ 139946 h 911823"/>
                <a:gd name="connsiteX53" fmla="*/ 259301 w 724376"/>
                <a:gd name="connsiteY53" fmla="*/ 137562 h 911823"/>
                <a:gd name="connsiteX54" fmla="*/ 258747 w 724376"/>
                <a:gd name="connsiteY54" fmla="*/ 138100 h 911823"/>
                <a:gd name="connsiteX55" fmla="*/ 258747 w 724376"/>
                <a:gd name="connsiteY55" fmla="*/ 144716 h 911823"/>
                <a:gd name="connsiteX56" fmla="*/ 261864 w 724376"/>
                <a:gd name="connsiteY56" fmla="*/ 175906 h 911823"/>
                <a:gd name="connsiteX57" fmla="*/ 277451 w 724376"/>
                <a:gd name="connsiteY57" fmla="*/ 179025 h 911823"/>
                <a:gd name="connsiteX58" fmla="*/ 296156 w 724376"/>
                <a:gd name="connsiteY58" fmla="*/ 194620 h 911823"/>
                <a:gd name="connsiteX59" fmla="*/ 317978 w 724376"/>
                <a:gd name="connsiteY59" fmla="*/ 213333 h 911823"/>
                <a:gd name="connsiteX60" fmla="*/ 299273 w 724376"/>
                <a:gd name="connsiteY60" fmla="*/ 238285 h 911823"/>
                <a:gd name="connsiteX61" fmla="*/ 299273 w 724376"/>
                <a:gd name="connsiteY61" fmla="*/ 253880 h 911823"/>
                <a:gd name="connsiteX62" fmla="*/ 308626 w 724376"/>
                <a:gd name="connsiteY62" fmla="*/ 266356 h 911823"/>
                <a:gd name="connsiteX63" fmla="*/ 333565 w 724376"/>
                <a:gd name="connsiteY63" fmla="*/ 288189 h 911823"/>
                <a:gd name="connsiteX64" fmla="*/ 352270 w 724376"/>
                <a:gd name="connsiteY64" fmla="*/ 297546 h 911823"/>
                <a:gd name="connsiteX65" fmla="*/ 361622 w 724376"/>
                <a:gd name="connsiteY65" fmla="*/ 300665 h 911823"/>
                <a:gd name="connsiteX66" fmla="*/ 389679 w 724376"/>
                <a:gd name="connsiteY66" fmla="*/ 306903 h 911823"/>
                <a:gd name="connsiteX67" fmla="*/ 405266 w 724376"/>
                <a:gd name="connsiteY67" fmla="*/ 306903 h 911823"/>
                <a:gd name="connsiteX68" fmla="*/ 414618 w 724376"/>
                <a:gd name="connsiteY68" fmla="*/ 319379 h 911823"/>
                <a:gd name="connsiteX69" fmla="*/ 430206 w 724376"/>
                <a:gd name="connsiteY69" fmla="*/ 325617 h 911823"/>
                <a:gd name="connsiteX70" fmla="*/ 442675 w 724376"/>
                <a:gd name="connsiteY70" fmla="*/ 328736 h 911823"/>
                <a:gd name="connsiteX71" fmla="*/ 467615 w 724376"/>
                <a:gd name="connsiteY71" fmla="*/ 334974 h 911823"/>
                <a:gd name="connsiteX72" fmla="*/ 480084 w 724376"/>
                <a:gd name="connsiteY72" fmla="*/ 341212 h 911823"/>
                <a:gd name="connsiteX73" fmla="*/ 495672 w 724376"/>
                <a:gd name="connsiteY73" fmla="*/ 334974 h 911823"/>
                <a:gd name="connsiteX74" fmla="*/ 495672 w 724376"/>
                <a:gd name="connsiteY74" fmla="*/ 306903 h 911823"/>
                <a:gd name="connsiteX75" fmla="*/ 495672 w 724376"/>
                <a:gd name="connsiteY75" fmla="*/ 291308 h 911823"/>
                <a:gd name="connsiteX76" fmla="*/ 514376 w 724376"/>
                <a:gd name="connsiteY76" fmla="*/ 310022 h 911823"/>
                <a:gd name="connsiteX77" fmla="*/ 523728 w 724376"/>
                <a:gd name="connsiteY77" fmla="*/ 325617 h 911823"/>
                <a:gd name="connsiteX78" fmla="*/ 548668 w 724376"/>
                <a:gd name="connsiteY78" fmla="*/ 325617 h 911823"/>
                <a:gd name="connsiteX79" fmla="*/ 570490 w 724376"/>
                <a:gd name="connsiteY79" fmla="*/ 325617 h 911823"/>
                <a:gd name="connsiteX80" fmla="*/ 586077 w 724376"/>
                <a:gd name="connsiteY80" fmla="*/ 325617 h 911823"/>
                <a:gd name="connsiteX81" fmla="*/ 595429 w 724376"/>
                <a:gd name="connsiteY81" fmla="*/ 319379 h 911823"/>
                <a:gd name="connsiteX82" fmla="*/ 589195 w 724376"/>
                <a:gd name="connsiteY82" fmla="*/ 306903 h 911823"/>
                <a:gd name="connsiteX83" fmla="*/ 579842 w 724376"/>
                <a:gd name="connsiteY83" fmla="*/ 297546 h 911823"/>
                <a:gd name="connsiteX84" fmla="*/ 607899 w 724376"/>
                <a:gd name="connsiteY84" fmla="*/ 288189 h 911823"/>
                <a:gd name="connsiteX85" fmla="*/ 620369 w 724376"/>
                <a:gd name="connsiteY85" fmla="*/ 272594 h 911823"/>
                <a:gd name="connsiteX86" fmla="*/ 642191 w 724376"/>
                <a:gd name="connsiteY86" fmla="*/ 256999 h 911823"/>
                <a:gd name="connsiteX87" fmla="*/ 660896 w 724376"/>
                <a:gd name="connsiteY87" fmla="*/ 247642 h 911823"/>
                <a:gd name="connsiteX88" fmla="*/ 679600 w 724376"/>
                <a:gd name="connsiteY88" fmla="*/ 247642 h 911823"/>
                <a:gd name="connsiteX89" fmla="*/ 695187 w 724376"/>
                <a:gd name="connsiteY89" fmla="*/ 241404 h 911823"/>
                <a:gd name="connsiteX90" fmla="*/ 698305 w 724376"/>
                <a:gd name="connsiteY90" fmla="*/ 253880 h 911823"/>
                <a:gd name="connsiteX91" fmla="*/ 704540 w 724376"/>
                <a:gd name="connsiteY91" fmla="*/ 256999 h 911823"/>
                <a:gd name="connsiteX92" fmla="*/ 704540 w 724376"/>
                <a:gd name="connsiteY92" fmla="*/ 275713 h 911823"/>
                <a:gd name="connsiteX93" fmla="*/ 723244 w 724376"/>
                <a:gd name="connsiteY93" fmla="*/ 281951 h 911823"/>
                <a:gd name="connsiteX94" fmla="*/ 713892 w 724376"/>
                <a:gd name="connsiteY94" fmla="*/ 306903 h 911823"/>
                <a:gd name="connsiteX95" fmla="*/ 713892 w 724376"/>
                <a:gd name="connsiteY95" fmla="*/ 310022 h 911823"/>
                <a:gd name="connsiteX96" fmla="*/ 679600 w 724376"/>
                <a:gd name="connsiteY96" fmla="*/ 325617 h 911823"/>
                <a:gd name="connsiteX97" fmla="*/ 670248 w 724376"/>
                <a:gd name="connsiteY97" fmla="*/ 334974 h 911823"/>
                <a:gd name="connsiteX98" fmla="*/ 670248 w 724376"/>
                <a:gd name="connsiteY98" fmla="*/ 353688 h 911823"/>
                <a:gd name="connsiteX99" fmla="*/ 657778 w 724376"/>
                <a:gd name="connsiteY99" fmla="*/ 378640 h 911823"/>
                <a:gd name="connsiteX100" fmla="*/ 648426 w 724376"/>
                <a:gd name="connsiteY100" fmla="*/ 406711 h 911823"/>
                <a:gd name="connsiteX101" fmla="*/ 632839 w 724376"/>
                <a:gd name="connsiteY101" fmla="*/ 416068 h 911823"/>
                <a:gd name="connsiteX102" fmla="*/ 623486 w 724376"/>
                <a:gd name="connsiteY102" fmla="*/ 428544 h 911823"/>
                <a:gd name="connsiteX103" fmla="*/ 620369 w 724376"/>
                <a:gd name="connsiteY103" fmla="*/ 456615 h 911823"/>
                <a:gd name="connsiteX104" fmla="*/ 620369 w 724376"/>
                <a:gd name="connsiteY104" fmla="*/ 475329 h 911823"/>
                <a:gd name="connsiteX105" fmla="*/ 604782 w 724376"/>
                <a:gd name="connsiteY105" fmla="*/ 481567 h 911823"/>
                <a:gd name="connsiteX106" fmla="*/ 598547 w 724376"/>
                <a:gd name="connsiteY106" fmla="*/ 431663 h 911823"/>
                <a:gd name="connsiteX107" fmla="*/ 589195 w 724376"/>
                <a:gd name="connsiteY107" fmla="*/ 431663 h 911823"/>
                <a:gd name="connsiteX108" fmla="*/ 570490 w 724376"/>
                <a:gd name="connsiteY108" fmla="*/ 428544 h 911823"/>
                <a:gd name="connsiteX109" fmla="*/ 595429 w 724376"/>
                <a:gd name="connsiteY109" fmla="*/ 394235 h 911823"/>
                <a:gd name="connsiteX110" fmla="*/ 604782 w 724376"/>
                <a:gd name="connsiteY110" fmla="*/ 384878 h 911823"/>
                <a:gd name="connsiteX111" fmla="*/ 539316 w 724376"/>
                <a:gd name="connsiteY111" fmla="*/ 372402 h 911823"/>
                <a:gd name="connsiteX112" fmla="*/ 533081 w 724376"/>
                <a:gd name="connsiteY112" fmla="*/ 350569 h 911823"/>
                <a:gd name="connsiteX113" fmla="*/ 520611 w 724376"/>
                <a:gd name="connsiteY113" fmla="*/ 341212 h 911823"/>
                <a:gd name="connsiteX114" fmla="*/ 505024 w 724376"/>
                <a:gd name="connsiteY114" fmla="*/ 334974 h 911823"/>
                <a:gd name="connsiteX115" fmla="*/ 505024 w 724376"/>
                <a:gd name="connsiteY115" fmla="*/ 341212 h 911823"/>
                <a:gd name="connsiteX116" fmla="*/ 495672 w 724376"/>
                <a:gd name="connsiteY116" fmla="*/ 359926 h 911823"/>
                <a:gd name="connsiteX117" fmla="*/ 508141 w 724376"/>
                <a:gd name="connsiteY117" fmla="*/ 369283 h 911823"/>
                <a:gd name="connsiteX118" fmla="*/ 514376 w 724376"/>
                <a:gd name="connsiteY118" fmla="*/ 372402 h 911823"/>
                <a:gd name="connsiteX119" fmla="*/ 505024 w 724376"/>
                <a:gd name="connsiteY119" fmla="*/ 378640 h 911823"/>
                <a:gd name="connsiteX120" fmla="*/ 495672 w 724376"/>
                <a:gd name="connsiteY120" fmla="*/ 394235 h 911823"/>
                <a:gd name="connsiteX121" fmla="*/ 508141 w 724376"/>
                <a:gd name="connsiteY121" fmla="*/ 412949 h 911823"/>
                <a:gd name="connsiteX122" fmla="*/ 508141 w 724376"/>
                <a:gd name="connsiteY122" fmla="*/ 428544 h 911823"/>
                <a:gd name="connsiteX123" fmla="*/ 514376 w 724376"/>
                <a:gd name="connsiteY123" fmla="*/ 441020 h 911823"/>
                <a:gd name="connsiteX124" fmla="*/ 514376 w 724376"/>
                <a:gd name="connsiteY124" fmla="*/ 459734 h 911823"/>
                <a:gd name="connsiteX125" fmla="*/ 520611 w 724376"/>
                <a:gd name="connsiteY125" fmla="*/ 481567 h 911823"/>
                <a:gd name="connsiteX126" fmla="*/ 520611 w 724376"/>
                <a:gd name="connsiteY126" fmla="*/ 484686 h 911823"/>
                <a:gd name="connsiteX127" fmla="*/ 514376 w 724376"/>
                <a:gd name="connsiteY127" fmla="*/ 490924 h 911823"/>
                <a:gd name="connsiteX128" fmla="*/ 498789 w 724376"/>
                <a:gd name="connsiteY128" fmla="*/ 484686 h 911823"/>
                <a:gd name="connsiteX129" fmla="*/ 476967 w 724376"/>
                <a:gd name="connsiteY129" fmla="*/ 494043 h 911823"/>
                <a:gd name="connsiteX130" fmla="*/ 461380 w 724376"/>
                <a:gd name="connsiteY130" fmla="*/ 534589 h 911823"/>
                <a:gd name="connsiteX131" fmla="*/ 433323 w 724376"/>
                <a:gd name="connsiteY131" fmla="*/ 553303 h 911823"/>
                <a:gd name="connsiteX132" fmla="*/ 370974 w 724376"/>
                <a:gd name="connsiteY132" fmla="*/ 621921 h 911823"/>
                <a:gd name="connsiteX133" fmla="*/ 349152 w 724376"/>
                <a:gd name="connsiteY133" fmla="*/ 656230 h 911823"/>
                <a:gd name="connsiteX134" fmla="*/ 324213 w 724376"/>
                <a:gd name="connsiteY134" fmla="*/ 665587 h 911823"/>
                <a:gd name="connsiteX135" fmla="*/ 296156 w 724376"/>
                <a:gd name="connsiteY135" fmla="*/ 699896 h 911823"/>
                <a:gd name="connsiteX136" fmla="*/ 299273 w 724376"/>
                <a:gd name="connsiteY136" fmla="*/ 727967 h 911823"/>
                <a:gd name="connsiteX137" fmla="*/ 289921 w 724376"/>
                <a:gd name="connsiteY137" fmla="*/ 787228 h 911823"/>
                <a:gd name="connsiteX138" fmla="*/ 286804 w 724376"/>
                <a:gd name="connsiteY138" fmla="*/ 843369 h 911823"/>
                <a:gd name="connsiteX139" fmla="*/ 271217 w 724376"/>
                <a:gd name="connsiteY139" fmla="*/ 858964 h 911823"/>
                <a:gd name="connsiteX140" fmla="*/ 280569 w 724376"/>
                <a:gd name="connsiteY140" fmla="*/ 877678 h 911823"/>
                <a:gd name="connsiteX141" fmla="*/ 258747 w 724376"/>
                <a:gd name="connsiteY141" fmla="*/ 877678 h 911823"/>
                <a:gd name="connsiteX142" fmla="*/ 236925 w 724376"/>
                <a:gd name="connsiteY142" fmla="*/ 905749 h 911823"/>
                <a:gd name="connsiteX143" fmla="*/ 196398 w 724376"/>
                <a:gd name="connsiteY143" fmla="*/ 840250 h 911823"/>
                <a:gd name="connsiteX144" fmla="*/ 168341 w 724376"/>
                <a:gd name="connsiteY144" fmla="*/ 762276 h 911823"/>
                <a:gd name="connsiteX145" fmla="*/ 134050 w 724376"/>
                <a:gd name="connsiteY145" fmla="*/ 668706 h 911823"/>
                <a:gd name="connsiteX146" fmla="*/ 115345 w 724376"/>
                <a:gd name="connsiteY146" fmla="*/ 578255 h 911823"/>
                <a:gd name="connsiteX147" fmla="*/ 115345 w 724376"/>
                <a:gd name="connsiteY147" fmla="*/ 509637 h 911823"/>
                <a:gd name="connsiteX148" fmla="*/ 109110 w 724376"/>
                <a:gd name="connsiteY148" fmla="*/ 484686 h 911823"/>
                <a:gd name="connsiteX149" fmla="*/ 105993 w 724376"/>
                <a:gd name="connsiteY149" fmla="*/ 472210 h 911823"/>
                <a:gd name="connsiteX150" fmla="*/ 96640 w 724376"/>
                <a:gd name="connsiteY150" fmla="*/ 503399 h 911823"/>
                <a:gd name="connsiteX151" fmla="*/ 34292 w 724376"/>
                <a:gd name="connsiteY151" fmla="*/ 490924 h 911823"/>
                <a:gd name="connsiteX152" fmla="*/ 37409 w 724376"/>
                <a:gd name="connsiteY152" fmla="*/ 465972 h 911823"/>
                <a:gd name="connsiteX153" fmla="*/ 43644 w 724376"/>
                <a:gd name="connsiteY153" fmla="*/ 450377 h 911823"/>
                <a:gd name="connsiteX154" fmla="*/ 9352 w 724376"/>
                <a:gd name="connsiteY154" fmla="*/ 437901 h 911823"/>
                <a:gd name="connsiteX155" fmla="*/ 0 w 724376"/>
                <a:gd name="connsiteY155" fmla="*/ 428544 h 911823"/>
                <a:gd name="connsiteX156" fmla="*/ 15587 w 724376"/>
                <a:gd name="connsiteY156" fmla="*/ 412949 h 911823"/>
                <a:gd name="connsiteX157" fmla="*/ 28057 w 724376"/>
                <a:gd name="connsiteY157" fmla="*/ 406711 h 911823"/>
                <a:gd name="connsiteX158" fmla="*/ 46761 w 724376"/>
                <a:gd name="connsiteY158" fmla="*/ 406711 h 911823"/>
                <a:gd name="connsiteX159" fmla="*/ 62349 w 724376"/>
                <a:gd name="connsiteY159" fmla="*/ 406711 h 911823"/>
                <a:gd name="connsiteX160" fmla="*/ 71701 w 724376"/>
                <a:gd name="connsiteY160" fmla="*/ 403592 h 911823"/>
                <a:gd name="connsiteX161" fmla="*/ 71701 w 724376"/>
                <a:gd name="connsiteY161" fmla="*/ 387997 h 911823"/>
                <a:gd name="connsiteX162" fmla="*/ 59231 w 724376"/>
                <a:gd name="connsiteY162" fmla="*/ 359926 h 911823"/>
                <a:gd name="connsiteX163" fmla="*/ 43644 w 724376"/>
                <a:gd name="connsiteY163" fmla="*/ 328736 h 911823"/>
                <a:gd name="connsiteX164" fmla="*/ 43644 w 724376"/>
                <a:gd name="connsiteY164" fmla="*/ 306903 h 911823"/>
                <a:gd name="connsiteX165" fmla="*/ 62349 w 724376"/>
                <a:gd name="connsiteY165" fmla="*/ 291308 h 911823"/>
                <a:gd name="connsiteX166" fmla="*/ 90406 w 724376"/>
                <a:gd name="connsiteY166" fmla="*/ 291308 h 911823"/>
                <a:gd name="connsiteX167" fmla="*/ 99758 w 724376"/>
                <a:gd name="connsiteY167" fmla="*/ 275713 h 911823"/>
                <a:gd name="connsiteX168" fmla="*/ 115345 w 724376"/>
                <a:gd name="connsiteY168" fmla="*/ 256999 h 911823"/>
                <a:gd name="connsiteX169" fmla="*/ 137167 w 724376"/>
                <a:gd name="connsiteY169" fmla="*/ 219571 h 911823"/>
                <a:gd name="connsiteX170" fmla="*/ 149637 w 724376"/>
                <a:gd name="connsiteY170" fmla="*/ 200857 h 911823"/>
                <a:gd name="connsiteX171" fmla="*/ 168341 w 724376"/>
                <a:gd name="connsiteY171" fmla="*/ 154073 h 911823"/>
                <a:gd name="connsiteX172" fmla="*/ 168341 w 724376"/>
                <a:gd name="connsiteY172" fmla="*/ 141597 h 911823"/>
                <a:gd name="connsiteX173" fmla="*/ 164834 w 724376"/>
                <a:gd name="connsiteY173" fmla="*/ 134579 h 911823"/>
                <a:gd name="connsiteX174" fmla="*/ 164676 w 724376"/>
                <a:gd name="connsiteY174" fmla="*/ 133316 h 911823"/>
                <a:gd name="connsiteX175" fmla="*/ 161932 w 724376"/>
                <a:gd name="connsiteY175" fmla="*/ 131603 h 911823"/>
                <a:gd name="connsiteX176" fmla="*/ 158989 w 724376"/>
                <a:gd name="connsiteY176" fmla="*/ 132240 h 911823"/>
                <a:gd name="connsiteX177" fmla="*/ 155482 w 724376"/>
                <a:gd name="connsiteY177" fmla="*/ 128731 h 911823"/>
                <a:gd name="connsiteX178" fmla="*/ 152420 w 724376"/>
                <a:gd name="connsiteY178" fmla="*/ 125667 h 911823"/>
                <a:gd name="connsiteX179" fmla="*/ 141734 w 724376"/>
                <a:gd name="connsiteY179" fmla="*/ 118999 h 911823"/>
                <a:gd name="connsiteX180" fmla="*/ 143363 w 724376"/>
                <a:gd name="connsiteY180" fmla="*/ 98522 h 911823"/>
                <a:gd name="connsiteX181" fmla="*/ 139443 w 724376"/>
                <a:gd name="connsiteY181" fmla="*/ 78762 h 911823"/>
                <a:gd name="connsiteX182" fmla="*/ 142168 w 724376"/>
                <a:gd name="connsiteY182" fmla="*/ 76391 h 911823"/>
                <a:gd name="connsiteX183" fmla="*/ 140869 w 724376"/>
                <a:gd name="connsiteY183" fmla="*/ 73418 h 911823"/>
                <a:gd name="connsiteX184" fmla="*/ 146520 w 724376"/>
                <a:gd name="connsiteY184" fmla="*/ 67911 h 911823"/>
                <a:gd name="connsiteX185" fmla="*/ 151760 w 724376"/>
                <a:gd name="connsiteY185" fmla="*/ 67326 h 911823"/>
                <a:gd name="connsiteX186" fmla="*/ 156802 w 724376"/>
                <a:gd name="connsiteY186" fmla="*/ 60493 h 911823"/>
                <a:gd name="connsiteX187" fmla="*/ 149471 w 724376"/>
                <a:gd name="connsiteY187" fmla="*/ 56961 h 911823"/>
                <a:gd name="connsiteX188" fmla="*/ 149319 w 724376"/>
                <a:gd name="connsiteY188" fmla="*/ 45646 h 911823"/>
                <a:gd name="connsiteX189" fmla="*/ 144177 w 724376"/>
                <a:gd name="connsiteY189" fmla="*/ 47026 h 911823"/>
                <a:gd name="connsiteX190" fmla="*/ 139494 w 724376"/>
                <a:gd name="connsiteY190" fmla="*/ 42831 h 911823"/>
                <a:gd name="connsiteX191" fmla="*/ 133894 w 724376"/>
                <a:gd name="connsiteY191" fmla="*/ 34552 h 911823"/>
                <a:gd name="connsiteX192" fmla="*/ 120964 w 724376"/>
                <a:gd name="connsiteY192" fmla="*/ 32068 h 911823"/>
                <a:gd name="connsiteX193" fmla="*/ 122440 w 724376"/>
                <a:gd name="connsiteY193" fmla="*/ 22961 h 911823"/>
                <a:gd name="connsiteX194" fmla="*/ 130331 w 724376"/>
                <a:gd name="connsiteY194" fmla="*/ 17441 h 911823"/>
                <a:gd name="connsiteX195" fmla="*/ 137712 w 724376"/>
                <a:gd name="connsiteY195" fmla="*/ 8058 h 911823"/>
                <a:gd name="connsiteX196" fmla="*/ 153747 w 724376"/>
                <a:gd name="connsiteY196" fmla="*/ 5630 h 91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24376" h="911823">
                  <a:moveTo>
                    <a:pt x="167645" y="0"/>
                  </a:moveTo>
                  <a:lnTo>
                    <a:pt x="177724" y="2263"/>
                  </a:lnTo>
                  <a:lnTo>
                    <a:pt x="185716" y="110"/>
                  </a:lnTo>
                  <a:lnTo>
                    <a:pt x="187702" y="6568"/>
                  </a:lnTo>
                  <a:lnTo>
                    <a:pt x="217889" y="29032"/>
                  </a:lnTo>
                  <a:lnTo>
                    <a:pt x="219416" y="37091"/>
                  </a:lnTo>
                  <a:lnTo>
                    <a:pt x="231837" y="41230"/>
                  </a:lnTo>
                  <a:lnTo>
                    <a:pt x="232265" y="43312"/>
                  </a:lnTo>
                  <a:lnTo>
                    <a:pt x="236925" y="38670"/>
                  </a:lnTo>
                  <a:cubicBezTo>
                    <a:pt x="243160" y="38670"/>
                    <a:pt x="243160" y="38670"/>
                    <a:pt x="243160" y="38670"/>
                  </a:cubicBezTo>
                  <a:cubicBezTo>
                    <a:pt x="258747" y="35551"/>
                    <a:pt x="252512" y="29313"/>
                    <a:pt x="271217" y="26194"/>
                  </a:cubicBezTo>
                  <a:cubicBezTo>
                    <a:pt x="280569" y="26194"/>
                    <a:pt x="284466" y="29313"/>
                    <a:pt x="286414" y="32432"/>
                  </a:cubicBezTo>
                  <a:lnTo>
                    <a:pt x="289901" y="38635"/>
                  </a:lnTo>
                  <a:lnTo>
                    <a:pt x="294553" y="39850"/>
                  </a:lnTo>
                  <a:lnTo>
                    <a:pt x="295256" y="40805"/>
                  </a:lnTo>
                  <a:lnTo>
                    <a:pt x="295766" y="41009"/>
                  </a:lnTo>
                  <a:cubicBezTo>
                    <a:pt x="296935" y="42569"/>
                    <a:pt x="297715" y="43349"/>
                    <a:pt x="299273" y="38670"/>
                  </a:cubicBezTo>
                  <a:cubicBezTo>
                    <a:pt x="299273" y="37111"/>
                    <a:pt x="301611" y="37111"/>
                    <a:pt x="302780" y="38670"/>
                  </a:cubicBezTo>
                  <a:lnTo>
                    <a:pt x="299712" y="46855"/>
                  </a:lnTo>
                  <a:lnTo>
                    <a:pt x="300407" y="47798"/>
                  </a:lnTo>
                  <a:lnTo>
                    <a:pt x="299490" y="50745"/>
                  </a:lnTo>
                  <a:lnTo>
                    <a:pt x="300053" y="57774"/>
                  </a:lnTo>
                  <a:cubicBezTo>
                    <a:pt x="300832" y="60503"/>
                    <a:pt x="300832" y="63622"/>
                    <a:pt x="296156" y="69860"/>
                  </a:cubicBezTo>
                  <a:lnTo>
                    <a:pt x="295566" y="70393"/>
                  </a:lnTo>
                  <a:lnTo>
                    <a:pt x="295215" y="76334"/>
                  </a:lnTo>
                  <a:lnTo>
                    <a:pt x="289717" y="77934"/>
                  </a:lnTo>
                  <a:lnTo>
                    <a:pt x="285994" y="80497"/>
                  </a:lnTo>
                  <a:lnTo>
                    <a:pt x="284465" y="83895"/>
                  </a:lnTo>
                  <a:lnTo>
                    <a:pt x="284047" y="84899"/>
                  </a:lnTo>
                  <a:lnTo>
                    <a:pt x="284372" y="90077"/>
                  </a:lnTo>
                  <a:lnTo>
                    <a:pt x="279179" y="95045"/>
                  </a:lnTo>
                  <a:lnTo>
                    <a:pt x="273631" y="94161"/>
                  </a:lnTo>
                  <a:lnTo>
                    <a:pt x="267257" y="96554"/>
                  </a:lnTo>
                  <a:lnTo>
                    <a:pt x="267461" y="97643"/>
                  </a:lnTo>
                  <a:lnTo>
                    <a:pt x="271594" y="106856"/>
                  </a:lnTo>
                  <a:lnTo>
                    <a:pt x="267522" y="109064"/>
                  </a:lnTo>
                  <a:lnTo>
                    <a:pt x="267677" y="110465"/>
                  </a:lnTo>
                  <a:lnTo>
                    <a:pt x="271996" y="115475"/>
                  </a:lnTo>
                  <a:lnTo>
                    <a:pt x="274582" y="117710"/>
                  </a:lnTo>
                  <a:lnTo>
                    <a:pt x="279230" y="118999"/>
                  </a:lnTo>
                  <a:lnTo>
                    <a:pt x="279151" y="121658"/>
                  </a:lnTo>
                  <a:lnTo>
                    <a:pt x="280569" y="122883"/>
                  </a:lnTo>
                  <a:cubicBezTo>
                    <a:pt x="279010" y="124442"/>
                    <a:pt x="281348" y="127561"/>
                    <a:pt x="282517" y="131070"/>
                  </a:cubicBezTo>
                  <a:lnTo>
                    <a:pt x="282658" y="134209"/>
                  </a:lnTo>
                  <a:lnTo>
                    <a:pt x="283557" y="135833"/>
                  </a:lnTo>
                  <a:lnTo>
                    <a:pt x="282753" y="136315"/>
                  </a:lnTo>
                  <a:lnTo>
                    <a:pt x="282761" y="136480"/>
                  </a:lnTo>
                  <a:cubicBezTo>
                    <a:pt x="282127" y="138283"/>
                    <a:pt x="280569" y="140037"/>
                    <a:pt x="277451" y="141597"/>
                  </a:cubicBezTo>
                  <a:cubicBezTo>
                    <a:pt x="274334" y="141597"/>
                    <a:pt x="272776" y="143936"/>
                    <a:pt x="271607" y="145106"/>
                  </a:cubicBezTo>
                  <a:lnTo>
                    <a:pt x="270469" y="143968"/>
                  </a:lnTo>
                  <a:lnTo>
                    <a:pt x="269049" y="144940"/>
                  </a:lnTo>
                  <a:lnTo>
                    <a:pt x="265231" y="142456"/>
                  </a:lnTo>
                  <a:lnTo>
                    <a:pt x="264500" y="139946"/>
                  </a:lnTo>
                  <a:lnTo>
                    <a:pt x="259301" y="137562"/>
                  </a:lnTo>
                  <a:lnTo>
                    <a:pt x="258747" y="138100"/>
                  </a:lnTo>
                  <a:lnTo>
                    <a:pt x="258747" y="144716"/>
                  </a:lnTo>
                  <a:cubicBezTo>
                    <a:pt x="261864" y="150954"/>
                    <a:pt x="268099" y="160311"/>
                    <a:pt x="261864" y="175906"/>
                  </a:cubicBezTo>
                  <a:cubicBezTo>
                    <a:pt x="261864" y="188382"/>
                    <a:pt x="271217" y="169668"/>
                    <a:pt x="277451" y="179025"/>
                  </a:cubicBezTo>
                  <a:cubicBezTo>
                    <a:pt x="286804" y="200857"/>
                    <a:pt x="286804" y="185263"/>
                    <a:pt x="296156" y="194620"/>
                  </a:cubicBezTo>
                  <a:cubicBezTo>
                    <a:pt x="305508" y="203976"/>
                    <a:pt x="317978" y="210214"/>
                    <a:pt x="317978" y="213333"/>
                  </a:cubicBezTo>
                  <a:cubicBezTo>
                    <a:pt x="296156" y="228928"/>
                    <a:pt x="308626" y="232047"/>
                    <a:pt x="299273" y="238285"/>
                  </a:cubicBezTo>
                  <a:cubicBezTo>
                    <a:pt x="296156" y="247642"/>
                    <a:pt x="305508" y="247642"/>
                    <a:pt x="299273" y="253880"/>
                  </a:cubicBezTo>
                  <a:cubicBezTo>
                    <a:pt x="289921" y="256999"/>
                    <a:pt x="305508" y="272594"/>
                    <a:pt x="308626" y="266356"/>
                  </a:cubicBezTo>
                  <a:cubicBezTo>
                    <a:pt x="308626" y="256999"/>
                    <a:pt x="324213" y="275713"/>
                    <a:pt x="333565" y="288189"/>
                  </a:cubicBezTo>
                  <a:cubicBezTo>
                    <a:pt x="349152" y="297546"/>
                    <a:pt x="336683" y="281951"/>
                    <a:pt x="352270" y="297546"/>
                  </a:cubicBezTo>
                  <a:cubicBezTo>
                    <a:pt x="361622" y="306903"/>
                    <a:pt x="358505" y="291308"/>
                    <a:pt x="361622" y="300665"/>
                  </a:cubicBezTo>
                  <a:cubicBezTo>
                    <a:pt x="367857" y="310022"/>
                    <a:pt x="380327" y="300665"/>
                    <a:pt x="389679" y="306903"/>
                  </a:cubicBezTo>
                  <a:cubicBezTo>
                    <a:pt x="395914" y="310022"/>
                    <a:pt x="389679" y="300665"/>
                    <a:pt x="405266" y="306903"/>
                  </a:cubicBezTo>
                  <a:cubicBezTo>
                    <a:pt x="417736" y="316260"/>
                    <a:pt x="405266" y="319379"/>
                    <a:pt x="414618" y="319379"/>
                  </a:cubicBezTo>
                  <a:cubicBezTo>
                    <a:pt x="430206" y="325617"/>
                    <a:pt x="417736" y="328736"/>
                    <a:pt x="430206" y="325617"/>
                  </a:cubicBezTo>
                  <a:cubicBezTo>
                    <a:pt x="439558" y="319379"/>
                    <a:pt x="433323" y="334974"/>
                    <a:pt x="442675" y="328736"/>
                  </a:cubicBezTo>
                  <a:cubicBezTo>
                    <a:pt x="452028" y="325617"/>
                    <a:pt x="458262" y="344331"/>
                    <a:pt x="467615" y="334974"/>
                  </a:cubicBezTo>
                  <a:cubicBezTo>
                    <a:pt x="476967" y="328736"/>
                    <a:pt x="467615" y="344331"/>
                    <a:pt x="480084" y="341212"/>
                  </a:cubicBezTo>
                  <a:cubicBezTo>
                    <a:pt x="495672" y="334974"/>
                    <a:pt x="489437" y="344331"/>
                    <a:pt x="495672" y="334974"/>
                  </a:cubicBezTo>
                  <a:cubicBezTo>
                    <a:pt x="498789" y="319379"/>
                    <a:pt x="489437" y="319379"/>
                    <a:pt x="495672" y="306903"/>
                  </a:cubicBezTo>
                  <a:cubicBezTo>
                    <a:pt x="498789" y="291308"/>
                    <a:pt x="498789" y="297546"/>
                    <a:pt x="495672" y="291308"/>
                  </a:cubicBezTo>
                  <a:cubicBezTo>
                    <a:pt x="529963" y="272594"/>
                    <a:pt x="508141" y="297546"/>
                    <a:pt x="514376" y="310022"/>
                  </a:cubicBezTo>
                  <a:cubicBezTo>
                    <a:pt x="505024" y="316260"/>
                    <a:pt x="520611" y="325617"/>
                    <a:pt x="523728" y="325617"/>
                  </a:cubicBezTo>
                  <a:cubicBezTo>
                    <a:pt x="533081" y="319379"/>
                    <a:pt x="533081" y="334974"/>
                    <a:pt x="548668" y="325617"/>
                  </a:cubicBezTo>
                  <a:cubicBezTo>
                    <a:pt x="561138" y="319379"/>
                    <a:pt x="558020" y="334974"/>
                    <a:pt x="570490" y="325617"/>
                  </a:cubicBezTo>
                  <a:cubicBezTo>
                    <a:pt x="586077" y="319379"/>
                    <a:pt x="579842" y="328736"/>
                    <a:pt x="586077" y="325617"/>
                  </a:cubicBezTo>
                  <a:cubicBezTo>
                    <a:pt x="589195" y="319379"/>
                    <a:pt x="595429" y="328736"/>
                    <a:pt x="595429" y="319379"/>
                  </a:cubicBezTo>
                  <a:cubicBezTo>
                    <a:pt x="589195" y="310022"/>
                    <a:pt x="598547" y="300665"/>
                    <a:pt x="589195" y="306903"/>
                  </a:cubicBezTo>
                  <a:cubicBezTo>
                    <a:pt x="579842" y="306903"/>
                    <a:pt x="579842" y="297546"/>
                    <a:pt x="579842" y="297546"/>
                  </a:cubicBezTo>
                  <a:cubicBezTo>
                    <a:pt x="598547" y="297546"/>
                    <a:pt x="607899" y="291308"/>
                    <a:pt x="607899" y="288189"/>
                  </a:cubicBezTo>
                  <a:cubicBezTo>
                    <a:pt x="607899" y="275713"/>
                    <a:pt x="620369" y="281951"/>
                    <a:pt x="620369" y="272594"/>
                  </a:cubicBezTo>
                  <a:cubicBezTo>
                    <a:pt x="623486" y="263237"/>
                    <a:pt x="632839" y="266356"/>
                    <a:pt x="642191" y="256999"/>
                  </a:cubicBezTo>
                  <a:cubicBezTo>
                    <a:pt x="651543" y="247642"/>
                    <a:pt x="657778" y="241404"/>
                    <a:pt x="660896" y="247642"/>
                  </a:cubicBezTo>
                  <a:cubicBezTo>
                    <a:pt x="670248" y="253880"/>
                    <a:pt x="676483" y="253880"/>
                    <a:pt x="679600" y="247642"/>
                  </a:cubicBezTo>
                  <a:cubicBezTo>
                    <a:pt x="679600" y="241404"/>
                    <a:pt x="695187" y="238285"/>
                    <a:pt x="695187" y="241404"/>
                  </a:cubicBezTo>
                  <a:cubicBezTo>
                    <a:pt x="698305" y="253880"/>
                    <a:pt x="704540" y="241404"/>
                    <a:pt x="698305" y="253880"/>
                  </a:cubicBezTo>
                  <a:cubicBezTo>
                    <a:pt x="688952" y="263237"/>
                    <a:pt x="704540" y="247642"/>
                    <a:pt x="704540" y="256999"/>
                  </a:cubicBezTo>
                  <a:cubicBezTo>
                    <a:pt x="707657" y="272594"/>
                    <a:pt x="685835" y="275713"/>
                    <a:pt x="704540" y="275713"/>
                  </a:cubicBezTo>
                  <a:cubicBezTo>
                    <a:pt x="720127" y="272594"/>
                    <a:pt x="720127" y="275713"/>
                    <a:pt x="723244" y="281951"/>
                  </a:cubicBezTo>
                  <a:cubicBezTo>
                    <a:pt x="729479" y="297546"/>
                    <a:pt x="707657" y="297546"/>
                    <a:pt x="713892" y="306903"/>
                  </a:cubicBezTo>
                  <a:cubicBezTo>
                    <a:pt x="723244" y="319379"/>
                    <a:pt x="720127" y="319379"/>
                    <a:pt x="713892" y="310022"/>
                  </a:cubicBezTo>
                  <a:cubicBezTo>
                    <a:pt x="704540" y="300665"/>
                    <a:pt x="688952" y="316260"/>
                    <a:pt x="679600" y="325617"/>
                  </a:cubicBezTo>
                  <a:cubicBezTo>
                    <a:pt x="670248" y="334974"/>
                    <a:pt x="670248" y="325617"/>
                    <a:pt x="670248" y="334974"/>
                  </a:cubicBezTo>
                  <a:cubicBezTo>
                    <a:pt x="667130" y="344331"/>
                    <a:pt x="676483" y="341212"/>
                    <a:pt x="670248" y="353688"/>
                  </a:cubicBezTo>
                  <a:cubicBezTo>
                    <a:pt x="660896" y="372402"/>
                    <a:pt x="651543" y="372402"/>
                    <a:pt x="657778" y="378640"/>
                  </a:cubicBezTo>
                  <a:cubicBezTo>
                    <a:pt x="667130" y="387997"/>
                    <a:pt x="651543" y="387997"/>
                    <a:pt x="648426" y="406711"/>
                  </a:cubicBezTo>
                  <a:cubicBezTo>
                    <a:pt x="642191" y="431663"/>
                    <a:pt x="642191" y="416068"/>
                    <a:pt x="632839" y="416068"/>
                  </a:cubicBezTo>
                  <a:cubicBezTo>
                    <a:pt x="623486" y="412949"/>
                    <a:pt x="623486" y="403592"/>
                    <a:pt x="623486" y="428544"/>
                  </a:cubicBezTo>
                  <a:cubicBezTo>
                    <a:pt x="629721" y="465972"/>
                    <a:pt x="620369" y="431663"/>
                    <a:pt x="620369" y="456615"/>
                  </a:cubicBezTo>
                  <a:cubicBezTo>
                    <a:pt x="620369" y="465972"/>
                    <a:pt x="623486" y="459734"/>
                    <a:pt x="620369" y="475329"/>
                  </a:cubicBezTo>
                  <a:cubicBezTo>
                    <a:pt x="607899" y="490924"/>
                    <a:pt x="614134" y="465972"/>
                    <a:pt x="604782" y="481567"/>
                  </a:cubicBezTo>
                  <a:cubicBezTo>
                    <a:pt x="604782" y="450377"/>
                    <a:pt x="595429" y="450377"/>
                    <a:pt x="598547" y="431663"/>
                  </a:cubicBezTo>
                  <a:cubicBezTo>
                    <a:pt x="598547" y="422306"/>
                    <a:pt x="589195" y="422306"/>
                    <a:pt x="589195" y="431663"/>
                  </a:cubicBezTo>
                  <a:cubicBezTo>
                    <a:pt x="586077" y="456615"/>
                    <a:pt x="576725" y="450377"/>
                    <a:pt x="570490" y="428544"/>
                  </a:cubicBezTo>
                  <a:cubicBezTo>
                    <a:pt x="567373" y="406711"/>
                    <a:pt x="595429" y="412949"/>
                    <a:pt x="595429" y="394235"/>
                  </a:cubicBezTo>
                  <a:cubicBezTo>
                    <a:pt x="595429" y="378640"/>
                    <a:pt x="607899" y="394235"/>
                    <a:pt x="604782" y="384878"/>
                  </a:cubicBezTo>
                  <a:cubicBezTo>
                    <a:pt x="595429" y="372402"/>
                    <a:pt x="539316" y="384878"/>
                    <a:pt x="539316" y="372402"/>
                  </a:cubicBezTo>
                  <a:cubicBezTo>
                    <a:pt x="539316" y="359926"/>
                    <a:pt x="539316" y="341212"/>
                    <a:pt x="533081" y="350569"/>
                  </a:cubicBezTo>
                  <a:cubicBezTo>
                    <a:pt x="529963" y="363045"/>
                    <a:pt x="523728" y="341212"/>
                    <a:pt x="520611" y="341212"/>
                  </a:cubicBezTo>
                  <a:cubicBezTo>
                    <a:pt x="505024" y="350569"/>
                    <a:pt x="508141" y="334974"/>
                    <a:pt x="505024" y="334974"/>
                  </a:cubicBezTo>
                  <a:cubicBezTo>
                    <a:pt x="498789" y="328736"/>
                    <a:pt x="498789" y="334974"/>
                    <a:pt x="505024" y="341212"/>
                  </a:cubicBezTo>
                  <a:cubicBezTo>
                    <a:pt x="508141" y="341212"/>
                    <a:pt x="486319" y="353688"/>
                    <a:pt x="495672" y="359926"/>
                  </a:cubicBezTo>
                  <a:cubicBezTo>
                    <a:pt x="505024" y="359926"/>
                    <a:pt x="505024" y="369283"/>
                    <a:pt x="508141" y="369283"/>
                  </a:cubicBezTo>
                  <a:cubicBezTo>
                    <a:pt x="514376" y="369283"/>
                    <a:pt x="514376" y="369283"/>
                    <a:pt x="514376" y="372402"/>
                  </a:cubicBezTo>
                  <a:cubicBezTo>
                    <a:pt x="523728" y="384878"/>
                    <a:pt x="498789" y="369283"/>
                    <a:pt x="505024" y="378640"/>
                  </a:cubicBezTo>
                  <a:cubicBezTo>
                    <a:pt x="505024" y="394235"/>
                    <a:pt x="495672" y="378640"/>
                    <a:pt x="495672" y="394235"/>
                  </a:cubicBezTo>
                  <a:cubicBezTo>
                    <a:pt x="489437" y="406711"/>
                    <a:pt x="508141" y="397354"/>
                    <a:pt x="508141" y="412949"/>
                  </a:cubicBezTo>
                  <a:cubicBezTo>
                    <a:pt x="514376" y="428544"/>
                    <a:pt x="498789" y="422306"/>
                    <a:pt x="508141" y="428544"/>
                  </a:cubicBezTo>
                  <a:cubicBezTo>
                    <a:pt x="514376" y="437901"/>
                    <a:pt x="505024" y="441020"/>
                    <a:pt x="514376" y="441020"/>
                  </a:cubicBezTo>
                  <a:cubicBezTo>
                    <a:pt x="520611" y="441020"/>
                    <a:pt x="514376" y="441020"/>
                    <a:pt x="514376" y="459734"/>
                  </a:cubicBezTo>
                  <a:cubicBezTo>
                    <a:pt x="520611" y="472210"/>
                    <a:pt x="520611" y="475329"/>
                    <a:pt x="520611" y="481567"/>
                  </a:cubicBezTo>
                  <a:cubicBezTo>
                    <a:pt x="514376" y="481567"/>
                    <a:pt x="514376" y="481567"/>
                    <a:pt x="520611" y="484686"/>
                  </a:cubicBezTo>
                  <a:cubicBezTo>
                    <a:pt x="523728" y="494043"/>
                    <a:pt x="520611" y="494043"/>
                    <a:pt x="514376" y="490924"/>
                  </a:cubicBezTo>
                  <a:cubicBezTo>
                    <a:pt x="505024" y="490924"/>
                    <a:pt x="498789" y="500281"/>
                    <a:pt x="498789" y="484686"/>
                  </a:cubicBezTo>
                  <a:cubicBezTo>
                    <a:pt x="495672" y="472210"/>
                    <a:pt x="495672" y="484686"/>
                    <a:pt x="476967" y="494043"/>
                  </a:cubicBezTo>
                  <a:cubicBezTo>
                    <a:pt x="452028" y="503399"/>
                    <a:pt x="480084" y="509637"/>
                    <a:pt x="461380" y="534589"/>
                  </a:cubicBezTo>
                  <a:cubicBezTo>
                    <a:pt x="442675" y="559541"/>
                    <a:pt x="448910" y="543946"/>
                    <a:pt x="433323" y="553303"/>
                  </a:cubicBezTo>
                  <a:cubicBezTo>
                    <a:pt x="408384" y="568898"/>
                    <a:pt x="405266" y="590731"/>
                    <a:pt x="370974" y="621921"/>
                  </a:cubicBezTo>
                  <a:cubicBezTo>
                    <a:pt x="336683" y="649992"/>
                    <a:pt x="361622" y="634397"/>
                    <a:pt x="349152" y="656230"/>
                  </a:cubicBezTo>
                  <a:cubicBezTo>
                    <a:pt x="333565" y="668706"/>
                    <a:pt x="327330" y="646873"/>
                    <a:pt x="324213" y="665587"/>
                  </a:cubicBezTo>
                  <a:cubicBezTo>
                    <a:pt x="317978" y="684301"/>
                    <a:pt x="286804" y="659349"/>
                    <a:pt x="296156" y="699896"/>
                  </a:cubicBezTo>
                  <a:cubicBezTo>
                    <a:pt x="305508" y="721729"/>
                    <a:pt x="296156" y="718610"/>
                    <a:pt x="299273" y="727967"/>
                  </a:cubicBezTo>
                  <a:cubicBezTo>
                    <a:pt x="305508" y="762276"/>
                    <a:pt x="299273" y="765395"/>
                    <a:pt x="289921" y="787228"/>
                  </a:cubicBezTo>
                  <a:cubicBezTo>
                    <a:pt x="280569" y="818418"/>
                    <a:pt x="299273" y="843369"/>
                    <a:pt x="286804" y="843369"/>
                  </a:cubicBezTo>
                  <a:cubicBezTo>
                    <a:pt x="268099" y="843369"/>
                    <a:pt x="280569" y="843369"/>
                    <a:pt x="271217" y="858964"/>
                  </a:cubicBezTo>
                  <a:cubicBezTo>
                    <a:pt x="261864" y="874559"/>
                    <a:pt x="280569" y="874559"/>
                    <a:pt x="280569" y="877678"/>
                  </a:cubicBezTo>
                  <a:cubicBezTo>
                    <a:pt x="280569" y="877678"/>
                    <a:pt x="277451" y="874559"/>
                    <a:pt x="258747" y="877678"/>
                  </a:cubicBezTo>
                  <a:cubicBezTo>
                    <a:pt x="243160" y="883916"/>
                    <a:pt x="258747" y="893273"/>
                    <a:pt x="236925" y="905749"/>
                  </a:cubicBezTo>
                  <a:cubicBezTo>
                    <a:pt x="224455" y="927582"/>
                    <a:pt x="205750" y="887035"/>
                    <a:pt x="196398" y="840250"/>
                  </a:cubicBezTo>
                  <a:cubicBezTo>
                    <a:pt x="187046" y="790347"/>
                    <a:pt x="168341" y="790347"/>
                    <a:pt x="168341" y="762276"/>
                  </a:cubicBezTo>
                  <a:cubicBezTo>
                    <a:pt x="162106" y="734205"/>
                    <a:pt x="143402" y="684301"/>
                    <a:pt x="134050" y="668706"/>
                  </a:cubicBezTo>
                  <a:cubicBezTo>
                    <a:pt x="127815" y="659349"/>
                    <a:pt x="124697" y="631278"/>
                    <a:pt x="115345" y="578255"/>
                  </a:cubicBezTo>
                  <a:cubicBezTo>
                    <a:pt x="105993" y="525232"/>
                    <a:pt x="124697" y="528351"/>
                    <a:pt x="115345" y="509637"/>
                  </a:cubicBezTo>
                  <a:cubicBezTo>
                    <a:pt x="105993" y="490924"/>
                    <a:pt x="115345" y="494043"/>
                    <a:pt x="109110" y="484686"/>
                  </a:cubicBezTo>
                  <a:cubicBezTo>
                    <a:pt x="105993" y="475329"/>
                    <a:pt x="118462" y="465972"/>
                    <a:pt x="105993" y="472210"/>
                  </a:cubicBezTo>
                  <a:cubicBezTo>
                    <a:pt x="96640" y="475329"/>
                    <a:pt x="109110" y="494043"/>
                    <a:pt x="96640" y="503399"/>
                  </a:cubicBezTo>
                  <a:cubicBezTo>
                    <a:pt x="68583" y="528351"/>
                    <a:pt x="62349" y="525232"/>
                    <a:pt x="34292" y="490924"/>
                  </a:cubicBezTo>
                  <a:cubicBezTo>
                    <a:pt x="6235" y="450377"/>
                    <a:pt x="18705" y="472210"/>
                    <a:pt x="37409" y="465972"/>
                  </a:cubicBezTo>
                  <a:cubicBezTo>
                    <a:pt x="62349" y="459734"/>
                    <a:pt x="59231" y="441020"/>
                    <a:pt x="43644" y="450377"/>
                  </a:cubicBezTo>
                  <a:cubicBezTo>
                    <a:pt x="34292" y="459734"/>
                    <a:pt x="15587" y="447258"/>
                    <a:pt x="9352" y="437901"/>
                  </a:cubicBezTo>
                  <a:cubicBezTo>
                    <a:pt x="6235" y="428544"/>
                    <a:pt x="0" y="431663"/>
                    <a:pt x="0" y="428544"/>
                  </a:cubicBezTo>
                  <a:cubicBezTo>
                    <a:pt x="0" y="412949"/>
                    <a:pt x="18705" y="422306"/>
                    <a:pt x="15587" y="412949"/>
                  </a:cubicBezTo>
                  <a:cubicBezTo>
                    <a:pt x="15587" y="403592"/>
                    <a:pt x="24939" y="406711"/>
                    <a:pt x="28057" y="406711"/>
                  </a:cubicBezTo>
                  <a:cubicBezTo>
                    <a:pt x="43644" y="403592"/>
                    <a:pt x="43644" y="416068"/>
                    <a:pt x="46761" y="406711"/>
                  </a:cubicBezTo>
                  <a:cubicBezTo>
                    <a:pt x="52996" y="403592"/>
                    <a:pt x="59231" y="397354"/>
                    <a:pt x="62349" y="406711"/>
                  </a:cubicBezTo>
                  <a:cubicBezTo>
                    <a:pt x="62349" y="412949"/>
                    <a:pt x="77936" y="403592"/>
                    <a:pt x="71701" y="403592"/>
                  </a:cubicBezTo>
                  <a:cubicBezTo>
                    <a:pt x="68583" y="397354"/>
                    <a:pt x="77936" y="394235"/>
                    <a:pt x="71701" y="387997"/>
                  </a:cubicBezTo>
                  <a:cubicBezTo>
                    <a:pt x="52996" y="363045"/>
                    <a:pt x="71701" y="363045"/>
                    <a:pt x="59231" y="359926"/>
                  </a:cubicBezTo>
                  <a:cubicBezTo>
                    <a:pt x="37409" y="359926"/>
                    <a:pt x="62349" y="334974"/>
                    <a:pt x="43644" y="328736"/>
                  </a:cubicBezTo>
                  <a:cubicBezTo>
                    <a:pt x="24939" y="328736"/>
                    <a:pt x="34292" y="316260"/>
                    <a:pt x="43644" y="306903"/>
                  </a:cubicBezTo>
                  <a:cubicBezTo>
                    <a:pt x="52996" y="297546"/>
                    <a:pt x="52996" y="275713"/>
                    <a:pt x="62349" y="291308"/>
                  </a:cubicBezTo>
                  <a:cubicBezTo>
                    <a:pt x="68583" y="300665"/>
                    <a:pt x="71701" y="291308"/>
                    <a:pt x="90406" y="291308"/>
                  </a:cubicBezTo>
                  <a:cubicBezTo>
                    <a:pt x="99758" y="291308"/>
                    <a:pt x="90406" y="281951"/>
                    <a:pt x="99758" y="275713"/>
                  </a:cubicBezTo>
                  <a:cubicBezTo>
                    <a:pt x="105993" y="272594"/>
                    <a:pt x="99758" y="263237"/>
                    <a:pt x="115345" y="256999"/>
                  </a:cubicBezTo>
                  <a:cubicBezTo>
                    <a:pt x="127815" y="253880"/>
                    <a:pt x="118462" y="228928"/>
                    <a:pt x="137167" y="219571"/>
                  </a:cubicBezTo>
                  <a:cubicBezTo>
                    <a:pt x="158989" y="213333"/>
                    <a:pt x="137167" y="219571"/>
                    <a:pt x="149637" y="200857"/>
                  </a:cubicBezTo>
                  <a:cubicBezTo>
                    <a:pt x="171459" y="166549"/>
                    <a:pt x="143402" y="166549"/>
                    <a:pt x="168341" y="154073"/>
                  </a:cubicBezTo>
                  <a:cubicBezTo>
                    <a:pt x="187046" y="144716"/>
                    <a:pt x="180811" y="144716"/>
                    <a:pt x="168341" y="141597"/>
                  </a:cubicBezTo>
                  <a:cubicBezTo>
                    <a:pt x="163665" y="141597"/>
                    <a:pt x="164445" y="137698"/>
                    <a:pt x="164834" y="134579"/>
                  </a:cubicBezTo>
                  <a:lnTo>
                    <a:pt x="164676" y="133316"/>
                  </a:lnTo>
                  <a:lnTo>
                    <a:pt x="161932" y="131603"/>
                  </a:lnTo>
                  <a:lnTo>
                    <a:pt x="158989" y="132240"/>
                  </a:lnTo>
                  <a:cubicBezTo>
                    <a:pt x="155872" y="132240"/>
                    <a:pt x="155872" y="130680"/>
                    <a:pt x="155482" y="128731"/>
                  </a:cubicBezTo>
                  <a:lnTo>
                    <a:pt x="152420" y="125667"/>
                  </a:lnTo>
                  <a:lnTo>
                    <a:pt x="141734" y="118999"/>
                  </a:lnTo>
                  <a:lnTo>
                    <a:pt x="143363" y="98522"/>
                  </a:lnTo>
                  <a:lnTo>
                    <a:pt x="139443" y="78762"/>
                  </a:lnTo>
                  <a:lnTo>
                    <a:pt x="142168" y="76391"/>
                  </a:lnTo>
                  <a:lnTo>
                    <a:pt x="140869" y="73418"/>
                  </a:lnTo>
                  <a:cubicBezTo>
                    <a:pt x="141454" y="71322"/>
                    <a:pt x="143402" y="69275"/>
                    <a:pt x="146520" y="67911"/>
                  </a:cubicBezTo>
                  <a:lnTo>
                    <a:pt x="151760" y="67326"/>
                  </a:lnTo>
                  <a:lnTo>
                    <a:pt x="156802" y="60493"/>
                  </a:lnTo>
                  <a:lnTo>
                    <a:pt x="149471" y="56961"/>
                  </a:lnTo>
                  <a:lnTo>
                    <a:pt x="149319" y="45646"/>
                  </a:lnTo>
                  <a:lnTo>
                    <a:pt x="144177" y="47026"/>
                  </a:lnTo>
                  <a:lnTo>
                    <a:pt x="139494" y="42831"/>
                  </a:lnTo>
                  <a:lnTo>
                    <a:pt x="133894" y="34552"/>
                  </a:lnTo>
                  <a:lnTo>
                    <a:pt x="120964" y="32068"/>
                  </a:lnTo>
                  <a:lnTo>
                    <a:pt x="122440" y="22961"/>
                  </a:lnTo>
                  <a:lnTo>
                    <a:pt x="130331" y="17441"/>
                  </a:lnTo>
                  <a:lnTo>
                    <a:pt x="137712" y="8058"/>
                  </a:lnTo>
                  <a:lnTo>
                    <a:pt x="153747" y="5630"/>
                  </a:lnTo>
                  <a:close/>
                </a:path>
              </a:pathLst>
            </a:custGeom>
            <a:grpFill/>
            <a:ln w="6350" cmpd="sng">
              <a:solidFill>
                <a:schemeClr val="bg1"/>
              </a:solidFill>
              <a:round/>
              <a:headEnd/>
              <a:tailEnd/>
            </a:ln>
          </p:spPr>
          <p:txBody>
            <a:bodyPr wrap="square">
              <a:noAutofit/>
            </a:bodyPr>
            <a:lstStyle/>
            <a:p>
              <a:endParaRPr lang="zh-CN" altLang="en-US" dirty="0">
                <a:latin typeface="Lato" panose="020F0502020204030203" pitchFamily="34" charset="0"/>
              </a:endParaRPr>
            </a:p>
          </p:txBody>
        </p:sp>
      </p:grpSp>
      <p:sp>
        <p:nvSpPr>
          <p:cNvPr id="4" name="Slide Number Placeholder 3">
            <a:extLst>
              <a:ext uri="{FF2B5EF4-FFF2-40B4-BE49-F238E27FC236}">
                <a16:creationId xmlns:a16="http://schemas.microsoft.com/office/drawing/2014/main" id="{617B2BA7-7089-E874-8161-6C591AFB4996}"/>
              </a:ext>
            </a:extLst>
          </p:cNvPr>
          <p:cNvSpPr>
            <a:spLocks noGrp="1"/>
          </p:cNvSpPr>
          <p:nvPr>
            <p:ph type="sldNum" sz="quarter" idx="12"/>
          </p:nvPr>
        </p:nvSpPr>
        <p:spPr/>
        <p:txBody>
          <a:bodyPr/>
          <a:lstStyle/>
          <a:p>
            <a:fld id="{E2D680B1-7F17-42D2-83E2-2C9AC13983BB}" type="slidenum">
              <a:rPr lang="en-US" smtClean="0"/>
              <a:t>71</a:t>
            </a:fld>
            <a:endParaRPr lang="en-US" dirty="0"/>
          </a:p>
        </p:txBody>
      </p:sp>
    </p:spTree>
    <p:extLst>
      <p:ext uri="{BB962C8B-B14F-4D97-AF65-F5344CB8AC3E}">
        <p14:creationId xmlns:p14="http://schemas.microsoft.com/office/powerpoint/2010/main" val="3054021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B1FCE-F7E0-A248-45B3-4A589B657242}"/>
            </a:ext>
          </a:extLst>
        </p:cNvPr>
        <p:cNvGrpSpPr/>
        <p:nvPr/>
      </p:nvGrpSpPr>
      <p:grpSpPr>
        <a:xfrm>
          <a:off x="0" y="0"/>
          <a:ext cx="0" cy="0"/>
          <a:chOff x="0" y="0"/>
          <a:chExt cx="0" cy="0"/>
        </a:xfrm>
      </p:grpSpPr>
      <p:sp>
        <p:nvSpPr>
          <p:cNvPr id="333" name="Title 332">
            <a:extLst>
              <a:ext uri="{FF2B5EF4-FFF2-40B4-BE49-F238E27FC236}">
                <a16:creationId xmlns:a16="http://schemas.microsoft.com/office/drawing/2014/main" id="{BB456DB4-0429-98C9-A2B7-BDF509968EB9}"/>
              </a:ext>
            </a:extLst>
          </p:cNvPr>
          <p:cNvSpPr>
            <a:spLocks noGrp="1"/>
          </p:cNvSpPr>
          <p:nvPr>
            <p:ph type="title"/>
          </p:nvPr>
        </p:nvSpPr>
        <p:spPr>
          <a:xfrm>
            <a:off x="714375" y="317500"/>
            <a:ext cx="16859250" cy="1266827"/>
          </a:xfrm>
        </p:spPr>
        <p:txBody>
          <a:bodyPr/>
          <a:lstStyle/>
          <a:p>
            <a:r>
              <a:rPr lang="en-US" dirty="0"/>
              <a:t>Map Comparison</a:t>
            </a:r>
          </a:p>
        </p:txBody>
      </p:sp>
      <p:grpSp>
        <p:nvGrpSpPr>
          <p:cNvPr id="1038" name="Group 1037">
            <a:extLst>
              <a:ext uri="{FF2B5EF4-FFF2-40B4-BE49-F238E27FC236}">
                <a16:creationId xmlns:a16="http://schemas.microsoft.com/office/drawing/2014/main" id="{705325F2-9BA0-8FB2-CC39-1D05E9270AF1}"/>
              </a:ext>
            </a:extLst>
          </p:cNvPr>
          <p:cNvGrpSpPr/>
          <p:nvPr/>
        </p:nvGrpSpPr>
        <p:grpSpPr>
          <a:xfrm>
            <a:off x="1488645" y="2171700"/>
            <a:ext cx="6743926" cy="5130294"/>
            <a:chOff x="1143000" y="2019300"/>
            <a:chExt cx="5909864" cy="4495800"/>
          </a:xfrm>
        </p:grpSpPr>
        <p:grpSp>
          <p:nvGrpSpPr>
            <p:cNvPr id="2" name="Group 4">
              <a:extLst>
                <a:ext uri="{FF2B5EF4-FFF2-40B4-BE49-F238E27FC236}">
                  <a16:creationId xmlns:a16="http://schemas.microsoft.com/office/drawing/2014/main" id="{1D8902CD-ECE0-C89A-30C0-15C73CA09883}"/>
                </a:ext>
              </a:extLst>
            </p:cNvPr>
            <p:cNvGrpSpPr>
              <a:grpSpLocks noChangeAspect="1"/>
            </p:cNvGrpSpPr>
            <p:nvPr/>
          </p:nvGrpSpPr>
          <p:grpSpPr bwMode="auto">
            <a:xfrm>
              <a:off x="1279501" y="2579277"/>
              <a:ext cx="5773363" cy="3935823"/>
              <a:chOff x="-1319" y="-1357"/>
              <a:chExt cx="10318" cy="7034"/>
            </a:xfrm>
            <a:solidFill>
              <a:schemeClr val="accent3"/>
            </a:solidFill>
          </p:grpSpPr>
          <p:sp>
            <p:nvSpPr>
              <p:cNvPr id="4" name="Freeform 39">
                <a:extLst>
                  <a:ext uri="{FF2B5EF4-FFF2-40B4-BE49-F238E27FC236}">
                    <a16:creationId xmlns:a16="http://schemas.microsoft.com/office/drawing/2014/main" id="{B8DC6581-2F0F-8E46-C450-41ACFA06ADA6}"/>
                  </a:ext>
                </a:extLst>
              </p:cNvPr>
              <p:cNvSpPr>
                <a:spLocks noEditPoints="1"/>
              </p:cNvSpPr>
              <p:nvPr/>
            </p:nvSpPr>
            <p:spPr bwMode="auto">
              <a:xfrm>
                <a:off x="-1319" y="3109"/>
                <a:ext cx="3929" cy="2568"/>
              </a:xfrm>
              <a:custGeom>
                <a:avLst/>
                <a:gdLst>
                  <a:gd name="T0" fmla="*/ 3212 w 3929"/>
                  <a:gd name="T1" fmla="*/ 1838 h 2568"/>
                  <a:gd name="T2" fmla="*/ 3581 w 3929"/>
                  <a:gd name="T3" fmla="*/ 1998 h 2568"/>
                  <a:gd name="T4" fmla="*/ 3914 w 3929"/>
                  <a:gd name="T5" fmla="*/ 2417 h 2568"/>
                  <a:gd name="T6" fmla="*/ 3761 w 3929"/>
                  <a:gd name="T7" fmla="*/ 2403 h 2568"/>
                  <a:gd name="T8" fmla="*/ 3619 w 3929"/>
                  <a:gd name="T9" fmla="*/ 2131 h 2568"/>
                  <a:gd name="T10" fmla="*/ 3508 w 3929"/>
                  <a:gd name="T11" fmla="*/ 2079 h 2568"/>
                  <a:gd name="T12" fmla="*/ 3409 w 3929"/>
                  <a:gd name="T13" fmla="*/ 2017 h 2568"/>
                  <a:gd name="T14" fmla="*/ 3175 w 3929"/>
                  <a:gd name="T15" fmla="*/ 1847 h 2568"/>
                  <a:gd name="T16" fmla="*/ 2844 w 3929"/>
                  <a:gd name="T17" fmla="*/ 1819 h 2568"/>
                  <a:gd name="T18" fmla="*/ 2683 w 3929"/>
                  <a:gd name="T19" fmla="*/ 1651 h 2568"/>
                  <a:gd name="T20" fmla="*/ 2558 w 3929"/>
                  <a:gd name="T21" fmla="*/ 1715 h 2568"/>
                  <a:gd name="T22" fmla="*/ 2446 w 3929"/>
                  <a:gd name="T23" fmla="*/ 1821 h 2568"/>
                  <a:gd name="T24" fmla="*/ 2333 w 3929"/>
                  <a:gd name="T25" fmla="*/ 1828 h 2568"/>
                  <a:gd name="T26" fmla="*/ 2470 w 3929"/>
                  <a:gd name="T27" fmla="*/ 1577 h 2568"/>
                  <a:gd name="T28" fmla="*/ 2205 w 3929"/>
                  <a:gd name="T29" fmla="*/ 1788 h 2568"/>
                  <a:gd name="T30" fmla="*/ 2049 w 3929"/>
                  <a:gd name="T31" fmla="*/ 2015 h 2568"/>
                  <a:gd name="T32" fmla="*/ 1768 w 3929"/>
                  <a:gd name="T33" fmla="*/ 2164 h 2568"/>
                  <a:gd name="T34" fmla="*/ 1546 w 3929"/>
                  <a:gd name="T35" fmla="*/ 2258 h 2568"/>
                  <a:gd name="T36" fmla="*/ 1357 w 3929"/>
                  <a:gd name="T37" fmla="*/ 2273 h 2568"/>
                  <a:gd name="T38" fmla="*/ 1520 w 3929"/>
                  <a:gd name="T39" fmla="*/ 2235 h 2568"/>
                  <a:gd name="T40" fmla="*/ 1822 w 3929"/>
                  <a:gd name="T41" fmla="*/ 2050 h 2568"/>
                  <a:gd name="T42" fmla="*/ 1754 w 3929"/>
                  <a:gd name="T43" fmla="*/ 1861 h 2568"/>
                  <a:gd name="T44" fmla="*/ 1596 w 3929"/>
                  <a:gd name="T45" fmla="*/ 1533 h 2568"/>
                  <a:gd name="T46" fmla="*/ 1503 w 3929"/>
                  <a:gd name="T47" fmla="*/ 1497 h 2568"/>
                  <a:gd name="T48" fmla="*/ 1378 w 3929"/>
                  <a:gd name="T49" fmla="*/ 1322 h 2568"/>
                  <a:gd name="T50" fmla="*/ 1596 w 3929"/>
                  <a:gd name="T51" fmla="*/ 1175 h 2568"/>
                  <a:gd name="T52" fmla="*/ 1662 w 3929"/>
                  <a:gd name="T53" fmla="*/ 958 h 2568"/>
                  <a:gd name="T54" fmla="*/ 1484 w 3929"/>
                  <a:gd name="T55" fmla="*/ 698 h 2568"/>
                  <a:gd name="T56" fmla="*/ 1860 w 3929"/>
                  <a:gd name="T57" fmla="*/ 731 h 2568"/>
                  <a:gd name="T58" fmla="*/ 1740 w 3929"/>
                  <a:gd name="T59" fmla="*/ 516 h 2568"/>
                  <a:gd name="T60" fmla="*/ 2075 w 3929"/>
                  <a:gd name="T61" fmla="*/ 90 h 2568"/>
                  <a:gd name="T62" fmla="*/ 2295 w 3929"/>
                  <a:gd name="T63" fmla="*/ 81 h 2568"/>
                  <a:gd name="T64" fmla="*/ 2676 w 3929"/>
                  <a:gd name="T65" fmla="*/ 220 h 2568"/>
                  <a:gd name="T66" fmla="*/ 1132 w 3929"/>
                  <a:gd name="T67" fmla="*/ 944 h 2568"/>
                  <a:gd name="T68" fmla="*/ 1083 w 3929"/>
                  <a:gd name="T69" fmla="*/ 963 h 2568"/>
                  <a:gd name="T70" fmla="*/ 2584 w 3929"/>
                  <a:gd name="T71" fmla="*/ 1778 h 2568"/>
                  <a:gd name="T72" fmla="*/ 1326 w 3929"/>
                  <a:gd name="T73" fmla="*/ 1528 h 2568"/>
                  <a:gd name="T74" fmla="*/ 2617 w 3929"/>
                  <a:gd name="T75" fmla="*/ 1797 h 2568"/>
                  <a:gd name="T76" fmla="*/ 2215 w 3929"/>
                  <a:gd name="T77" fmla="*/ 1979 h 2568"/>
                  <a:gd name="T78" fmla="*/ 2210 w 3929"/>
                  <a:gd name="T79" fmla="*/ 1986 h 2568"/>
                  <a:gd name="T80" fmla="*/ 3534 w 3929"/>
                  <a:gd name="T81" fmla="*/ 2102 h 2568"/>
                  <a:gd name="T82" fmla="*/ 3472 w 3929"/>
                  <a:gd name="T83" fmla="*/ 2173 h 2568"/>
                  <a:gd name="T84" fmla="*/ 2175 w 3929"/>
                  <a:gd name="T85" fmla="*/ 2128 h 2568"/>
                  <a:gd name="T86" fmla="*/ 2030 w 3929"/>
                  <a:gd name="T87" fmla="*/ 2133 h 2568"/>
                  <a:gd name="T88" fmla="*/ 2153 w 3929"/>
                  <a:gd name="T89" fmla="*/ 2046 h 2568"/>
                  <a:gd name="T90" fmla="*/ 3498 w 3929"/>
                  <a:gd name="T91" fmla="*/ 2277 h 2568"/>
                  <a:gd name="T92" fmla="*/ 3650 w 3929"/>
                  <a:gd name="T93" fmla="*/ 2247 h 2568"/>
                  <a:gd name="T94" fmla="*/ 3624 w 3929"/>
                  <a:gd name="T95" fmla="*/ 2299 h 2568"/>
                  <a:gd name="T96" fmla="*/ 901 w 3929"/>
                  <a:gd name="T97" fmla="*/ 1932 h 2568"/>
                  <a:gd name="T98" fmla="*/ 3744 w 3929"/>
                  <a:gd name="T99" fmla="*/ 2327 h 2568"/>
                  <a:gd name="T100" fmla="*/ 3754 w 3929"/>
                  <a:gd name="T101" fmla="*/ 2469 h 2568"/>
                  <a:gd name="T102" fmla="*/ 3664 w 3929"/>
                  <a:gd name="T103" fmla="*/ 2436 h 2568"/>
                  <a:gd name="T104" fmla="*/ 3796 w 3929"/>
                  <a:gd name="T105" fmla="*/ 2403 h 2568"/>
                  <a:gd name="T106" fmla="*/ 1496 w 3929"/>
                  <a:gd name="T107" fmla="*/ 2313 h 2568"/>
                  <a:gd name="T108" fmla="*/ 1560 w 3929"/>
                  <a:gd name="T109" fmla="*/ 2344 h 2568"/>
                  <a:gd name="T110" fmla="*/ 1591 w 3929"/>
                  <a:gd name="T111" fmla="*/ 2336 h 2568"/>
                  <a:gd name="T112" fmla="*/ 1281 w 3929"/>
                  <a:gd name="T113" fmla="*/ 2282 h 2568"/>
                  <a:gd name="T114" fmla="*/ 1078 w 3929"/>
                  <a:gd name="T115" fmla="*/ 2355 h 2568"/>
                  <a:gd name="T116" fmla="*/ 971 w 3929"/>
                  <a:gd name="T117" fmla="*/ 2386 h 2568"/>
                  <a:gd name="T118" fmla="*/ 792 w 3929"/>
                  <a:gd name="T119" fmla="*/ 2417 h 2568"/>
                  <a:gd name="T120" fmla="*/ 239 w 3929"/>
                  <a:gd name="T121" fmla="*/ 2360 h 2568"/>
                  <a:gd name="T122" fmla="*/ 355 w 3929"/>
                  <a:gd name="T123" fmla="*/ 2393 h 2568"/>
                  <a:gd name="T124" fmla="*/ 83 w 3929"/>
                  <a:gd name="T125" fmla="*/ 2306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9" h="2568">
                    <a:moveTo>
                      <a:pt x="3101" y="372"/>
                    </a:moveTo>
                    <a:lnTo>
                      <a:pt x="3099" y="419"/>
                    </a:lnTo>
                    <a:lnTo>
                      <a:pt x="3099" y="466"/>
                    </a:lnTo>
                    <a:lnTo>
                      <a:pt x="3099" y="513"/>
                    </a:lnTo>
                    <a:lnTo>
                      <a:pt x="3097" y="558"/>
                    </a:lnTo>
                    <a:lnTo>
                      <a:pt x="3097" y="606"/>
                    </a:lnTo>
                    <a:lnTo>
                      <a:pt x="3094" y="651"/>
                    </a:lnTo>
                    <a:lnTo>
                      <a:pt x="3094" y="695"/>
                    </a:lnTo>
                    <a:lnTo>
                      <a:pt x="3094" y="743"/>
                    </a:lnTo>
                    <a:lnTo>
                      <a:pt x="3092" y="788"/>
                    </a:lnTo>
                    <a:lnTo>
                      <a:pt x="3092" y="833"/>
                    </a:lnTo>
                    <a:lnTo>
                      <a:pt x="3089" y="878"/>
                    </a:lnTo>
                    <a:lnTo>
                      <a:pt x="3089" y="922"/>
                    </a:lnTo>
                    <a:lnTo>
                      <a:pt x="3089" y="967"/>
                    </a:lnTo>
                    <a:lnTo>
                      <a:pt x="3087" y="1012"/>
                    </a:lnTo>
                    <a:lnTo>
                      <a:pt x="3087" y="1057"/>
                    </a:lnTo>
                    <a:lnTo>
                      <a:pt x="3085" y="1100"/>
                    </a:lnTo>
                    <a:lnTo>
                      <a:pt x="3085" y="1145"/>
                    </a:lnTo>
                    <a:lnTo>
                      <a:pt x="3085" y="1190"/>
                    </a:lnTo>
                    <a:lnTo>
                      <a:pt x="3082" y="1232"/>
                    </a:lnTo>
                    <a:lnTo>
                      <a:pt x="3082" y="1277"/>
                    </a:lnTo>
                    <a:lnTo>
                      <a:pt x="3082" y="1320"/>
                    </a:lnTo>
                    <a:lnTo>
                      <a:pt x="3080" y="1365"/>
                    </a:lnTo>
                    <a:lnTo>
                      <a:pt x="3080" y="1407"/>
                    </a:lnTo>
                    <a:lnTo>
                      <a:pt x="3080" y="1450"/>
                    </a:lnTo>
                    <a:lnTo>
                      <a:pt x="3078" y="1492"/>
                    </a:lnTo>
                    <a:lnTo>
                      <a:pt x="3078" y="1535"/>
                    </a:lnTo>
                    <a:lnTo>
                      <a:pt x="3078" y="1580"/>
                    </a:lnTo>
                    <a:lnTo>
                      <a:pt x="3075" y="1622"/>
                    </a:lnTo>
                    <a:lnTo>
                      <a:pt x="3075" y="1665"/>
                    </a:lnTo>
                    <a:lnTo>
                      <a:pt x="3073" y="1707"/>
                    </a:lnTo>
                    <a:lnTo>
                      <a:pt x="3073" y="1748"/>
                    </a:lnTo>
                    <a:lnTo>
                      <a:pt x="3073" y="1790"/>
                    </a:lnTo>
                    <a:lnTo>
                      <a:pt x="3089" y="1797"/>
                    </a:lnTo>
                    <a:lnTo>
                      <a:pt x="3106" y="1804"/>
                    </a:lnTo>
                    <a:lnTo>
                      <a:pt x="3111" y="1793"/>
                    </a:lnTo>
                    <a:lnTo>
                      <a:pt x="3130" y="1802"/>
                    </a:lnTo>
                    <a:lnTo>
                      <a:pt x="3146" y="1809"/>
                    </a:lnTo>
                    <a:lnTo>
                      <a:pt x="3156" y="1800"/>
                    </a:lnTo>
                    <a:lnTo>
                      <a:pt x="3167" y="1788"/>
                    </a:lnTo>
                    <a:lnTo>
                      <a:pt x="3182" y="1788"/>
                    </a:lnTo>
                    <a:lnTo>
                      <a:pt x="3198" y="1788"/>
                    </a:lnTo>
                    <a:lnTo>
                      <a:pt x="3210" y="1786"/>
                    </a:lnTo>
                    <a:lnTo>
                      <a:pt x="3210" y="1795"/>
                    </a:lnTo>
                    <a:lnTo>
                      <a:pt x="3205" y="1812"/>
                    </a:lnTo>
                    <a:lnTo>
                      <a:pt x="3203" y="1823"/>
                    </a:lnTo>
                    <a:lnTo>
                      <a:pt x="3212" y="1835"/>
                    </a:lnTo>
                    <a:lnTo>
                      <a:pt x="3212" y="1838"/>
                    </a:lnTo>
                    <a:lnTo>
                      <a:pt x="3224" y="1845"/>
                    </a:lnTo>
                    <a:lnTo>
                      <a:pt x="3236" y="1849"/>
                    </a:lnTo>
                    <a:lnTo>
                      <a:pt x="3243" y="1868"/>
                    </a:lnTo>
                    <a:lnTo>
                      <a:pt x="3255" y="1880"/>
                    </a:lnTo>
                    <a:lnTo>
                      <a:pt x="3264" y="1892"/>
                    </a:lnTo>
                    <a:lnTo>
                      <a:pt x="3276" y="1901"/>
                    </a:lnTo>
                    <a:lnTo>
                      <a:pt x="3288" y="1916"/>
                    </a:lnTo>
                    <a:lnTo>
                      <a:pt x="3297" y="1925"/>
                    </a:lnTo>
                    <a:lnTo>
                      <a:pt x="3312" y="1939"/>
                    </a:lnTo>
                    <a:lnTo>
                      <a:pt x="3319" y="1946"/>
                    </a:lnTo>
                    <a:lnTo>
                      <a:pt x="3323" y="1960"/>
                    </a:lnTo>
                    <a:lnTo>
                      <a:pt x="3328" y="1979"/>
                    </a:lnTo>
                    <a:lnTo>
                      <a:pt x="3326" y="1991"/>
                    </a:lnTo>
                    <a:lnTo>
                      <a:pt x="3331" y="1991"/>
                    </a:lnTo>
                    <a:lnTo>
                      <a:pt x="3342" y="1979"/>
                    </a:lnTo>
                    <a:lnTo>
                      <a:pt x="3354" y="1972"/>
                    </a:lnTo>
                    <a:lnTo>
                      <a:pt x="3368" y="1963"/>
                    </a:lnTo>
                    <a:lnTo>
                      <a:pt x="3375" y="1956"/>
                    </a:lnTo>
                    <a:lnTo>
                      <a:pt x="3394" y="1956"/>
                    </a:lnTo>
                    <a:lnTo>
                      <a:pt x="3401" y="1937"/>
                    </a:lnTo>
                    <a:lnTo>
                      <a:pt x="3401" y="1911"/>
                    </a:lnTo>
                    <a:lnTo>
                      <a:pt x="3409" y="1911"/>
                    </a:lnTo>
                    <a:lnTo>
                      <a:pt x="3413" y="1906"/>
                    </a:lnTo>
                    <a:lnTo>
                      <a:pt x="3416" y="1899"/>
                    </a:lnTo>
                    <a:lnTo>
                      <a:pt x="3411" y="1890"/>
                    </a:lnTo>
                    <a:lnTo>
                      <a:pt x="3427" y="1885"/>
                    </a:lnTo>
                    <a:lnTo>
                      <a:pt x="3439" y="1880"/>
                    </a:lnTo>
                    <a:lnTo>
                      <a:pt x="3456" y="1871"/>
                    </a:lnTo>
                    <a:lnTo>
                      <a:pt x="3470" y="1861"/>
                    </a:lnTo>
                    <a:lnTo>
                      <a:pt x="3479" y="1868"/>
                    </a:lnTo>
                    <a:lnTo>
                      <a:pt x="3487" y="1873"/>
                    </a:lnTo>
                    <a:lnTo>
                      <a:pt x="3503" y="1890"/>
                    </a:lnTo>
                    <a:lnTo>
                      <a:pt x="3505" y="1894"/>
                    </a:lnTo>
                    <a:lnTo>
                      <a:pt x="3503" y="1901"/>
                    </a:lnTo>
                    <a:lnTo>
                      <a:pt x="3503" y="1908"/>
                    </a:lnTo>
                    <a:lnTo>
                      <a:pt x="3513" y="1930"/>
                    </a:lnTo>
                    <a:lnTo>
                      <a:pt x="3515" y="1932"/>
                    </a:lnTo>
                    <a:lnTo>
                      <a:pt x="3524" y="1937"/>
                    </a:lnTo>
                    <a:lnTo>
                      <a:pt x="3534" y="1942"/>
                    </a:lnTo>
                    <a:lnTo>
                      <a:pt x="3539" y="1949"/>
                    </a:lnTo>
                    <a:lnTo>
                      <a:pt x="3550" y="1958"/>
                    </a:lnTo>
                    <a:lnTo>
                      <a:pt x="3553" y="1963"/>
                    </a:lnTo>
                    <a:lnTo>
                      <a:pt x="3555" y="1970"/>
                    </a:lnTo>
                    <a:lnTo>
                      <a:pt x="3557" y="1975"/>
                    </a:lnTo>
                    <a:lnTo>
                      <a:pt x="3560" y="1979"/>
                    </a:lnTo>
                    <a:lnTo>
                      <a:pt x="3562" y="1984"/>
                    </a:lnTo>
                    <a:lnTo>
                      <a:pt x="3569" y="1991"/>
                    </a:lnTo>
                    <a:lnTo>
                      <a:pt x="3581" y="1998"/>
                    </a:lnTo>
                    <a:lnTo>
                      <a:pt x="3588" y="2003"/>
                    </a:lnTo>
                    <a:lnTo>
                      <a:pt x="3600" y="2010"/>
                    </a:lnTo>
                    <a:lnTo>
                      <a:pt x="3612" y="2024"/>
                    </a:lnTo>
                    <a:lnTo>
                      <a:pt x="3621" y="2036"/>
                    </a:lnTo>
                    <a:lnTo>
                      <a:pt x="3633" y="2050"/>
                    </a:lnTo>
                    <a:lnTo>
                      <a:pt x="3633" y="2060"/>
                    </a:lnTo>
                    <a:lnTo>
                      <a:pt x="3645" y="2076"/>
                    </a:lnTo>
                    <a:lnTo>
                      <a:pt x="3657" y="2095"/>
                    </a:lnTo>
                    <a:lnTo>
                      <a:pt x="3669" y="2114"/>
                    </a:lnTo>
                    <a:lnTo>
                      <a:pt x="3676" y="2124"/>
                    </a:lnTo>
                    <a:lnTo>
                      <a:pt x="3683" y="2138"/>
                    </a:lnTo>
                    <a:lnTo>
                      <a:pt x="3695" y="2154"/>
                    </a:lnTo>
                    <a:lnTo>
                      <a:pt x="3706" y="2173"/>
                    </a:lnTo>
                    <a:lnTo>
                      <a:pt x="3716" y="2187"/>
                    </a:lnTo>
                    <a:lnTo>
                      <a:pt x="3728" y="2204"/>
                    </a:lnTo>
                    <a:lnTo>
                      <a:pt x="3735" y="2213"/>
                    </a:lnTo>
                    <a:lnTo>
                      <a:pt x="3730" y="2223"/>
                    </a:lnTo>
                    <a:lnTo>
                      <a:pt x="3728" y="2232"/>
                    </a:lnTo>
                    <a:lnTo>
                      <a:pt x="3742" y="2235"/>
                    </a:lnTo>
                    <a:lnTo>
                      <a:pt x="3751" y="2237"/>
                    </a:lnTo>
                    <a:lnTo>
                      <a:pt x="3749" y="2249"/>
                    </a:lnTo>
                    <a:lnTo>
                      <a:pt x="3747" y="2261"/>
                    </a:lnTo>
                    <a:lnTo>
                      <a:pt x="3758" y="2266"/>
                    </a:lnTo>
                    <a:lnTo>
                      <a:pt x="3765" y="2270"/>
                    </a:lnTo>
                    <a:lnTo>
                      <a:pt x="3765" y="2277"/>
                    </a:lnTo>
                    <a:lnTo>
                      <a:pt x="3770" y="2284"/>
                    </a:lnTo>
                    <a:lnTo>
                      <a:pt x="3773" y="2299"/>
                    </a:lnTo>
                    <a:lnTo>
                      <a:pt x="3784" y="2296"/>
                    </a:lnTo>
                    <a:lnTo>
                      <a:pt x="3791" y="2294"/>
                    </a:lnTo>
                    <a:lnTo>
                      <a:pt x="3799" y="2301"/>
                    </a:lnTo>
                    <a:lnTo>
                      <a:pt x="3810" y="2306"/>
                    </a:lnTo>
                    <a:lnTo>
                      <a:pt x="3822" y="2313"/>
                    </a:lnTo>
                    <a:lnTo>
                      <a:pt x="3832" y="2318"/>
                    </a:lnTo>
                    <a:lnTo>
                      <a:pt x="3843" y="2320"/>
                    </a:lnTo>
                    <a:lnTo>
                      <a:pt x="3858" y="2325"/>
                    </a:lnTo>
                    <a:lnTo>
                      <a:pt x="3867" y="2334"/>
                    </a:lnTo>
                    <a:lnTo>
                      <a:pt x="3881" y="2339"/>
                    </a:lnTo>
                    <a:lnTo>
                      <a:pt x="3888" y="2353"/>
                    </a:lnTo>
                    <a:lnTo>
                      <a:pt x="3903" y="2358"/>
                    </a:lnTo>
                    <a:lnTo>
                      <a:pt x="3912" y="2353"/>
                    </a:lnTo>
                    <a:lnTo>
                      <a:pt x="3917" y="2358"/>
                    </a:lnTo>
                    <a:lnTo>
                      <a:pt x="3919" y="2365"/>
                    </a:lnTo>
                    <a:lnTo>
                      <a:pt x="3921" y="2374"/>
                    </a:lnTo>
                    <a:lnTo>
                      <a:pt x="3921" y="2381"/>
                    </a:lnTo>
                    <a:lnTo>
                      <a:pt x="3917" y="2391"/>
                    </a:lnTo>
                    <a:lnTo>
                      <a:pt x="3914" y="2398"/>
                    </a:lnTo>
                    <a:lnTo>
                      <a:pt x="3914" y="2407"/>
                    </a:lnTo>
                    <a:lnTo>
                      <a:pt x="3914" y="2417"/>
                    </a:lnTo>
                    <a:lnTo>
                      <a:pt x="3917" y="2426"/>
                    </a:lnTo>
                    <a:lnTo>
                      <a:pt x="3919" y="2433"/>
                    </a:lnTo>
                    <a:lnTo>
                      <a:pt x="3924" y="2448"/>
                    </a:lnTo>
                    <a:lnTo>
                      <a:pt x="3926" y="2457"/>
                    </a:lnTo>
                    <a:lnTo>
                      <a:pt x="3929" y="2464"/>
                    </a:lnTo>
                    <a:lnTo>
                      <a:pt x="3919" y="2488"/>
                    </a:lnTo>
                    <a:lnTo>
                      <a:pt x="3917" y="2500"/>
                    </a:lnTo>
                    <a:lnTo>
                      <a:pt x="3917" y="2504"/>
                    </a:lnTo>
                    <a:lnTo>
                      <a:pt x="3912" y="2516"/>
                    </a:lnTo>
                    <a:lnTo>
                      <a:pt x="3898" y="2533"/>
                    </a:lnTo>
                    <a:lnTo>
                      <a:pt x="3893" y="2542"/>
                    </a:lnTo>
                    <a:lnTo>
                      <a:pt x="3888" y="2540"/>
                    </a:lnTo>
                    <a:lnTo>
                      <a:pt x="3869" y="2537"/>
                    </a:lnTo>
                    <a:lnTo>
                      <a:pt x="3862" y="2519"/>
                    </a:lnTo>
                    <a:lnTo>
                      <a:pt x="3855" y="2504"/>
                    </a:lnTo>
                    <a:lnTo>
                      <a:pt x="3851" y="2493"/>
                    </a:lnTo>
                    <a:lnTo>
                      <a:pt x="3851" y="2488"/>
                    </a:lnTo>
                    <a:lnTo>
                      <a:pt x="3853" y="2478"/>
                    </a:lnTo>
                    <a:lnTo>
                      <a:pt x="3872" y="2469"/>
                    </a:lnTo>
                    <a:lnTo>
                      <a:pt x="3872" y="2466"/>
                    </a:lnTo>
                    <a:lnTo>
                      <a:pt x="3865" y="2466"/>
                    </a:lnTo>
                    <a:lnTo>
                      <a:pt x="3862" y="2462"/>
                    </a:lnTo>
                    <a:lnTo>
                      <a:pt x="3860" y="2448"/>
                    </a:lnTo>
                    <a:lnTo>
                      <a:pt x="3858" y="2436"/>
                    </a:lnTo>
                    <a:lnTo>
                      <a:pt x="3858" y="2426"/>
                    </a:lnTo>
                    <a:lnTo>
                      <a:pt x="3853" y="2410"/>
                    </a:lnTo>
                    <a:lnTo>
                      <a:pt x="3846" y="2400"/>
                    </a:lnTo>
                    <a:lnTo>
                      <a:pt x="3834" y="2381"/>
                    </a:lnTo>
                    <a:lnTo>
                      <a:pt x="3832" y="2377"/>
                    </a:lnTo>
                    <a:lnTo>
                      <a:pt x="3836" y="2370"/>
                    </a:lnTo>
                    <a:lnTo>
                      <a:pt x="3839" y="2362"/>
                    </a:lnTo>
                    <a:lnTo>
                      <a:pt x="3820" y="2374"/>
                    </a:lnTo>
                    <a:lnTo>
                      <a:pt x="3794" y="2388"/>
                    </a:lnTo>
                    <a:lnTo>
                      <a:pt x="3782" y="2396"/>
                    </a:lnTo>
                    <a:lnTo>
                      <a:pt x="3782" y="2400"/>
                    </a:lnTo>
                    <a:lnTo>
                      <a:pt x="3780" y="2403"/>
                    </a:lnTo>
                    <a:lnTo>
                      <a:pt x="3782" y="2410"/>
                    </a:lnTo>
                    <a:lnTo>
                      <a:pt x="3782" y="2412"/>
                    </a:lnTo>
                    <a:lnTo>
                      <a:pt x="3782" y="2417"/>
                    </a:lnTo>
                    <a:lnTo>
                      <a:pt x="3780" y="2429"/>
                    </a:lnTo>
                    <a:lnTo>
                      <a:pt x="3775" y="2443"/>
                    </a:lnTo>
                    <a:lnTo>
                      <a:pt x="3770" y="2445"/>
                    </a:lnTo>
                    <a:lnTo>
                      <a:pt x="3761" y="2440"/>
                    </a:lnTo>
                    <a:lnTo>
                      <a:pt x="3756" y="2438"/>
                    </a:lnTo>
                    <a:lnTo>
                      <a:pt x="3751" y="2422"/>
                    </a:lnTo>
                    <a:lnTo>
                      <a:pt x="3751" y="2417"/>
                    </a:lnTo>
                    <a:lnTo>
                      <a:pt x="3756" y="2412"/>
                    </a:lnTo>
                    <a:lnTo>
                      <a:pt x="3761" y="2403"/>
                    </a:lnTo>
                    <a:lnTo>
                      <a:pt x="3765" y="2391"/>
                    </a:lnTo>
                    <a:lnTo>
                      <a:pt x="3775" y="2358"/>
                    </a:lnTo>
                    <a:lnTo>
                      <a:pt x="3784" y="2358"/>
                    </a:lnTo>
                    <a:lnTo>
                      <a:pt x="3799" y="2348"/>
                    </a:lnTo>
                    <a:lnTo>
                      <a:pt x="3775" y="2348"/>
                    </a:lnTo>
                    <a:lnTo>
                      <a:pt x="3770" y="2346"/>
                    </a:lnTo>
                    <a:lnTo>
                      <a:pt x="3768" y="2341"/>
                    </a:lnTo>
                    <a:lnTo>
                      <a:pt x="3763" y="2334"/>
                    </a:lnTo>
                    <a:lnTo>
                      <a:pt x="3758" y="2327"/>
                    </a:lnTo>
                    <a:lnTo>
                      <a:pt x="3751" y="2325"/>
                    </a:lnTo>
                    <a:lnTo>
                      <a:pt x="3747" y="2322"/>
                    </a:lnTo>
                    <a:lnTo>
                      <a:pt x="3739" y="2313"/>
                    </a:lnTo>
                    <a:lnTo>
                      <a:pt x="3735" y="2310"/>
                    </a:lnTo>
                    <a:lnTo>
                      <a:pt x="3732" y="2306"/>
                    </a:lnTo>
                    <a:lnTo>
                      <a:pt x="3732" y="2299"/>
                    </a:lnTo>
                    <a:lnTo>
                      <a:pt x="3730" y="2296"/>
                    </a:lnTo>
                    <a:lnTo>
                      <a:pt x="3725" y="2294"/>
                    </a:lnTo>
                    <a:lnTo>
                      <a:pt x="3721" y="2292"/>
                    </a:lnTo>
                    <a:lnTo>
                      <a:pt x="3718" y="2277"/>
                    </a:lnTo>
                    <a:lnTo>
                      <a:pt x="3706" y="2273"/>
                    </a:lnTo>
                    <a:lnTo>
                      <a:pt x="3702" y="2270"/>
                    </a:lnTo>
                    <a:lnTo>
                      <a:pt x="3692" y="2261"/>
                    </a:lnTo>
                    <a:lnTo>
                      <a:pt x="3690" y="2256"/>
                    </a:lnTo>
                    <a:lnTo>
                      <a:pt x="3690" y="2251"/>
                    </a:lnTo>
                    <a:lnTo>
                      <a:pt x="3690" y="2240"/>
                    </a:lnTo>
                    <a:lnTo>
                      <a:pt x="3690" y="2237"/>
                    </a:lnTo>
                    <a:lnTo>
                      <a:pt x="3683" y="2240"/>
                    </a:lnTo>
                    <a:lnTo>
                      <a:pt x="3640" y="2225"/>
                    </a:lnTo>
                    <a:lnTo>
                      <a:pt x="3640" y="2202"/>
                    </a:lnTo>
                    <a:lnTo>
                      <a:pt x="3631" y="2171"/>
                    </a:lnTo>
                    <a:lnTo>
                      <a:pt x="3621" y="2159"/>
                    </a:lnTo>
                    <a:lnTo>
                      <a:pt x="3624" y="2154"/>
                    </a:lnTo>
                    <a:lnTo>
                      <a:pt x="3626" y="2152"/>
                    </a:lnTo>
                    <a:lnTo>
                      <a:pt x="3628" y="2152"/>
                    </a:lnTo>
                    <a:lnTo>
                      <a:pt x="3645" y="2159"/>
                    </a:lnTo>
                    <a:lnTo>
                      <a:pt x="3661" y="2169"/>
                    </a:lnTo>
                    <a:lnTo>
                      <a:pt x="3664" y="2166"/>
                    </a:lnTo>
                    <a:lnTo>
                      <a:pt x="3638" y="2147"/>
                    </a:lnTo>
                    <a:lnTo>
                      <a:pt x="3631" y="2140"/>
                    </a:lnTo>
                    <a:lnTo>
                      <a:pt x="3628" y="2131"/>
                    </a:lnTo>
                    <a:lnTo>
                      <a:pt x="3628" y="2128"/>
                    </a:lnTo>
                    <a:lnTo>
                      <a:pt x="3631" y="2126"/>
                    </a:lnTo>
                    <a:lnTo>
                      <a:pt x="3652" y="2126"/>
                    </a:lnTo>
                    <a:lnTo>
                      <a:pt x="3654" y="2124"/>
                    </a:lnTo>
                    <a:lnTo>
                      <a:pt x="3631" y="2119"/>
                    </a:lnTo>
                    <a:lnTo>
                      <a:pt x="3626" y="2119"/>
                    </a:lnTo>
                    <a:lnTo>
                      <a:pt x="3621" y="2128"/>
                    </a:lnTo>
                    <a:lnTo>
                      <a:pt x="3619" y="2131"/>
                    </a:lnTo>
                    <a:lnTo>
                      <a:pt x="3614" y="2131"/>
                    </a:lnTo>
                    <a:lnTo>
                      <a:pt x="3612" y="2128"/>
                    </a:lnTo>
                    <a:lnTo>
                      <a:pt x="3607" y="2119"/>
                    </a:lnTo>
                    <a:lnTo>
                      <a:pt x="3600" y="2109"/>
                    </a:lnTo>
                    <a:lnTo>
                      <a:pt x="3591" y="2100"/>
                    </a:lnTo>
                    <a:lnTo>
                      <a:pt x="3588" y="2093"/>
                    </a:lnTo>
                    <a:lnTo>
                      <a:pt x="3586" y="2081"/>
                    </a:lnTo>
                    <a:lnTo>
                      <a:pt x="3586" y="2069"/>
                    </a:lnTo>
                    <a:lnTo>
                      <a:pt x="3593" y="2043"/>
                    </a:lnTo>
                    <a:lnTo>
                      <a:pt x="3598" y="2039"/>
                    </a:lnTo>
                    <a:lnTo>
                      <a:pt x="3598" y="2036"/>
                    </a:lnTo>
                    <a:lnTo>
                      <a:pt x="3595" y="2036"/>
                    </a:lnTo>
                    <a:lnTo>
                      <a:pt x="3593" y="2039"/>
                    </a:lnTo>
                    <a:lnTo>
                      <a:pt x="3586" y="2050"/>
                    </a:lnTo>
                    <a:lnTo>
                      <a:pt x="3581" y="2072"/>
                    </a:lnTo>
                    <a:lnTo>
                      <a:pt x="3574" y="2079"/>
                    </a:lnTo>
                    <a:lnTo>
                      <a:pt x="3572" y="2076"/>
                    </a:lnTo>
                    <a:lnTo>
                      <a:pt x="3565" y="2069"/>
                    </a:lnTo>
                    <a:lnTo>
                      <a:pt x="3553" y="2060"/>
                    </a:lnTo>
                    <a:lnTo>
                      <a:pt x="3541" y="2057"/>
                    </a:lnTo>
                    <a:lnTo>
                      <a:pt x="3531" y="2048"/>
                    </a:lnTo>
                    <a:lnTo>
                      <a:pt x="3517" y="2022"/>
                    </a:lnTo>
                    <a:lnTo>
                      <a:pt x="3515" y="2008"/>
                    </a:lnTo>
                    <a:lnTo>
                      <a:pt x="3513" y="2005"/>
                    </a:lnTo>
                    <a:lnTo>
                      <a:pt x="3505" y="2001"/>
                    </a:lnTo>
                    <a:lnTo>
                      <a:pt x="3503" y="1994"/>
                    </a:lnTo>
                    <a:lnTo>
                      <a:pt x="3494" y="1960"/>
                    </a:lnTo>
                    <a:lnTo>
                      <a:pt x="3484" y="1939"/>
                    </a:lnTo>
                    <a:lnTo>
                      <a:pt x="3482" y="1925"/>
                    </a:lnTo>
                    <a:lnTo>
                      <a:pt x="3482" y="1913"/>
                    </a:lnTo>
                    <a:lnTo>
                      <a:pt x="3482" y="1913"/>
                    </a:lnTo>
                    <a:lnTo>
                      <a:pt x="3479" y="1923"/>
                    </a:lnTo>
                    <a:lnTo>
                      <a:pt x="3479" y="1927"/>
                    </a:lnTo>
                    <a:lnTo>
                      <a:pt x="3472" y="1930"/>
                    </a:lnTo>
                    <a:lnTo>
                      <a:pt x="3479" y="1939"/>
                    </a:lnTo>
                    <a:lnTo>
                      <a:pt x="3479" y="1944"/>
                    </a:lnTo>
                    <a:lnTo>
                      <a:pt x="3477" y="1942"/>
                    </a:lnTo>
                    <a:lnTo>
                      <a:pt x="3472" y="1944"/>
                    </a:lnTo>
                    <a:lnTo>
                      <a:pt x="3482" y="1960"/>
                    </a:lnTo>
                    <a:lnTo>
                      <a:pt x="3487" y="1986"/>
                    </a:lnTo>
                    <a:lnTo>
                      <a:pt x="3494" y="2003"/>
                    </a:lnTo>
                    <a:lnTo>
                      <a:pt x="3498" y="2020"/>
                    </a:lnTo>
                    <a:lnTo>
                      <a:pt x="3501" y="2031"/>
                    </a:lnTo>
                    <a:lnTo>
                      <a:pt x="3503" y="2041"/>
                    </a:lnTo>
                    <a:lnTo>
                      <a:pt x="3510" y="2065"/>
                    </a:lnTo>
                    <a:lnTo>
                      <a:pt x="3513" y="2069"/>
                    </a:lnTo>
                    <a:lnTo>
                      <a:pt x="3510" y="2074"/>
                    </a:lnTo>
                    <a:lnTo>
                      <a:pt x="3508" y="2079"/>
                    </a:lnTo>
                    <a:lnTo>
                      <a:pt x="3505" y="2081"/>
                    </a:lnTo>
                    <a:lnTo>
                      <a:pt x="3494" y="2079"/>
                    </a:lnTo>
                    <a:lnTo>
                      <a:pt x="3489" y="2072"/>
                    </a:lnTo>
                    <a:lnTo>
                      <a:pt x="3482" y="2062"/>
                    </a:lnTo>
                    <a:lnTo>
                      <a:pt x="3472" y="2057"/>
                    </a:lnTo>
                    <a:lnTo>
                      <a:pt x="3449" y="2060"/>
                    </a:lnTo>
                    <a:lnTo>
                      <a:pt x="3449" y="2060"/>
                    </a:lnTo>
                    <a:lnTo>
                      <a:pt x="3449" y="2050"/>
                    </a:lnTo>
                    <a:lnTo>
                      <a:pt x="3449" y="2034"/>
                    </a:lnTo>
                    <a:lnTo>
                      <a:pt x="3446" y="2029"/>
                    </a:lnTo>
                    <a:lnTo>
                      <a:pt x="3435" y="2005"/>
                    </a:lnTo>
                    <a:lnTo>
                      <a:pt x="3435" y="2001"/>
                    </a:lnTo>
                    <a:lnTo>
                      <a:pt x="3451" y="1989"/>
                    </a:lnTo>
                    <a:lnTo>
                      <a:pt x="3442" y="1989"/>
                    </a:lnTo>
                    <a:lnTo>
                      <a:pt x="3437" y="1994"/>
                    </a:lnTo>
                    <a:lnTo>
                      <a:pt x="3435" y="1989"/>
                    </a:lnTo>
                    <a:lnTo>
                      <a:pt x="3430" y="1975"/>
                    </a:lnTo>
                    <a:lnTo>
                      <a:pt x="3427" y="1970"/>
                    </a:lnTo>
                    <a:lnTo>
                      <a:pt x="3425" y="1968"/>
                    </a:lnTo>
                    <a:lnTo>
                      <a:pt x="3425" y="1982"/>
                    </a:lnTo>
                    <a:lnTo>
                      <a:pt x="3427" y="1989"/>
                    </a:lnTo>
                    <a:lnTo>
                      <a:pt x="3430" y="1994"/>
                    </a:lnTo>
                    <a:lnTo>
                      <a:pt x="3430" y="2001"/>
                    </a:lnTo>
                    <a:lnTo>
                      <a:pt x="3427" y="2005"/>
                    </a:lnTo>
                    <a:lnTo>
                      <a:pt x="3425" y="2008"/>
                    </a:lnTo>
                    <a:lnTo>
                      <a:pt x="3423" y="2008"/>
                    </a:lnTo>
                    <a:lnTo>
                      <a:pt x="3416" y="2005"/>
                    </a:lnTo>
                    <a:lnTo>
                      <a:pt x="3411" y="2001"/>
                    </a:lnTo>
                    <a:lnTo>
                      <a:pt x="3404" y="1998"/>
                    </a:lnTo>
                    <a:lnTo>
                      <a:pt x="3404" y="1996"/>
                    </a:lnTo>
                    <a:lnTo>
                      <a:pt x="3399" y="1989"/>
                    </a:lnTo>
                    <a:lnTo>
                      <a:pt x="3397" y="1984"/>
                    </a:lnTo>
                    <a:lnTo>
                      <a:pt x="3375" y="1979"/>
                    </a:lnTo>
                    <a:lnTo>
                      <a:pt x="3364" y="1972"/>
                    </a:lnTo>
                    <a:lnTo>
                      <a:pt x="3364" y="1972"/>
                    </a:lnTo>
                    <a:lnTo>
                      <a:pt x="3368" y="1982"/>
                    </a:lnTo>
                    <a:lnTo>
                      <a:pt x="3368" y="1986"/>
                    </a:lnTo>
                    <a:lnTo>
                      <a:pt x="3366" y="1986"/>
                    </a:lnTo>
                    <a:lnTo>
                      <a:pt x="3359" y="1994"/>
                    </a:lnTo>
                    <a:lnTo>
                      <a:pt x="3361" y="1996"/>
                    </a:lnTo>
                    <a:lnTo>
                      <a:pt x="3366" y="1994"/>
                    </a:lnTo>
                    <a:lnTo>
                      <a:pt x="3373" y="1994"/>
                    </a:lnTo>
                    <a:lnTo>
                      <a:pt x="3383" y="1998"/>
                    </a:lnTo>
                    <a:lnTo>
                      <a:pt x="3392" y="2003"/>
                    </a:lnTo>
                    <a:lnTo>
                      <a:pt x="3397" y="2005"/>
                    </a:lnTo>
                    <a:lnTo>
                      <a:pt x="3397" y="2010"/>
                    </a:lnTo>
                    <a:lnTo>
                      <a:pt x="3399" y="2013"/>
                    </a:lnTo>
                    <a:lnTo>
                      <a:pt x="3409" y="2017"/>
                    </a:lnTo>
                    <a:lnTo>
                      <a:pt x="3409" y="2020"/>
                    </a:lnTo>
                    <a:lnTo>
                      <a:pt x="3404" y="2029"/>
                    </a:lnTo>
                    <a:lnTo>
                      <a:pt x="3416" y="2029"/>
                    </a:lnTo>
                    <a:lnTo>
                      <a:pt x="3423" y="2031"/>
                    </a:lnTo>
                    <a:lnTo>
                      <a:pt x="3432" y="2046"/>
                    </a:lnTo>
                    <a:lnTo>
                      <a:pt x="3435" y="2053"/>
                    </a:lnTo>
                    <a:lnTo>
                      <a:pt x="3437" y="2062"/>
                    </a:lnTo>
                    <a:lnTo>
                      <a:pt x="3435" y="2065"/>
                    </a:lnTo>
                    <a:lnTo>
                      <a:pt x="3430" y="2067"/>
                    </a:lnTo>
                    <a:lnTo>
                      <a:pt x="3406" y="2072"/>
                    </a:lnTo>
                    <a:lnTo>
                      <a:pt x="3397" y="2083"/>
                    </a:lnTo>
                    <a:lnTo>
                      <a:pt x="3397" y="2083"/>
                    </a:lnTo>
                    <a:lnTo>
                      <a:pt x="3390" y="2081"/>
                    </a:lnTo>
                    <a:lnTo>
                      <a:pt x="3375" y="2072"/>
                    </a:lnTo>
                    <a:lnTo>
                      <a:pt x="3361" y="2062"/>
                    </a:lnTo>
                    <a:lnTo>
                      <a:pt x="3323" y="2036"/>
                    </a:lnTo>
                    <a:lnTo>
                      <a:pt x="3323" y="2036"/>
                    </a:lnTo>
                    <a:lnTo>
                      <a:pt x="3323" y="2031"/>
                    </a:lnTo>
                    <a:lnTo>
                      <a:pt x="3321" y="2027"/>
                    </a:lnTo>
                    <a:lnTo>
                      <a:pt x="3316" y="2027"/>
                    </a:lnTo>
                    <a:lnTo>
                      <a:pt x="3309" y="2020"/>
                    </a:lnTo>
                    <a:lnTo>
                      <a:pt x="3300" y="2008"/>
                    </a:lnTo>
                    <a:lnTo>
                      <a:pt x="3295" y="1998"/>
                    </a:lnTo>
                    <a:lnTo>
                      <a:pt x="3293" y="1994"/>
                    </a:lnTo>
                    <a:lnTo>
                      <a:pt x="3288" y="1986"/>
                    </a:lnTo>
                    <a:lnTo>
                      <a:pt x="3271" y="1970"/>
                    </a:lnTo>
                    <a:lnTo>
                      <a:pt x="3264" y="1965"/>
                    </a:lnTo>
                    <a:lnTo>
                      <a:pt x="3257" y="1963"/>
                    </a:lnTo>
                    <a:lnTo>
                      <a:pt x="3250" y="1960"/>
                    </a:lnTo>
                    <a:lnTo>
                      <a:pt x="3248" y="1960"/>
                    </a:lnTo>
                    <a:lnTo>
                      <a:pt x="3253" y="1956"/>
                    </a:lnTo>
                    <a:lnTo>
                      <a:pt x="3253" y="1953"/>
                    </a:lnTo>
                    <a:lnTo>
                      <a:pt x="3238" y="1951"/>
                    </a:lnTo>
                    <a:lnTo>
                      <a:pt x="3224" y="1944"/>
                    </a:lnTo>
                    <a:lnTo>
                      <a:pt x="3191" y="1925"/>
                    </a:lnTo>
                    <a:lnTo>
                      <a:pt x="3175" y="1911"/>
                    </a:lnTo>
                    <a:lnTo>
                      <a:pt x="3165" y="1906"/>
                    </a:lnTo>
                    <a:lnTo>
                      <a:pt x="3160" y="1901"/>
                    </a:lnTo>
                    <a:lnTo>
                      <a:pt x="3158" y="1899"/>
                    </a:lnTo>
                    <a:lnTo>
                      <a:pt x="3160" y="1897"/>
                    </a:lnTo>
                    <a:lnTo>
                      <a:pt x="3167" y="1894"/>
                    </a:lnTo>
                    <a:lnTo>
                      <a:pt x="3172" y="1890"/>
                    </a:lnTo>
                    <a:lnTo>
                      <a:pt x="3179" y="1878"/>
                    </a:lnTo>
                    <a:lnTo>
                      <a:pt x="3179" y="1873"/>
                    </a:lnTo>
                    <a:lnTo>
                      <a:pt x="3175" y="1866"/>
                    </a:lnTo>
                    <a:lnTo>
                      <a:pt x="3175" y="1856"/>
                    </a:lnTo>
                    <a:lnTo>
                      <a:pt x="3175" y="1852"/>
                    </a:lnTo>
                    <a:lnTo>
                      <a:pt x="3175" y="1847"/>
                    </a:lnTo>
                    <a:lnTo>
                      <a:pt x="3177" y="1845"/>
                    </a:lnTo>
                    <a:lnTo>
                      <a:pt x="3179" y="1842"/>
                    </a:lnTo>
                    <a:lnTo>
                      <a:pt x="3182" y="1840"/>
                    </a:lnTo>
                    <a:lnTo>
                      <a:pt x="3184" y="1840"/>
                    </a:lnTo>
                    <a:lnTo>
                      <a:pt x="3191" y="1852"/>
                    </a:lnTo>
                    <a:lnTo>
                      <a:pt x="3193" y="1856"/>
                    </a:lnTo>
                    <a:lnTo>
                      <a:pt x="3193" y="1873"/>
                    </a:lnTo>
                    <a:lnTo>
                      <a:pt x="3196" y="1890"/>
                    </a:lnTo>
                    <a:lnTo>
                      <a:pt x="3196" y="1890"/>
                    </a:lnTo>
                    <a:lnTo>
                      <a:pt x="3196" y="1882"/>
                    </a:lnTo>
                    <a:lnTo>
                      <a:pt x="3198" y="1871"/>
                    </a:lnTo>
                    <a:lnTo>
                      <a:pt x="3198" y="1866"/>
                    </a:lnTo>
                    <a:lnTo>
                      <a:pt x="3201" y="1861"/>
                    </a:lnTo>
                    <a:lnTo>
                      <a:pt x="3203" y="1859"/>
                    </a:lnTo>
                    <a:lnTo>
                      <a:pt x="3212" y="1859"/>
                    </a:lnTo>
                    <a:lnTo>
                      <a:pt x="3217" y="1859"/>
                    </a:lnTo>
                    <a:lnTo>
                      <a:pt x="3198" y="1849"/>
                    </a:lnTo>
                    <a:lnTo>
                      <a:pt x="3186" y="1835"/>
                    </a:lnTo>
                    <a:lnTo>
                      <a:pt x="3184" y="1833"/>
                    </a:lnTo>
                    <a:lnTo>
                      <a:pt x="3179" y="1833"/>
                    </a:lnTo>
                    <a:lnTo>
                      <a:pt x="3172" y="1838"/>
                    </a:lnTo>
                    <a:lnTo>
                      <a:pt x="3153" y="1859"/>
                    </a:lnTo>
                    <a:lnTo>
                      <a:pt x="3149" y="1864"/>
                    </a:lnTo>
                    <a:lnTo>
                      <a:pt x="3127" y="1873"/>
                    </a:lnTo>
                    <a:lnTo>
                      <a:pt x="3113" y="1875"/>
                    </a:lnTo>
                    <a:lnTo>
                      <a:pt x="3097" y="1873"/>
                    </a:lnTo>
                    <a:lnTo>
                      <a:pt x="3082" y="1871"/>
                    </a:lnTo>
                    <a:lnTo>
                      <a:pt x="3047" y="1852"/>
                    </a:lnTo>
                    <a:lnTo>
                      <a:pt x="3042" y="1847"/>
                    </a:lnTo>
                    <a:lnTo>
                      <a:pt x="3049" y="1835"/>
                    </a:lnTo>
                    <a:lnTo>
                      <a:pt x="3052" y="1833"/>
                    </a:lnTo>
                    <a:lnTo>
                      <a:pt x="3047" y="1821"/>
                    </a:lnTo>
                    <a:lnTo>
                      <a:pt x="3047" y="1819"/>
                    </a:lnTo>
                    <a:lnTo>
                      <a:pt x="3042" y="1816"/>
                    </a:lnTo>
                    <a:lnTo>
                      <a:pt x="3042" y="1816"/>
                    </a:lnTo>
                    <a:lnTo>
                      <a:pt x="3042" y="1821"/>
                    </a:lnTo>
                    <a:lnTo>
                      <a:pt x="3042" y="1826"/>
                    </a:lnTo>
                    <a:lnTo>
                      <a:pt x="3040" y="1830"/>
                    </a:lnTo>
                    <a:lnTo>
                      <a:pt x="3033" y="1833"/>
                    </a:lnTo>
                    <a:lnTo>
                      <a:pt x="3023" y="1838"/>
                    </a:lnTo>
                    <a:lnTo>
                      <a:pt x="2993" y="1826"/>
                    </a:lnTo>
                    <a:lnTo>
                      <a:pt x="2959" y="1819"/>
                    </a:lnTo>
                    <a:lnTo>
                      <a:pt x="2931" y="1814"/>
                    </a:lnTo>
                    <a:lnTo>
                      <a:pt x="2891" y="1819"/>
                    </a:lnTo>
                    <a:lnTo>
                      <a:pt x="2870" y="1823"/>
                    </a:lnTo>
                    <a:lnTo>
                      <a:pt x="2858" y="1823"/>
                    </a:lnTo>
                    <a:lnTo>
                      <a:pt x="2846" y="1823"/>
                    </a:lnTo>
                    <a:lnTo>
                      <a:pt x="2844" y="1819"/>
                    </a:lnTo>
                    <a:lnTo>
                      <a:pt x="2851" y="1816"/>
                    </a:lnTo>
                    <a:lnTo>
                      <a:pt x="2851" y="1814"/>
                    </a:lnTo>
                    <a:lnTo>
                      <a:pt x="2844" y="1802"/>
                    </a:lnTo>
                    <a:lnTo>
                      <a:pt x="2834" y="1797"/>
                    </a:lnTo>
                    <a:lnTo>
                      <a:pt x="2820" y="1793"/>
                    </a:lnTo>
                    <a:lnTo>
                      <a:pt x="2811" y="1790"/>
                    </a:lnTo>
                    <a:lnTo>
                      <a:pt x="2808" y="1788"/>
                    </a:lnTo>
                    <a:lnTo>
                      <a:pt x="2803" y="1783"/>
                    </a:lnTo>
                    <a:lnTo>
                      <a:pt x="2796" y="1778"/>
                    </a:lnTo>
                    <a:lnTo>
                      <a:pt x="2794" y="1774"/>
                    </a:lnTo>
                    <a:lnTo>
                      <a:pt x="2796" y="1755"/>
                    </a:lnTo>
                    <a:lnTo>
                      <a:pt x="2801" y="1745"/>
                    </a:lnTo>
                    <a:lnTo>
                      <a:pt x="2803" y="1738"/>
                    </a:lnTo>
                    <a:lnTo>
                      <a:pt x="2811" y="1726"/>
                    </a:lnTo>
                    <a:lnTo>
                      <a:pt x="2808" y="1726"/>
                    </a:lnTo>
                    <a:lnTo>
                      <a:pt x="2799" y="1736"/>
                    </a:lnTo>
                    <a:lnTo>
                      <a:pt x="2789" y="1743"/>
                    </a:lnTo>
                    <a:lnTo>
                      <a:pt x="2780" y="1755"/>
                    </a:lnTo>
                    <a:lnTo>
                      <a:pt x="2775" y="1760"/>
                    </a:lnTo>
                    <a:lnTo>
                      <a:pt x="2770" y="1764"/>
                    </a:lnTo>
                    <a:lnTo>
                      <a:pt x="2761" y="1764"/>
                    </a:lnTo>
                    <a:lnTo>
                      <a:pt x="2747" y="1755"/>
                    </a:lnTo>
                    <a:lnTo>
                      <a:pt x="2737" y="1750"/>
                    </a:lnTo>
                    <a:lnTo>
                      <a:pt x="2728" y="1750"/>
                    </a:lnTo>
                    <a:lnTo>
                      <a:pt x="2723" y="1748"/>
                    </a:lnTo>
                    <a:lnTo>
                      <a:pt x="2730" y="1741"/>
                    </a:lnTo>
                    <a:lnTo>
                      <a:pt x="2735" y="1736"/>
                    </a:lnTo>
                    <a:lnTo>
                      <a:pt x="2740" y="1729"/>
                    </a:lnTo>
                    <a:lnTo>
                      <a:pt x="2742" y="1724"/>
                    </a:lnTo>
                    <a:lnTo>
                      <a:pt x="2709" y="1719"/>
                    </a:lnTo>
                    <a:lnTo>
                      <a:pt x="2707" y="1715"/>
                    </a:lnTo>
                    <a:lnTo>
                      <a:pt x="2707" y="1712"/>
                    </a:lnTo>
                    <a:lnTo>
                      <a:pt x="2707" y="1710"/>
                    </a:lnTo>
                    <a:lnTo>
                      <a:pt x="2702" y="1707"/>
                    </a:lnTo>
                    <a:lnTo>
                      <a:pt x="2695" y="1707"/>
                    </a:lnTo>
                    <a:lnTo>
                      <a:pt x="2683" y="1712"/>
                    </a:lnTo>
                    <a:lnTo>
                      <a:pt x="2678" y="1707"/>
                    </a:lnTo>
                    <a:lnTo>
                      <a:pt x="2681" y="1705"/>
                    </a:lnTo>
                    <a:lnTo>
                      <a:pt x="2685" y="1705"/>
                    </a:lnTo>
                    <a:lnTo>
                      <a:pt x="2692" y="1698"/>
                    </a:lnTo>
                    <a:lnTo>
                      <a:pt x="2683" y="1693"/>
                    </a:lnTo>
                    <a:lnTo>
                      <a:pt x="2678" y="1686"/>
                    </a:lnTo>
                    <a:lnTo>
                      <a:pt x="2676" y="1684"/>
                    </a:lnTo>
                    <a:lnTo>
                      <a:pt x="2678" y="1670"/>
                    </a:lnTo>
                    <a:lnTo>
                      <a:pt x="2681" y="1660"/>
                    </a:lnTo>
                    <a:lnTo>
                      <a:pt x="2704" y="1653"/>
                    </a:lnTo>
                    <a:lnTo>
                      <a:pt x="2697" y="1651"/>
                    </a:lnTo>
                    <a:lnTo>
                      <a:pt x="2683" y="1651"/>
                    </a:lnTo>
                    <a:lnTo>
                      <a:pt x="2673" y="1658"/>
                    </a:lnTo>
                    <a:lnTo>
                      <a:pt x="2662" y="1667"/>
                    </a:lnTo>
                    <a:lnTo>
                      <a:pt x="2652" y="1670"/>
                    </a:lnTo>
                    <a:lnTo>
                      <a:pt x="2650" y="1667"/>
                    </a:lnTo>
                    <a:lnTo>
                      <a:pt x="2645" y="1665"/>
                    </a:lnTo>
                    <a:lnTo>
                      <a:pt x="2638" y="1665"/>
                    </a:lnTo>
                    <a:lnTo>
                      <a:pt x="2633" y="1667"/>
                    </a:lnTo>
                    <a:lnTo>
                      <a:pt x="2631" y="1672"/>
                    </a:lnTo>
                    <a:lnTo>
                      <a:pt x="2629" y="1674"/>
                    </a:lnTo>
                    <a:lnTo>
                      <a:pt x="2626" y="1677"/>
                    </a:lnTo>
                    <a:lnTo>
                      <a:pt x="2624" y="1677"/>
                    </a:lnTo>
                    <a:lnTo>
                      <a:pt x="2621" y="1670"/>
                    </a:lnTo>
                    <a:lnTo>
                      <a:pt x="2614" y="1667"/>
                    </a:lnTo>
                    <a:lnTo>
                      <a:pt x="2612" y="1663"/>
                    </a:lnTo>
                    <a:lnTo>
                      <a:pt x="2610" y="1665"/>
                    </a:lnTo>
                    <a:lnTo>
                      <a:pt x="2607" y="1672"/>
                    </a:lnTo>
                    <a:lnTo>
                      <a:pt x="2605" y="1674"/>
                    </a:lnTo>
                    <a:lnTo>
                      <a:pt x="2593" y="1677"/>
                    </a:lnTo>
                    <a:lnTo>
                      <a:pt x="2588" y="1677"/>
                    </a:lnTo>
                    <a:lnTo>
                      <a:pt x="2581" y="1667"/>
                    </a:lnTo>
                    <a:lnTo>
                      <a:pt x="2581" y="1665"/>
                    </a:lnTo>
                    <a:lnTo>
                      <a:pt x="2584" y="1658"/>
                    </a:lnTo>
                    <a:lnTo>
                      <a:pt x="2603" y="1629"/>
                    </a:lnTo>
                    <a:lnTo>
                      <a:pt x="2600" y="1629"/>
                    </a:lnTo>
                    <a:lnTo>
                      <a:pt x="2595" y="1634"/>
                    </a:lnTo>
                    <a:lnTo>
                      <a:pt x="2584" y="1644"/>
                    </a:lnTo>
                    <a:lnTo>
                      <a:pt x="2579" y="1648"/>
                    </a:lnTo>
                    <a:lnTo>
                      <a:pt x="2572" y="1646"/>
                    </a:lnTo>
                    <a:lnTo>
                      <a:pt x="2569" y="1646"/>
                    </a:lnTo>
                    <a:lnTo>
                      <a:pt x="2565" y="1646"/>
                    </a:lnTo>
                    <a:lnTo>
                      <a:pt x="2560" y="1648"/>
                    </a:lnTo>
                    <a:lnTo>
                      <a:pt x="2555" y="1651"/>
                    </a:lnTo>
                    <a:lnTo>
                      <a:pt x="2553" y="1655"/>
                    </a:lnTo>
                    <a:lnTo>
                      <a:pt x="2555" y="1655"/>
                    </a:lnTo>
                    <a:lnTo>
                      <a:pt x="2562" y="1653"/>
                    </a:lnTo>
                    <a:lnTo>
                      <a:pt x="2567" y="1651"/>
                    </a:lnTo>
                    <a:lnTo>
                      <a:pt x="2567" y="1653"/>
                    </a:lnTo>
                    <a:lnTo>
                      <a:pt x="2560" y="1667"/>
                    </a:lnTo>
                    <a:lnTo>
                      <a:pt x="2555" y="1679"/>
                    </a:lnTo>
                    <a:lnTo>
                      <a:pt x="2553" y="1681"/>
                    </a:lnTo>
                    <a:lnTo>
                      <a:pt x="2546" y="1679"/>
                    </a:lnTo>
                    <a:lnTo>
                      <a:pt x="2541" y="1681"/>
                    </a:lnTo>
                    <a:lnTo>
                      <a:pt x="2541" y="1684"/>
                    </a:lnTo>
                    <a:lnTo>
                      <a:pt x="2550" y="1696"/>
                    </a:lnTo>
                    <a:lnTo>
                      <a:pt x="2555" y="1698"/>
                    </a:lnTo>
                    <a:lnTo>
                      <a:pt x="2560" y="1700"/>
                    </a:lnTo>
                    <a:lnTo>
                      <a:pt x="2560" y="1705"/>
                    </a:lnTo>
                    <a:lnTo>
                      <a:pt x="2558" y="1715"/>
                    </a:lnTo>
                    <a:lnTo>
                      <a:pt x="2555" y="1717"/>
                    </a:lnTo>
                    <a:lnTo>
                      <a:pt x="2553" y="1719"/>
                    </a:lnTo>
                    <a:lnTo>
                      <a:pt x="2543" y="1719"/>
                    </a:lnTo>
                    <a:lnTo>
                      <a:pt x="2541" y="1719"/>
                    </a:lnTo>
                    <a:lnTo>
                      <a:pt x="2534" y="1724"/>
                    </a:lnTo>
                    <a:lnTo>
                      <a:pt x="2529" y="1729"/>
                    </a:lnTo>
                    <a:lnTo>
                      <a:pt x="2532" y="1729"/>
                    </a:lnTo>
                    <a:lnTo>
                      <a:pt x="2536" y="1726"/>
                    </a:lnTo>
                    <a:lnTo>
                      <a:pt x="2543" y="1724"/>
                    </a:lnTo>
                    <a:lnTo>
                      <a:pt x="2555" y="1726"/>
                    </a:lnTo>
                    <a:lnTo>
                      <a:pt x="2562" y="1724"/>
                    </a:lnTo>
                    <a:lnTo>
                      <a:pt x="2567" y="1719"/>
                    </a:lnTo>
                    <a:lnTo>
                      <a:pt x="2572" y="1722"/>
                    </a:lnTo>
                    <a:lnTo>
                      <a:pt x="2576" y="1729"/>
                    </a:lnTo>
                    <a:lnTo>
                      <a:pt x="2576" y="1733"/>
                    </a:lnTo>
                    <a:lnTo>
                      <a:pt x="2574" y="1738"/>
                    </a:lnTo>
                    <a:lnTo>
                      <a:pt x="2572" y="1743"/>
                    </a:lnTo>
                    <a:lnTo>
                      <a:pt x="2565" y="1743"/>
                    </a:lnTo>
                    <a:lnTo>
                      <a:pt x="2560" y="1745"/>
                    </a:lnTo>
                    <a:lnTo>
                      <a:pt x="2558" y="1750"/>
                    </a:lnTo>
                    <a:lnTo>
                      <a:pt x="2558" y="1755"/>
                    </a:lnTo>
                    <a:lnTo>
                      <a:pt x="2555" y="1764"/>
                    </a:lnTo>
                    <a:lnTo>
                      <a:pt x="2555" y="1778"/>
                    </a:lnTo>
                    <a:lnTo>
                      <a:pt x="2555" y="1781"/>
                    </a:lnTo>
                    <a:lnTo>
                      <a:pt x="2553" y="1781"/>
                    </a:lnTo>
                    <a:lnTo>
                      <a:pt x="2548" y="1781"/>
                    </a:lnTo>
                    <a:lnTo>
                      <a:pt x="2546" y="1783"/>
                    </a:lnTo>
                    <a:lnTo>
                      <a:pt x="2536" y="1802"/>
                    </a:lnTo>
                    <a:lnTo>
                      <a:pt x="2534" y="1804"/>
                    </a:lnTo>
                    <a:lnTo>
                      <a:pt x="2532" y="1802"/>
                    </a:lnTo>
                    <a:lnTo>
                      <a:pt x="2529" y="1802"/>
                    </a:lnTo>
                    <a:lnTo>
                      <a:pt x="2527" y="1804"/>
                    </a:lnTo>
                    <a:lnTo>
                      <a:pt x="2522" y="1804"/>
                    </a:lnTo>
                    <a:lnTo>
                      <a:pt x="2513" y="1807"/>
                    </a:lnTo>
                    <a:lnTo>
                      <a:pt x="2508" y="1804"/>
                    </a:lnTo>
                    <a:lnTo>
                      <a:pt x="2496" y="1800"/>
                    </a:lnTo>
                    <a:lnTo>
                      <a:pt x="2491" y="1795"/>
                    </a:lnTo>
                    <a:lnTo>
                      <a:pt x="2489" y="1790"/>
                    </a:lnTo>
                    <a:lnTo>
                      <a:pt x="2477" y="1795"/>
                    </a:lnTo>
                    <a:lnTo>
                      <a:pt x="2475" y="1793"/>
                    </a:lnTo>
                    <a:lnTo>
                      <a:pt x="2470" y="1778"/>
                    </a:lnTo>
                    <a:lnTo>
                      <a:pt x="2468" y="1778"/>
                    </a:lnTo>
                    <a:lnTo>
                      <a:pt x="2465" y="1793"/>
                    </a:lnTo>
                    <a:lnTo>
                      <a:pt x="2463" y="1797"/>
                    </a:lnTo>
                    <a:lnTo>
                      <a:pt x="2456" y="1807"/>
                    </a:lnTo>
                    <a:lnTo>
                      <a:pt x="2449" y="1823"/>
                    </a:lnTo>
                    <a:lnTo>
                      <a:pt x="2449" y="1826"/>
                    </a:lnTo>
                    <a:lnTo>
                      <a:pt x="2446" y="1821"/>
                    </a:lnTo>
                    <a:lnTo>
                      <a:pt x="2446" y="1807"/>
                    </a:lnTo>
                    <a:lnTo>
                      <a:pt x="2444" y="1802"/>
                    </a:lnTo>
                    <a:lnTo>
                      <a:pt x="2437" y="1812"/>
                    </a:lnTo>
                    <a:lnTo>
                      <a:pt x="2437" y="1814"/>
                    </a:lnTo>
                    <a:lnTo>
                      <a:pt x="2437" y="1826"/>
                    </a:lnTo>
                    <a:lnTo>
                      <a:pt x="2435" y="1828"/>
                    </a:lnTo>
                    <a:lnTo>
                      <a:pt x="2423" y="1819"/>
                    </a:lnTo>
                    <a:lnTo>
                      <a:pt x="2420" y="1819"/>
                    </a:lnTo>
                    <a:lnTo>
                      <a:pt x="2420" y="1819"/>
                    </a:lnTo>
                    <a:lnTo>
                      <a:pt x="2423" y="1830"/>
                    </a:lnTo>
                    <a:lnTo>
                      <a:pt x="2423" y="1833"/>
                    </a:lnTo>
                    <a:lnTo>
                      <a:pt x="2404" y="1849"/>
                    </a:lnTo>
                    <a:lnTo>
                      <a:pt x="2399" y="1847"/>
                    </a:lnTo>
                    <a:lnTo>
                      <a:pt x="2397" y="1845"/>
                    </a:lnTo>
                    <a:lnTo>
                      <a:pt x="2392" y="1845"/>
                    </a:lnTo>
                    <a:lnTo>
                      <a:pt x="2383" y="1849"/>
                    </a:lnTo>
                    <a:lnTo>
                      <a:pt x="2378" y="1849"/>
                    </a:lnTo>
                    <a:lnTo>
                      <a:pt x="2376" y="1845"/>
                    </a:lnTo>
                    <a:lnTo>
                      <a:pt x="2373" y="1845"/>
                    </a:lnTo>
                    <a:lnTo>
                      <a:pt x="2371" y="1849"/>
                    </a:lnTo>
                    <a:lnTo>
                      <a:pt x="2371" y="1856"/>
                    </a:lnTo>
                    <a:lnTo>
                      <a:pt x="2366" y="1864"/>
                    </a:lnTo>
                    <a:lnTo>
                      <a:pt x="2352" y="1875"/>
                    </a:lnTo>
                    <a:lnTo>
                      <a:pt x="2347" y="1880"/>
                    </a:lnTo>
                    <a:lnTo>
                      <a:pt x="2345" y="1887"/>
                    </a:lnTo>
                    <a:lnTo>
                      <a:pt x="2342" y="1887"/>
                    </a:lnTo>
                    <a:lnTo>
                      <a:pt x="2335" y="1880"/>
                    </a:lnTo>
                    <a:lnTo>
                      <a:pt x="2326" y="1878"/>
                    </a:lnTo>
                    <a:lnTo>
                      <a:pt x="2326" y="1878"/>
                    </a:lnTo>
                    <a:lnTo>
                      <a:pt x="2328" y="1882"/>
                    </a:lnTo>
                    <a:lnTo>
                      <a:pt x="2326" y="1887"/>
                    </a:lnTo>
                    <a:lnTo>
                      <a:pt x="2324" y="1887"/>
                    </a:lnTo>
                    <a:lnTo>
                      <a:pt x="2319" y="1885"/>
                    </a:lnTo>
                    <a:lnTo>
                      <a:pt x="2312" y="1882"/>
                    </a:lnTo>
                    <a:lnTo>
                      <a:pt x="2305" y="1885"/>
                    </a:lnTo>
                    <a:lnTo>
                      <a:pt x="2293" y="1890"/>
                    </a:lnTo>
                    <a:lnTo>
                      <a:pt x="2283" y="1887"/>
                    </a:lnTo>
                    <a:lnTo>
                      <a:pt x="2274" y="1875"/>
                    </a:lnTo>
                    <a:lnTo>
                      <a:pt x="2272" y="1875"/>
                    </a:lnTo>
                    <a:lnTo>
                      <a:pt x="2269" y="1871"/>
                    </a:lnTo>
                    <a:lnTo>
                      <a:pt x="2274" y="1864"/>
                    </a:lnTo>
                    <a:lnTo>
                      <a:pt x="2279" y="1859"/>
                    </a:lnTo>
                    <a:lnTo>
                      <a:pt x="2281" y="1854"/>
                    </a:lnTo>
                    <a:lnTo>
                      <a:pt x="2293" y="1849"/>
                    </a:lnTo>
                    <a:lnTo>
                      <a:pt x="2307" y="1847"/>
                    </a:lnTo>
                    <a:lnTo>
                      <a:pt x="2314" y="1845"/>
                    </a:lnTo>
                    <a:lnTo>
                      <a:pt x="2326" y="1835"/>
                    </a:lnTo>
                    <a:lnTo>
                      <a:pt x="2333" y="1828"/>
                    </a:lnTo>
                    <a:lnTo>
                      <a:pt x="2345" y="1812"/>
                    </a:lnTo>
                    <a:lnTo>
                      <a:pt x="2345" y="1809"/>
                    </a:lnTo>
                    <a:lnTo>
                      <a:pt x="2342" y="1809"/>
                    </a:lnTo>
                    <a:lnTo>
                      <a:pt x="2319" y="1823"/>
                    </a:lnTo>
                    <a:lnTo>
                      <a:pt x="2314" y="1823"/>
                    </a:lnTo>
                    <a:lnTo>
                      <a:pt x="2309" y="1823"/>
                    </a:lnTo>
                    <a:lnTo>
                      <a:pt x="2293" y="1814"/>
                    </a:lnTo>
                    <a:lnTo>
                      <a:pt x="2288" y="1812"/>
                    </a:lnTo>
                    <a:lnTo>
                      <a:pt x="2288" y="1802"/>
                    </a:lnTo>
                    <a:lnTo>
                      <a:pt x="2295" y="1783"/>
                    </a:lnTo>
                    <a:lnTo>
                      <a:pt x="2300" y="1774"/>
                    </a:lnTo>
                    <a:lnTo>
                      <a:pt x="2312" y="1760"/>
                    </a:lnTo>
                    <a:lnTo>
                      <a:pt x="2326" y="1745"/>
                    </a:lnTo>
                    <a:lnTo>
                      <a:pt x="2331" y="1736"/>
                    </a:lnTo>
                    <a:lnTo>
                      <a:pt x="2340" y="1710"/>
                    </a:lnTo>
                    <a:lnTo>
                      <a:pt x="2340" y="1696"/>
                    </a:lnTo>
                    <a:lnTo>
                      <a:pt x="2340" y="1681"/>
                    </a:lnTo>
                    <a:lnTo>
                      <a:pt x="2342" y="1672"/>
                    </a:lnTo>
                    <a:lnTo>
                      <a:pt x="2345" y="1670"/>
                    </a:lnTo>
                    <a:lnTo>
                      <a:pt x="2373" y="1658"/>
                    </a:lnTo>
                    <a:lnTo>
                      <a:pt x="2385" y="1651"/>
                    </a:lnTo>
                    <a:lnTo>
                      <a:pt x="2411" y="1637"/>
                    </a:lnTo>
                    <a:lnTo>
                      <a:pt x="2418" y="1639"/>
                    </a:lnTo>
                    <a:lnTo>
                      <a:pt x="2423" y="1644"/>
                    </a:lnTo>
                    <a:lnTo>
                      <a:pt x="2428" y="1648"/>
                    </a:lnTo>
                    <a:lnTo>
                      <a:pt x="2432" y="1653"/>
                    </a:lnTo>
                    <a:lnTo>
                      <a:pt x="2442" y="1653"/>
                    </a:lnTo>
                    <a:lnTo>
                      <a:pt x="2451" y="1651"/>
                    </a:lnTo>
                    <a:lnTo>
                      <a:pt x="2468" y="1653"/>
                    </a:lnTo>
                    <a:lnTo>
                      <a:pt x="2498" y="1667"/>
                    </a:lnTo>
                    <a:lnTo>
                      <a:pt x="2506" y="1670"/>
                    </a:lnTo>
                    <a:lnTo>
                      <a:pt x="2506" y="1667"/>
                    </a:lnTo>
                    <a:lnTo>
                      <a:pt x="2501" y="1660"/>
                    </a:lnTo>
                    <a:lnTo>
                      <a:pt x="2480" y="1653"/>
                    </a:lnTo>
                    <a:lnTo>
                      <a:pt x="2470" y="1648"/>
                    </a:lnTo>
                    <a:lnTo>
                      <a:pt x="2446" y="1627"/>
                    </a:lnTo>
                    <a:lnTo>
                      <a:pt x="2442" y="1620"/>
                    </a:lnTo>
                    <a:lnTo>
                      <a:pt x="2444" y="1615"/>
                    </a:lnTo>
                    <a:lnTo>
                      <a:pt x="2451" y="1613"/>
                    </a:lnTo>
                    <a:lnTo>
                      <a:pt x="2454" y="1611"/>
                    </a:lnTo>
                    <a:lnTo>
                      <a:pt x="2454" y="1606"/>
                    </a:lnTo>
                    <a:lnTo>
                      <a:pt x="2458" y="1601"/>
                    </a:lnTo>
                    <a:lnTo>
                      <a:pt x="2465" y="1594"/>
                    </a:lnTo>
                    <a:lnTo>
                      <a:pt x="2477" y="1587"/>
                    </a:lnTo>
                    <a:lnTo>
                      <a:pt x="2496" y="1577"/>
                    </a:lnTo>
                    <a:lnTo>
                      <a:pt x="2489" y="1575"/>
                    </a:lnTo>
                    <a:lnTo>
                      <a:pt x="2477" y="1577"/>
                    </a:lnTo>
                    <a:lnTo>
                      <a:pt x="2470" y="1577"/>
                    </a:lnTo>
                    <a:lnTo>
                      <a:pt x="2461" y="1585"/>
                    </a:lnTo>
                    <a:lnTo>
                      <a:pt x="2458" y="1592"/>
                    </a:lnTo>
                    <a:lnTo>
                      <a:pt x="2451" y="1601"/>
                    </a:lnTo>
                    <a:lnTo>
                      <a:pt x="2449" y="1603"/>
                    </a:lnTo>
                    <a:lnTo>
                      <a:pt x="2439" y="1603"/>
                    </a:lnTo>
                    <a:lnTo>
                      <a:pt x="2413" y="1603"/>
                    </a:lnTo>
                    <a:lnTo>
                      <a:pt x="2411" y="1596"/>
                    </a:lnTo>
                    <a:lnTo>
                      <a:pt x="2409" y="1594"/>
                    </a:lnTo>
                    <a:lnTo>
                      <a:pt x="2404" y="1594"/>
                    </a:lnTo>
                    <a:lnTo>
                      <a:pt x="2380" y="1608"/>
                    </a:lnTo>
                    <a:lnTo>
                      <a:pt x="2371" y="1613"/>
                    </a:lnTo>
                    <a:lnTo>
                      <a:pt x="2364" y="1622"/>
                    </a:lnTo>
                    <a:lnTo>
                      <a:pt x="2354" y="1627"/>
                    </a:lnTo>
                    <a:lnTo>
                      <a:pt x="2340" y="1629"/>
                    </a:lnTo>
                    <a:lnTo>
                      <a:pt x="2331" y="1632"/>
                    </a:lnTo>
                    <a:lnTo>
                      <a:pt x="2319" y="1641"/>
                    </a:lnTo>
                    <a:lnTo>
                      <a:pt x="2314" y="1648"/>
                    </a:lnTo>
                    <a:lnTo>
                      <a:pt x="2314" y="1651"/>
                    </a:lnTo>
                    <a:lnTo>
                      <a:pt x="2314" y="1663"/>
                    </a:lnTo>
                    <a:lnTo>
                      <a:pt x="2312" y="1665"/>
                    </a:lnTo>
                    <a:lnTo>
                      <a:pt x="2307" y="1665"/>
                    </a:lnTo>
                    <a:lnTo>
                      <a:pt x="2295" y="1672"/>
                    </a:lnTo>
                    <a:lnTo>
                      <a:pt x="2274" y="1691"/>
                    </a:lnTo>
                    <a:lnTo>
                      <a:pt x="2269" y="1698"/>
                    </a:lnTo>
                    <a:lnTo>
                      <a:pt x="2269" y="1700"/>
                    </a:lnTo>
                    <a:lnTo>
                      <a:pt x="2272" y="1707"/>
                    </a:lnTo>
                    <a:lnTo>
                      <a:pt x="2269" y="1712"/>
                    </a:lnTo>
                    <a:lnTo>
                      <a:pt x="2262" y="1717"/>
                    </a:lnTo>
                    <a:lnTo>
                      <a:pt x="2248" y="1726"/>
                    </a:lnTo>
                    <a:lnTo>
                      <a:pt x="2241" y="1729"/>
                    </a:lnTo>
                    <a:lnTo>
                      <a:pt x="2236" y="1726"/>
                    </a:lnTo>
                    <a:lnTo>
                      <a:pt x="2231" y="1724"/>
                    </a:lnTo>
                    <a:lnTo>
                      <a:pt x="2222" y="1717"/>
                    </a:lnTo>
                    <a:lnTo>
                      <a:pt x="2215" y="1717"/>
                    </a:lnTo>
                    <a:lnTo>
                      <a:pt x="2215" y="1717"/>
                    </a:lnTo>
                    <a:lnTo>
                      <a:pt x="2224" y="1724"/>
                    </a:lnTo>
                    <a:lnTo>
                      <a:pt x="2231" y="1736"/>
                    </a:lnTo>
                    <a:lnTo>
                      <a:pt x="2236" y="1743"/>
                    </a:lnTo>
                    <a:lnTo>
                      <a:pt x="2238" y="1750"/>
                    </a:lnTo>
                    <a:lnTo>
                      <a:pt x="2238" y="1757"/>
                    </a:lnTo>
                    <a:lnTo>
                      <a:pt x="2234" y="1762"/>
                    </a:lnTo>
                    <a:lnTo>
                      <a:pt x="2227" y="1771"/>
                    </a:lnTo>
                    <a:lnTo>
                      <a:pt x="2220" y="1774"/>
                    </a:lnTo>
                    <a:lnTo>
                      <a:pt x="2201" y="1776"/>
                    </a:lnTo>
                    <a:lnTo>
                      <a:pt x="2194" y="1776"/>
                    </a:lnTo>
                    <a:lnTo>
                      <a:pt x="2191" y="1778"/>
                    </a:lnTo>
                    <a:lnTo>
                      <a:pt x="2203" y="1786"/>
                    </a:lnTo>
                    <a:lnTo>
                      <a:pt x="2205" y="1788"/>
                    </a:lnTo>
                    <a:lnTo>
                      <a:pt x="2201" y="1797"/>
                    </a:lnTo>
                    <a:lnTo>
                      <a:pt x="2198" y="1800"/>
                    </a:lnTo>
                    <a:lnTo>
                      <a:pt x="2186" y="1802"/>
                    </a:lnTo>
                    <a:lnTo>
                      <a:pt x="2177" y="1802"/>
                    </a:lnTo>
                    <a:lnTo>
                      <a:pt x="2175" y="1802"/>
                    </a:lnTo>
                    <a:lnTo>
                      <a:pt x="2179" y="1795"/>
                    </a:lnTo>
                    <a:lnTo>
                      <a:pt x="2179" y="1793"/>
                    </a:lnTo>
                    <a:lnTo>
                      <a:pt x="2175" y="1790"/>
                    </a:lnTo>
                    <a:lnTo>
                      <a:pt x="2170" y="1793"/>
                    </a:lnTo>
                    <a:lnTo>
                      <a:pt x="2156" y="1802"/>
                    </a:lnTo>
                    <a:lnTo>
                      <a:pt x="2153" y="1802"/>
                    </a:lnTo>
                    <a:lnTo>
                      <a:pt x="2158" y="1807"/>
                    </a:lnTo>
                    <a:lnTo>
                      <a:pt x="2158" y="1809"/>
                    </a:lnTo>
                    <a:lnTo>
                      <a:pt x="2149" y="1814"/>
                    </a:lnTo>
                    <a:lnTo>
                      <a:pt x="2146" y="1819"/>
                    </a:lnTo>
                    <a:lnTo>
                      <a:pt x="2139" y="1823"/>
                    </a:lnTo>
                    <a:lnTo>
                      <a:pt x="2118" y="1835"/>
                    </a:lnTo>
                    <a:lnTo>
                      <a:pt x="2118" y="1840"/>
                    </a:lnTo>
                    <a:lnTo>
                      <a:pt x="2111" y="1854"/>
                    </a:lnTo>
                    <a:lnTo>
                      <a:pt x="2106" y="1864"/>
                    </a:lnTo>
                    <a:lnTo>
                      <a:pt x="2108" y="1871"/>
                    </a:lnTo>
                    <a:lnTo>
                      <a:pt x="2125" y="1878"/>
                    </a:lnTo>
                    <a:lnTo>
                      <a:pt x="2132" y="1882"/>
                    </a:lnTo>
                    <a:lnTo>
                      <a:pt x="2142" y="1887"/>
                    </a:lnTo>
                    <a:lnTo>
                      <a:pt x="2158" y="1901"/>
                    </a:lnTo>
                    <a:lnTo>
                      <a:pt x="2163" y="1908"/>
                    </a:lnTo>
                    <a:lnTo>
                      <a:pt x="2163" y="1913"/>
                    </a:lnTo>
                    <a:lnTo>
                      <a:pt x="2160" y="1916"/>
                    </a:lnTo>
                    <a:lnTo>
                      <a:pt x="2158" y="1920"/>
                    </a:lnTo>
                    <a:lnTo>
                      <a:pt x="2151" y="1930"/>
                    </a:lnTo>
                    <a:lnTo>
                      <a:pt x="2137" y="1942"/>
                    </a:lnTo>
                    <a:lnTo>
                      <a:pt x="2130" y="1944"/>
                    </a:lnTo>
                    <a:lnTo>
                      <a:pt x="2120" y="1946"/>
                    </a:lnTo>
                    <a:lnTo>
                      <a:pt x="2116" y="1949"/>
                    </a:lnTo>
                    <a:lnTo>
                      <a:pt x="2104" y="1960"/>
                    </a:lnTo>
                    <a:lnTo>
                      <a:pt x="2099" y="1965"/>
                    </a:lnTo>
                    <a:lnTo>
                      <a:pt x="2097" y="1972"/>
                    </a:lnTo>
                    <a:lnTo>
                      <a:pt x="2094" y="1977"/>
                    </a:lnTo>
                    <a:lnTo>
                      <a:pt x="2078" y="1982"/>
                    </a:lnTo>
                    <a:lnTo>
                      <a:pt x="2078" y="1984"/>
                    </a:lnTo>
                    <a:lnTo>
                      <a:pt x="2085" y="1986"/>
                    </a:lnTo>
                    <a:lnTo>
                      <a:pt x="2080" y="1994"/>
                    </a:lnTo>
                    <a:lnTo>
                      <a:pt x="2078" y="2003"/>
                    </a:lnTo>
                    <a:lnTo>
                      <a:pt x="2075" y="2005"/>
                    </a:lnTo>
                    <a:lnTo>
                      <a:pt x="2066" y="2003"/>
                    </a:lnTo>
                    <a:lnTo>
                      <a:pt x="2054" y="2005"/>
                    </a:lnTo>
                    <a:lnTo>
                      <a:pt x="2052" y="2008"/>
                    </a:lnTo>
                    <a:lnTo>
                      <a:pt x="2049" y="2015"/>
                    </a:lnTo>
                    <a:lnTo>
                      <a:pt x="2019" y="2015"/>
                    </a:lnTo>
                    <a:lnTo>
                      <a:pt x="2009" y="2027"/>
                    </a:lnTo>
                    <a:lnTo>
                      <a:pt x="2004" y="2031"/>
                    </a:lnTo>
                    <a:lnTo>
                      <a:pt x="1990" y="2039"/>
                    </a:lnTo>
                    <a:lnTo>
                      <a:pt x="1983" y="2043"/>
                    </a:lnTo>
                    <a:lnTo>
                      <a:pt x="1974" y="2043"/>
                    </a:lnTo>
                    <a:lnTo>
                      <a:pt x="1969" y="2046"/>
                    </a:lnTo>
                    <a:lnTo>
                      <a:pt x="1967" y="2050"/>
                    </a:lnTo>
                    <a:lnTo>
                      <a:pt x="1964" y="2055"/>
                    </a:lnTo>
                    <a:lnTo>
                      <a:pt x="1955" y="2060"/>
                    </a:lnTo>
                    <a:lnTo>
                      <a:pt x="1950" y="2067"/>
                    </a:lnTo>
                    <a:lnTo>
                      <a:pt x="1948" y="2067"/>
                    </a:lnTo>
                    <a:lnTo>
                      <a:pt x="1934" y="2067"/>
                    </a:lnTo>
                    <a:lnTo>
                      <a:pt x="1929" y="2069"/>
                    </a:lnTo>
                    <a:lnTo>
                      <a:pt x="1926" y="2079"/>
                    </a:lnTo>
                    <a:lnTo>
                      <a:pt x="1924" y="2079"/>
                    </a:lnTo>
                    <a:lnTo>
                      <a:pt x="1919" y="2076"/>
                    </a:lnTo>
                    <a:lnTo>
                      <a:pt x="1912" y="2076"/>
                    </a:lnTo>
                    <a:lnTo>
                      <a:pt x="1896" y="2086"/>
                    </a:lnTo>
                    <a:lnTo>
                      <a:pt x="1891" y="2091"/>
                    </a:lnTo>
                    <a:lnTo>
                      <a:pt x="1891" y="2093"/>
                    </a:lnTo>
                    <a:lnTo>
                      <a:pt x="1893" y="2095"/>
                    </a:lnTo>
                    <a:lnTo>
                      <a:pt x="1896" y="2102"/>
                    </a:lnTo>
                    <a:lnTo>
                      <a:pt x="1893" y="2107"/>
                    </a:lnTo>
                    <a:lnTo>
                      <a:pt x="1886" y="2121"/>
                    </a:lnTo>
                    <a:lnTo>
                      <a:pt x="1884" y="2124"/>
                    </a:lnTo>
                    <a:lnTo>
                      <a:pt x="1874" y="2124"/>
                    </a:lnTo>
                    <a:lnTo>
                      <a:pt x="1872" y="2131"/>
                    </a:lnTo>
                    <a:lnTo>
                      <a:pt x="1865" y="2131"/>
                    </a:lnTo>
                    <a:lnTo>
                      <a:pt x="1860" y="2131"/>
                    </a:lnTo>
                    <a:lnTo>
                      <a:pt x="1856" y="2135"/>
                    </a:lnTo>
                    <a:lnTo>
                      <a:pt x="1851" y="2138"/>
                    </a:lnTo>
                    <a:lnTo>
                      <a:pt x="1846" y="2138"/>
                    </a:lnTo>
                    <a:lnTo>
                      <a:pt x="1841" y="2140"/>
                    </a:lnTo>
                    <a:lnTo>
                      <a:pt x="1834" y="2145"/>
                    </a:lnTo>
                    <a:lnTo>
                      <a:pt x="1827" y="2150"/>
                    </a:lnTo>
                    <a:lnTo>
                      <a:pt x="1822" y="2150"/>
                    </a:lnTo>
                    <a:lnTo>
                      <a:pt x="1818" y="2150"/>
                    </a:lnTo>
                    <a:lnTo>
                      <a:pt x="1813" y="2147"/>
                    </a:lnTo>
                    <a:lnTo>
                      <a:pt x="1808" y="2147"/>
                    </a:lnTo>
                    <a:lnTo>
                      <a:pt x="1804" y="2150"/>
                    </a:lnTo>
                    <a:lnTo>
                      <a:pt x="1799" y="2154"/>
                    </a:lnTo>
                    <a:lnTo>
                      <a:pt x="1794" y="2164"/>
                    </a:lnTo>
                    <a:lnTo>
                      <a:pt x="1789" y="2169"/>
                    </a:lnTo>
                    <a:lnTo>
                      <a:pt x="1787" y="2171"/>
                    </a:lnTo>
                    <a:lnTo>
                      <a:pt x="1782" y="2169"/>
                    </a:lnTo>
                    <a:lnTo>
                      <a:pt x="1775" y="2164"/>
                    </a:lnTo>
                    <a:lnTo>
                      <a:pt x="1768" y="2164"/>
                    </a:lnTo>
                    <a:lnTo>
                      <a:pt x="1754" y="2169"/>
                    </a:lnTo>
                    <a:lnTo>
                      <a:pt x="1749" y="2173"/>
                    </a:lnTo>
                    <a:lnTo>
                      <a:pt x="1756" y="2176"/>
                    </a:lnTo>
                    <a:lnTo>
                      <a:pt x="1759" y="2178"/>
                    </a:lnTo>
                    <a:lnTo>
                      <a:pt x="1759" y="2180"/>
                    </a:lnTo>
                    <a:lnTo>
                      <a:pt x="1756" y="2180"/>
                    </a:lnTo>
                    <a:lnTo>
                      <a:pt x="1749" y="2178"/>
                    </a:lnTo>
                    <a:lnTo>
                      <a:pt x="1744" y="2178"/>
                    </a:lnTo>
                    <a:lnTo>
                      <a:pt x="1737" y="2180"/>
                    </a:lnTo>
                    <a:lnTo>
                      <a:pt x="1726" y="2183"/>
                    </a:lnTo>
                    <a:lnTo>
                      <a:pt x="1721" y="2183"/>
                    </a:lnTo>
                    <a:lnTo>
                      <a:pt x="1709" y="2195"/>
                    </a:lnTo>
                    <a:lnTo>
                      <a:pt x="1707" y="2197"/>
                    </a:lnTo>
                    <a:lnTo>
                      <a:pt x="1707" y="2199"/>
                    </a:lnTo>
                    <a:lnTo>
                      <a:pt x="1714" y="2199"/>
                    </a:lnTo>
                    <a:lnTo>
                      <a:pt x="1718" y="2202"/>
                    </a:lnTo>
                    <a:lnTo>
                      <a:pt x="1721" y="2206"/>
                    </a:lnTo>
                    <a:lnTo>
                      <a:pt x="1723" y="2209"/>
                    </a:lnTo>
                    <a:lnTo>
                      <a:pt x="1723" y="2216"/>
                    </a:lnTo>
                    <a:lnTo>
                      <a:pt x="1723" y="2218"/>
                    </a:lnTo>
                    <a:lnTo>
                      <a:pt x="1709" y="2228"/>
                    </a:lnTo>
                    <a:lnTo>
                      <a:pt x="1704" y="2232"/>
                    </a:lnTo>
                    <a:lnTo>
                      <a:pt x="1702" y="2232"/>
                    </a:lnTo>
                    <a:lnTo>
                      <a:pt x="1702" y="2230"/>
                    </a:lnTo>
                    <a:lnTo>
                      <a:pt x="1702" y="2218"/>
                    </a:lnTo>
                    <a:lnTo>
                      <a:pt x="1702" y="2216"/>
                    </a:lnTo>
                    <a:lnTo>
                      <a:pt x="1700" y="2213"/>
                    </a:lnTo>
                    <a:lnTo>
                      <a:pt x="1695" y="2218"/>
                    </a:lnTo>
                    <a:lnTo>
                      <a:pt x="1685" y="2232"/>
                    </a:lnTo>
                    <a:lnTo>
                      <a:pt x="1678" y="2240"/>
                    </a:lnTo>
                    <a:lnTo>
                      <a:pt x="1624" y="2247"/>
                    </a:lnTo>
                    <a:lnTo>
                      <a:pt x="1617" y="2249"/>
                    </a:lnTo>
                    <a:lnTo>
                      <a:pt x="1612" y="2258"/>
                    </a:lnTo>
                    <a:lnTo>
                      <a:pt x="1610" y="2266"/>
                    </a:lnTo>
                    <a:lnTo>
                      <a:pt x="1605" y="2270"/>
                    </a:lnTo>
                    <a:lnTo>
                      <a:pt x="1600" y="2273"/>
                    </a:lnTo>
                    <a:lnTo>
                      <a:pt x="1600" y="2270"/>
                    </a:lnTo>
                    <a:lnTo>
                      <a:pt x="1605" y="2249"/>
                    </a:lnTo>
                    <a:lnTo>
                      <a:pt x="1605" y="2244"/>
                    </a:lnTo>
                    <a:lnTo>
                      <a:pt x="1600" y="2242"/>
                    </a:lnTo>
                    <a:lnTo>
                      <a:pt x="1598" y="2242"/>
                    </a:lnTo>
                    <a:lnTo>
                      <a:pt x="1596" y="2242"/>
                    </a:lnTo>
                    <a:lnTo>
                      <a:pt x="1588" y="2244"/>
                    </a:lnTo>
                    <a:lnTo>
                      <a:pt x="1586" y="2247"/>
                    </a:lnTo>
                    <a:lnTo>
                      <a:pt x="1581" y="2244"/>
                    </a:lnTo>
                    <a:lnTo>
                      <a:pt x="1574" y="2247"/>
                    </a:lnTo>
                    <a:lnTo>
                      <a:pt x="1558" y="2258"/>
                    </a:lnTo>
                    <a:lnTo>
                      <a:pt x="1546" y="2258"/>
                    </a:lnTo>
                    <a:lnTo>
                      <a:pt x="1544" y="2261"/>
                    </a:lnTo>
                    <a:lnTo>
                      <a:pt x="1536" y="2268"/>
                    </a:lnTo>
                    <a:lnTo>
                      <a:pt x="1534" y="2270"/>
                    </a:lnTo>
                    <a:lnTo>
                      <a:pt x="1529" y="2268"/>
                    </a:lnTo>
                    <a:lnTo>
                      <a:pt x="1525" y="2266"/>
                    </a:lnTo>
                    <a:lnTo>
                      <a:pt x="1520" y="2266"/>
                    </a:lnTo>
                    <a:lnTo>
                      <a:pt x="1515" y="2270"/>
                    </a:lnTo>
                    <a:lnTo>
                      <a:pt x="1510" y="2273"/>
                    </a:lnTo>
                    <a:lnTo>
                      <a:pt x="1501" y="2266"/>
                    </a:lnTo>
                    <a:lnTo>
                      <a:pt x="1496" y="2268"/>
                    </a:lnTo>
                    <a:lnTo>
                      <a:pt x="1489" y="2273"/>
                    </a:lnTo>
                    <a:lnTo>
                      <a:pt x="1482" y="2277"/>
                    </a:lnTo>
                    <a:lnTo>
                      <a:pt x="1475" y="2277"/>
                    </a:lnTo>
                    <a:lnTo>
                      <a:pt x="1458" y="2275"/>
                    </a:lnTo>
                    <a:lnTo>
                      <a:pt x="1454" y="2273"/>
                    </a:lnTo>
                    <a:lnTo>
                      <a:pt x="1454" y="2270"/>
                    </a:lnTo>
                    <a:lnTo>
                      <a:pt x="1456" y="2261"/>
                    </a:lnTo>
                    <a:lnTo>
                      <a:pt x="1458" y="2256"/>
                    </a:lnTo>
                    <a:lnTo>
                      <a:pt x="1463" y="2254"/>
                    </a:lnTo>
                    <a:lnTo>
                      <a:pt x="1466" y="2251"/>
                    </a:lnTo>
                    <a:lnTo>
                      <a:pt x="1470" y="2251"/>
                    </a:lnTo>
                    <a:lnTo>
                      <a:pt x="1480" y="2256"/>
                    </a:lnTo>
                    <a:lnTo>
                      <a:pt x="1480" y="2254"/>
                    </a:lnTo>
                    <a:lnTo>
                      <a:pt x="1477" y="2249"/>
                    </a:lnTo>
                    <a:lnTo>
                      <a:pt x="1470" y="2244"/>
                    </a:lnTo>
                    <a:lnTo>
                      <a:pt x="1463" y="2240"/>
                    </a:lnTo>
                    <a:lnTo>
                      <a:pt x="1458" y="2240"/>
                    </a:lnTo>
                    <a:lnTo>
                      <a:pt x="1451" y="2242"/>
                    </a:lnTo>
                    <a:lnTo>
                      <a:pt x="1444" y="2244"/>
                    </a:lnTo>
                    <a:lnTo>
                      <a:pt x="1442" y="2249"/>
                    </a:lnTo>
                    <a:lnTo>
                      <a:pt x="1435" y="2263"/>
                    </a:lnTo>
                    <a:lnTo>
                      <a:pt x="1432" y="2266"/>
                    </a:lnTo>
                    <a:lnTo>
                      <a:pt x="1406" y="2287"/>
                    </a:lnTo>
                    <a:lnTo>
                      <a:pt x="1399" y="2294"/>
                    </a:lnTo>
                    <a:lnTo>
                      <a:pt x="1392" y="2292"/>
                    </a:lnTo>
                    <a:lnTo>
                      <a:pt x="1388" y="2294"/>
                    </a:lnTo>
                    <a:lnTo>
                      <a:pt x="1380" y="2299"/>
                    </a:lnTo>
                    <a:lnTo>
                      <a:pt x="1376" y="2301"/>
                    </a:lnTo>
                    <a:lnTo>
                      <a:pt x="1371" y="2299"/>
                    </a:lnTo>
                    <a:lnTo>
                      <a:pt x="1369" y="2299"/>
                    </a:lnTo>
                    <a:lnTo>
                      <a:pt x="1366" y="2294"/>
                    </a:lnTo>
                    <a:lnTo>
                      <a:pt x="1366" y="2294"/>
                    </a:lnTo>
                    <a:lnTo>
                      <a:pt x="1371" y="2292"/>
                    </a:lnTo>
                    <a:lnTo>
                      <a:pt x="1371" y="2287"/>
                    </a:lnTo>
                    <a:lnTo>
                      <a:pt x="1369" y="2277"/>
                    </a:lnTo>
                    <a:lnTo>
                      <a:pt x="1366" y="2270"/>
                    </a:lnTo>
                    <a:lnTo>
                      <a:pt x="1359" y="2268"/>
                    </a:lnTo>
                    <a:lnTo>
                      <a:pt x="1357" y="2273"/>
                    </a:lnTo>
                    <a:lnTo>
                      <a:pt x="1354" y="2292"/>
                    </a:lnTo>
                    <a:lnTo>
                      <a:pt x="1352" y="2296"/>
                    </a:lnTo>
                    <a:lnTo>
                      <a:pt x="1347" y="2301"/>
                    </a:lnTo>
                    <a:lnTo>
                      <a:pt x="1333" y="2306"/>
                    </a:lnTo>
                    <a:lnTo>
                      <a:pt x="1331" y="2303"/>
                    </a:lnTo>
                    <a:lnTo>
                      <a:pt x="1324" y="2289"/>
                    </a:lnTo>
                    <a:lnTo>
                      <a:pt x="1314" y="2282"/>
                    </a:lnTo>
                    <a:lnTo>
                      <a:pt x="1312" y="2287"/>
                    </a:lnTo>
                    <a:lnTo>
                      <a:pt x="1312" y="2296"/>
                    </a:lnTo>
                    <a:lnTo>
                      <a:pt x="1310" y="2303"/>
                    </a:lnTo>
                    <a:lnTo>
                      <a:pt x="1300" y="2308"/>
                    </a:lnTo>
                    <a:lnTo>
                      <a:pt x="1293" y="2310"/>
                    </a:lnTo>
                    <a:lnTo>
                      <a:pt x="1291" y="2308"/>
                    </a:lnTo>
                    <a:lnTo>
                      <a:pt x="1291" y="2303"/>
                    </a:lnTo>
                    <a:lnTo>
                      <a:pt x="1298" y="2294"/>
                    </a:lnTo>
                    <a:lnTo>
                      <a:pt x="1300" y="2287"/>
                    </a:lnTo>
                    <a:lnTo>
                      <a:pt x="1300" y="2280"/>
                    </a:lnTo>
                    <a:lnTo>
                      <a:pt x="1302" y="2275"/>
                    </a:lnTo>
                    <a:lnTo>
                      <a:pt x="1305" y="2273"/>
                    </a:lnTo>
                    <a:lnTo>
                      <a:pt x="1319" y="2266"/>
                    </a:lnTo>
                    <a:lnTo>
                      <a:pt x="1326" y="2266"/>
                    </a:lnTo>
                    <a:lnTo>
                      <a:pt x="1328" y="2268"/>
                    </a:lnTo>
                    <a:lnTo>
                      <a:pt x="1331" y="2270"/>
                    </a:lnTo>
                    <a:lnTo>
                      <a:pt x="1336" y="2270"/>
                    </a:lnTo>
                    <a:lnTo>
                      <a:pt x="1338" y="2268"/>
                    </a:lnTo>
                    <a:lnTo>
                      <a:pt x="1340" y="2263"/>
                    </a:lnTo>
                    <a:lnTo>
                      <a:pt x="1347" y="2258"/>
                    </a:lnTo>
                    <a:lnTo>
                      <a:pt x="1359" y="2254"/>
                    </a:lnTo>
                    <a:lnTo>
                      <a:pt x="1376" y="2244"/>
                    </a:lnTo>
                    <a:lnTo>
                      <a:pt x="1392" y="2228"/>
                    </a:lnTo>
                    <a:lnTo>
                      <a:pt x="1411" y="2213"/>
                    </a:lnTo>
                    <a:lnTo>
                      <a:pt x="1432" y="2204"/>
                    </a:lnTo>
                    <a:lnTo>
                      <a:pt x="1454" y="2197"/>
                    </a:lnTo>
                    <a:lnTo>
                      <a:pt x="1494" y="2192"/>
                    </a:lnTo>
                    <a:lnTo>
                      <a:pt x="1496" y="2192"/>
                    </a:lnTo>
                    <a:lnTo>
                      <a:pt x="1492" y="2197"/>
                    </a:lnTo>
                    <a:lnTo>
                      <a:pt x="1492" y="2202"/>
                    </a:lnTo>
                    <a:lnTo>
                      <a:pt x="1496" y="2202"/>
                    </a:lnTo>
                    <a:lnTo>
                      <a:pt x="1510" y="2204"/>
                    </a:lnTo>
                    <a:lnTo>
                      <a:pt x="1518" y="2202"/>
                    </a:lnTo>
                    <a:lnTo>
                      <a:pt x="1518" y="2204"/>
                    </a:lnTo>
                    <a:lnTo>
                      <a:pt x="1515" y="2209"/>
                    </a:lnTo>
                    <a:lnTo>
                      <a:pt x="1506" y="2211"/>
                    </a:lnTo>
                    <a:lnTo>
                      <a:pt x="1506" y="2213"/>
                    </a:lnTo>
                    <a:lnTo>
                      <a:pt x="1513" y="2232"/>
                    </a:lnTo>
                    <a:lnTo>
                      <a:pt x="1515" y="2235"/>
                    </a:lnTo>
                    <a:lnTo>
                      <a:pt x="1520" y="2237"/>
                    </a:lnTo>
                    <a:lnTo>
                      <a:pt x="1520" y="2235"/>
                    </a:lnTo>
                    <a:lnTo>
                      <a:pt x="1522" y="2223"/>
                    </a:lnTo>
                    <a:lnTo>
                      <a:pt x="1527" y="2221"/>
                    </a:lnTo>
                    <a:lnTo>
                      <a:pt x="1536" y="2223"/>
                    </a:lnTo>
                    <a:lnTo>
                      <a:pt x="1541" y="2225"/>
                    </a:lnTo>
                    <a:lnTo>
                      <a:pt x="1541" y="2230"/>
                    </a:lnTo>
                    <a:lnTo>
                      <a:pt x="1546" y="2235"/>
                    </a:lnTo>
                    <a:lnTo>
                      <a:pt x="1553" y="2237"/>
                    </a:lnTo>
                    <a:lnTo>
                      <a:pt x="1558" y="2237"/>
                    </a:lnTo>
                    <a:lnTo>
                      <a:pt x="1560" y="2235"/>
                    </a:lnTo>
                    <a:lnTo>
                      <a:pt x="1558" y="2230"/>
                    </a:lnTo>
                    <a:lnTo>
                      <a:pt x="1546" y="2216"/>
                    </a:lnTo>
                    <a:lnTo>
                      <a:pt x="1544" y="2211"/>
                    </a:lnTo>
                    <a:lnTo>
                      <a:pt x="1544" y="2206"/>
                    </a:lnTo>
                    <a:lnTo>
                      <a:pt x="1548" y="2199"/>
                    </a:lnTo>
                    <a:lnTo>
                      <a:pt x="1555" y="2190"/>
                    </a:lnTo>
                    <a:lnTo>
                      <a:pt x="1565" y="2178"/>
                    </a:lnTo>
                    <a:lnTo>
                      <a:pt x="1572" y="2169"/>
                    </a:lnTo>
                    <a:lnTo>
                      <a:pt x="1586" y="2159"/>
                    </a:lnTo>
                    <a:lnTo>
                      <a:pt x="1596" y="2157"/>
                    </a:lnTo>
                    <a:lnTo>
                      <a:pt x="1619" y="2143"/>
                    </a:lnTo>
                    <a:lnTo>
                      <a:pt x="1662" y="2135"/>
                    </a:lnTo>
                    <a:lnTo>
                      <a:pt x="1674" y="2126"/>
                    </a:lnTo>
                    <a:lnTo>
                      <a:pt x="1688" y="2117"/>
                    </a:lnTo>
                    <a:lnTo>
                      <a:pt x="1695" y="2114"/>
                    </a:lnTo>
                    <a:lnTo>
                      <a:pt x="1692" y="2119"/>
                    </a:lnTo>
                    <a:lnTo>
                      <a:pt x="1695" y="2124"/>
                    </a:lnTo>
                    <a:lnTo>
                      <a:pt x="1702" y="2128"/>
                    </a:lnTo>
                    <a:lnTo>
                      <a:pt x="1707" y="2131"/>
                    </a:lnTo>
                    <a:lnTo>
                      <a:pt x="1709" y="2131"/>
                    </a:lnTo>
                    <a:lnTo>
                      <a:pt x="1711" y="2126"/>
                    </a:lnTo>
                    <a:lnTo>
                      <a:pt x="1711" y="2117"/>
                    </a:lnTo>
                    <a:lnTo>
                      <a:pt x="1714" y="2109"/>
                    </a:lnTo>
                    <a:lnTo>
                      <a:pt x="1716" y="2102"/>
                    </a:lnTo>
                    <a:lnTo>
                      <a:pt x="1718" y="2098"/>
                    </a:lnTo>
                    <a:lnTo>
                      <a:pt x="1726" y="2088"/>
                    </a:lnTo>
                    <a:lnTo>
                      <a:pt x="1737" y="2079"/>
                    </a:lnTo>
                    <a:lnTo>
                      <a:pt x="1752" y="2067"/>
                    </a:lnTo>
                    <a:lnTo>
                      <a:pt x="1761" y="2062"/>
                    </a:lnTo>
                    <a:lnTo>
                      <a:pt x="1768" y="2060"/>
                    </a:lnTo>
                    <a:lnTo>
                      <a:pt x="1775" y="2055"/>
                    </a:lnTo>
                    <a:lnTo>
                      <a:pt x="1789" y="2043"/>
                    </a:lnTo>
                    <a:lnTo>
                      <a:pt x="1794" y="2043"/>
                    </a:lnTo>
                    <a:lnTo>
                      <a:pt x="1804" y="2041"/>
                    </a:lnTo>
                    <a:lnTo>
                      <a:pt x="1806" y="2043"/>
                    </a:lnTo>
                    <a:lnTo>
                      <a:pt x="1806" y="2048"/>
                    </a:lnTo>
                    <a:lnTo>
                      <a:pt x="1808" y="2050"/>
                    </a:lnTo>
                    <a:lnTo>
                      <a:pt x="1815" y="2053"/>
                    </a:lnTo>
                    <a:lnTo>
                      <a:pt x="1822" y="2050"/>
                    </a:lnTo>
                    <a:lnTo>
                      <a:pt x="1822" y="2050"/>
                    </a:lnTo>
                    <a:lnTo>
                      <a:pt x="1818" y="2048"/>
                    </a:lnTo>
                    <a:lnTo>
                      <a:pt x="1815" y="2046"/>
                    </a:lnTo>
                    <a:lnTo>
                      <a:pt x="1813" y="2036"/>
                    </a:lnTo>
                    <a:lnTo>
                      <a:pt x="1808" y="2029"/>
                    </a:lnTo>
                    <a:lnTo>
                      <a:pt x="1808" y="2024"/>
                    </a:lnTo>
                    <a:lnTo>
                      <a:pt x="1813" y="2015"/>
                    </a:lnTo>
                    <a:lnTo>
                      <a:pt x="1820" y="1996"/>
                    </a:lnTo>
                    <a:lnTo>
                      <a:pt x="1827" y="1975"/>
                    </a:lnTo>
                    <a:lnTo>
                      <a:pt x="1832" y="1963"/>
                    </a:lnTo>
                    <a:lnTo>
                      <a:pt x="1841" y="1960"/>
                    </a:lnTo>
                    <a:lnTo>
                      <a:pt x="1860" y="1960"/>
                    </a:lnTo>
                    <a:lnTo>
                      <a:pt x="1851" y="1953"/>
                    </a:lnTo>
                    <a:lnTo>
                      <a:pt x="1848" y="1951"/>
                    </a:lnTo>
                    <a:lnTo>
                      <a:pt x="1841" y="1946"/>
                    </a:lnTo>
                    <a:lnTo>
                      <a:pt x="1841" y="1932"/>
                    </a:lnTo>
                    <a:lnTo>
                      <a:pt x="1844" y="1923"/>
                    </a:lnTo>
                    <a:lnTo>
                      <a:pt x="1851" y="1913"/>
                    </a:lnTo>
                    <a:lnTo>
                      <a:pt x="1872" y="1897"/>
                    </a:lnTo>
                    <a:lnTo>
                      <a:pt x="1891" y="1887"/>
                    </a:lnTo>
                    <a:lnTo>
                      <a:pt x="1891" y="1885"/>
                    </a:lnTo>
                    <a:lnTo>
                      <a:pt x="1889" y="1882"/>
                    </a:lnTo>
                    <a:lnTo>
                      <a:pt x="1903" y="1856"/>
                    </a:lnTo>
                    <a:lnTo>
                      <a:pt x="1915" y="1835"/>
                    </a:lnTo>
                    <a:lnTo>
                      <a:pt x="1900" y="1852"/>
                    </a:lnTo>
                    <a:lnTo>
                      <a:pt x="1884" y="1866"/>
                    </a:lnTo>
                    <a:lnTo>
                      <a:pt x="1841" y="1875"/>
                    </a:lnTo>
                    <a:lnTo>
                      <a:pt x="1813" y="1885"/>
                    </a:lnTo>
                    <a:lnTo>
                      <a:pt x="1801" y="1887"/>
                    </a:lnTo>
                    <a:lnTo>
                      <a:pt x="1794" y="1880"/>
                    </a:lnTo>
                    <a:lnTo>
                      <a:pt x="1789" y="1866"/>
                    </a:lnTo>
                    <a:lnTo>
                      <a:pt x="1787" y="1859"/>
                    </a:lnTo>
                    <a:lnTo>
                      <a:pt x="1785" y="1849"/>
                    </a:lnTo>
                    <a:lnTo>
                      <a:pt x="1789" y="1838"/>
                    </a:lnTo>
                    <a:lnTo>
                      <a:pt x="1794" y="1828"/>
                    </a:lnTo>
                    <a:lnTo>
                      <a:pt x="1804" y="1830"/>
                    </a:lnTo>
                    <a:lnTo>
                      <a:pt x="1811" y="1835"/>
                    </a:lnTo>
                    <a:lnTo>
                      <a:pt x="1820" y="1838"/>
                    </a:lnTo>
                    <a:lnTo>
                      <a:pt x="1811" y="1828"/>
                    </a:lnTo>
                    <a:lnTo>
                      <a:pt x="1799" y="1816"/>
                    </a:lnTo>
                    <a:lnTo>
                      <a:pt x="1792" y="1819"/>
                    </a:lnTo>
                    <a:lnTo>
                      <a:pt x="1782" y="1828"/>
                    </a:lnTo>
                    <a:lnTo>
                      <a:pt x="1775" y="1835"/>
                    </a:lnTo>
                    <a:lnTo>
                      <a:pt x="1768" y="1830"/>
                    </a:lnTo>
                    <a:lnTo>
                      <a:pt x="1766" y="1826"/>
                    </a:lnTo>
                    <a:lnTo>
                      <a:pt x="1766" y="1838"/>
                    </a:lnTo>
                    <a:lnTo>
                      <a:pt x="1759" y="1852"/>
                    </a:lnTo>
                    <a:lnTo>
                      <a:pt x="1754" y="1861"/>
                    </a:lnTo>
                    <a:lnTo>
                      <a:pt x="1756" y="1890"/>
                    </a:lnTo>
                    <a:lnTo>
                      <a:pt x="1752" y="1901"/>
                    </a:lnTo>
                    <a:lnTo>
                      <a:pt x="1740" y="1904"/>
                    </a:lnTo>
                    <a:lnTo>
                      <a:pt x="1730" y="1892"/>
                    </a:lnTo>
                    <a:lnTo>
                      <a:pt x="1718" y="1854"/>
                    </a:lnTo>
                    <a:lnTo>
                      <a:pt x="1714" y="1842"/>
                    </a:lnTo>
                    <a:lnTo>
                      <a:pt x="1702" y="1821"/>
                    </a:lnTo>
                    <a:lnTo>
                      <a:pt x="1697" y="1823"/>
                    </a:lnTo>
                    <a:lnTo>
                      <a:pt x="1688" y="1830"/>
                    </a:lnTo>
                    <a:lnTo>
                      <a:pt x="1681" y="1830"/>
                    </a:lnTo>
                    <a:lnTo>
                      <a:pt x="1666" y="1814"/>
                    </a:lnTo>
                    <a:lnTo>
                      <a:pt x="1662" y="1804"/>
                    </a:lnTo>
                    <a:lnTo>
                      <a:pt x="1657" y="1790"/>
                    </a:lnTo>
                    <a:lnTo>
                      <a:pt x="1645" y="1795"/>
                    </a:lnTo>
                    <a:lnTo>
                      <a:pt x="1633" y="1800"/>
                    </a:lnTo>
                    <a:lnTo>
                      <a:pt x="1619" y="1807"/>
                    </a:lnTo>
                    <a:lnTo>
                      <a:pt x="1612" y="1807"/>
                    </a:lnTo>
                    <a:lnTo>
                      <a:pt x="1588" y="1812"/>
                    </a:lnTo>
                    <a:lnTo>
                      <a:pt x="1586" y="1809"/>
                    </a:lnTo>
                    <a:lnTo>
                      <a:pt x="1581" y="1814"/>
                    </a:lnTo>
                    <a:lnTo>
                      <a:pt x="1577" y="1816"/>
                    </a:lnTo>
                    <a:lnTo>
                      <a:pt x="1572" y="1826"/>
                    </a:lnTo>
                    <a:lnTo>
                      <a:pt x="1544" y="1826"/>
                    </a:lnTo>
                    <a:lnTo>
                      <a:pt x="1515" y="1816"/>
                    </a:lnTo>
                    <a:lnTo>
                      <a:pt x="1527" y="1812"/>
                    </a:lnTo>
                    <a:lnTo>
                      <a:pt x="1539" y="1812"/>
                    </a:lnTo>
                    <a:lnTo>
                      <a:pt x="1551" y="1802"/>
                    </a:lnTo>
                    <a:lnTo>
                      <a:pt x="1551" y="1788"/>
                    </a:lnTo>
                    <a:lnTo>
                      <a:pt x="1553" y="1778"/>
                    </a:lnTo>
                    <a:lnTo>
                      <a:pt x="1555" y="1771"/>
                    </a:lnTo>
                    <a:lnTo>
                      <a:pt x="1567" y="1760"/>
                    </a:lnTo>
                    <a:lnTo>
                      <a:pt x="1558" y="1757"/>
                    </a:lnTo>
                    <a:lnTo>
                      <a:pt x="1548" y="1760"/>
                    </a:lnTo>
                    <a:lnTo>
                      <a:pt x="1546" y="1748"/>
                    </a:lnTo>
                    <a:lnTo>
                      <a:pt x="1548" y="1729"/>
                    </a:lnTo>
                    <a:lnTo>
                      <a:pt x="1558" y="1719"/>
                    </a:lnTo>
                    <a:lnTo>
                      <a:pt x="1562" y="1712"/>
                    </a:lnTo>
                    <a:lnTo>
                      <a:pt x="1570" y="1700"/>
                    </a:lnTo>
                    <a:lnTo>
                      <a:pt x="1572" y="1691"/>
                    </a:lnTo>
                    <a:lnTo>
                      <a:pt x="1570" y="1672"/>
                    </a:lnTo>
                    <a:lnTo>
                      <a:pt x="1565" y="1629"/>
                    </a:lnTo>
                    <a:lnTo>
                      <a:pt x="1565" y="1601"/>
                    </a:lnTo>
                    <a:lnTo>
                      <a:pt x="1555" y="1582"/>
                    </a:lnTo>
                    <a:lnTo>
                      <a:pt x="1572" y="1561"/>
                    </a:lnTo>
                    <a:lnTo>
                      <a:pt x="1586" y="1542"/>
                    </a:lnTo>
                    <a:lnTo>
                      <a:pt x="1603" y="1535"/>
                    </a:lnTo>
                    <a:lnTo>
                      <a:pt x="1603" y="1533"/>
                    </a:lnTo>
                    <a:lnTo>
                      <a:pt x="1596" y="1533"/>
                    </a:lnTo>
                    <a:lnTo>
                      <a:pt x="1588" y="1533"/>
                    </a:lnTo>
                    <a:lnTo>
                      <a:pt x="1584" y="1537"/>
                    </a:lnTo>
                    <a:lnTo>
                      <a:pt x="1577" y="1542"/>
                    </a:lnTo>
                    <a:lnTo>
                      <a:pt x="1555" y="1566"/>
                    </a:lnTo>
                    <a:lnTo>
                      <a:pt x="1544" y="1577"/>
                    </a:lnTo>
                    <a:lnTo>
                      <a:pt x="1536" y="1580"/>
                    </a:lnTo>
                    <a:lnTo>
                      <a:pt x="1544" y="1587"/>
                    </a:lnTo>
                    <a:lnTo>
                      <a:pt x="1546" y="1592"/>
                    </a:lnTo>
                    <a:lnTo>
                      <a:pt x="1544" y="1603"/>
                    </a:lnTo>
                    <a:lnTo>
                      <a:pt x="1539" y="1615"/>
                    </a:lnTo>
                    <a:lnTo>
                      <a:pt x="1534" y="1620"/>
                    </a:lnTo>
                    <a:lnTo>
                      <a:pt x="1522" y="1618"/>
                    </a:lnTo>
                    <a:lnTo>
                      <a:pt x="1510" y="1625"/>
                    </a:lnTo>
                    <a:lnTo>
                      <a:pt x="1484" y="1629"/>
                    </a:lnTo>
                    <a:lnTo>
                      <a:pt x="1449" y="1627"/>
                    </a:lnTo>
                    <a:lnTo>
                      <a:pt x="1435" y="1620"/>
                    </a:lnTo>
                    <a:lnTo>
                      <a:pt x="1421" y="1603"/>
                    </a:lnTo>
                    <a:lnTo>
                      <a:pt x="1423" y="1596"/>
                    </a:lnTo>
                    <a:lnTo>
                      <a:pt x="1425" y="1592"/>
                    </a:lnTo>
                    <a:lnTo>
                      <a:pt x="1409" y="1563"/>
                    </a:lnTo>
                    <a:lnTo>
                      <a:pt x="1402" y="1537"/>
                    </a:lnTo>
                    <a:lnTo>
                      <a:pt x="1392" y="1535"/>
                    </a:lnTo>
                    <a:lnTo>
                      <a:pt x="1385" y="1525"/>
                    </a:lnTo>
                    <a:lnTo>
                      <a:pt x="1378" y="1514"/>
                    </a:lnTo>
                    <a:lnTo>
                      <a:pt x="1380" y="1507"/>
                    </a:lnTo>
                    <a:lnTo>
                      <a:pt x="1385" y="1502"/>
                    </a:lnTo>
                    <a:lnTo>
                      <a:pt x="1378" y="1497"/>
                    </a:lnTo>
                    <a:lnTo>
                      <a:pt x="1371" y="1495"/>
                    </a:lnTo>
                    <a:lnTo>
                      <a:pt x="1364" y="1490"/>
                    </a:lnTo>
                    <a:lnTo>
                      <a:pt x="1395" y="1469"/>
                    </a:lnTo>
                    <a:lnTo>
                      <a:pt x="1409" y="1452"/>
                    </a:lnTo>
                    <a:lnTo>
                      <a:pt x="1416" y="1452"/>
                    </a:lnTo>
                    <a:lnTo>
                      <a:pt x="1423" y="1457"/>
                    </a:lnTo>
                    <a:lnTo>
                      <a:pt x="1432" y="1469"/>
                    </a:lnTo>
                    <a:lnTo>
                      <a:pt x="1442" y="1473"/>
                    </a:lnTo>
                    <a:lnTo>
                      <a:pt x="1444" y="1478"/>
                    </a:lnTo>
                    <a:lnTo>
                      <a:pt x="1444" y="1488"/>
                    </a:lnTo>
                    <a:lnTo>
                      <a:pt x="1437" y="1497"/>
                    </a:lnTo>
                    <a:lnTo>
                      <a:pt x="1432" y="1502"/>
                    </a:lnTo>
                    <a:lnTo>
                      <a:pt x="1437" y="1502"/>
                    </a:lnTo>
                    <a:lnTo>
                      <a:pt x="1454" y="1495"/>
                    </a:lnTo>
                    <a:lnTo>
                      <a:pt x="1466" y="1485"/>
                    </a:lnTo>
                    <a:lnTo>
                      <a:pt x="1468" y="1488"/>
                    </a:lnTo>
                    <a:lnTo>
                      <a:pt x="1470" y="1490"/>
                    </a:lnTo>
                    <a:lnTo>
                      <a:pt x="1473" y="1502"/>
                    </a:lnTo>
                    <a:lnTo>
                      <a:pt x="1477" y="1516"/>
                    </a:lnTo>
                    <a:lnTo>
                      <a:pt x="1494" y="1509"/>
                    </a:lnTo>
                    <a:lnTo>
                      <a:pt x="1503" y="1497"/>
                    </a:lnTo>
                    <a:lnTo>
                      <a:pt x="1499" y="1490"/>
                    </a:lnTo>
                    <a:lnTo>
                      <a:pt x="1494" y="1485"/>
                    </a:lnTo>
                    <a:lnTo>
                      <a:pt x="1475" y="1476"/>
                    </a:lnTo>
                    <a:lnTo>
                      <a:pt x="1480" y="1473"/>
                    </a:lnTo>
                    <a:lnTo>
                      <a:pt x="1494" y="1476"/>
                    </a:lnTo>
                    <a:lnTo>
                      <a:pt x="1499" y="1473"/>
                    </a:lnTo>
                    <a:lnTo>
                      <a:pt x="1494" y="1469"/>
                    </a:lnTo>
                    <a:lnTo>
                      <a:pt x="1489" y="1462"/>
                    </a:lnTo>
                    <a:lnTo>
                      <a:pt x="1470" y="1471"/>
                    </a:lnTo>
                    <a:lnTo>
                      <a:pt x="1440" y="1462"/>
                    </a:lnTo>
                    <a:lnTo>
                      <a:pt x="1421" y="1447"/>
                    </a:lnTo>
                    <a:lnTo>
                      <a:pt x="1399" y="1443"/>
                    </a:lnTo>
                    <a:lnTo>
                      <a:pt x="1395" y="1440"/>
                    </a:lnTo>
                    <a:lnTo>
                      <a:pt x="1392" y="1436"/>
                    </a:lnTo>
                    <a:lnTo>
                      <a:pt x="1409" y="1428"/>
                    </a:lnTo>
                    <a:lnTo>
                      <a:pt x="1418" y="1424"/>
                    </a:lnTo>
                    <a:lnTo>
                      <a:pt x="1421" y="1421"/>
                    </a:lnTo>
                    <a:lnTo>
                      <a:pt x="1416" y="1419"/>
                    </a:lnTo>
                    <a:lnTo>
                      <a:pt x="1404" y="1419"/>
                    </a:lnTo>
                    <a:lnTo>
                      <a:pt x="1402" y="1412"/>
                    </a:lnTo>
                    <a:lnTo>
                      <a:pt x="1406" y="1405"/>
                    </a:lnTo>
                    <a:lnTo>
                      <a:pt x="1404" y="1405"/>
                    </a:lnTo>
                    <a:lnTo>
                      <a:pt x="1399" y="1407"/>
                    </a:lnTo>
                    <a:lnTo>
                      <a:pt x="1395" y="1405"/>
                    </a:lnTo>
                    <a:lnTo>
                      <a:pt x="1390" y="1400"/>
                    </a:lnTo>
                    <a:lnTo>
                      <a:pt x="1395" y="1395"/>
                    </a:lnTo>
                    <a:lnTo>
                      <a:pt x="1402" y="1391"/>
                    </a:lnTo>
                    <a:lnTo>
                      <a:pt x="1399" y="1391"/>
                    </a:lnTo>
                    <a:lnTo>
                      <a:pt x="1395" y="1391"/>
                    </a:lnTo>
                    <a:lnTo>
                      <a:pt x="1388" y="1395"/>
                    </a:lnTo>
                    <a:lnTo>
                      <a:pt x="1388" y="1402"/>
                    </a:lnTo>
                    <a:lnTo>
                      <a:pt x="1385" y="1412"/>
                    </a:lnTo>
                    <a:lnTo>
                      <a:pt x="1378" y="1410"/>
                    </a:lnTo>
                    <a:lnTo>
                      <a:pt x="1373" y="1407"/>
                    </a:lnTo>
                    <a:lnTo>
                      <a:pt x="1371" y="1398"/>
                    </a:lnTo>
                    <a:lnTo>
                      <a:pt x="1371" y="1379"/>
                    </a:lnTo>
                    <a:lnTo>
                      <a:pt x="1362" y="1369"/>
                    </a:lnTo>
                    <a:lnTo>
                      <a:pt x="1362" y="1360"/>
                    </a:lnTo>
                    <a:lnTo>
                      <a:pt x="1373" y="1348"/>
                    </a:lnTo>
                    <a:lnTo>
                      <a:pt x="1371" y="1341"/>
                    </a:lnTo>
                    <a:lnTo>
                      <a:pt x="1364" y="1336"/>
                    </a:lnTo>
                    <a:lnTo>
                      <a:pt x="1354" y="1341"/>
                    </a:lnTo>
                    <a:lnTo>
                      <a:pt x="1352" y="1334"/>
                    </a:lnTo>
                    <a:lnTo>
                      <a:pt x="1352" y="1327"/>
                    </a:lnTo>
                    <a:lnTo>
                      <a:pt x="1354" y="1320"/>
                    </a:lnTo>
                    <a:lnTo>
                      <a:pt x="1357" y="1320"/>
                    </a:lnTo>
                    <a:lnTo>
                      <a:pt x="1359" y="1322"/>
                    </a:lnTo>
                    <a:lnTo>
                      <a:pt x="1378" y="1322"/>
                    </a:lnTo>
                    <a:lnTo>
                      <a:pt x="1380" y="1320"/>
                    </a:lnTo>
                    <a:lnTo>
                      <a:pt x="1369" y="1308"/>
                    </a:lnTo>
                    <a:lnTo>
                      <a:pt x="1366" y="1301"/>
                    </a:lnTo>
                    <a:lnTo>
                      <a:pt x="1373" y="1296"/>
                    </a:lnTo>
                    <a:lnTo>
                      <a:pt x="1385" y="1301"/>
                    </a:lnTo>
                    <a:lnTo>
                      <a:pt x="1402" y="1301"/>
                    </a:lnTo>
                    <a:lnTo>
                      <a:pt x="1397" y="1289"/>
                    </a:lnTo>
                    <a:lnTo>
                      <a:pt x="1397" y="1284"/>
                    </a:lnTo>
                    <a:lnTo>
                      <a:pt x="1399" y="1277"/>
                    </a:lnTo>
                    <a:lnTo>
                      <a:pt x="1404" y="1265"/>
                    </a:lnTo>
                    <a:lnTo>
                      <a:pt x="1430" y="1242"/>
                    </a:lnTo>
                    <a:lnTo>
                      <a:pt x="1454" y="1223"/>
                    </a:lnTo>
                    <a:lnTo>
                      <a:pt x="1461" y="1218"/>
                    </a:lnTo>
                    <a:lnTo>
                      <a:pt x="1468" y="1218"/>
                    </a:lnTo>
                    <a:lnTo>
                      <a:pt x="1475" y="1223"/>
                    </a:lnTo>
                    <a:lnTo>
                      <a:pt x="1482" y="1230"/>
                    </a:lnTo>
                    <a:lnTo>
                      <a:pt x="1482" y="1227"/>
                    </a:lnTo>
                    <a:lnTo>
                      <a:pt x="1482" y="1225"/>
                    </a:lnTo>
                    <a:lnTo>
                      <a:pt x="1482" y="1213"/>
                    </a:lnTo>
                    <a:lnTo>
                      <a:pt x="1492" y="1213"/>
                    </a:lnTo>
                    <a:lnTo>
                      <a:pt x="1501" y="1204"/>
                    </a:lnTo>
                    <a:lnTo>
                      <a:pt x="1503" y="1201"/>
                    </a:lnTo>
                    <a:lnTo>
                      <a:pt x="1494" y="1204"/>
                    </a:lnTo>
                    <a:lnTo>
                      <a:pt x="1487" y="1209"/>
                    </a:lnTo>
                    <a:lnTo>
                      <a:pt x="1487" y="1201"/>
                    </a:lnTo>
                    <a:lnTo>
                      <a:pt x="1489" y="1183"/>
                    </a:lnTo>
                    <a:lnTo>
                      <a:pt x="1499" y="1168"/>
                    </a:lnTo>
                    <a:lnTo>
                      <a:pt x="1501" y="1161"/>
                    </a:lnTo>
                    <a:lnTo>
                      <a:pt x="1510" y="1154"/>
                    </a:lnTo>
                    <a:lnTo>
                      <a:pt x="1527" y="1157"/>
                    </a:lnTo>
                    <a:lnTo>
                      <a:pt x="1529" y="1159"/>
                    </a:lnTo>
                    <a:lnTo>
                      <a:pt x="1532" y="1157"/>
                    </a:lnTo>
                    <a:lnTo>
                      <a:pt x="1525" y="1142"/>
                    </a:lnTo>
                    <a:lnTo>
                      <a:pt x="1529" y="1135"/>
                    </a:lnTo>
                    <a:lnTo>
                      <a:pt x="1534" y="1133"/>
                    </a:lnTo>
                    <a:lnTo>
                      <a:pt x="1555" y="1131"/>
                    </a:lnTo>
                    <a:lnTo>
                      <a:pt x="1567" y="1135"/>
                    </a:lnTo>
                    <a:lnTo>
                      <a:pt x="1577" y="1147"/>
                    </a:lnTo>
                    <a:lnTo>
                      <a:pt x="1581" y="1159"/>
                    </a:lnTo>
                    <a:lnTo>
                      <a:pt x="1579" y="1164"/>
                    </a:lnTo>
                    <a:lnTo>
                      <a:pt x="1577" y="1166"/>
                    </a:lnTo>
                    <a:lnTo>
                      <a:pt x="1572" y="1168"/>
                    </a:lnTo>
                    <a:lnTo>
                      <a:pt x="1570" y="1171"/>
                    </a:lnTo>
                    <a:lnTo>
                      <a:pt x="1570" y="1173"/>
                    </a:lnTo>
                    <a:lnTo>
                      <a:pt x="1577" y="1168"/>
                    </a:lnTo>
                    <a:lnTo>
                      <a:pt x="1588" y="1164"/>
                    </a:lnTo>
                    <a:lnTo>
                      <a:pt x="1593" y="1168"/>
                    </a:lnTo>
                    <a:lnTo>
                      <a:pt x="1596" y="1175"/>
                    </a:lnTo>
                    <a:lnTo>
                      <a:pt x="1600" y="1175"/>
                    </a:lnTo>
                    <a:lnTo>
                      <a:pt x="1617" y="1175"/>
                    </a:lnTo>
                    <a:lnTo>
                      <a:pt x="1626" y="1173"/>
                    </a:lnTo>
                    <a:lnTo>
                      <a:pt x="1638" y="1161"/>
                    </a:lnTo>
                    <a:lnTo>
                      <a:pt x="1652" y="1157"/>
                    </a:lnTo>
                    <a:lnTo>
                      <a:pt x="1676" y="1135"/>
                    </a:lnTo>
                    <a:lnTo>
                      <a:pt x="1683" y="1123"/>
                    </a:lnTo>
                    <a:lnTo>
                      <a:pt x="1690" y="1123"/>
                    </a:lnTo>
                    <a:lnTo>
                      <a:pt x="1695" y="1126"/>
                    </a:lnTo>
                    <a:lnTo>
                      <a:pt x="1697" y="1138"/>
                    </a:lnTo>
                    <a:lnTo>
                      <a:pt x="1702" y="1140"/>
                    </a:lnTo>
                    <a:lnTo>
                      <a:pt x="1733" y="1147"/>
                    </a:lnTo>
                    <a:lnTo>
                      <a:pt x="1749" y="1145"/>
                    </a:lnTo>
                    <a:lnTo>
                      <a:pt x="1761" y="1140"/>
                    </a:lnTo>
                    <a:lnTo>
                      <a:pt x="1775" y="1128"/>
                    </a:lnTo>
                    <a:lnTo>
                      <a:pt x="1785" y="1119"/>
                    </a:lnTo>
                    <a:lnTo>
                      <a:pt x="1792" y="1107"/>
                    </a:lnTo>
                    <a:lnTo>
                      <a:pt x="1792" y="1088"/>
                    </a:lnTo>
                    <a:lnTo>
                      <a:pt x="1792" y="1074"/>
                    </a:lnTo>
                    <a:lnTo>
                      <a:pt x="1794" y="1041"/>
                    </a:lnTo>
                    <a:lnTo>
                      <a:pt x="1785" y="1017"/>
                    </a:lnTo>
                    <a:lnTo>
                      <a:pt x="1775" y="1008"/>
                    </a:lnTo>
                    <a:lnTo>
                      <a:pt x="1768" y="1005"/>
                    </a:lnTo>
                    <a:lnTo>
                      <a:pt x="1775" y="993"/>
                    </a:lnTo>
                    <a:lnTo>
                      <a:pt x="1789" y="998"/>
                    </a:lnTo>
                    <a:lnTo>
                      <a:pt x="1799" y="998"/>
                    </a:lnTo>
                    <a:lnTo>
                      <a:pt x="1808" y="993"/>
                    </a:lnTo>
                    <a:lnTo>
                      <a:pt x="1813" y="989"/>
                    </a:lnTo>
                    <a:lnTo>
                      <a:pt x="1818" y="979"/>
                    </a:lnTo>
                    <a:lnTo>
                      <a:pt x="1820" y="970"/>
                    </a:lnTo>
                    <a:lnTo>
                      <a:pt x="1820" y="963"/>
                    </a:lnTo>
                    <a:lnTo>
                      <a:pt x="1815" y="956"/>
                    </a:lnTo>
                    <a:lnTo>
                      <a:pt x="1811" y="944"/>
                    </a:lnTo>
                    <a:lnTo>
                      <a:pt x="1808" y="939"/>
                    </a:lnTo>
                    <a:lnTo>
                      <a:pt x="1806" y="939"/>
                    </a:lnTo>
                    <a:lnTo>
                      <a:pt x="1782" y="953"/>
                    </a:lnTo>
                    <a:lnTo>
                      <a:pt x="1773" y="951"/>
                    </a:lnTo>
                    <a:lnTo>
                      <a:pt x="1766" y="946"/>
                    </a:lnTo>
                    <a:lnTo>
                      <a:pt x="1756" y="956"/>
                    </a:lnTo>
                    <a:lnTo>
                      <a:pt x="1735" y="960"/>
                    </a:lnTo>
                    <a:lnTo>
                      <a:pt x="1721" y="967"/>
                    </a:lnTo>
                    <a:lnTo>
                      <a:pt x="1697" y="986"/>
                    </a:lnTo>
                    <a:lnTo>
                      <a:pt x="1690" y="996"/>
                    </a:lnTo>
                    <a:lnTo>
                      <a:pt x="1683" y="993"/>
                    </a:lnTo>
                    <a:lnTo>
                      <a:pt x="1683" y="972"/>
                    </a:lnTo>
                    <a:lnTo>
                      <a:pt x="1669" y="946"/>
                    </a:lnTo>
                    <a:lnTo>
                      <a:pt x="1662" y="951"/>
                    </a:lnTo>
                    <a:lnTo>
                      <a:pt x="1662" y="958"/>
                    </a:lnTo>
                    <a:lnTo>
                      <a:pt x="1666" y="965"/>
                    </a:lnTo>
                    <a:lnTo>
                      <a:pt x="1674" y="967"/>
                    </a:lnTo>
                    <a:lnTo>
                      <a:pt x="1669" y="972"/>
                    </a:lnTo>
                    <a:lnTo>
                      <a:pt x="1664" y="982"/>
                    </a:lnTo>
                    <a:lnTo>
                      <a:pt x="1657" y="972"/>
                    </a:lnTo>
                    <a:lnTo>
                      <a:pt x="1648" y="956"/>
                    </a:lnTo>
                    <a:lnTo>
                      <a:pt x="1633" y="946"/>
                    </a:lnTo>
                    <a:lnTo>
                      <a:pt x="1598" y="937"/>
                    </a:lnTo>
                    <a:lnTo>
                      <a:pt x="1570" y="941"/>
                    </a:lnTo>
                    <a:lnTo>
                      <a:pt x="1570" y="939"/>
                    </a:lnTo>
                    <a:lnTo>
                      <a:pt x="1567" y="937"/>
                    </a:lnTo>
                    <a:lnTo>
                      <a:pt x="1562" y="939"/>
                    </a:lnTo>
                    <a:lnTo>
                      <a:pt x="1558" y="941"/>
                    </a:lnTo>
                    <a:lnTo>
                      <a:pt x="1555" y="944"/>
                    </a:lnTo>
                    <a:lnTo>
                      <a:pt x="1551" y="944"/>
                    </a:lnTo>
                    <a:lnTo>
                      <a:pt x="1541" y="939"/>
                    </a:lnTo>
                    <a:lnTo>
                      <a:pt x="1525" y="927"/>
                    </a:lnTo>
                    <a:lnTo>
                      <a:pt x="1484" y="904"/>
                    </a:lnTo>
                    <a:lnTo>
                      <a:pt x="1475" y="894"/>
                    </a:lnTo>
                    <a:lnTo>
                      <a:pt x="1468" y="878"/>
                    </a:lnTo>
                    <a:lnTo>
                      <a:pt x="1473" y="866"/>
                    </a:lnTo>
                    <a:lnTo>
                      <a:pt x="1477" y="863"/>
                    </a:lnTo>
                    <a:lnTo>
                      <a:pt x="1482" y="849"/>
                    </a:lnTo>
                    <a:lnTo>
                      <a:pt x="1475" y="842"/>
                    </a:lnTo>
                    <a:lnTo>
                      <a:pt x="1463" y="816"/>
                    </a:lnTo>
                    <a:lnTo>
                      <a:pt x="1461" y="807"/>
                    </a:lnTo>
                    <a:lnTo>
                      <a:pt x="1463" y="807"/>
                    </a:lnTo>
                    <a:lnTo>
                      <a:pt x="1466" y="809"/>
                    </a:lnTo>
                    <a:lnTo>
                      <a:pt x="1470" y="811"/>
                    </a:lnTo>
                    <a:lnTo>
                      <a:pt x="1484" y="814"/>
                    </a:lnTo>
                    <a:lnTo>
                      <a:pt x="1494" y="802"/>
                    </a:lnTo>
                    <a:lnTo>
                      <a:pt x="1506" y="802"/>
                    </a:lnTo>
                    <a:lnTo>
                      <a:pt x="1515" y="807"/>
                    </a:lnTo>
                    <a:lnTo>
                      <a:pt x="1513" y="802"/>
                    </a:lnTo>
                    <a:lnTo>
                      <a:pt x="1513" y="797"/>
                    </a:lnTo>
                    <a:lnTo>
                      <a:pt x="1489" y="783"/>
                    </a:lnTo>
                    <a:lnTo>
                      <a:pt x="1484" y="785"/>
                    </a:lnTo>
                    <a:lnTo>
                      <a:pt x="1444" y="759"/>
                    </a:lnTo>
                    <a:lnTo>
                      <a:pt x="1416" y="726"/>
                    </a:lnTo>
                    <a:lnTo>
                      <a:pt x="1414" y="721"/>
                    </a:lnTo>
                    <a:lnTo>
                      <a:pt x="1414" y="712"/>
                    </a:lnTo>
                    <a:lnTo>
                      <a:pt x="1423" y="703"/>
                    </a:lnTo>
                    <a:lnTo>
                      <a:pt x="1428" y="700"/>
                    </a:lnTo>
                    <a:lnTo>
                      <a:pt x="1428" y="705"/>
                    </a:lnTo>
                    <a:lnTo>
                      <a:pt x="1425" y="712"/>
                    </a:lnTo>
                    <a:lnTo>
                      <a:pt x="1449" y="707"/>
                    </a:lnTo>
                    <a:lnTo>
                      <a:pt x="1466" y="695"/>
                    </a:lnTo>
                    <a:lnTo>
                      <a:pt x="1484" y="698"/>
                    </a:lnTo>
                    <a:lnTo>
                      <a:pt x="1492" y="695"/>
                    </a:lnTo>
                    <a:lnTo>
                      <a:pt x="1499" y="691"/>
                    </a:lnTo>
                    <a:lnTo>
                      <a:pt x="1513" y="679"/>
                    </a:lnTo>
                    <a:lnTo>
                      <a:pt x="1527" y="677"/>
                    </a:lnTo>
                    <a:lnTo>
                      <a:pt x="1536" y="672"/>
                    </a:lnTo>
                    <a:lnTo>
                      <a:pt x="1551" y="672"/>
                    </a:lnTo>
                    <a:lnTo>
                      <a:pt x="1558" y="681"/>
                    </a:lnTo>
                    <a:lnTo>
                      <a:pt x="1560" y="684"/>
                    </a:lnTo>
                    <a:lnTo>
                      <a:pt x="1577" y="688"/>
                    </a:lnTo>
                    <a:lnTo>
                      <a:pt x="1584" y="688"/>
                    </a:lnTo>
                    <a:lnTo>
                      <a:pt x="1586" y="686"/>
                    </a:lnTo>
                    <a:lnTo>
                      <a:pt x="1588" y="684"/>
                    </a:lnTo>
                    <a:lnTo>
                      <a:pt x="1574" y="667"/>
                    </a:lnTo>
                    <a:lnTo>
                      <a:pt x="1579" y="662"/>
                    </a:lnTo>
                    <a:lnTo>
                      <a:pt x="1581" y="658"/>
                    </a:lnTo>
                    <a:lnTo>
                      <a:pt x="1605" y="651"/>
                    </a:lnTo>
                    <a:lnTo>
                      <a:pt x="1622" y="651"/>
                    </a:lnTo>
                    <a:lnTo>
                      <a:pt x="1629" y="653"/>
                    </a:lnTo>
                    <a:lnTo>
                      <a:pt x="1657" y="641"/>
                    </a:lnTo>
                    <a:lnTo>
                      <a:pt x="1671" y="641"/>
                    </a:lnTo>
                    <a:lnTo>
                      <a:pt x="1697" y="643"/>
                    </a:lnTo>
                    <a:lnTo>
                      <a:pt x="1716" y="648"/>
                    </a:lnTo>
                    <a:lnTo>
                      <a:pt x="1721" y="658"/>
                    </a:lnTo>
                    <a:lnTo>
                      <a:pt x="1709" y="653"/>
                    </a:lnTo>
                    <a:lnTo>
                      <a:pt x="1704" y="653"/>
                    </a:lnTo>
                    <a:lnTo>
                      <a:pt x="1707" y="655"/>
                    </a:lnTo>
                    <a:lnTo>
                      <a:pt x="1709" y="660"/>
                    </a:lnTo>
                    <a:lnTo>
                      <a:pt x="1707" y="667"/>
                    </a:lnTo>
                    <a:lnTo>
                      <a:pt x="1697" y="681"/>
                    </a:lnTo>
                    <a:lnTo>
                      <a:pt x="1692" y="695"/>
                    </a:lnTo>
                    <a:lnTo>
                      <a:pt x="1688" y="698"/>
                    </a:lnTo>
                    <a:lnTo>
                      <a:pt x="1681" y="703"/>
                    </a:lnTo>
                    <a:lnTo>
                      <a:pt x="1697" y="729"/>
                    </a:lnTo>
                    <a:lnTo>
                      <a:pt x="1728" y="738"/>
                    </a:lnTo>
                    <a:lnTo>
                      <a:pt x="1747" y="738"/>
                    </a:lnTo>
                    <a:lnTo>
                      <a:pt x="1754" y="748"/>
                    </a:lnTo>
                    <a:lnTo>
                      <a:pt x="1761" y="752"/>
                    </a:lnTo>
                    <a:lnTo>
                      <a:pt x="1785" y="755"/>
                    </a:lnTo>
                    <a:lnTo>
                      <a:pt x="1801" y="762"/>
                    </a:lnTo>
                    <a:lnTo>
                      <a:pt x="1808" y="762"/>
                    </a:lnTo>
                    <a:lnTo>
                      <a:pt x="1832" y="738"/>
                    </a:lnTo>
                    <a:lnTo>
                      <a:pt x="1839" y="733"/>
                    </a:lnTo>
                    <a:lnTo>
                      <a:pt x="1844" y="740"/>
                    </a:lnTo>
                    <a:lnTo>
                      <a:pt x="1851" y="748"/>
                    </a:lnTo>
                    <a:lnTo>
                      <a:pt x="1858" y="745"/>
                    </a:lnTo>
                    <a:lnTo>
                      <a:pt x="1860" y="755"/>
                    </a:lnTo>
                    <a:lnTo>
                      <a:pt x="1863" y="738"/>
                    </a:lnTo>
                    <a:lnTo>
                      <a:pt x="1860" y="731"/>
                    </a:lnTo>
                    <a:lnTo>
                      <a:pt x="1839" y="714"/>
                    </a:lnTo>
                    <a:lnTo>
                      <a:pt x="1820" y="714"/>
                    </a:lnTo>
                    <a:lnTo>
                      <a:pt x="1815" y="707"/>
                    </a:lnTo>
                    <a:lnTo>
                      <a:pt x="1820" y="695"/>
                    </a:lnTo>
                    <a:lnTo>
                      <a:pt x="1811" y="662"/>
                    </a:lnTo>
                    <a:lnTo>
                      <a:pt x="1804" y="653"/>
                    </a:lnTo>
                    <a:lnTo>
                      <a:pt x="1796" y="651"/>
                    </a:lnTo>
                    <a:lnTo>
                      <a:pt x="1794" y="639"/>
                    </a:lnTo>
                    <a:lnTo>
                      <a:pt x="1794" y="625"/>
                    </a:lnTo>
                    <a:lnTo>
                      <a:pt x="1804" y="622"/>
                    </a:lnTo>
                    <a:lnTo>
                      <a:pt x="1811" y="622"/>
                    </a:lnTo>
                    <a:lnTo>
                      <a:pt x="1815" y="627"/>
                    </a:lnTo>
                    <a:lnTo>
                      <a:pt x="1818" y="646"/>
                    </a:lnTo>
                    <a:lnTo>
                      <a:pt x="1825" y="651"/>
                    </a:lnTo>
                    <a:lnTo>
                      <a:pt x="1818" y="667"/>
                    </a:lnTo>
                    <a:lnTo>
                      <a:pt x="1822" y="686"/>
                    </a:lnTo>
                    <a:lnTo>
                      <a:pt x="1837" y="705"/>
                    </a:lnTo>
                    <a:lnTo>
                      <a:pt x="1853" y="705"/>
                    </a:lnTo>
                    <a:lnTo>
                      <a:pt x="1865" y="707"/>
                    </a:lnTo>
                    <a:lnTo>
                      <a:pt x="1870" y="712"/>
                    </a:lnTo>
                    <a:lnTo>
                      <a:pt x="1882" y="729"/>
                    </a:lnTo>
                    <a:lnTo>
                      <a:pt x="1891" y="733"/>
                    </a:lnTo>
                    <a:lnTo>
                      <a:pt x="1917" y="731"/>
                    </a:lnTo>
                    <a:lnTo>
                      <a:pt x="1919" y="719"/>
                    </a:lnTo>
                    <a:lnTo>
                      <a:pt x="1919" y="707"/>
                    </a:lnTo>
                    <a:lnTo>
                      <a:pt x="1917" y="700"/>
                    </a:lnTo>
                    <a:lnTo>
                      <a:pt x="1898" y="698"/>
                    </a:lnTo>
                    <a:lnTo>
                      <a:pt x="1889" y="684"/>
                    </a:lnTo>
                    <a:lnTo>
                      <a:pt x="1877" y="684"/>
                    </a:lnTo>
                    <a:lnTo>
                      <a:pt x="1853" y="695"/>
                    </a:lnTo>
                    <a:lnTo>
                      <a:pt x="1844" y="686"/>
                    </a:lnTo>
                    <a:lnTo>
                      <a:pt x="1839" y="677"/>
                    </a:lnTo>
                    <a:lnTo>
                      <a:pt x="1830" y="665"/>
                    </a:lnTo>
                    <a:lnTo>
                      <a:pt x="1832" y="651"/>
                    </a:lnTo>
                    <a:lnTo>
                      <a:pt x="1846" y="634"/>
                    </a:lnTo>
                    <a:lnTo>
                      <a:pt x="1856" y="627"/>
                    </a:lnTo>
                    <a:lnTo>
                      <a:pt x="1851" y="620"/>
                    </a:lnTo>
                    <a:lnTo>
                      <a:pt x="1837" y="613"/>
                    </a:lnTo>
                    <a:lnTo>
                      <a:pt x="1811" y="610"/>
                    </a:lnTo>
                    <a:lnTo>
                      <a:pt x="1811" y="603"/>
                    </a:lnTo>
                    <a:lnTo>
                      <a:pt x="1813" y="596"/>
                    </a:lnTo>
                    <a:lnTo>
                      <a:pt x="1799" y="608"/>
                    </a:lnTo>
                    <a:lnTo>
                      <a:pt x="1789" y="601"/>
                    </a:lnTo>
                    <a:lnTo>
                      <a:pt x="1775" y="599"/>
                    </a:lnTo>
                    <a:lnTo>
                      <a:pt x="1747" y="580"/>
                    </a:lnTo>
                    <a:lnTo>
                      <a:pt x="1740" y="563"/>
                    </a:lnTo>
                    <a:lnTo>
                      <a:pt x="1740" y="549"/>
                    </a:lnTo>
                    <a:lnTo>
                      <a:pt x="1740" y="516"/>
                    </a:lnTo>
                    <a:lnTo>
                      <a:pt x="1735" y="495"/>
                    </a:lnTo>
                    <a:lnTo>
                      <a:pt x="1683" y="407"/>
                    </a:lnTo>
                    <a:lnTo>
                      <a:pt x="1655" y="381"/>
                    </a:lnTo>
                    <a:lnTo>
                      <a:pt x="1645" y="357"/>
                    </a:lnTo>
                    <a:lnTo>
                      <a:pt x="1636" y="350"/>
                    </a:lnTo>
                    <a:lnTo>
                      <a:pt x="1629" y="346"/>
                    </a:lnTo>
                    <a:lnTo>
                      <a:pt x="1619" y="336"/>
                    </a:lnTo>
                    <a:lnTo>
                      <a:pt x="1629" y="331"/>
                    </a:lnTo>
                    <a:lnTo>
                      <a:pt x="1633" y="331"/>
                    </a:lnTo>
                    <a:lnTo>
                      <a:pt x="1626" y="336"/>
                    </a:lnTo>
                    <a:lnTo>
                      <a:pt x="1631" y="341"/>
                    </a:lnTo>
                    <a:lnTo>
                      <a:pt x="1638" y="338"/>
                    </a:lnTo>
                    <a:lnTo>
                      <a:pt x="1643" y="334"/>
                    </a:lnTo>
                    <a:lnTo>
                      <a:pt x="1657" y="312"/>
                    </a:lnTo>
                    <a:lnTo>
                      <a:pt x="1671" y="279"/>
                    </a:lnTo>
                    <a:lnTo>
                      <a:pt x="1674" y="268"/>
                    </a:lnTo>
                    <a:lnTo>
                      <a:pt x="1711" y="282"/>
                    </a:lnTo>
                    <a:lnTo>
                      <a:pt x="1737" y="286"/>
                    </a:lnTo>
                    <a:lnTo>
                      <a:pt x="1747" y="286"/>
                    </a:lnTo>
                    <a:lnTo>
                      <a:pt x="1782" y="289"/>
                    </a:lnTo>
                    <a:lnTo>
                      <a:pt x="1792" y="289"/>
                    </a:lnTo>
                    <a:lnTo>
                      <a:pt x="1811" y="282"/>
                    </a:lnTo>
                    <a:lnTo>
                      <a:pt x="1834" y="265"/>
                    </a:lnTo>
                    <a:lnTo>
                      <a:pt x="1858" y="242"/>
                    </a:lnTo>
                    <a:lnTo>
                      <a:pt x="1860" y="237"/>
                    </a:lnTo>
                    <a:lnTo>
                      <a:pt x="1863" y="239"/>
                    </a:lnTo>
                    <a:lnTo>
                      <a:pt x="1863" y="237"/>
                    </a:lnTo>
                    <a:lnTo>
                      <a:pt x="1867" y="227"/>
                    </a:lnTo>
                    <a:lnTo>
                      <a:pt x="1877" y="204"/>
                    </a:lnTo>
                    <a:lnTo>
                      <a:pt x="1891" y="182"/>
                    </a:lnTo>
                    <a:lnTo>
                      <a:pt x="1936" y="140"/>
                    </a:lnTo>
                    <a:lnTo>
                      <a:pt x="1957" y="121"/>
                    </a:lnTo>
                    <a:lnTo>
                      <a:pt x="1964" y="114"/>
                    </a:lnTo>
                    <a:lnTo>
                      <a:pt x="1971" y="109"/>
                    </a:lnTo>
                    <a:lnTo>
                      <a:pt x="1974" y="116"/>
                    </a:lnTo>
                    <a:lnTo>
                      <a:pt x="1974" y="119"/>
                    </a:lnTo>
                    <a:lnTo>
                      <a:pt x="1974" y="121"/>
                    </a:lnTo>
                    <a:lnTo>
                      <a:pt x="1971" y="121"/>
                    </a:lnTo>
                    <a:lnTo>
                      <a:pt x="1964" y="128"/>
                    </a:lnTo>
                    <a:lnTo>
                      <a:pt x="1957" y="130"/>
                    </a:lnTo>
                    <a:lnTo>
                      <a:pt x="1955" y="133"/>
                    </a:lnTo>
                    <a:lnTo>
                      <a:pt x="1957" y="133"/>
                    </a:lnTo>
                    <a:lnTo>
                      <a:pt x="1971" y="130"/>
                    </a:lnTo>
                    <a:lnTo>
                      <a:pt x="1981" y="126"/>
                    </a:lnTo>
                    <a:lnTo>
                      <a:pt x="2016" y="123"/>
                    </a:lnTo>
                    <a:lnTo>
                      <a:pt x="2040" y="111"/>
                    </a:lnTo>
                    <a:lnTo>
                      <a:pt x="2042" y="107"/>
                    </a:lnTo>
                    <a:lnTo>
                      <a:pt x="2075" y="90"/>
                    </a:lnTo>
                    <a:lnTo>
                      <a:pt x="2078" y="93"/>
                    </a:lnTo>
                    <a:lnTo>
                      <a:pt x="2082" y="95"/>
                    </a:lnTo>
                    <a:lnTo>
                      <a:pt x="2071" y="109"/>
                    </a:lnTo>
                    <a:lnTo>
                      <a:pt x="2075" y="114"/>
                    </a:lnTo>
                    <a:lnTo>
                      <a:pt x="2066" y="130"/>
                    </a:lnTo>
                    <a:lnTo>
                      <a:pt x="2075" y="133"/>
                    </a:lnTo>
                    <a:lnTo>
                      <a:pt x="2078" y="142"/>
                    </a:lnTo>
                    <a:lnTo>
                      <a:pt x="2078" y="135"/>
                    </a:lnTo>
                    <a:lnTo>
                      <a:pt x="2080" y="126"/>
                    </a:lnTo>
                    <a:lnTo>
                      <a:pt x="2085" y="116"/>
                    </a:lnTo>
                    <a:lnTo>
                      <a:pt x="2087" y="109"/>
                    </a:lnTo>
                    <a:lnTo>
                      <a:pt x="2094" y="114"/>
                    </a:lnTo>
                    <a:lnTo>
                      <a:pt x="2111" y="109"/>
                    </a:lnTo>
                    <a:lnTo>
                      <a:pt x="2092" y="104"/>
                    </a:lnTo>
                    <a:lnTo>
                      <a:pt x="2085" y="85"/>
                    </a:lnTo>
                    <a:lnTo>
                      <a:pt x="2078" y="83"/>
                    </a:lnTo>
                    <a:lnTo>
                      <a:pt x="2106" y="64"/>
                    </a:lnTo>
                    <a:lnTo>
                      <a:pt x="2127" y="55"/>
                    </a:lnTo>
                    <a:lnTo>
                      <a:pt x="2132" y="55"/>
                    </a:lnTo>
                    <a:lnTo>
                      <a:pt x="2134" y="59"/>
                    </a:lnTo>
                    <a:lnTo>
                      <a:pt x="2132" y="62"/>
                    </a:lnTo>
                    <a:lnTo>
                      <a:pt x="2127" y="64"/>
                    </a:lnTo>
                    <a:lnTo>
                      <a:pt x="2123" y="69"/>
                    </a:lnTo>
                    <a:lnTo>
                      <a:pt x="2123" y="74"/>
                    </a:lnTo>
                    <a:lnTo>
                      <a:pt x="2125" y="76"/>
                    </a:lnTo>
                    <a:lnTo>
                      <a:pt x="2137" y="74"/>
                    </a:lnTo>
                    <a:lnTo>
                      <a:pt x="2142" y="69"/>
                    </a:lnTo>
                    <a:lnTo>
                      <a:pt x="2160" y="74"/>
                    </a:lnTo>
                    <a:lnTo>
                      <a:pt x="2168" y="74"/>
                    </a:lnTo>
                    <a:lnTo>
                      <a:pt x="2170" y="69"/>
                    </a:lnTo>
                    <a:lnTo>
                      <a:pt x="2196" y="74"/>
                    </a:lnTo>
                    <a:lnTo>
                      <a:pt x="2201" y="74"/>
                    </a:lnTo>
                    <a:lnTo>
                      <a:pt x="2220" y="64"/>
                    </a:lnTo>
                    <a:lnTo>
                      <a:pt x="2238" y="50"/>
                    </a:lnTo>
                    <a:lnTo>
                      <a:pt x="2246" y="43"/>
                    </a:lnTo>
                    <a:lnTo>
                      <a:pt x="2262" y="24"/>
                    </a:lnTo>
                    <a:lnTo>
                      <a:pt x="2274" y="10"/>
                    </a:lnTo>
                    <a:lnTo>
                      <a:pt x="2293" y="0"/>
                    </a:lnTo>
                    <a:lnTo>
                      <a:pt x="2298" y="3"/>
                    </a:lnTo>
                    <a:lnTo>
                      <a:pt x="2290" y="5"/>
                    </a:lnTo>
                    <a:lnTo>
                      <a:pt x="2286" y="10"/>
                    </a:lnTo>
                    <a:lnTo>
                      <a:pt x="2290" y="19"/>
                    </a:lnTo>
                    <a:lnTo>
                      <a:pt x="2321" y="41"/>
                    </a:lnTo>
                    <a:lnTo>
                      <a:pt x="2331" y="45"/>
                    </a:lnTo>
                    <a:lnTo>
                      <a:pt x="2331" y="55"/>
                    </a:lnTo>
                    <a:lnTo>
                      <a:pt x="2326" y="64"/>
                    </a:lnTo>
                    <a:lnTo>
                      <a:pt x="2316" y="74"/>
                    </a:lnTo>
                    <a:lnTo>
                      <a:pt x="2295" y="81"/>
                    </a:lnTo>
                    <a:lnTo>
                      <a:pt x="2300" y="85"/>
                    </a:lnTo>
                    <a:lnTo>
                      <a:pt x="2302" y="97"/>
                    </a:lnTo>
                    <a:lnTo>
                      <a:pt x="2307" y="97"/>
                    </a:lnTo>
                    <a:lnTo>
                      <a:pt x="2316" y="97"/>
                    </a:lnTo>
                    <a:lnTo>
                      <a:pt x="2326" y="93"/>
                    </a:lnTo>
                    <a:lnTo>
                      <a:pt x="2342" y="74"/>
                    </a:lnTo>
                    <a:lnTo>
                      <a:pt x="2350" y="64"/>
                    </a:lnTo>
                    <a:lnTo>
                      <a:pt x="2352" y="62"/>
                    </a:lnTo>
                    <a:lnTo>
                      <a:pt x="2364" y="67"/>
                    </a:lnTo>
                    <a:lnTo>
                      <a:pt x="2368" y="74"/>
                    </a:lnTo>
                    <a:lnTo>
                      <a:pt x="2376" y="85"/>
                    </a:lnTo>
                    <a:lnTo>
                      <a:pt x="2371" y="95"/>
                    </a:lnTo>
                    <a:lnTo>
                      <a:pt x="2366" y="100"/>
                    </a:lnTo>
                    <a:lnTo>
                      <a:pt x="2376" y="109"/>
                    </a:lnTo>
                    <a:lnTo>
                      <a:pt x="2385" y="111"/>
                    </a:lnTo>
                    <a:lnTo>
                      <a:pt x="2394" y="119"/>
                    </a:lnTo>
                    <a:lnTo>
                      <a:pt x="2413" y="109"/>
                    </a:lnTo>
                    <a:lnTo>
                      <a:pt x="2425" y="109"/>
                    </a:lnTo>
                    <a:lnTo>
                      <a:pt x="2435" y="111"/>
                    </a:lnTo>
                    <a:lnTo>
                      <a:pt x="2451" y="107"/>
                    </a:lnTo>
                    <a:lnTo>
                      <a:pt x="2472" y="119"/>
                    </a:lnTo>
                    <a:lnTo>
                      <a:pt x="2480" y="119"/>
                    </a:lnTo>
                    <a:lnTo>
                      <a:pt x="2489" y="121"/>
                    </a:lnTo>
                    <a:lnTo>
                      <a:pt x="2498" y="128"/>
                    </a:lnTo>
                    <a:lnTo>
                      <a:pt x="2501" y="135"/>
                    </a:lnTo>
                    <a:lnTo>
                      <a:pt x="2487" y="145"/>
                    </a:lnTo>
                    <a:lnTo>
                      <a:pt x="2484" y="159"/>
                    </a:lnTo>
                    <a:lnTo>
                      <a:pt x="2487" y="163"/>
                    </a:lnTo>
                    <a:lnTo>
                      <a:pt x="2494" y="166"/>
                    </a:lnTo>
                    <a:lnTo>
                      <a:pt x="2494" y="173"/>
                    </a:lnTo>
                    <a:lnTo>
                      <a:pt x="2498" y="175"/>
                    </a:lnTo>
                    <a:lnTo>
                      <a:pt x="2520" y="178"/>
                    </a:lnTo>
                    <a:lnTo>
                      <a:pt x="2517" y="182"/>
                    </a:lnTo>
                    <a:lnTo>
                      <a:pt x="2515" y="185"/>
                    </a:lnTo>
                    <a:lnTo>
                      <a:pt x="2508" y="194"/>
                    </a:lnTo>
                    <a:lnTo>
                      <a:pt x="2546" y="206"/>
                    </a:lnTo>
                    <a:lnTo>
                      <a:pt x="2553" y="201"/>
                    </a:lnTo>
                    <a:lnTo>
                      <a:pt x="2560" y="199"/>
                    </a:lnTo>
                    <a:lnTo>
                      <a:pt x="2579" y="194"/>
                    </a:lnTo>
                    <a:lnTo>
                      <a:pt x="2584" y="199"/>
                    </a:lnTo>
                    <a:lnTo>
                      <a:pt x="2591" y="206"/>
                    </a:lnTo>
                    <a:lnTo>
                      <a:pt x="2598" y="208"/>
                    </a:lnTo>
                    <a:lnTo>
                      <a:pt x="2605" y="208"/>
                    </a:lnTo>
                    <a:lnTo>
                      <a:pt x="2621" y="199"/>
                    </a:lnTo>
                    <a:lnTo>
                      <a:pt x="2638" y="201"/>
                    </a:lnTo>
                    <a:lnTo>
                      <a:pt x="2645" y="206"/>
                    </a:lnTo>
                    <a:lnTo>
                      <a:pt x="2652" y="204"/>
                    </a:lnTo>
                    <a:lnTo>
                      <a:pt x="2676" y="220"/>
                    </a:lnTo>
                    <a:lnTo>
                      <a:pt x="2683" y="223"/>
                    </a:lnTo>
                    <a:lnTo>
                      <a:pt x="2692" y="239"/>
                    </a:lnTo>
                    <a:lnTo>
                      <a:pt x="2699" y="239"/>
                    </a:lnTo>
                    <a:lnTo>
                      <a:pt x="2707" y="234"/>
                    </a:lnTo>
                    <a:lnTo>
                      <a:pt x="2711" y="234"/>
                    </a:lnTo>
                    <a:lnTo>
                      <a:pt x="2716" y="242"/>
                    </a:lnTo>
                    <a:lnTo>
                      <a:pt x="2725" y="244"/>
                    </a:lnTo>
                    <a:lnTo>
                      <a:pt x="2730" y="256"/>
                    </a:lnTo>
                    <a:lnTo>
                      <a:pt x="2735" y="260"/>
                    </a:lnTo>
                    <a:lnTo>
                      <a:pt x="2768" y="270"/>
                    </a:lnTo>
                    <a:lnTo>
                      <a:pt x="2787" y="268"/>
                    </a:lnTo>
                    <a:lnTo>
                      <a:pt x="2811" y="272"/>
                    </a:lnTo>
                    <a:lnTo>
                      <a:pt x="2822" y="277"/>
                    </a:lnTo>
                    <a:lnTo>
                      <a:pt x="2837" y="277"/>
                    </a:lnTo>
                    <a:lnTo>
                      <a:pt x="2855" y="296"/>
                    </a:lnTo>
                    <a:lnTo>
                      <a:pt x="2867" y="301"/>
                    </a:lnTo>
                    <a:lnTo>
                      <a:pt x="2870" y="305"/>
                    </a:lnTo>
                    <a:lnTo>
                      <a:pt x="2900" y="310"/>
                    </a:lnTo>
                    <a:lnTo>
                      <a:pt x="2912" y="303"/>
                    </a:lnTo>
                    <a:lnTo>
                      <a:pt x="2931" y="301"/>
                    </a:lnTo>
                    <a:lnTo>
                      <a:pt x="2950" y="294"/>
                    </a:lnTo>
                    <a:lnTo>
                      <a:pt x="2959" y="294"/>
                    </a:lnTo>
                    <a:lnTo>
                      <a:pt x="2971" y="296"/>
                    </a:lnTo>
                    <a:lnTo>
                      <a:pt x="2976" y="296"/>
                    </a:lnTo>
                    <a:lnTo>
                      <a:pt x="2978" y="294"/>
                    </a:lnTo>
                    <a:lnTo>
                      <a:pt x="3007" y="308"/>
                    </a:lnTo>
                    <a:lnTo>
                      <a:pt x="3021" y="324"/>
                    </a:lnTo>
                    <a:lnTo>
                      <a:pt x="3028" y="336"/>
                    </a:lnTo>
                    <a:lnTo>
                      <a:pt x="3061" y="353"/>
                    </a:lnTo>
                    <a:lnTo>
                      <a:pt x="3071" y="362"/>
                    </a:lnTo>
                    <a:lnTo>
                      <a:pt x="3078" y="372"/>
                    </a:lnTo>
                    <a:lnTo>
                      <a:pt x="3080" y="372"/>
                    </a:lnTo>
                    <a:lnTo>
                      <a:pt x="3085" y="369"/>
                    </a:lnTo>
                    <a:lnTo>
                      <a:pt x="3097" y="372"/>
                    </a:lnTo>
                    <a:lnTo>
                      <a:pt x="3101" y="372"/>
                    </a:lnTo>
                    <a:close/>
                    <a:moveTo>
                      <a:pt x="1558" y="665"/>
                    </a:moveTo>
                    <a:lnTo>
                      <a:pt x="1555" y="665"/>
                    </a:lnTo>
                    <a:lnTo>
                      <a:pt x="1558" y="662"/>
                    </a:lnTo>
                    <a:lnTo>
                      <a:pt x="1565" y="660"/>
                    </a:lnTo>
                    <a:lnTo>
                      <a:pt x="1581" y="655"/>
                    </a:lnTo>
                    <a:lnTo>
                      <a:pt x="1579" y="658"/>
                    </a:lnTo>
                    <a:lnTo>
                      <a:pt x="1572" y="662"/>
                    </a:lnTo>
                    <a:lnTo>
                      <a:pt x="1558" y="665"/>
                    </a:lnTo>
                    <a:close/>
                    <a:moveTo>
                      <a:pt x="1109" y="927"/>
                    </a:moveTo>
                    <a:lnTo>
                      <a:pt x="1109" y="930"/>
                    </a:lnTo>
                    <a:lnTo>
                      <a:pt x="1116" y="932"/>
                    </a:lnTo>
                    <a:lnTo>
                      <a:pt x="1123" y="937"/>
                    </a:lnTo>
                    <a:lnTo>
                      <a:pt x="1132" y="944"/>
                    </a:lnTo>
                    <a:lnTo>
                      <a:pt x="1144" y="946"/>
                    </a:lnTo>
                    <a:lnTo>
                      <a:pt x="1158" y="941"/>
                    </a:lnTo>
                    <a:lnTo>
                      <a:pt x="1168" y="941"/>
                    </a:lnTo>
                    <a:lnTo>
                      <a:pt x="1175" y="941"/>
                    </a:lnTo>
                    <a:lnTo>
                      <a:pt x="1184" y="946"/>
                    </a:lnTo>
                    <a:lnTo>
                      <a:pt x="1189" y="956"/>
                    </a:lnTo>
                    <a:lnTo>
                      <a:pt x="1191" y="960"/>
                    </a:lnTo>
                    <a:lnTo>
                      <a:pt x="1191" y="967"/>
                    </a:lnTo>
                    <a:lnTo>
                      <a:pt x="1191" y="974"/>
                    </a:lnTo>
                    <a:lnTo>
                      <a:pt x="1191" y="979"/>
                    </a:lnTo>
                    <a:lnTo>
                      <a:pt x="1203" y="991"/>
                    </a:lnTo>
                    <a:lnTo>
                      <a:pt x="1213" y="998"/>
                    </a:lnTo>
                    <a:lnTo>
                      <a:pt x="1215" y="1001"/>
                    </a:lnTo>
                    <a:lnTo>
                      <a:pt x="1215" y="1008"/>
                    </a:lnTo>
                    <a:lnTo>
                      <a:pt x="1222" y="1012"/>
                    </a:lnTo>
                    <a:lnTo>
                      <a:pt x="1229" y="1015"/>
                    </a:lnTo>
                    <a:lnTo>
                      <a:pt x="1234" y="1017"/>
                    </a:lnTo>
                    <a:lnTo>
                      <a:pt x="1248" y="1022"/>
                    </a:lnTo>
                    <a:lnTo>
                      <a:pt x="1265" y="1034"/>
                    </a:lnTo>
                    <a:lnTo>
                      <a:pt x="1258" y="1045"/>
                    </a:lnTo>
                    <a:lnTo>
                      <a:pt x="1250" y="1050"/>
                    </a:lnTo>
                    <a:lnTo>
                      <a:pt x="1234" y="1043"/>
                    </a:lnTo>
                    <a:lnTo>
                      <a:pt x="1217" y="1038"/>
                    </a:lnTo>
                    <a:lnTo>
                      <a:pt x="1208" y="1043"/>
                    </a:lnTo>
                    <a:lnTo>
                      <a:pt x="1198" y="1050"/>
                    </a:lnTo>
                    <a:lnTo>
                      <a:pt x="1196" y="1060"/>
                    </a:lnTo>
                    <a:lnTo>
                      <a:pt x="1191" y="1062"/>
                    </a:lnTo>
                    <a:lnTo>
                      <a:pt x="1187" y="1062"/>
                    </a:lnTo>
                    <a:lnTo>
                      <a:pt x="1187" y="1057"/>
                    </a:lnTo>
                    <a:lnTo>
                      <a:pt x="1187" y="1041"/>
                    </a:lnTo>
                    <a:lnTo>
                      <a:pt x="1187" y="1036"/>
                    </a:lnTo>
                    <a:lnTo>
                      <a:pt x="1184" y="1034"/>
                    </a:lnTo>
                    <a:lnTo>
                      <a:pt x="1177" y="1027"/>
                    </a:lnTo>
                    <a:lnTo>
                      <a:pt x="1170" y="1019"/>
                    </a:lnTo>
                    <a:lnTo>
                      <a:pt x="1165" y="1017"/>
                    </a:lnTo>
                    <a:lnTo>
                      <a:pt x="1165" y="1012"/>
                    </a:lnTo>
                    <a:lnTo>
                      <a:pt x="1165" y="1003"/>
                    </a:lnTo>
                    <a:lnTo>
                      <a:pt x="1163" y="998"/>
                    </a:lnTo>
                    <a:lnTo>
                      <a:pt x="1158" y="991"/>
                    </a:lnTo>
                    <a:lnTo>
                      <a:pt x="1153" y="984"/>
                    </a:lnTo>
                    <a:lnTo>
                      <a:pt x="1137" y="967"/>
                    </a:lnTo>
                    <a:lnTo>
                      <a:pt x="1130" y="965"/>
                    </a:lnTo>
                    <a:lnTo>
                      <a:pt x="1123" y="963"/>
                    </a:lnTo>
                    <a:lnTo>
                      <a:pt x="1116" y="965"/>
                    </a:lnTo>
                    <a:lnTo>
                      <a:pt x="1106" y="967"/>
                    </a:lnTo>
                    <a:lnTo>
                      <a:pt x="1097" y="970"/>
                    </a:lnTo>
                    <a:lnTo>
                      <a:pt x="1090" y="967"/>
                    </a:lnTo>
                    <a:lnTo>
                      <a:pt x="1083" y="963"/>
                    </a:lnTo>
                    <a:lnTo>
                      <a:pt x="1078" y="956"/>
                    </a:lnTo>
                    <a:lnTo>
                      <a:pt x="1078" y="948"/>
                    </a:lnTo>
                    <a:lnTo>
                      <a:pt x="1078" y="941"/>
                    </a:lnTo>
                    <a:lnTo>
                      <a:pt x="1080" y="934"/>
                    </a:lnTo>
                    <a:lnTo>
                      <a:pt x="1085" y="927"/>
                    </a:lnTo>
                    <a:lnTo>
                      <a:pt x="1094" y="911"/>
                    </a:lnTo>
                    <a:lnTo>
                      <a:pt x="1101" y="911"/>
                    </a:lnTo>
                    <a:lnTo>
                      <a:pt x="1109" y="927"/>
                    </a:lnTo>
                    <a:close/>
                    <a:moveTo>
                      <a:pt x="2584" y="1686"/>
                    </a:moveTo>
                    <a:lnTo>
                      <a:pt x="2574" y="1686"/>
                    </a:lnTo>
                    <a:lnTo>
                      <a:pt x="2572" y="1684"/>
                    </a:lnTo>
                    <a:lnTo>
                      <a:pt x="2572" y="1681"/>
                    </a:lnTo>
                    <a:lnTo>
                      <a:pt x="2574" y="1674"/>
                    </a:lnTo>
                    <a:lnTo>
                      <a:pt x="2574" y="1672"/>
                    </a:lnTo>
                    <a:lnTo>
                      <a:pt x="2579" y="1672"/>
                    </a:lnTo>
                    <a:lnTo>
                      <a:pt x="2584" y="1674"/>
                    </a:lnTo>
                    <a:lnTo>
                      <a:pt x="2584" y="1679"/>
                    </a:lnTo>
                    <a:lnTo>
                      <a:pt x="2584" y="1686"/>
                    </a:lnTo>
                    <a:close/>
                    <a:moveTo>
                      <a:pt x="860" y="1332"/>
                    </a:moveTo>
                    <a:lnTo>
                      <a:pt x="872" y="1346"/>
                    </a:lnTo>
                    <a:lnTo>
                      <a:pt x="882" y="1348"/>
                    </a:lnTo>
                    <a:lnTo>
                      <a:pt x="886" y="1360"/>
                    </a:lnTo>
                    <a:lnTo>
                      <a:pt x="886" y="1367"/>
                    </a:lnTo>
                    <a:lnTo>
                      <a:pt x="877" y="1358"/>
                    </a:lnTo>
                    <a:lnTo>
                      <a:pt x="860" y="1353"/>
                    </a:lnTo>
                    <a:lnTo>
                      <a:pt x="846" y="1324"/>
                    </a:lnTo>
                    <a:lnTo>
                      <a:pt x="841" y="1317"/>
                    </a:lnTo>
                    <a:lnTo>
                      <a:pt x="846" y="1308"/>
                    </a:lnTo>
                    <a:lnTo>
                      <a:pt x="856" y="1308"/>
                    </a:lnTo>
                    <a:lnTo>
                      <a:pt x="856" y="1322"/>
                    </a:lnTo>
                    <a:lnTo>
                      <a:pt x="860" y="1332"/>
                    </a:lnTo>
                    <a:close/>
                    <a:moveTo>
                      <a:pt x="2288" y="1719"/>
                    </a:moveTo>
                    <a:lnTo>
                      <a:pt x="2283" y="1719"/>
                    </a:lnTo>
                    <a:lnTo>
                      <a:pt x="2288" y="1712"/>
                    </a:lnTo>
                    <a:lnTo>
                      <a:pt x="2295" y="1698"/>
                    </a:lnTo>
                    <a:lnTo>
                      <a:pt x="2298" y="1700"/>
                    </a:lnTo>
                    <a:lnTo>
                      <a:pt x="2298" y="1703"/>
                    </a:lnTo>
                    <a:lnTo>
                      <a:pt x="2290" y="1717"/>
                    </a:lnTo>
                    <a:lnTo>
                      <a:pt x="2288" y="1719"/>
                    </a:lnTo>
                    <a:close/>
                    <a:moveTo>
                      <a:pt x="2598" y="1743"/>
                    </a:moveTo>
                    <a:lnTo>
                      <a:pt x="2598" y="1745"/>
                    </a:lnTo>
                    <a:lnTo>
                      <a:pt x="2595" y="1750"/>
                    </a:lnTo>
                    <a:lnTo>
                      <a:pt x="2598" y="1757"/>
                    </a:lnTo>
                    <a:lnTo>
                      <a:pt x="2593" y="1767"/>
                    </a:lnTo>
                    <a:lnTo>
                      <a:pt x="2591" y="1774"/>
                    </a:lnTo>
                    <a:lnTo>
                      <a:pt x="2588" y="1778"/>
                    </a:lnTo>
                    <a:lnTo>
                      <a:pt x="2586" y="1781"/>
                    </a:lnTo>
                    <a:lnTo>
                      <a:pt x="2584" y="1778"/>
                    </a:lnTo>
                    <a:lnTo>
                      <a:pt x="2584" y="1776"/>
                    </a:lnTo>
                    <a:lnTo>
                      <a:pt x="2584" y="1774"/>
                    </a:lnTo>
                    <a:lnTo>
                      <a:pt x="2579" y="1774"/>
                    </a:lnTo>
                    <a:lnTo>
                      <a:pt x="2579" y="1762"/>
                    </a:lnTo>
                    <a:lnTo>
                      <a:pt x="2584" y="1760"/>
                    </a:lnTo>
                    <a:lnTo>
                      <a:pt x="2584" y="1755"/>
                    </a:lnTo>
                    <a:lnTo>
                      <a:pt x="2584" y="1752"/>
                    </a:lnTo>
                    <a:lnTo>
                      <a:pt x="2588" y="1741"/>
                    </a:lnTo>
                    <a:lnTo>
                      <a:pt x="2591" y="1738"/>
                    </a:lnTo>
                    <a:lnTo>
                      <a:pt x="2591" y="1743"/>
                    </a:lnTo>
                    <a:lnTo>
                      <a:pt x="2591" y="1743"/>
                    </a:lnTo>
                    <a:lnTo>
                      <a:pt x="2593" y="1743"/>
                    </a:lnTo>
                    <a:lnTo>
                      <a:pt x="2595" y="1736"/>
                    </a:lnTo>
                    <a:lnTo>
                      <a:pt x="2598" y="1736"/>
                    </a:lnTo>
                    <a:lnTo>
                      <a:pt x="2598" y="1743"/>
                    </a:lnTo>
                    <a:close/>
                    <a:moveTo>
                      <a:pt x="2688" y="1750"/>
                    </a:moveTo>
                    <a:lnTo>
                      <a:pt x="2690" y="1755"/>
                    </a:lnTo>
                    <a:lnTo>
                      <a:pt x="2704" y="1755"/>
                    </a:lnTo>
                    <a:lnTo>
                      <a:pt x="2707" y="1755"/>
                    </a:lnTo>
                    <a:lnTo>
                      <a:pt x="2709" y="1757"/>
                    </a:lnTo>
                    <a:lnTo>
                      <a:pt x="2707" y="1760"/>
                    </a:lnTo>
                    <a:lnTo>
                      <a:pt x="2702" y="1762"/>
                    </a:lnTo>
                    <a:lnTo>
                      <a:pt x="2685" y="1769"/>
                    </a:lnTo>
                    <a:lnTo>
                      <a:pt x="2671" y="1776"/>
                    </a:lnTo>
                    <a:lnTo>
                      <a:pt x="2671" y="1774"/>
                    </a:lnTo>
                    <a:lnTo>
                      <a:pt x="2669" y="1764"/>
                    </a:lnTo>
                    <a:lnTo>
                      <a:pt x="2666" y="1762"/>
                    </a:lnTo>
                    <a:lnTo>
                      <a:pt x="2666" y="1757"/>
                    </a:lnTo>
                    <a:lnTo>
                      <a:pt x="2666" y="1755"/>
                    </a:lnTo>
                    <a:lnTo>
                      <a:pt x="2669" y="1750"/>
                    </a:lnTo>
                    <a:lnTo>
                      <a:pt x="2673" y="1745"/>
                    </a:lnTo>
                    <a:lnTo>
                      <a:pt x="2676" y="1745"/>
                    </a:lnTo>
                    <a:lnTo>
                      <a:pt x="2688" y="1750"/>
                    </a:lnTo>
                    <a:close/>
                    <a:moveTo>
                      <a:pt x="2777" y="1774"/>
                    </a:moveTo>
                    <a:lnTo>
                      <a:pt x="2775" y="1776"/>
                    </a:lnTo>
                    <a:lnTo>
                      <a:pt x="2770" y="1774"/>
                    </a:lnTo>
                    <a:lnTo>
                      <a:pt x="2766" y="1771"/>
                    </a:lnTo>
                    <a:lnTo>
                      <a:pt x="2777" y="1764"/>
                    </a:lnTo>
                    <a:lnTo>
                      <a:pt x="2780" y="1767"/>
                    </a:lnTo>
                    <a:lnTo>
                      <a:pt x="2777" y="1774"/>
                    </a:lnTo>
                    <a:close/>
                    <a:moveTo>
                      <a:pt x="1302" y="1497"/>
                    </a:moveTo>
                    <a:lnTo>
                      <a:pt x="1307" y="1504"/>
                    </a:lnTo>
                    <a:lnTo>
                      <a:pt x="1312" y="1507"/>
                    </a:lnTo>
                    <a:lnTo>
                      <a:pt x="1321" y="1507"/>
                    </a:lnTo>
                    <a:lnTo>
                      <a:pt x="1326" y="1511"/>
                    </a:lnTo>
                    <a:lnTo>
                      <a:pt x="1328" y="1514"/>
                    </a:lnTo>
                    <a:lnTo>
                      <a:pt x="1328" y="1518"/>
                    </a:lnTo>
                    <a:lnTo>
                      <a:pt x="1326" y="1528"/>
                    </a:lnTo>
                    <a:lnTo>
                      <a:pt x="1324" y="1535"/>
                    </a:lnTo>
                    <a:lnTo>
                      <a:pt x="1321" y="1544"/>
                    </a:lnTo>
                    <a:lnTo>
                      <a:pt x="1319" y="1549"/>
                    </a:lnTo>
                    <a:lnTo>
                      <a:pt x="1324" y="1556"/>
                    </a:lnTo>
                    <a:lnTo>
                      <a:pt x="1321" y="1563"/>
                    </a:lnTo>
                    <a:lnTo>
                      <a:pt x="1321" y="1573"/>
                    </a:lnTo>
                    <a:lnTo>
                      <a:pt x="1307" y="1570"/>
                    </a:lnTo>
                    <a:lnTo>
                      <a:pt x="1295" y="1568"/>
                    </a:lnTo>
                    <a:lnTo>
                      <a:pt x="1284" y="1570"/>
                    </a:lnTo>
                    <a:lnTo>
                      <a:pt x="1279" y="1575"/>
                    </a:lnTo>
                    <a:lnTo>
                      <a:pt x="1279" y="1580"/>
                    </a:lnTo>
                    <a:lnTo>
                      <a:pt x="1276" y="1582"/>
                    </a:lnTo>
                    <a:lnTo>
                      <a:pt x="1274" y="1580"/>
                    </a:lnTo>
                    <a:lnTo>
                      <a:pt x="1269" y="1573"/>
                    </a:lnTo>
                    <a:lnTo>
                      <a:pt x="1265" y="1568"/>
                    </a:lnTo>
                    <a:lnTo>
                      <a:pt x="1248" y="1556"/>
                    </a:lnTo>
                    <a:lnTo>
                      <a:pt x="1227" y="1533"/>
                    </a:lnTo>
                    <a:lnTo>
                      <a:pt x="1217" y="1525"/>
                    </a:lnTo>
                    <a:lnTo>
                      <a:pt x="1213" y="1511"/>
                    </a:lnTo>
                    <a:lnTo>
                      <a:pt x="1206" y="1492"/>
                    </a:lnTo>
                    <a:lnTo>
                      <a:pt x="1213" y="1492"/>
                    </a:lnTo>
                    <a:lnTo>
                      <a:pt x="1220" y="1492"/>
                    </a:lnTo>
                    <a:lnTo>
                      <a:pt x="1248" y="1504"/>
                    </a:lnTo>
                    <a:lnTo>
                      <a:pt x="1255" y="1495"/>
                    </a:lnTo>
                    <a:lnTo>
                      <a:pt x="1260" y="1492"/>
                    </a:lnTo>
                    <a:lnTo>
                      <a:pt x="1269" y="1492"/>
                    </a:lnTo>
                    <a:lnTo>
                      <a:pt x="1281" y="1490"/>
                    </a:lnTo>
                    <a:lnTo>
                      <a:pt x="1284" y="1490"/>
                    </a:lnTo>
                    <a:lnTo>
                      <a:pt x="1286" y="1495"/>
                    </a:lnTo>
                    <a:lnTo>
                      <a:pt x="1295" y="1492"/>
                    </a:lnTo>
                    <a:lnTo>
                      <a:pt x="1300" y="1492"/>
                    </a:lnTo>
                    <a:lnTo>
                      <a:pt x="1302" y="1497"/>
                    </a:lnTo>
                    <a:close/>
                    <a:moveTo>
                      <a:pt x="2584" y="1833"/>
                    </a:moveTo>
                    <a:lnTo>
                      <a:pt x="2576" y="1835"/>
                    </a:lnTo>
                    <a:lnTo>
                      <a:pt x="2574" y="1830"/>
                    </a:lnTo>
                    <a:lnTo>
                      <a:pt x="2579" y="1821"/>
                    </a:lnTo>
                    <a:lnTo>
                      <a:pt x="2584" y="1814"/>
                    </a:lnTo>
                    <a:lnTo>
                      <a:pt x="2586" y="1814"/>
                    </a:lnTo>
                    <a:lnTo>
                      <a:pt x="2595" y="1802"/>
                    </a:lnTo>
                    <a:lnTo>
                      <a:pt x="2607" y="1795"/>
                    </a:lnTo>
                    <a:lnTo>
                      <a:pt x="2617" y="1783"/>
                    </a:lnTo>
                    <a:lnTo>
                      <a:pt x="2629" y="1764"/>
                    </a:lnTo>
                    <a:lnTo>
                      <a:pt x="2631" y="1760"/>
                    </a:lnTo>
                    <a:lnTo>
                      <a:pt x="2636" y="1757"/>
                    </a:lnTo>
                    <a:lnTo>
                      <a:pt x="2643" y="1764"/>
                    </a:lnTo>
                    <a:lnTo>
                      <a:pt x="2645" y="1769"/>
                    </a:lnTo>
                    <a:lnTo>
                      <a:pt x="2643" y="1774"/>
                    </a:lnTo>
                    <a:lnTo>
                      <a:pt x="2617" y="1797"/>
                    </a:lnTo>
                    <a:lnTo>
                      <a:pt x="2614" y="1802"/>
                    </a:lnTo>
                    <a:lnTo>
                      <a:pt x="2612" y="1809"/>
                    </a:lnTo>
                    <a:lnTo>
                      <a:pt x="2610" y="1814"/>
                    </a:lnTo>
                    <a:lnTo>
                      <a:pt x="2607" y="1814"/>
                    </a:lnTo>
                    <a:lnTo>
                      <a:pt x="2605" y="1819"/>
                    </a:lnTo>
                    <a:lnTo>
                      <a:pt x="2603" y="1823"/>
                    </a:lnTo>
                    <a:lnTo>
                      <a:pt x="2598" y="1826"/>
                    </a:lnTo>
                    <a:lnTo>
                      <a:pt x="2595" y="1826"/>
                    </a:lnTo>
                    <a:lnTo>
                      <a:pt x="2591" y="1828"/>
                    </a:lnTo>
                    <a:lnTo>
                      <a:pt x="2588" y="1830"/>
                    </a:lnTo>
                    <a:lnTo>
                      <a:pt x="2584" y="1833"/>
                    </a:lnTo>
                    <a:close/>
                    <a:moveTo>
                      <a:pt x="2567" y="1795"/>
                    </a:moveTo>
                    <a:lnTo>
                      <a:pt x="2562" y="1800"/>
                    </a:lnTo>
                    <a:lnTo>
                      <a:pt x="2548" y="1795"/>
                    </a:lnTo>
                    <a:lnTo>
                      <a:pt x="2553" y="1788"/>
                    </a:lnTo>
                    <a:lnTo>
                      <a:pt x="2565" y="1783"/>
                    </a:lnTo>
                    <a:lnTo>
                      <a:pt x="2574" y="1793"/>
                    </a:lnTo>
                    <a:lnTo>
                      <a:pt x="2567" y="1795"/>
                    </a:lnTo>
                    <a:close/>
                    <a:moveTo>
                      <a:pt x="2813" y="1849"/>
                    </a:moveTo>
                    <a:lnTo>
                      <a:pt x="2811" y="1852"/>
                    </a:lnTo>
                    <a:lnTo>
                      <a:pt x="2815" y="1842"/>
                    </a:lnTo>
                    <a:lnTo>
                      <a:pt x="2822" y="1830"/>
                    </a:lnTo>
                    <a:lnTo>
                      <a:pt x="2829" y="1826"/>
                    </a:lnTo>
                    <a:lnTo>
                      <a:pt x="2839" y="1823"/>
                    </a:lnTo>
                    <a:lnTo>
                      <a:pt x="2837" y="1828"/>
                    </a:lnTo>
                    <a:lnTo>
                      <a:pt x="2825" y="1835"/>
                    </a:lnTo>
                    <a:lnTo>
                      <a:pt x="2813" y="1849"/>
                    </a:lnTo>
                    <a:close/>
                    <a:moveTo>
                      <a:pt x="1603" y="1847"/>
                    </a:moveTo>
                    <a:lnTo>
                      <a:pt x="1596" y="1847"/>
                    </a:lnTo>
                    <a:lnTo>
                      <a:pt x="1591" y="1845"/>
                    </a:lnTo>
                    <a:lnTo>
                      <a:pt x="1588" y="1830"/>
                    </a:lnTo>
                    <a:lnTo>
                      <a:pt x="1593" y="1830"/>
                    </a:lnTo>
                    <a:lnTo>
                      <a:pt x="1603" y="1823"/>
                    </a:lnTo>
                    <a:lnTo>
                      <a:pt x="1619" y="1821"/>
                    </a:lnTo>
                    <a:lnTo>
                      <a:pt x="1624" y="1821"/>
                    </a:lnTo>
                    <a:lnTo>
                      <a:pt x="1603" y="1847"/>
                    </a:lnTo>
                    <a:close/>
                    <a:moveTo>
                      <a:pt x="2215" y="1979"/>
                    </a:moveTo>
                    <a:lnTo>
                      <a:pt x="2212" y="1979"/>
                    </a:lnTo>
                    <a:lnTo>
                      <a:pt x="2208" y="1975"/>
                    </a:lnTo>
                    <a:lnTo>
                      <a:pt x="2205" y="1970"/>
                    </a:lnTo>
                    <a:lnTo>
                      <a:pt x="2208" y="1968"/>
                    </a:lnTo>
                    <a:lnTo>
                      <a:pt x="2220" y="1960"/>
                    </a:lnTo>
                    <a:lnTo>
                      <a:pt x="2224" y="1963"/>
                    </a:lnTo>
                    <a:lnTo>
                      <a:pt x="2227" y="1963"/>
                    </a:lnTo>
                    <a:lnTo>
                      <a:pt x="2227" y="1965"/>
                    </a:lnTo>
                    <a:lnTo>
                      <a:pt x="2227" y="1970"/>
                    </a:lnTo>
                    <a:lnTo>
                      <a:pt x="2224" y="1972"/>
                    </a:lnTo>
                    <a:lnTo>
                      <a:pt x="2215" y="1979"/>
                    </a:lnTo>
                    <a:close/>
                    <a:moveTo>
                      <a:pt x="2217" y="1998"/>
                    </a:moveTo>
                    <a:lnTo>
                      <a:pt x="2220" y="2001"/>
                    </a:lnTo>
                    <a:lnTo>
                      <a:pt x="2224" y="1991"/>
                    </a:lnTo>
                    <a:lnTo>
                      <a:pt x="2227" y="1991"/>
                    </a:lnTo>
                    <a:lnTo>
                      <a:pt x="2234" y="2001"/>
                    </a:lnTo>
                    <a:lnTo>
                      <a:pt x="2238" y="1998"/>
                    </a:lnTo>
                    <a:lnTo>
                      <a:pt x="2241" y="2008"/>
                    </a:lnTo>
                    <a:lnTo>
                      <a:pt x="2246" y="2010"/>
                    </a:lnTo>
                    <a:lnTo>
                      <a:pt x="2248" y="2010"/>
                    </a:lnTo>
                    <a:lnTo>
                      <a:pt x="2248" y="2010"/>
                    </a:lnTo>
                    <a:lnTo>
                      <a:pt x="2248" y="2020"/>
                    </a:lnTo>
                    <a:lnTo>
                      <a:pt x="2238" y="2027"/>
                    </a:lnTo>
                    <a:lnTo>
                      <a:pt x="2236" y="2029"/>
                    </a:lnTo>
                    <a:lnTo>
                      <a:pt x="2231" y="2027"/>
                    </a:lnTo>
                    <a:lnTo>
                      <a:pt x="2231" y="2024"/>
                    </a:lnTo>
                    <a:lnTo>
                      <a:pt x="2229" y="2020"/>
                    </a:lnTo>
                    <a:lnTo>
                      <a:pt x="2227" y="2015"/>
                    </a:lnTo>
                    <a:lnTo>
                      <a:pt x="2227" y="2015"/>
                    </a:lnTo>
                    <a:lnTo>
                      <a:pt x="2220" y="2020"/>
                    </a:lnTo>
                    <a:lnTo>
                      <a:pt x="2220" y="2024"/>
                    </a:lnTo>
                    <a:lnTo>
                      <a:pt x="2222" y="2029"/>
                    </a:lnTo>
                    <a:lnTo>
                      <a:pt x="2220" y="2031"/>
                    </a:lnTo>
                    <a:lnTo>
                      <a:pt x="2215" y="2031"/>
                    </a:lnTo>
                    <a:lnTo>
                      <a:pt x="2210" y="2029"/>
                    </a:lnTo>
                    <a:lnTo>
                      <a:pt x="2203" y="2034"/>
                    </a:lnTo>
                    <a:lnTo>
                      <a:pt x="2203" y="2029"/>
                    </a:lnTo>
                    <a:lnTo>
                      <a:pt x="2203" y="2022"/>
                    </a:lnTo>
                    <a:lnTo>
                      <a:pt x="2201" y="2024"/>
                    </a:lnTo>
                    <a:lnTo>
                      <a:pt x="2196" y="2031"/>
                    </a:lnTo>
                    <a:lnTo>
                      <a:pt x="2191" y="2036"/>
                    </a:lnTo>
                    <a:lnTo>
                      <a:pt x="2184" y="2041"/>
                    </a:lnTo>
                    <a:lnTo>
                      <a:pt x="2184" y="2041"/>
                    </a:lnTo>
                    <a:lnTo>
                      <a:pt x="2179" y="2041"/>
                    </a:lnTo>
                    <a:lnTo>
                      <a:pt x="2172" y="2043"/>
                    </a:lnTo>
                    <a:lnTo>
                      <a:pt x="2168" y="2043"/>
                    </a:lnTo>
                    <a:lnTo>
                      <a:pt x="2146" y="2029"/>
                    </a:lnTo>
                    <a:lnTo>
                      <a:pt x="2139" y="2024"/>
                    </a:lnTo>
                    <a:lnTo>
                      <a:pt x="2163" y="2008"/>
                    </a:lnTo>
                    <a:lnTo>
                      <a:pt x="2175" y="2001"/>
                    </a:lnTo>
                    <a:lnTo>
                      <a:pt x="2182" y="2001"/>
                    </a:lnTo>
                    <a:lnTo>
                      <a:pt x="2186" y="2005"/>
                    </a:lnTo>
                    <a:lnTo>
                      <a:pt x="2189" y="2005"/>
                    </a:lnTo>
                    <a:lnTo>
                      <a:pt x="2191" y="1996"/>
                    </a:lnTo>
                    <a:lnTo>
                      <a:pt x="2186" y="1989"/>
                    </a:lnTo>
                    <a:lnTo>
                      <a:pt x="2186" y="1984"/>
                    </a:lnTo>
                    <a:lnTo>
                      <a:pt x="2201" y="1982"/>
                    </a:lnTo>
                    <a:lnTo>
                      <a:pt x="2205" y="1984"/>
                    </a:lnTo>
                    <a:lnTo>
                      <a:pt x="2210" y="1986"/>
                    </a:lnTo>
                    <a:lnTo>
                      <a:pt x="2215" y="1991"/>
                    </a:lnTo>
                    <a:lnTo>
                      <a:pt x="2217" y="1998"/>
                    </a:lnTo>
                    <a:close/>
                    <a:moveTo>
                      <a:pt x="3541" y="2091"/>
                    </a:moveTo>
                    <a:lnTo>
                      <a:pt x="3560" y="2093"/>
                    </a:lnTo>
                    <a:lnTo>
                      <a:pt x="3574" y="2091"/>
                    </a:lnTo>
                    <a:lnTo>
                      <a:pt x="3588" y="2112"/>
                    </a:lnTo>
                    <a:lnTo>
                      <a:pt x="3595" y="2128"/>
                    </a:lnTo>
                    <a:lnTo>
                      <a:pt x="3602" y="2140"/>
                    </a:lnTo>
                    <a:lnTo>
                      <a:pt x="3605" y="2152"/>
                    </a:lnTo>
                    <a:lnTo>
                      <a:pt x="3609" y="2161"/>
                    </a:lnTo>
                    <a:lnTo>
                      <a:pt x="3609" y="2164"/>
                    </a:lnTo>
                    <a:lnTo>
                      <a:pt x="3600" y="2157"/>
                    </a:lnTo>
                    <a:lnTo>
                      <a:pt x="3595" y="2143"/>
                    </a:lnTo>
                    <a:lnTo>
                      <a:pt x="3591" y="2135"/>
                    </a:lnTo>
                    <a:lnTo>
                      <a:pt x="3588" y="2133"/>
                    </a:lnTo>
                    <a:lnTo>
                      <a:pt x="3586" y="2128"/>
                    </a:lnTo>
                    <a:lnTo>
                      <a:pt x="3579" y="2114"/>
                    </a:lnTo>
                    <a:lnTo>
                      <a:pt x="3579" y="2109"/>
                    </a:lnTo>
                    <a:lnTo>
                      <a:pt x="3576" y="2105"/>
                    </a:lnTo>
                    <a:lnTo>
                      <a:pt x="3574" y="2105"/>
                    </a:lnTo>
                    <a:lnTo>
                      <a:pt x="3569" y="2105"/>
                    </a:lnTo>
                    <a:lnTo>
                      <a:pt x="3569" y="2107"/>
                    </a:lnTo>
                    <a:lnTo>
                      <a:pt x="3569" y="2117"/>
                    </a:lnTo>
                    <a:lnTo>
                      <a:pt x="3574" y="2128"/>
                    </a:lnTo>
                    <a:lnTo>
                      <a:pt x="3588" y="2152"/>
                    </a:lnTo>
                    <a:lnTo>
                      <a:pt x="3598" y="2164"/>
                    </a:lnTo>
                    <a:lnTo>
                      <a:pt x="3600" y="2169"/>
                    </a:lnTo>
                    <a:lnTo>
                      <a:pt x="3602" y="2183"/>
                    </a:lnTo>
                    <a:lnTo>
                      <a:pt x="3598" y="2187"/>
                    </a:lnTo>
                    <a:lnTo>
                      <a:pt x="3605" y="2199"/>
                    </a:lnTo>
                    <a:lnTo>
                      <a:pt x="3605" y="2202"/>
                    </a:lnTo>
                    <a:lnTo>
                      <a:pt x="3602" y="2204"/>
                    </a:lnTo>
                    <a:lnTo>
                      <a:pt x="3591" y="2209"/>
                    </a:lnTo>
                    <a:lnTo>
                      <a:pt x="3579" y="2232"/>
                    </a:lnTo>
                    <a:lnTo>
                      <a:pt x="3567" y="2244"/>
                    </a:lnTo>
                    <a:lnTo>
                      <a:pt x="3560" y="2247"/>
                    </a:lnTo>
                    <a:lnTo>
                      <a:pt x="3557" y="2244"/>
                    </a:lnTo>
                    <a:lnTo>
                      <a:pt x="3555" y="2240"/>
                    </a:lnTo>
                    <a:lnTo>
                      <a:pt x="3553" y="2235"/>
                    </a:lnTo>
                    <a:lnTo>
                      <a:pt x="3550" y="2225"/>
                    </a:lnTo>
                    <a:lnTo>
                      <a:pt x="3555" y="2221"/>
                    </a:lnTo>
                    <a:lnTo>
                      <a:pt x="3560" y="2195"/>
                    </a:lnTo>
                    <a:lnTo>
                      <a:pt x="3560" y="2185"/>
                    </a:lnTo>
                    <a:lnTo>
                      <a:pt x="3550" y="2173"/>
                    </a:lnTo>
                    <a:lnTo>
                      <a:pt x="3546" y="2164"/>
                    </a:lnTo>
                    <a:lnTo>
                      <a:pt x="3541" y="2150"/>
                    </a:lnTo>
                    <a:lnTo>
                      <a:pt x="3536" y="2114"/>
                    </a:lnTo>
                    <a:lnTo>
                      <a:pt x="3534" y="2102"/>
                    </a:lnTo>
                    <a:lnTo>
                      <a:pt x="3529" y="2093"/>
                    </a:lnTo>
                    <a:lnTo>
                      <a:pt x="3527" y="2086"/>
                    </a:lnTo>
                    <a:lnTo>
                      <a:pt x="3522" y="2076"/>
                    </a:lnTo>
                    <a:lnTo>
                      <a:pt x="3520" y="2067"/>
                    </a:lnTo>
                    <a:lnTo>
                      <a:pt x="3520" y="2065"/>
                    </a:lnTo>
                    <a:lnTo>
                      <a:pt x="3527" y="2067"/>
                    </a:lnTo>
                    <a:lnTo>
                      <a:pt x="3536" y="2081"/>
                    </a:lnTo>
                    <a:lnTo>
                      <a:pt x="3541" y="2091"/>
                    </a:lnTo>
                    <a:close/>
                    <a:moveTo>
                      <a:pt x="3567" y="2079"/>
                    </a:moveTo>
                    <a:lnTo>
                      <a:pt x="3567" y="2083"/>
                    </a:lnTo>
                    <a:lnTo>
                      <a:pt x="3557" y="2083"/>
                    </a:lnTo>
                    <a:lnTo>
                      <a:pt x="3546" y="2079"/>
                    </a:lnTo>
                    <a:lnTo>
                      <a:pt x="3541" y="2072"/>
                    </a:lnTo>
                    <a:lnTo>
                      <a:pt x="3541" y="2069"/>
                    </a:lnTo>
                    <a:lnTo>
                      <a:pt x="3550" y="2065"/>
                    </a:lnTo>
                    <a:lnTo>
                      <a:pt x="3560" y="2072"/>
                    </a:lnTo>
                    <a:lnTo>
                      <a:pt x="3567" y="2079"/>
                    </a:lnTo>
                    <a:close/>
                    <a:moveTo>
                      <a:pt x="3461" y="2081"/>
                    </a:moveTo>
                    <a:lnTo>
                      <a:pt x="3472" y="2095"/>
                    </a:lnTo>
                    <a:lnTo>
                      <a:pt x="3472" y="2098"/>
                    </a:lnTo>
                    <a:lnTo>
                      <a:pt x="3470" y="2107"/>
                    </a:lnTo>
                    <a:lnTo>
                      <a:pt x="3465" y="2112"/>
                    </a:lnTo>
                    <a:lnTo>
                      <a:pt x="3468" y="2114"/>
                    </a:lnTo>
                    <a:lnTo>
                      <a:pt x="3470" y="2117"/>
                    </a:lnTo>
                    <a:lnTo>
                      <a:pt x="3475" y="2114"/>
                    </a:lnTo>
                    <a:lnTo>
                      <a:pt x="3484" y="2100"/>
                    </a:lnTo>
                    <a:lnTo>
                      <a:pt x="3489" y="2098"/>
                    </a:lnTo>
                    <a:lnTo>
                      <a:pt x="3491" y="2098"/>
                    </a:lnTo>
                    <a:lnTo>
                      <a:pt x="3505" y="2100"/>
                    </a:lnTo>
                    <a:lnTo>
                      <a:pt x="3517" y="2107"/>
                    </a:lnTo>
                    <a:lnTo>
                      <a:pt x="3520" y="2112"/>
                    </a:lnTo>
                    <a:lnTo>
                      <a:pt x="3522" y="2121"/>
                    </a:lnTo>
                    <a:lnTo>
                      <a:pt x="3520" y="2140"/>
                    </a:lnTo>
                    <a:lnTo>
                      <a:pt x="3510" y="2143"/>
                    </a:lnTo>
                    <a:lnTo>
                      <a:pt x="3505" y="2143"/>
                    </a:lnTo>
                    <a:lnTo>
                      <a:pt x="3501" y="2140"/>
                    </a:lnTo>
                    <a:lnTo>
                      <a:pt x="3494" y="2147"/>
                    </a:lnTo>
                    <a:lnTo>
                      <a:pt x="3501" y="2152"/>
                    </a:lnTo>
                    <a:lnTo>
                      <a:pt x="3520" y="2152"/>
                    </a:lnTo>
                    <a:lnTo>
                      <a:pt x="3527" y="2164"/>
                    </a:lnTo>
                    <a:lnTo>
                      <a:pt x="3529" y="2171"/>
                    </a:lnTo>
                    <a:lnTo>
                      <a:pt x="3527" y="2187"/>
                    </a:lnTo>
                    <a:lnTo>
                      <a:pt x="3515" y="2183"/>
                    </a:lnTo>
                    <a:lnTo>
                      <a:pt x="3503" y="2176"/>
                    </a:lnTo>
                    <a:lnTo>
                      <a:pt x="3482" y="2164"/>
                    </a:lnTo>
                    <a:lnTo>
                      <a:pt x="3477" y="2164"/>
                    </a:lnTo>
                    <a:lnTo>
                      <a:pt x="3472" y="2166"/>
                    </a:lnTo>
                    <a:lnTo>
                      <a:pt x="3472" y="2173"/>
                    </a:lnTo>
                    <a:lnTo>
                      <a:pt x="3472" y="2190"/>
                    </a:lnTo>
                    <a:lnTo>
                      <a:pt x="3468" y="2199"/>
                    </a:lnTo>
                    <a:lnTo>
                      <a:pt x="3451" y="2195"/>
                    </a:lnTo>
                    <a:lnTo>
                      <a:pt x="3444" y="2183"/>
                    </a:lnTo>
                    <a:lnTo>
                      <a:pt x="3437" y="2164"/>
                    </a:lnTo>
                    <a:lnTo>
                      <a:pt x="3413" y="2140"/>
                    </a:lnTo>
                    <a:lnTo>
                      <a:pt x="3409" y="2135"/>
                    </a:lnTo>
                    <a:lnTo>
                      <a:pt x="3399" y="2121"/>
                    </a:lnTo>
                    <a:lnTo>
                      <a:pt x="3401" y="2112"/>
                    </a:lnTo>
                    <a:lnTo>
                      <a:pt x="3404" y="2105"/>
                    </a:lnTo>
                    <a:lnTo>
                      <a:pt x="3406" y="2102"/>
                    </a:lnTo>
                    <a:lnTo>
                      <a:pt x="3413" y="2098"/>
                    </a:lnTo>
                    <a:lnTo>
                      <a:pt x="3416" y="2086"/>
                    </a:lnTo>
                    <a:lnTo>
                      <a:pt x="3423" y="2095"/>
                    </a:lnTo>
                    <a:lnTo>
                      <a:pt x="3430" y="2102"/>
                    </a:lnTo>
                    <a:lnTo>
                      <a:pt x="3430" y="2095"/>
                    </a:lnTo>
                    <a:lnTo>
                      <a:pt x="3435" y="2088"/>
                    </a:lnTo>
                    <a:lnTo>
                      <a:pt x="3442" y="2088"/>
                    </a:lnTo>
                    <a:lnTo>
                      <a:pt x="3444" y="2088"/>
                    </a:lnTo>
                    <a:lnTo>
                      <a:pt x="3449" y="2081"/>
                    </a:lnTo>
                    <a:lnTo>
                      <a:pt x="3456" y="2079"/>
                    </a:lnTo>
                    <a:lnTo>
                      <a:pt x="3461" y="2081"/>
                    </a:lnTo>
                    <a:close/>
                    <a:moveTo>
                      <a:pt x="2170" y="2069"/>
                    </a:moveTo>
                    <a:lnTo>
                      <a:pt x="2170" y="2076"/>
                    </a:lnTo>
                    <a:lnTo>
                      <a:pt x="2172" y="2076"/>
                    </a:lnTo>
                    <a:lnTo>
                      <a:pt x="2186" y="2069"/>
                    </a:lnTo>
                    <a:lnTo>
                      <a:pt x="2191" y="2067"/>
                    </a:lnTo>
                    <a:lnTo>
                      <a:pt x="2201" y="2069"/>
                    </a:lnTo>
                    <a:lnTo>
                      <a:pt x="2205" y="2074"/>
                    </a:lnTo>
                    <a:lnTo>
                      <a:pt x="2205" y="2076"/>
                    </a:lnTo>
                    <a:lnTo>
                      <a:pt x="2205" y="2079"/>
                    </a:lnTo>
                    <a:lnTo>
                      <a:pt x="2198" y="2086"/>
                    </a:lnTo>
                    <a:lnTo>
                      <a:pt x="2198" y="2091"/>
                    </a:lnTo>
                    <a:lnTo>
                      <a:pt x="2203" y="2098"/>
                    </a:lnTo>
                    <a:lnTo>
                      <a:pt x="2215" y="2105"/>
                    </a:lnTo>
                    <a:lnTo>
                      <a:pt x="2217" y="2107"/>
                    </a:lnTo>
                    <a:lnTo>
                      <a:pt x="2217" y="2109"/>
                    </a:lnTo>
                    <a:lnTo>
                      <a:pt x="2205" y="2121"/>
                    </a:lnTo>
                    <a:lnTo>
                      <a:pt x="2201" y="2124"/>
                    </a:lnTo>
                    <a:lnTo>
                      <a:pt x="2198" y="2126"/>
                    </a:lnTo>
                    <a:lnTo>
                      <a:pt x="2184" y="2121"/>
                    </a:lnTo>
                    <a:lnTo>
                      <a:pt x="2168" y="2114"/>
                    </a:lnTo>
                    <a:lnTo>
                      <a:pt x="2163" y="2112"/>
                    </a:lnTo>
                    <a:lnTo>
                      <a:pt x="2160" y="2112"/>
                    </a:lnTo>
                    <a:lnTo>
                      <a:pt x="2156" y="2117"/>
                    </a:lnTo>
                    <a:lnTo>
                      <a:pt x="2158" y="2119"/>
                    </a:lnTo>
                    <a:lnTo>
                      <a:pt x="2172" y="2121"/>
                    </a:lnTo>
                    <a:lnTo>
                      <a:pt x="2175" y="2128"/>
                    </a:lnTo>
                    <a:lnTo>
                      <a:pt x="2177" y="2133"/>
                    </a:lnTo>
                    <a:lnTo>
                      <a:pt x="2177" y="2138"/>
                    </a:lnTo>
                    <a:lnTo>
                      <a:pt x="2175" y="2138"/>
                    </a:lnTo>
                    <a:lnTo>
                      <a:pt x="2168" y="2140"/>
                    </a:lnTo>
                    <a:lnTo>
                      <a:pt x="2160" y="2138"/>
                    </a:lnTo>
                    <a:lnTo>
                      <a:pt x="2151" y="2143"/>
                    </a:lnTo>
                    <a:lnTo>
                      <a:pt x="2146" y="2147"/>
                    </a:lnTo>
                    <a:lnTo>
                      <a:pt x="2130" y="2147"/>
                    </a:lnTo>
                    <a:lnTo>
                      <a:pt x="2116" y="2154"/>
                    </a:lnTo>
                    <a:lnTo>
                      <a:pt x="2111" y="2157"/>
                    </a:lnTo>
                    <a:lnTo>
                      <a:pt x="2108" y="2161"/>
                    </a:lnTo>
                    <a:lnTo>
                      <a:pt x="2101" y="2164"/>
                    </a:lnTo>
                    <a:lnTo>
                      <a:pt x="2090" y="2166"/>
                    </a:lnTo>
                    <a:lnTo>
                      <a:pt x="2097" y="2171"/>
                    </a:lnTo>
                    <a:lnTo>
                      <a:pt x="2097" y="2173"/>
                    </a:lnTo>
                    <a:lnTo>
                      <a:pt x="2097" y="2176"/>
                    </a:lnTo>
                    <a:lnTo>
                      <a:pt x="2094" y="2180"/>
                    </a:lnTo>
                    <a:lnTo>
                      <a:pt x="2085" y="2192"/>
                    </a:lnTo>
                    <a:lnTo>
                      <a:pt x="2066" y="2202"/>
                    </a:lnTo>
                    <a:lnTo>
                      <a:pt x="2061" y="2199"/>
                    </a:lnTo>
                    <a:lnTo>
                      <a:pt x="2061" y="2199"/>
                    </a:lnTo>
                    <a:lnTo>
                      <a:pt x="2059" y="2197"/>
                    </a:lnTo>
                    <a:lnTo>
                      <a:pt x="2059" y="2195"/>
                    </a:lnTo>
                    <a:lnTo>
                      <a:pt x="2085" y="2173"/>
                    </a:lnTo>
                    <a:lnTo>
                      <a:pt x="2085" y="2173"/>
                    </a:lnTo>
                    <a:lnTo>
                      <a:pt x="2078" y="2171"/>
                    </a:lnTo>
                    <a:lnTo>
                      <a:pt x="2071" y="2164"/>
                    </a:lnTo>
                    <a:lnTo>
                      <a:pt x="2064" y="2166"/>
                    </a:lnTo>
                    <a:lnTo>
                      <a:pt x="2061" y="2166"/>
                    </a:lnTo>
                    <a:lnTo>
                      <a:pt x="2064" y="2161"/>
                    </a:lnTo>
                    <a:lnTo>
                      <a:pt x="2071" y="2154"/>
                    </a:lnTo>
                    <a:lnTo>
                      <a:pt x="2068" y="2152"/>
                    </a:lnTo>
                    <a:lnTo>
                      <a:pt x="2068" y="2150"/>
                    </a:lnTo>
                    <a:lnTo>
                      <a:pt x="2061" y="2150"/>
                    </a:lnTo>
                    <a:lnTo>
                      <a:pt x="2054" y="2147"/>
                    </a:lnTo>
                    <a:lnTo>
                      <a:pt x="2047" y="2147"/>
                    </a:lnTo>
                    <a:lnTo>
                      <a:pt x="2042" y="2150"/>
                    </a:lnTo>
                    <a:lnTo>
                      <a:pt x="2042" y="2152"/>
                    </a:lnTo>
                    <a:lnTo>
                      <a:pt x="2052" y="2152"/>
                    </a:lnTo>
                    <a:lnTo>
                      <a:pt x="2054" y="2154"/>
                    </a:lnTo>
                    <a:lnTo>
                      <a:pt x="2054" y="2159"/>
                    </a:lnTo>
                    <a:lnTo>
                      <a:pt x="2056" y="2161"/>
                    </a:lnTo>
                    <a:lnTo>
                      <a:pt x="2056" y="2166"/>
                    </a:lnTo>
                    <a:lnTo>
                      <a:pt x="2052" y="2173"/>
                    </a:lnTo>
                    <a:lnTo>
                      <a:pt x="2047" y="2178"/>
                    </a:lnTo>
                    <a:lnTo>
                      <a:pt x="2042" y="2176"/>
                    </a:lnTo>
                    <a:lnTo>
                      <a:pt x="2033" y="2159"/>
                    </a:lnTo>
                    <a:lnTo>
                      <a:pt x="2030" y="2133"/>
                    </a:lnTo>
                    <a:lnTo>
                      <a:pt x="2023" y="2114"/>
                    </a:lnTo>
                    <a:lnTo>
                      <a:pt x="2023" y="2109"/>
                    </a:lnTo>
                    <a:lnTo>
                      <a:pt x="2028" y="2100"/>
                    </a:lnTo>
                    <a:lnTo>
                      <a:pt x="2042" y="2086"/>
                    </a:lnTo>
                    <a:lnTo>
                      <a:pt x="2054" y="2083"/>
                    </a:lnTo>
                    <a:lnTo>
                      <a:pt x="2064" y="2079"/>
                    </a:lnTo>
                    <a:lnTo>
                      <a:pt x="2071" y="2076"/>
                    </a:lnTo>
                    <a:lnTo>
                      <a:pt x="2075" y="2079"/>
                    </a:lnTo>
                    <a:lnTo>
                      <a:pt x="2082" y="2081"/>
                    </a:lnTo>
                    <a:lnTo>
                      <a:pt x="2082" y="2088"/>
                    </a:lnTo>
                    <a:lnTo>
                      <a:pt x="2080" y="2091"/>
                    </a:lnTo>
                    <a:lnTo>
                      <a:pt x="2082" y="2093"/>
                    </a:lnTo>
                    <a:lnTo>
                      <a:pt x="2085" y="2098"/>
                    </a:lnTo>
                    <a:lnTo>
                      <a:pt x="2087" y="2109"/>
                    </a:lnTo>
                    <a:lnTo>
                      <a:pt x="2092" y="2124"/>
                    </a:lnTo>
                    <a:lnTo>
                      <a:pt x="2094" y="2128"/>
                    </a:lnTo>
                    <a:lnTo>
                      <a:pt x="2099" y="2131"/>
                    </a:lnTo>
                    <a:lnTo>
                      <a:pt x="2097" y="2121"/>
                    </a:lnTo>
                    <a:lnTo>
                      <a:pt x="2094" y="2112"/>
                    </a:lnTo>
                    <a:lnTo>
                      <a:pt x="2097" y="2088"/>
                    </a:lnTo>
                    <a:lnTo>
                      <a:pt x="2097" y="2083"/>
                    </a:lnTo>
                    <a:lnTo>
                      <a:pt x="2099" y="2083"/>
                    </a:lnTo>
                    <a:lnTo>
                      <a:pt x="2106" y="2083"/>
                    </a:lnTo>
                    <a:lnTo>
                      <a:pt x="2108" y="2081"/>
                    </a:lnTo>
                    <a:lnTo>
                      <a:pt x="2099" y="2072"/>
                    </a:lnTo>
                    <a:lnTo>
                      <a:pt x="2097" y="2067"/>
                    </a:lnTo>
                    <a:lnTo>
                      <a:pt x="2094" y="2060"/>
                    </a:lnTo>
                    <a:lnTo>
                      <a:pt x="2094" y="2057"/>
                    </a:lnTo>
                    <a:lnTo>
                      <a:pt x="2101" y="2053"/>
                    </a:lnTo>
                    <a:lnTo>
                      <a:pt x="2104" y="2050"/>
                    </a:lnTo>
                    <a:lnTo>
                      <a:pt x="2106" y="2050"/>
                    </a:lnTo>
                    <a:lnTo>
                      <a:pt x="2111" y="2053"/>
                    </a:lnTo>
                    <a:lnTo>
                      <a:pt x="2113" y="2055"/>
                    </a:lnTo>
                    <a:lnTo>
                      <a:pt x="2118" y="2069"/>
                    </a:lnTo>
                    <a:lnTo>
                      <a:pt x="2123" y="2074"/>
                    </a:lnTo>
                    <a:lnTo>
                      <a:pt x="2125" y="2074"/>
                    </a:lnTo>
                    <a:lnTo>
                      <a:pt x="2127" y="2072"/>
                    </a:lnTo>
                    <a:lnTo>
                      <a:pt x="2130" y="2069"/>
                    </a:lnTo>
                    <a:lnTo>
                      <a:pt x="2132" y="2067"/>
                    </a:lnTo>
                    <a:lnTo>
                      <a:pt x="2137" y="2065"/>
                    </a:lnTo>
                    <a:lnTo>
                      <a:pt x="2144" y="2069"/>
                    </a:lnTo>
                    <a:lnTo>
                      <a:pt x="2146" y="2069"/>
                    </a:lnTo>
                    <a:lnTo>
                      <a:pt x="2149" y="2065"/>
                    </a:lnTo>
                    <a:lnTo>
                      <a:pt x="2149" y="2060"/>
                    </a:lnTo>
                    <a:lnTo>
                      <a:pt x="2151" y="2057"/>
                    </a:lnTo>
                    <a:lnTo>
                      <a:pt x="2151" y="2053"/>
                    </a:lnTo>
                    <a:lnTo>
                      <a:pt x="2149" y="2046"/>
                    </a:lnTo>
                    <a:lnTo>
                      <a:pt x="2153" y="2046"/>
                    </a:lnTo>
                    <a:lnTo>
                      <a:pt x="2170" y="2053"/>
                    </a:lnTo>
                    <a:lnTo>
                      <a:pt x="2175" y="2057"/>
                    </a:lnTo>
                    <a:lnTo>
                      <a:pt x="2170" y="2069"/>
                    </a:lnTo>
                    <a:close/>
                    <a:moveTo>
                      <a:pt x="2146" y="2060"/>
                    </a:moveTo>
                    <a:lnTo>
                      <a:pt x="2144" y="2065"/>
                    </a:lnTo>
                    <a:lnTo>
                      <a:pt x="2142" y="2062"/>
                    </a:lnTo>
                    <a:lnTo>
                      <a:pt x="2137" y="2057"/>
                    </a:lnTo>
                    <a:lnTo>
                      <a:pt x="2130" y="2050"/>
                    </a:lnTo>
                    <a:lnTo>
                      <a:pt x="2127" y="2043"/>
                    </a:lnTo>
                    <a:lnTo>
                      <a:pt x="2127" y="2043"/>
                    </a:lnTo>
                    <a:lnTo>
                      <a:pt x="2130" y="2041"/>
                    </a:lnTo>
                    <a:lnTo>
                      <a:pt x="2139" y="2048"/>
                    </a:lnTo>
                    <a:lnTo>
                      <a:pt x="2144" y="2053"/>
                    </a:lnTo>
                    <a:lnTo>
                      <a:pt x="2146" y="2060"/>
                    </a:lnTo>
                    <a:close/>
                    <a:moveTo>
                      <a:pt x="3524" y="2206"/>
                    </a:moveTo>
                    <a:lnTo>
                      <a:pt x="3531" y="2221"/>
                    </a:lnTo>
                    <a:lnTo>
                      <a:pt x="3536" y="2232"/>
                    </a:lnTo>
                    <a:lnTo>
                      <a:pt x="3541" y="2247"/>
                    </a:lnTo>
                    <a:lnTo>
                      <a:pt x="3550" y="2275"/>
                    </a:lnTo>
                    <a:lnTo>
                      <a:pt x="3553" y="2287"/>
                    </a:lnTo>
                    <a:lnTo>
                      <a:pt x="3555" y="2294"/>
                    </a:lnTo>
                    <a:lnTo>
                      <a:pt x="3557" y="2310"/>
                    </a:lnTo>
                    <a:lnTo>
                      <a:pt x="3555" y="2313"/>
                    </a:lnTo>
                    <a:lnTo>
                      <a:pt x="3553" y="2315"/>
                    </a:lnTo>
                    <a:lnTo>
                      <a:pt x="3553" y="2320"/>
                    </a:lnTo>
                    <a:lnTo>
                      <a:pt x="3555" y="2334"/>
                    </a:lnTo>
                    <a:lnTo>
                      <a:pt x="3557" y="2351"/>
                    </a:lnTo>
                    <a:lnTo>
                      <a:pt x="3555" y="2362"/>
                    </a:lnTo>
                    <a:lnTo>
                      <a:pt x="3553" y="2365"/>
                    </a:lnTo>
                    <a:lnTo>
                      <a:pt x="3548" y="2360"/>
                    </a:lnTo>
                    <a:lnTo>
                      <a:pt x="3543" y="2355"/>
                    </a:lnTo>
                    <a:lnTo>
                      <a:pt x="3541" y="2348"/>
                    </a:lnTo>
                    <a:lnTo>
                      <a:pt x="3531" y="2332"/>
                    </a:lnTo>
                    <a:lnTo>
                      <a:pt x="3529" y="2322"/>
                    </a:lnTo>
                    <a:lnTo>
                      <a:pt x="3529" y="2315"/>
                    </a:lnTo>
                    <a:lnTo>
                      <a:pt x="3529" y="2310"/>
                    </a:lnTo>
                    <a:lnTo>
                      <a:pt x="3531" y="2308"/>
                    </a:lnTo>
                    <a:lnTo>
                      <a:pt x="3536" y="2301"/>
                    </a:lnTo>
                    <a:lnTo>
                      <a:pt x="3534" y="2299"/>
                    </a:lnTo>
                    <a:lnTo>
                      <a:pt x="3531" y="2301"/>
                    </a:lnTo>
                    <a:lnTo>
                      <a:pt x="3524" y="2303"/>
                    </a:lnTo>
                    <a:lnTo>
                      <a:pt x="3517" y="2296"/>
                    </a:lnTo>
                    <a:lnTo>
                      <a:pt x="3513" y="2294"/>
                    </a:lnTo>
                    <a:lnTo>
                      <a:pt x="3515" y="2284"/>
                    </a:lnTo>
                    <a:lnTo>
                      <a:pt x="3513" y="2280"/>
                    </a:lnTo>
                    <a:lnTo>
                      <a:pt x="3503" y="2284"/>
                    </a:lnTo>
                    <a:lnTo>
                      <a:pt x="3498" y="2282"/>
                    </a:lnTo>
                    <a:lnTo>
                      <a:pt x="3498" y="2277"/>
                    </a:lnTo>
                    <a:lnTo>
                      <a:pt x="3498" y="2270"/>
                    </a:lnTo>
                    <a:lnTo>
                      <a:pt x="3501" y="2266"/>
                    </a:lnTo>
                    <a:lnTo>
                      <a:pt x="3508" y="2251"/>
                    </a:lnTo>
                    <a:lnTo>
                      <a:pt x="3508" y="2249"/>
                    </a:lnTo>
                    <a:lnTo>
                      <a:pt x="3503" y="2249"/>
                    </a:lnTo>
                    <a:lnTo>
                      <a:pt x="3496" y="2244"/>
                    </a:lnTo>
                    <a:lnTo>
                      <a:pt x="3494" y="2230"/>
                    </a:lnTo>
                    <a:lnTo>
                      <a:pt x="3487" y="2221"/>
                    </a:lnTo>
                    <a:lnTo>
                      <a:pt x="3484" y="2223"/>
                    </a:lnTo>
                    <a:lnTo>
                      <a:pt x="3477" y="2247"/>
                    </a:lnTo>
                    <a:lnTo>
                      <a:pt x="3472" y="2251"/>
                    </a:lnTo>
                    <a:lnTo>
                      <a:pt x="3461" y="2256"/>
                    </a:lnTo>
                    <a:lnTo>
                      <a:pt x="3463" y="2249"/>
                    </a:lnTo>
                    <a:lnTo>
                      <a:pt x="3465" y="2244"/>
                    </a:lnTo>
                    <a:lnTo>
                      <a:pt x="3461" y="2225"/>
                    </a:lnTo>
                    <a:lnTo>
                      <a:pt x="3458" y="2218"/>
                    </a:lnTo>
                    <a:lnTo>
                      <a:pt x="3463" y="2213"/>
                    </a:lnTo>
                    <a:lnTo>
                      <a:pt x="3470" y="2211"/>
                    </a:lnTo>
                    <a:lnTo>
                      <a:pt x="3475" y="2206"/>
                    </a:lnTo>
                    <a:lnTo>
                      <a:pt x="3477" y="2202"/>
                    </a:lnTo>
                    <a:lnTo>
                      <a:pt x="3477" y="2197"/>
                    </a:lnTo>
                    <a:lnTo>
                      <a:pt x="3484" y="2183"/>
                    </a:lnTo>
                    <a:lnTo>
                      <a:pt x="3487" y="2180"/>
                    </a:lnTo>
                    <a:lnTo>
                      <a:pt x="3494" y="2180"/>
                    </a:lnTo>
                    <a:lnTo>
                      <a:pt x="3510" y="2195"/>
                    </a:lnTo>
                    <a:lnTo>
                      <a:pt x="3517" y="2197"/>
                    </a:lnTo>
                    <a:lnTo>
                      <a:pt x="3524" y="2206"/>
                    </a:lnTo>
                    <a:close/>
                    <a:moveTo>
                      <a:pt x="877" y="1835"/>
                    </a:moveTo>
                    <a:lnTo>
                      <a:pt x="867" y="1840"/>
                    </a:lnTo>
                    <a:lnTo>
                      <a:pt x="863" y="1835"/>
                    </a:lnTo>
                    <a:lnTo>
                      <a:pt x="860" y="1830"/>
                    </a:lnTo>
                    <a:lnTo>
                      <a:pt x="863" y="1828"/>
                    </a:lnTo>
                    <a:lnTo>
                      <a:pt x="884" y="1830"/>
                    </a:lnTo>
                    <a:lnTo>
                      <a:pt x="877" y="1835"/>
                    </a:lnTo>
                    <a:close/>
                    <a:moveTo>
                      <a:pt x="2146" y="2164"/>
                    </a:moveTo>
                    <a:lnTo>
                      <a:pt x="2137" y="2169"/>
                    </a:lnTo>
                    <a:lnTo>
                      <a:pt x="2134" y="2166"/>
                    </a:lnTo>
                    <a:lnTo>
                      <a:pt x="2127" y="2176"/>
                    </a:lnTo>
                    <a:lnTo>
                      <a:pt x="2123" y="2178"/>
                    </a:lnTo>
                    <a:lnTo>
                      <a:pt x="2118" y="2171"/>
                    </a:lnTo>
                    <a:lnTo>
                      <a:pt x="2120" y="2159"/>
                    </a:lnTo>
                    <a:lnTo>
                      <a:pt x="2127" y="2152"/>
                    </a:lnTo>
                    <a:lnTo>
                      <a:pt x="2153" y="2159"/>
                    </a:lnTo>
                    <a:lnTo>
                      <a:pt x="2156" y="2161"/>
                    </a:lnTo>
                    <a:lnTo>
                      <a:pt x="2156" y="2164"/>
                    </a:lnTo>
                    <a:lnTo>
                      <a:pt x="2153" y="2164"/>
                    </a:lnTo>
                    <a:lnTo>
                      <a:pt x="2146" y="2164"/>
                    </a:lnTo>
                    <a:close/>
                    <a:moveTo>
                      <a:pt x="3650" y="2247"/>
                    </a:moveTo>
                    <a:lnTo>
                      <a:pt x="3654" y="2251"/>
                    </a:lnTo>
                    <a:lnTo>
                      <a:pt x="3657" y="2247"/>
                    </a:lnTo>
                    <a:lnTo>
                      <a:pt x="3661" y="2247"/>
                    </a:lnTo>
                    <a:lnTo>
                      <a:pt x="3671" y="2251"/>
                    </a:lnTo>
                    <a:lnTo>
                      <a:pt x="3678" y="2256"/>
                    </a:lnTo>
                    <a:lnTo>
                      <a:pt x="3683" y="2263"/>
                    </a:lnTo>
                    <a:lnTo>
                      <a:pt x="3683" y="2268"/>
                    </a:lnTo>
                    <a:lnTo>
                      <a:pt x="3683" y="2277"/>
                    </a:lnTo>
                    <a:lnTo>
                      <a:pt x="3683" y="2287"/>
                    </a:lnTo>
                    <a:lnTo>
                      <a:pt x="3683" y="2292"/>
                    </a:lnTo>
                    <a:lnTo>
                      <a:pt x="3683" y="2296"/>
                    </a:lnTo>
                    <a:lnTo>
                      <a:pt x="3680" y="2299"/>
                    </a:lnTo>
                    <a:lnTo>
                      <a:pt x="3678" y="2301"/>
                    </a:lnTo>
                    <a:lnTo>
                      <a:pt x="3669" y="2292"/>
                    </a:lnTo>
                    <a:lnTo>
                      <a:pt x="3659" y="2277"/>
                    </a:lnTo>
                    <a:lnTo>
                      <a:pt x="3654" y="2273"/>
                    </a:lnTo>
                    <a:lnTo>
                      <a:pt x="3652" y="2273"/>
                    </a:lnTo>
                    <a:lnTo>
                      <a:pt x="3654" y="2277"/>
                    </a:lnTo>
                    <a:lnTo>
                      <a:pt x="3661" y="2287"/>
                    </a:lnTo>
                    <a:lnTo>
                      <a:pt x="3661" y="2292"/>
                    </a:lnTo>
                    <a:lnTo>
                      <a:pt x="3666" y="2296"/>
                    </a:lnTo>
                    <a:lnTo>
                      <a:pt x="3669" y="2301"/>
                    </a:lnTo>
                    <a:lnTo>
                      <a:pt x="3671" y="2308"/>
                    </a:lnTo>
                    <a:lnTo>
                      <a:pt x="3671" y="2313"/>
                    </a:lnTo>
                    <a:lnTo>
                      <a:pt x="3669" y="2318"/>
                    </a:lnTo>
                    <a:lnTo>
                      <a:pt x="3669" y="2322"/>
                    </a:lnTo>
                    <a:lnTo>
                      <a:pt x="3666" y="2322"/>
                    </a:lnTo>
                    <a:lnTo>
                      <a:pt x="3652" y="2322"/>
                    </a:lnTo>
                    <a:lnTo>
                      <a:pt x="3645" y="2327"/>
                    </a:lnTo>
                    <a:lnTo>
                      <a:pt x="3635" y="2325"/>
                    </a:lnTo>
                    <a:lnTo>
                      <a:pt x="3633" y="2322"/>
                    </a:lnTo>
                    <a:lnTo>
                      <a:pt x="3631" y="2318"/>
                    </a:lnTo>
                    <a:lnTo>
                      <a:pt x="3631" y="2306"/>
                    </a:lnTo>
                    <a:lnTo>
                      <a:pt x="3626" y="2292"/>
                    </a:lnTo>
                    <a:lnTo>
                      <a:pt x="3626" y="2277"/>
                    </a:lnTo>
                    <a:lnTo>
                      <a:pt x="3619" y="2268"/>
                    </a:lnTo>
                    <a:lnTo>
                      <a:pt x="3614" y="2261"/>
                    </a:lnTo>
                    <a:lnTo>
                      <a:pt x="3607" y="2256"/>
                    </a:lnTo>
                    <a:lnTo>
                      <a:pt x="3602" y="2249"/>
                    </a:lnTo>
                    <a:lnTo>
                      <a:pt x="3602" y="2244"/>
                    </a:lnTo>
                    <a:lnTo>
                      <a:pt x="3609" y="2242"/>
                    </a:lnTo>
                    <a:lnTo>
                      <a:pt x="3621" y="2242"/>
                    </a:lnTo>
                    <a:lnTo>
                      <a:pt x="3650" y="2247"/>
                    </a:lnTo>
                    <a:close/>
                    <a:moveTo>
                      <a:pt x="3602" y="2273"/>
                    </a:moveTo>
                    <a:lnTo>
                      <a:pt x="3607" y="2282"/>
                    </a:lnTo>
                    <a:lnTo>
                      <a:pt x="3614" y="2282"/>
                    </a:lnTo>
                    <a:lnTo>
                      <a:pt x="3619" y="2289"/>
                    </a:lnTo>
                    <a:lnTo>
                      <a:pt x="3624" y="2299"/>
                    </a:lnTo>
                    <a:lnTo>
                      <a:pt x="3621" y="2306"/>
                    </a:lnTo>
                    <a:lnTo>
                      <a:pt x="3619" y="2306"/>
                    </a:lnTo>
                    <a:lnTo>
                      <a:pt x="3614" y="2308"/>
                    </a:lnTo>
                    <a:lnTo>
                      <a:pt x="3614" y="2322"/>
                    </a:lnTo>
                    <a:lnTo>
                      <a:pt x="3614" y="2336"/>
                    </a:lnTo>
                    <a:lnTo>
                      <a:pt x="3614" y="2351"/>
                    </a:lnTo>
                    <a:lnTo>
                      <a:pt x="3612" y="2365"/>
                    </a:lnTo>
                    <a:lnTo>
                      <a:pt x="3612" y="2372"/>
                    </a:lnTo>
                    <a:lnTo>
                      <a:pt x="3609" y="2377"/>
                    </a:lnTo>
                    <a:lnTo>
                      <a:pt x="3607" y="2377"/>
                    </a:lnTo>
                    <a:lnTo>
                      <a:pt x="3605" y="2374"/>
                    </a:lnTo>
                    <a:lnTo>
                      <a:pt x="3602" y="2372"/>
                    </a:lnTo>
                    <a:lnTo>
                      <a:pt x="3598" y="2381"/>
                    </a:lnTo>
                    <a:lnTo>
                      <a:pt x="3593" y="2381"/>
                    </a:lnTo>
                    <a:lnTo>
                      <a:pt x="3588" y="2365"/>
                    </a:lnTo>
                    <a:lnTo>
                      <a:pt x="3591" y="2334"/>
                    </a:lnTo>
                    <a:lnTo>
                      <a:pt x="3598" y="2327"/>
                    </a:lnTo>
                    <a:lnTo>
                      <a:pt x="3593" y="2320"/>
                    </a:lnTo>
                    <a:lnTo>
                      <a:pt x="3581" y="2310"/>
                    </a:lnTo>
                    <a:lnTo>
                      <a:pt x="3581" y="2306"/>
                    </a:lnTo>
                    <a:lnTo>
                      <a:pt x="3574" y="2292"/>
                    </a:lnTo>
                    <a:lnTo>
                      <a:pt x="3572" y="2287"/>
                    </a:lnTo>
                    <a:lnTo>
                      <a:pt x="3574" y="2275"/>
                    </a:lnTo>
                    <a:lnTo>
                      <a:pt x="3581" y="2263"/>
                    </a:lnTo>
                    <a:lnTo>
                      <a:pt x="3591" y="2261"/>
                    </a:lnTo>
                    <a:lnTo>
                      <a:pt x="3598" y="2266"/>
                    </a:lnTo>
                    <a:lnTo>
                      <a:pt x="3602" y="2270"/>
                    </a:lnTo>
                    <a:lnTo>
                      <a:pt x="3602" y="2273"/>
                    </a:lnTo>
                    <a:close/>
                    <a:moveTo>
                      <a:pt x="3702" y="2310"/>
                    </a:moveTo>
                    <a:lnTo>
                      <a:pt x="3699" y="2313"/>
                    </a:lnTo>
                    <a:lnTo>
                      <a:pt x="3690" y="2315"/>
                    </a:lnTo>
                    <a:lnTo>
                      <a:pt x="3687" y="2313"/>
                    </a:lnTo>
                    <a:lnTo>
                      <a:pt x="3685" y="2306"/>
                    </a:lnTo>
                    <a:lnTo>
                      <a:pt x="3685" y="2301"/>
                    </a:lnTo>
                    <a:lnTo>
                      <a:pt x="3687" y="2296"/>
                    </a:lnTo>
                    <a:lnTo>
                      <a:pt x="3690" y="2289"/>
                    </a:lnTo>
                    <a:lnTo>
                      <a:pt x="3692" y="2275"/>
                    </a:lnTo>
                    <a:lnTo>
                      <a:pt x="3706" y="2289"/>
                    </a:lnTo>
                    <a:lnTo>
                      <a:pt x="3711" y="2296"/>
                    </a:lnTo>
                    <a:lnTo>
                      <a:pt x="3713" y="2303"/>
                    </a:lnTo>
                    <a:lnTo>
                      <a:pt x="3709" y="2308"/>
                    </a:lnTo>
                    <a:lnTo>
                      <a:pt x="3704" y="2308"/>
                    </a:lnTo>
                    <a:lnTo>
                      <a:pt x="3702" y="2310"/>
                    </a:lnTo>
                    <a:close/>
                    <a:moveTo>
                      <a:pt x="882" y="1920"/>
                    </a:moveTo>
                    <a:lnTo>
                      <a:pt x="889" y="1925"/>
                    </a:lnTo>
                    <a:lnTo>
                      <a:pt x="896" y="1925"/>
                    </a:lnTo>
                    <a:lnTo>
                      <a:pt x="901" y="1930"/>
                    </a:lnTo>
                    <a:lnTo>
                      <a:pt x="901" y="1932"/>
                    </a:lnTo>
                    <a:lnTo>
                      <a:pt x="889" y="1937"/>
                    </a:lnTo>
                    <a:lnTo>
                      <a:pt x="886" y="1934"/>
                    </a:lnTo>
                    <a:lnTo>
                      <a:pt x="879" y="1923"/>
                    </a:lnTo>
                    <a:lnTo>
                      <a:pt x="882" y="1920"/>
                    </a:lnTo>
                    <a:close/>
                    <a:moveTo>
                      <a:pt x="2042" y="2235"/>
                    </a:moveTo>
                    <a:lnTo>
                      <a:pt x="2038" y="2235"/>
                    </a:lnTo>
                    <a:lnTo>
                      <a:pt x="2033" y="2230"/>
                    </a:lnTo>
                    <a:lnTo>
                      <a:pt x="2035" y="2225"/>
                    </a:lnTo>
                    <a:lnTo>
                      <a:pt x="2045" y="2221"/>
                    </a:lnTo>
                    <a:lnTo>
                      <a:pt x="2052" y="2223"/>
                    </a:lnTo>
                    <a:lnTo>
                      <a:pt x="2052" y="2228"/>
                    </a:lnTo>
                    <a:lnTo>
                      <a:pt x="2052" y="2230"/>
                    </a:lnTo>
                    <a:lnTo>
                      <a:pt x="2049" y="2232"/>
                    </a:lnTo>
                    <a:lnTo>
                      <a:pt x="2047" y="2232"/>
                    </a:lnTo>
                    <a:lnTo>
                      <a:pt x="2042" y="2235"/>
                    </a:lnTo>
                    <a:close/>
                    <a:moveTo>
                      <a:pt x="2004" y="2240"/>
                    </a:moveTo>
                    <a:lnTo>
                      <a:pt x="1997" y="2242"/>
                    </a:lnTo>
                    <a:lnTo>
                      <a:pt x="1997" y="2240"/>
                    </a:lnTo>
                    <a:lnTo>
                      <a:pt x="1997" y="2237"/>
                    </a:lnTo>
                    <a:lnTo>
                      <a:pt x="2000" y="2232"/>
                    </a:lnTo>
                    <a:lnTo>
                      <a:pt x="2002" y="2230"/>
                    </a:lnTo>
                    <a:lnTo>
                      <a:pt x="2012" y="2223"/>
                    </a:lnTo>
                    <a:lnTo>
                      <a:pt x="2021" y="2218"/>
                    </a:lnTo>
                    <a:lnTo>
                      <a:pt x="2026" y="2221"/>
                    </a:lnTo>
                    <a:lnTo>
                      <a:pt x="2026" y="2223"/>
                    </a:lnTo>
                    <a:lnTo>
                      <a:pt x="2019" y="2230"/>
                    </a:lnTo>
                    <a:lnTo>
                      <a:pt x="2004" y="2240"/>
                    </a:lnTo>
                    <a:close/>
                    <a:moveTo>
                      <a:pt x="3754" y="2367"/>
                    </a:moveTo>
                    <a:lnTo>
                      <a:pt x="3756" y="2388"/>
                    </a:lnTo>
                    <a:lnTo>
                      <a:pt x="3751" y="2388"/>
                    </a:lnTo>
                    <a:lnTo>
                      <a:pt x="3749" y="2388"/>
                    </a:lnTo>
                    <a:lnTo>
                      <a:pt x="3742" y="2393"/>
                    </a:lnTo>
                    <a:lnTo>
                      <a:pt x="3737" y="2391"/>
                    </a:lnTo>
                    <a:lnTo>
                      <a:pt x="3732" y="2388"/>
                    </a:lnTo>
                    <a:lnTo>
                      <a:pt x="3732" y="2386"/>
                    </a:lnTo>
                    <a:lnTo>
                      <a:pt x="3732" y="2379"/>
                    </a:lnTo>
                    <a:lnTo>
                      <a:pt x="3730" y="2374"/>
                    </a:lnTo>
                    <a:lnTo>
                      <a:pt x="3718" y="2374"/>
                    </a:lnTo>
                    <a:lnTo>
                      <a:pt x="3713" y="2374"/>
                    </a:lnTo>
                    <a:lnTo>
                      <a:pt x="3709" y="2367"/>
                    </a:lnTo>
                    <a:lnTo>
                      <a:pt x="3709" y="2358"/>
                    </a:lnTo>
                    <a:lnTo>
                      <a:pt x="3711" y="2353"/>
                    </a:lnTo>
                    <a:lnTo>
                      <a:pt x="3716" y="2351"/>
                    </a:lnTo>
                    <a:lnTo>
                      <a:pt x="3721" y="2339"/>
                    </a:lnTo>
                    <a:lnTo>
                      <a:pt x="3723" y="2336"/>
                    </a:lnTo>
                    <a:lnTo>
                      <a:pt x="3730" y="2313"/>
                    </a:lnTo>
                    <a:lnTo>
                      <a:pt x="3735" y="2315"/>
                    </a:lnTo>
                    <a:lnTo>
                      <a:pt x="3744" y="2327"/>
                    </a:lnTo>
                    <a:lnTo>
                      <a:pt x="3756" y="2346"/>
                    </a:lnTo>
                    <a:lnTo>
                      <a:pt x="3754" y="2367"/>
                    </a:lnTo>
                    <a:close/>
                    <a:moveTo>
                      <a:pt x="3702" y="2351"/>
                    </a:moveTo>
                    <a:lnTo>
                      <a:pt x="3697" y="2351"/>
                    </a:lnTo>
                    <a:lnTo>
                      <a:pt x="3692" y="2351"/>
                    </a:lnTo>
                    <a:lnTo>
                      <a:pt x="3680" y="2339"/>
                    </a:lnTo>
                    <a:lnTo>
                      <a:pt x="3680" y="2336"/>
                    </a:lnTo>
                    <a:lnTo>
                      <a:pt x="3680" y="2332"/>
                    </a:lnTo>
                    <a:lnTo>
                      <a:pt x="3687" y="2325"/>
                    </a:lnTo>
                    <a:lnTo>
                      <a:pt x="3690" y="2322"/>
                    </a:lnTo>
                    <a:lnTo>
                      <a:pt x="3704" y="2322"/>
                    </a:lnTo>
                    <a:lnTo>
                      <a:pt x="3711" y="2325"/>
                    </a:lnTo>
                    <a:lnTo>
                      <a:pt x="3711" y="2327"/>
                    </a:lnTo>
                    <a:lnTo>
                      <a:pt x="3711" y="2329"/>
                    </a:lnTo>
                    <a:lnTo>
                      <a:pt x="3711" y="2334"/>
                    </a:lnTo>
                    <a:lnTo>
                      <a:pt x="3709" y="2336"/>
                    </a:lnTo>
                    <a:lnTo>
                      <a:pt x="3711" y="2341"/>
                    </a:lnTo>
                    <a:lnTo>
                      <a:pt x="3709" y="2344"/>
                    </a:lnTo>
                    <a:lnTo>
                      <a:pt x="3702" y="2351"/>
                    </a:lnTo>
                    <a:close/>
                    <a:moveTo>
                      <a:pt x="3640" y="2341"/>
                    </a:moveTo>
                    <a:lnTo>
                      <a:pt x="3654" y="2344"/>
                    </a:lnTo>
                    <a:lnTo>
                      <a:pt x="3669" y="2344"/>
                    </a:lnTo>
                    <a:lnTo>
                      <a:pt x="3673" y="2348"/>
                    </a:lnTo>
                    <a:lnTo>
                      <a:pt x="3676" y="2353"/>
                    </a:lnTo>
                    <a:lnTo>
                      <a:pt x="3678" y="2360"/>
                    </a:lnTo>
                    <a:lnTo>
                      <a:pt x="3680" y="2365"/>
                    </a:lnTo>
                    <a:lnTo>
                      <a:pt x="3680" y="2370"/>
                    </a:lnTo>
                    <a:lnTo>
                      <a:pt x="3678" y="2372"/>
                    </a:lnTo>
                    <a:lnTo>
                      <a:pt x="3678" y="2374"/>
                    </a:lnTo>
                    <a:lnTo>
                      <a:pt x="3706" y="2386"/>
                    </a:lnTo>
                    <a:lnTo>
                      <a:pt x="3718" y="2398"/>
                    </a:lnTo>
                    <a:lnTo>
                      <a:pt x="3725" y="2405"/>
                    </a:lnTo>
                    <a:lnTo>
                      <a:pt x="3728" y="2412"/>
                    </a:lnTo>
                    <a:lnTo>
                      <a:pt x="3735" y="2426"/>
                    </a:lnTo>
                    <a:lnTo>
                      <a:pt x="3747" y="2443"/>
                    </a:lnTo>
                    <a:lnTo>
                      <a:pt x="3754" y="2450"/>
                    </a:lnTo>
                    <a:lnTo>
                      <a:pt x="3756" y="2455"/>
                    </a:lnTo>
                    <a:lnTo>
                      <a:pt x="3756" y="2455"/>
                    </a:lnTo>
                    <a:lnTo>
                      <a:pt x="3747" y="2450"/>
                    </a:lnTo>
                    <a:lnTo>
                      <a:pt x="3730" y="2440"/>
                    </a:lnTo>
                    <a:lnTo>
                      <a:pt x="3728" y="2440"/>
                    </a:lnTo>
                    <a:lnTo>
                      <a:pt x="3728" y="2448"/>
                    </a:lnTo>
                    <a:lnTo>
                      <a:pt x="3725" y="2452"/>
                    </a:lnTo>
                    <a:lnTo>
                      <a:pt x="3721" y="2457"/>
                    </a:lnTo>
                    <a:lnTo>
                      <a:pt x="3725" y="2459"/>
                    </a:lnTo>
                    <a:lnTo>
                      <a:pt x="3737" y="2455"/>
                    </a:lnTo>
                    <a:lnTo>
                      <a:pt x="3749" y="2466"/>
                    </a:lnTo>
                    <a:lnTo>
                      <a:pt x="3754" y="2469"/>
                    </a:lnTo>
                    <a:lnTo>
                      <a:pt x="3761" y="2476"/>
                    </a:lnTo>
                    <a:lnTo>
                      <a:pt x="3761" y="2478"/>
                    </a:lnTo>
                    <a:lnTo>
                      <a:pt x="3758" y="2485"/>
                    </a:lnTo>
                    <a:lnTo>
                      <a:pt x="3756" y="2488"/>
                    </a:lnTo>
                    <a:lnTo>
                      <a:pt x="3756" y="2490"/>
                    </a:lnTo>
                    <a:lnTo>
                      <a:pt x="3761" y="2490"/>
                    </a:lnTo>
                    <a:lnTo>
                      <a:pt x="3773" y="2488"/>
                    </a:lnTo>
                    <a:lnTo>
                      <a:pt x="3775" y="2490"/>
                    </a:lnTo>
                    <a:lnTo>
                      <a:pt x="3775" y="2514"/>
                    </a:lnTo>
                    <a:lnTo>
                      <a:pt x="3777" y="2523"/>
                    </a:lnTo>
                    <a:lnTo>
                      <a:pt x="3777" y="2528"/>
                    </a:lnTo>
                    <a:lnTo>
                      <a:pt x="3777" y="2533"/>
                    </a:lnTo>
                    <a:lnTo>
                      <a:pt x="3777" y="2537"/>
                    </a:lnTo>
                    <a:lnTo>
                      <a:pt x="3780" y="2542"/>
                    </a:lnTo>
                    <a:lnTo>
                      <a:pt x="3780" y="2547"/>
                    </a:lnTo>
                    <a:lnTo>
                      <a:pt x="3777" y="2559"/>
                    </a:lnTo>
                    <a:lnTo>
                      <a:pt x="3775" y="2559"/>
                    </a:lnTo>
                    <a:lnTo>
                      <a:pt x="3768" y="2561"/>
                    </a:lnTo>
                    <a:lnTo>
                      <a:pt x="3763" y="2556"/>
                    </a:lnTo>
                    <a:lnTo>
                      <a:pt x="3756" y="2549"/>
                    </a:lnTo>
                    <a:lnTo>
                      <a:pt x="3749" y="2535"/>
                    </a:lnTo>
                    <a:lnTo>
                      <a:pt x="3747" y="2533"/>
                    </a:lnTo>
                    <a:lnTo>
                      <a:pt x="3739" y="2530"/>
                    </a:lnTo>
                    <a:lnTo>
                      <a:pt x="3737" y="2530"/>
                    </a:lnTo>
                    <a:lnTo>
                      <a:pt x="3732" y="2530"/>
                    </a:lnTo>
                    <a:lnTo>
                      <a:pt x="3728" y="2523"/>
                    </a:lnTo>
                    <a:lnTo>
                      <a:pt x="3728" y="2516"/>
                    </a:lnTo>
                    <a:lnTo>
                      <a:pt x="3725" y="2509"/>
                    </a:lnTo>
                    <a:lnTo>
                      <a:pt x="3725" y="2504"/>
                    </a:lnTo>
                    <a:lnTo>
                      <a:pt x="3721" y="2504"/>
                    </a:lnTo>
                    <a:lnTo>
                      <a:pt x="3718" y="2507"/>
                    </a:lnTo>
                    <a:lnTo>
                      <a:pt x="3721" y="2514"/>
                    </a:lnTo>
                    <a:lnTo>
                      <a:pt x="3721" y="2521"/>
                    </a:lnTo>
                    <a:lnTo>
                      <a:pt x="3713" y="2519"/>
                    </a:lnTo>
                    <a:lnTo>
                      <a:pt x="3702" y="2500"/>
                    </a:lnTo>
                    <a:lnTo>
                      <a:pt x="3690" y="2483"/>
                    </a:lnTo>
                    <a:lnTo>
                      <a:pt x="3683" y="2481"/>
                    </a:lnTo>
                    <a:lnTo>
                      <a:pt x="3685" y="2476"/>
                    </a:lnTo>
                    <a:lnTo>
                      <a:pt x="3690" y="2474"/>
                    </a:lnTo>
                    <a:lnTo>
                      <a:pt x="3695" y="2474"/>
                    </a:lnTo>
                    <a:lnTo>
                      <a:pt x="3697" y="2471"/>
                    </a:lnTo>
                    <a:lnTo>
                      <a:pt x="3685" y="2457"/>
                    </a:lnTo>
                    <a:lnTo>
                      <a:pt x="3685" y="2452"/>
                    </a:lnTo>
                    <a:lnTo>
                      <a:pt x="3687" y="2443"/>
                    </a:lnTo>
                    <a:lnTo>
                      <a:pt x="3683" y="2440"/>
                    </a:lnTo>
                    <a:lnTo>
                      <a:pt x="3671" y="2443"/>
                    </a:lnTo>
                    <a:lnTo>
                      <a:pt x="3666" y="2443"/>
                    </a:lnTo>
                    <a:lnTo>
                      <a:pt x="3664" y="2436"/>
                    </a:lnTo>
                    <a:lnTo>
                      <a:pt x="3661" y="2431"/>
                    </a:lnTo>
                    <a:lnTo>
                      <a:pt x="3650" y="2431"/>
                    </a:lnTo>
                    <a:lnTo>
                      <a:pt x="3647" y="2433"/>
                    </a:lnTo>
                    <a:lnTo>
                      <a:pt x="3638" y="2424"/>
                    </a:lnTo>
                    <a:lnTo>
                      <a:pt x="3635" y="2419"/>
                    </a:lnTo>
                    <a:lnTo>
                      <a:pt x="3635" y="2417"/>
                    </a:lnTo>
                    <a:lnTo>
                      <a:pt x="3643" y="2412"/>
                    </a:lnTo>
                    <a:lnTo>
                      <a:pt x="3647" y="2412"/>
                    </a:lnTo>
                    <a:lnTo>
                      <a:pt x="3654" y="2417"/>
                    </a:lnTo>
                    <a:lnTo>
                      <a:pt x="3657" y="2417"/>
                    </a:lnTo>
                    <a:lnTo>
                      <a:pt x="3664" y="2410"/>
                    </a:lnTo>
                    <a:lnTo>
                      <a:pt x="3664" y="2405"/>
                    </a:lnTo>
                    <a:lnTo>
                      <a:pt x="3669" y="2398"/>
                    </a:lnTo>
                    <a:lnTo>
                      <a:pt x="3669" y="2393"/>
                    </a:lnTo>
                    <a:lnTo>
                      <a:pt x="3664" y="2386"/>
                    </a:lnTo>
                    <a:lnTo>
                      <a:pt x="3657" y="2384"/>
                    </a:lnTo>
                    <a:lnTo>
                      <a:pt x="3645" y="2388"/>
                    </a:lnTo>
                    <a:lnTo>
                      <a:pt x="3633" y="2398"/>
                    </a:lnTo>
                    <a:lnTo>
                      <a:pt x="3628" y="2396"/>
                    </a:lnTo>
                    <a:lnTo>
                      <a:pt x="3628" y="2391"/>
                    </a:lnTo>
                    <a:lnTo>
                      <a:pt x="3640" y="2377"/>
                    </a:lnTo>
                    <a:lnTo>
                      <a:pt x="3645" y="2370"/>
                    </a:lnTo>
                    <a:lnTo>
                      <a:pt x="3643" y="2365"/>
                    </a:lnTo>
                    <a:lnTo>
                      <a:pt x="3638" y="2360"/>
                    </a:lnTo>
                    <a:lnTo>
                      <a:pt x="3638" y="2346"/>
                    </a:lnTo>
                    <a:lnTo>
                      <a:pt x="3640" y="2341"/>
                    </a:lnTo>
                    <a:close/>
                    <a:moveTo>
                      <a:pt x="3851" y="2445"/>
                    </a:moveTo>
                    <a:lnTo>
                      <a:pt x="3851" y="2459"/>
                    </a:lnTo>
                    <a:lnTo>
                      <a:pt x="3846" y="2476"/>
                    </a:lnTo>
                    <a:lnTo>
                      <a:pt x="3839" y="2485"/>
                    </a:lnTo>
                    <a:lnTo>
                      <a:pt x="3832" y="2485"/>
                    </a:lnTo>
                    <a:lnTo>
                      <a:pt x="3827" y="2478"/>
                    </a:lnTo>
                    <a:lnTo>
                      <a:pt x="3822" y="2478"/>
                    </a:lnTo>
                    <a:lnTo>
                      <a:pt x="3817" y="2478"/>
                    </a:lnTo>
                    <a:lnTo>
                      <a:pt x="3815" y="2471"/>
                    </a:lnTo>
                    <a:lnTo>
                      <a:pt x="3817" y="2464"/>
                    </a:lnTo>
                    <a:lnTo>
                      <a:pt x="3815" y="2459"/>
                    </a:lnTo>
                    <a:lnTo>
                      <a:pt x="3813" y="2464"/>
                    </a:lnTo>
                    <a:lnTo>
                      <a:pt x="3810" y="2469"/>
                    </a:lnTo>
                    <a:lnTo>
                      <a:pt x="3801" y="2476"/>
                    </a:lnTo>
                    <a:lnTo>
                      <a:pt x="3796" y="2488"/>
                    </a:lnTo>
                    <a:lnTo>
                      <a:pt x="3794" y="2495"/>
                    </a:lnTo>
                    <a:lnTo>
                      <a:pt x="3789" y="2488"/>
                    </a:lnTo>
                    <a:lnTo>
                      <a:pt x="3784" y="2469"/>
                    </a:lnTo>
                    <a:lnTo>
                      <a:pt x="3784" y="2462"/>
                    </a:lnTo>
                    <a:lnTo>
                      <a:pt x="3789" y="2448"/>
                    </a:lnTo>
                    <a:lnTo>
                      <a:pt x="3796" y="2436"/>
                    </a:lnTo>
                    <a:lnTo>
                      <a:pt x="3796" y="2403"/>
                    </a:lnTo>
                    <a:lnTo>
                      <a:pt x="3822" y="2381"/>
                    </a:lnTo>
                    <a:lnTo>
                      <a:pt x="3825" y="2384"/>
                    </a:lnTo>
                    <a:lnTo>
                      <a:pt x="3836" y="2396"/>
                    </a:lnTo>
                    <a:lnTo>
                      <a:pt x="3846" y="2412"/>
                    </a:lnTo>
                    <a:lnTo>
                      <a:pt x="3851" y="2419"/>
                    </a:lnTo>
                    <a:lnTo>
                      <a:pt x="3851" y="2433"/>
                    </a:lnTo>
                    <a:lnTo>
                      <a:pt x="3851" y="2445"/>
                    </a:lnTo>
                    <a:close/>
                    <a:moveTo>
                      <a:pt x="1922" y="2313"/>
                    </a:moveTo>
                    <a:lnTo>
                      <a:pt x="1917" y="2315"/>
                    </a:lnTo>
                    <a:lnTo>
                      <a:pt x="1912" y="2315"/>
                    </a:lnTo>
                    <a:lnTo>
                      <a:pt x="1908" y="2313"/>
                    </a:lnTo>
                    <a:lnTo>
                      <a:pt x="1908" y="2308"/>
                    </a:lnTo>
                    <a:lnTo>
                      <a:pt x="1919" y="2299"/>
                    </a:lnTo>
                    <a:lnTo>
                      <a:pt x="1922" y="2296"/>
                    </a:lnTo>
                    <a:lnTo>
                      <a:pt x="1924" y="2299"/>
                    </a:lnTo>
                    <a:lnTo>
                      <a:pt x="1924" y="2303"/>
                    </a:lnTo>
                    <a:lnTo>
                      <a:pt x="1922" y="2313"/>
                    </a:lnTo>
                    <a:close/>
                    <a:moveTo>
                      <a:pt x="3666" y="2452"/>
                    </a:moveTo>
                    <a:lnTo>
                      <a:pt x="3669" y="2455"/>
                    </a:lnTo>
                    <a:lnTo>
                      <a:pt x="3669" y="2457"/>
                    </a:lnTo>
                    <a:lnTo>
                      <a:pt x="3659" y="2469"/>
                    </a:lnTo>
                    <a:lnTo>
                      <a:pt x="3659" y="2469"/>
                    </a:lnTo>
                    <a:lnTo>
                      <a:pt x="3657" y="2476"/>
                    </a:lnTo>
                    <a:lnTo>
                      <a:pt x="3654" y="2478"/>
                    </a:lnTo>
                    <a:lnTo>
                      <a:pt x="3650" y="2483"/>
                    </a:lnTo>
                    <a:lnTo>
                      <a:pt x="3643" y="2493"/>
                    </a:lnTo>
                    <a:lnTo>
                      <a:pt x="3643" y="2471"/>
                    </a:lnTo>
                    <a:lnTo>
                      <a:pt x="3633" y="2459"/>
                    </a:lnTo>
                    <a:lnTo>
                      <a:pt x="3640" y="2455"/>
                    </a:lnTo>
                    <a:lnTo>
                      <a:pt x="3647" y="2455"/>
                    </a:lnTo>
                    <a:lnTo>
                      <a:pt x="3654" y="2455"/>
                    </a:lnTo>
                    <a:lnTo>
                      <a:pt x="3664" y="2450"/>
                    </a:lnTo>
                    <a:lnTo>
                      <a:pt x="3666" y="2452"/>
                    </a:lnTo>
                    <a:close/>
                    <a:moveTo>
                      <a:pt x="1510" y="2296"/>
                    </a:moveTo>
                    <a:lnTo>
                      <a:pt x="1513" y="2299"/>
                    </a:lnTo>
                    <a:lnTo>
                      <a:pt x="1515" y="2296"/>
                    </a:lnTo>
                    <a:lnTo>
                      <a:pt x="1522" y="2292"/>
                    </a:lnTo>
                    <a:lnTo>
                      <a:pt x="1522" y="2292"/>
                    </a:lnTo>
                    <a:lnTo>
                      <a:pt x="1522" y="2294"/>
                    </a:lnTo>
                    <a:lnTo>
                      <a:pt x="1518" y="2301"/>
                    </a:lnTo>
                    <a:lnTo>
                      <a:pt x="1520" y="2310"/>
                    </a:lnTo>
                    <a:lnTo>
                      <a:pt x="1522" y="2318"/>
                    </a:lnTo>
                    <a:lnTo>
                      <a:pt x="1522" y="2318"/>
                    </a:lnTo>
                    <a:lnTo>
                      <a:pt x="1513" y="2320"/>
                    </a:lnTo>
                    <a:lnTo>
                      <a:pt x="1506" y="2315"/>
                    </a:lnTo>
                    <a:lnTo>
                      <a:pt x="1501" y="2315"/>
                    </a:lnTo>
                    <a:lnTo>
                      <a:pt x="1496" y="2318"/>
                    </a:lnTo>
                    <a:lnTo>
                      <a:pt x="1496" y="2313"/>
                    </a:lnTo>
                    <a:lnTo>
                      <a:pt x="1499" y="2294"/>
                    </a:lnTo>
                    <a:lnTo>
                      <a:pt x="1499" y="2292"/>
                    </a:lnTo>
                    <a:lnTo>
                      <a:pt x="1506" y="2287"/>
                    </a:lnTo>
                    <a:lnTo>
                      <a:pt x="1510" y="2284"/>
                    </a:lnTo>
                    <a:lnTo>
                      <a:pt x="1513" y="2287"/>
                    </a:lnTo>
                    <a:lnTo>
                      <a:pt x="1515" y="2289"/>
                    </a:lnTo>
                    <a:lnTo>
                      <a:pt x="1513" y="2292"/>
                    </a:lnTo>
                    <a:lnTo>
                      <a:pt x="1510" y="2296"/>
                    </a:lnTo>
                    <a:close/>
                    <a:moveTo>
                      <a:pt x="1539" y="2301"/>
                    </a:moveTo>
                    <a:lnTo>
                      <a:pt x="1536" y="2310"/>
                    </a:lnTo>
                    <a:lnTo>
                      <a:pt x="1527" y="2301"/>
                    </a:lnTo>
                    <a:lnTo>
                      <a:pt x="1525" y="2299"/>
                    </a:lnTo>
                    <a:lnTo>
                      <a:pt x="1527" y="2296"/>
                    </a:lnTo>
                    <a:lnTo>
                      <a:pt x="1536" y="2296"/>
                    </a:lnTo>
                    <a:lnTo>
                      <a:pt x="1539" y="2301"/>
                    </a:lnTo>
                    <a:close/>
                    <a:moveTo>
                      <a:pt x="3709" y="2540"/>
                    </a:moveTo>
                    <a:lnTo>
                      <a:pt x="3711" y="2542"/>
                    </a:lnTo>
                    <a:lnTo>
                      <a:pt x="3711" y="2540"/>
                    </a:lnTo>
                    <a:lnTo>
                      <a:pt x="3716" y="2535"/>
                    </a:lnTo>
                    <a:lnTo>
                      <a:pt x="3721" y="2535"/>
                    </a:lnTo>
                    <a:lnTo>
                      <a:pt x="3725" y="2537"/>
                    </a:lnTo>
                    <a:lnTo>
                      <a:pt x="3728" y="2537"/>
                    </a:lnTo>
                    <a:lnTo>
                      <a:pt x="3728" y="2545"/>
                    </a:lnTo>
                    <a:lnTo>
                      <a:pt x="3728" y="2556"/>
                    </a:lnTo>
                    <a:lnTo>
                      <a:pt x="3725" y="2561"/>
                    </a:lnTo>
                    <a:lnTo>
                      <a:pt x="3723" y="2568"/>
                    </a:lnTo>
                    <a:lnTo>
                      <a:pt x="3713" y="2566"/>
                    </a:lnTo>
                    <a:lnTo>
                      <a:pt x="3706" y="2559"/>
                    </a:lnTo>
                    <a:lnTo>
                      <a:pt x="3697" y="2545"/>
                    </a:lnTo>
                    <a:lnTo>
                      <a:pt x="3690" y="2537"/>
                    </a:lnTo>
                    <a:lnTo>
                      <a:pt x="3690" y="2533"/>
                    </a:lnTo>
                    <a:lnTo>
                      <a:pt x="3687" y="2530"/>
                    </a:lnTo>
                    <a:lnTo>
                      <a:pt x="3678" y="2514"/>
                    </a:lnTo>
                    <a:lnTo>
                      <a:pt x="3673" y="2502"/>
                    </a:lnTo>
                    <a:lnTo>
                      <a:pt x="3669" y="2502"/>
                    </a:lnTo>
                    <a:lnTo>
                      <a:pt x="3661" y="2497"/>
                    </a:lnTo>
                    <a:lnTo>
                      <a:pt x="3657" y="2493"/>
                    </a:lnTo>
                    <a:lnTo>
                      <a:pt x="3659" y="2485"/>
                    </a:lnTo>
                    <a:lnTo>
                      <a:pt x="3669" y="2481"/>
                    </a:lnTo>
                    <a:lnTo>
                      <a:pt x="3685" y="2497"/>
                    </a:lnTo>
                    <a:lnTo>
                      <a:pt x="3690" y="2502"/>
                    </a:lnTo>
                    <a:lnTo>
                      <a:pt x="3695" y="2509"/>
                    </a:lnTo>
                    <a:lnTo>
                      <a:pt x="3697" y="2521"/>
                    </a:lnTo>
                    <a:lnTo>
                      <a:pt x="3699" y="2526"/>
                    </a:lnTo>
                    <a:lnTo>
                      <a:pt x="3709" y="2540"/>
                    </a:lnTo>
                    <a:close/>
                    <a:moveTo>
                      <a:pt x="1567" y="2336"/>
                    </a:moveTo>
                    <a:lnTo>
                      <a:pt x="1562" y="2339"/>
                    </a:lnTo>
                    <a:lnTo>
                      <a:pt x="1560" y="2344"/>
                    </a:lnTo>
                    <a:lnTo>
                      <a:pt x="1555" y="2344"/>
                    </a:lnTo>
                    <a:lnTo>
                      <a:pt x="1553" y="2346"/>
                    </a:lnTo>
                    <a:lnTo>
                      <a:pt x="1539" y="2358"/>
                    </a:lnTo>
                    <a:lnTo>
                      <a:pt x="1534" y="2358"/>
                    </a:lnTo>
                    <a:lnTo>
                      <a:pt x="1541" y="2348"/>
                    </a:lnTo>
                    <a:lnTo>
                      <a:pt x="1544" y="2344"/>
                    </a:lnTo>
                    <a:lnTo>
                      <a:pt x="1544" y="2341"/>
                    </a:lnTo>
                    <a:lnTo>
                      <a:pt x="1544" y="2332"/>
                    </a:lnTo>
                    <a:lnTo>
                      <a:pt x="1548" y="2334"/>
                    </a:lnTo>
                    <a:lnTo>
                      <a:pt x="1551" y="2332"/>
                    </a:lnTo>
                    <a:lnTo>
                      <a:pt x="1558" y="2325"/>
                    </a:lnTo>
                    <a:lnTo>
                      <a:pt x="1562" y="2327"/>
                    </a:lnTo>
                    <a:lnTo>
                      <a:pt x="1570" y="2318"/>
                    </a:lnTo>
                    <a:lnTo>
                      <a:pt x="1572" y="2318"/>
                    </a:lnTo>
                    <a:lnTo>
                      <a:pt x="1572" y="2320"/>
                    </a:lnTo>
                    <a:lnTo>
                      <a:pt x="1570" y="2325"/>
                    </a:lnTo>
                    <a:lnTo>
                      <a:pt x="1572" y="2332"/>
                    </a:lnTo>
                    <a:lnTo>
                      <a:pt x="1570" y="2336"/>
                    </a:lnTo>
                    <a:lnTo>
                      <a:pt x="1567" y="2336"/>
                    </a:lnTo>
                    <a:close/>
                    <a:moveTo>
                      <a:pt x="3827" y="2504"/>
                    </a:moveTo>
                    <a:lnTo>
                      <a:pt x="3836" y="2521"/>
                    </a:lnTo>
                    <a:lnTo>
                      <a:pt x="3839" y="2528"/>
                    </a:lnTo>
                    <a:lnTo>
                      <a:pt x="3829" y="2530"/>
                    </a:lnTo>
                    <a:lnTo>
                      <a:pt x="3825" y="2530"/>
                    </a:lnTo>
                    <a:lnTo>
                      <a:pt x="3820" y="2528"/>
                    </a:lnTo>
                    <a:lnTo>
                      <a:pt x="3820" y="2526"/>
                    </a:lnTo>
                    <a:lnTo>
                      <a:pt x="3822" y="2516"/>
                    </a:lnTo>
                    <a:lnTo>
                      <a:pt x="3817" y="2511"/>
                    </a:lnTo>
                    <a:lnTo>
                      <a:pt x="3813" y="2509"/>
                    </a:lnTo>
                    <a:lnTo>
                      <a:pt x="3808" y="2514"/>
                    </a:lnTo>
                    <a:lnTo>
                      <a:pt x="3808" y="2504"/>
                    </a:lnTo>
                    <a:lnTo>
                      <a:pt x="3810" y="2497"/>
                    </a:lnTo>
                    <a:lnTo>
                      <a:pt x="3808" y="2490"/>
                    </a:lnTo>
                    <a:lnTo>
                      <a:pt x="3806" y="2483"/>
                    </a:lnTo>
                    <a:lnTo>
                      <a:pt x="3808" y="2481"/>
                    </a:lnTo>
                    <a:lnTo>
                      <a:pt x="3810" y="2481"/>
                    </a:lnTo>
                    <a:lnTo>
                      <a:pt x="3820" y="2485"/>
                    </a:lnTo>
                    <a:lnTo>
                      <a:pt x="3827" y="2504"/>
                    </a:lnTo>
                    <a:close/>
                    <a:moveTo>
                      <a:pt x="1596" y="2341"/>
                    </a:moveTo>
                    <a:lnTo>
                      <a:pt x="1593" y="2351"/>
                    </a:lnTo>
                    <a:lnTo>
                      <a:pt x="1591" y="2353"/>
                    </a:lnTo>
                    <a:lnTo>
                      <a:pt x="1591" y="2348"/>
                    </a:lnTo>
                    <a:lnTo>
                      <a:pt x="1586" y="2351"/>
                    </a:lnTo>
                    <a:lnTo>
                      <a:pt x="1584" y="2348"/>
                    </a:lnTo>
                    <a:lnTo>
                      <a:pt x="1586" y="2346"/>
                    </a:lnTo>
                    <a:lnTo>
                      <a:pt x="1586" y="2341"/>
                    </a:lnTo>
                    <a:lnTo>
                      <a:pt x="1588" y="2344"/>
                    </a:lnTo>
                    <a:lnTo>
                      <a:pt x="1591" y="2336"/>
                    </a:lnTo>
                    <a:lnTo>
                      <a:pt x="1591" y="2334"/>
                    </a:lnTo>
                    <a:lnTo>
                      <a:pt x="1593" y="2329"/>
                    </a:lnTo>
                    <a:lnTo>
                      <a:pt x="1596" y="2329"/>
                    </a:lnTo>
                    <a:lnTo>
                      <a:pt x="1596" y="2341"/>
                    </a:lnTo>
                    <a:close/>
                    <a:moveTo>
                      <a:pt x="1603" y="2367"/>
                    </a:moveTo>
                    <a:lnTo>
                      <a:pt x="1600" y="2367"/>
                    </a:lnTo>
                    <a:lnTo>
                      <a:pt x="1598" y="2365"/>
                    </a:lnTo>
                    <a:lnTo>
                      <a:pt x="1598" y="2358"/>
                    </a:lnTo>
                    <a:lnTo>
                      <a:pt x="1598" y="2353"/>
                    </a:lnTo>
                    <a:lnTo>
                      <a:pt x="1603" y="2358"/>
                    </a:lnTo>
                    <a:lnTo>
                      <a:pt x="1603" y="2365"/>
                    </a:lnTo>
                    <a:lnTo>
                      <a:pt x="1603" y="2367"/>
                    </a:lnTo>
                    <a:close/>
                    <a:moveTo>
                      <a:pt x="1284" y="2287"/>
                    </a:moveTo>
                    <a:lnTo>
                      <a:pt x="1286" y="2310"/>
                    </a:lnTo>
                    <a:lnTo>
                      <a:pt x="1288" y="2315"/>
                    </a:lnTo>
                    <a:lnTo>
                      <a:pt x="1291" y="2320"/>
                    </a:lnTo>
                    <a:lnTo>
                      <a:pt x="1298" y="2325"/>
                    </a:lnTo>
                    <a:lnTo>
                      <a:pt x="1300" y="2329"/>
                    </a:lnTo>
                    <a:lnTo>
                      <a:pt x="1302" y="2334"/>
                    </a:lnTo>
                    <a:lnTo>
                      <a:pt x="1302" y="2336"/>
                    </a:lnTo>
                    <a:lnTo>
                      <a:pt x="1284" y="2322"/>
                    </a:lnTo>
                    <a:lnTo>
                      <a:pt x="1267" y="2332"/>
                    </a:lnTo>
                    <a:lnTo>
                      <a:pt x="1262" y="2332"/>
                    </a:lnTo>
                    <a:lnTo>
                      <a:pt x="1224" y="2322"/>
                    </a:lnTo>
                    <a:lnTo>
                      <a:pt x="1215" y="2322"/>
                    </a:lnTo>
                    <a:lnTo>
                      <a:pt x="1210" y="2325"/>
                    </a:lnTo>
                    <a:lnTo>
                      <a:pt x="1198" y="2334"/>
                    </a:lnTo>
                    <a:lnTo>
                      <a:pt x="1191" y="2339"/>
                    </a:lnTo>
                    <a:lnTo>
                      <a:pt x="1187" y="2339"/>
                    </a:lnTo>
                    <a:lnTo>
                      <a:pt x="1177" y="2339"/>
                    </a:lnTo>
                    <a:lnTo>
                      <a:pt x="1165" y="2336"/>
                    </a:lnTo>
                    <a:lnTo>
                      <a:pt x="1158" y="2332"/>
                    </a:lnTo>
                    <a:lnTo>
                      <a:pt x="1156" y="2325"/>
                    </a:lnTo>
                    <a:lnTo>
                      <a:pt x="1158" y="2313"/>
                    </a:lnTo>
                    <a:lnTo>
                      <a:pt x="1158" y="2310"/>
                    </a:lnTo>
                    <a:lnTo>
                      <a:pt x="1161" y="2306"/>
                    </a:lnTo>
                    <a:lnTo>
                      <a:pt x="1172" y="2301"/>
                    </a:lnTo>
                    <a:lnTo>
                      <a:pt x="1177" y="2299"/>
                    </a:lnTo>
                    <a:lnTo>
                      <a:pt x="1198" y="2277"/>
                    </a:lnTo>
                    <a:lnTo>
                      <a:pt x="1203" y="2275"/>
                    </a:lnTo>
                    <a:lnTo>
                      <a:pt x="1208" y="2275"/>
                    </a:lnTo>
                    <a:lnTo>
                      <a:pt x="1220" y="2280"/>
                    </a:lnTo>
                    <a:lnTo>
                      <a:pt x="1232" y="2275"/>
                    </a:lnTo>
                    <a:lnTo>
                      <a:pt x="1255" y="2270"/>
                    </a:lnTo>
                    <a:lnTo>
                      <a:pt x="1260" y="2270"/>
                    </a:lnTo>
                    <a:lnTo>
                      <a:pt x="1276" y="2275"/>
                    </a:lnTo>
                    <a:lnTo>
                      <a:pt x="1279" y="2277"/>
                    </a:lnTo>
                    <a:lnTo>
                      <a:pt x="1281" y="2282"/>
                    </a:lnTo>
                    <a:lnTo>
                      <a:pt x="1284" y="2287"/>
                    </a:lnTo>
                    <a:close/>
                    <a:moveTo>
                      <a:pt x="1371" y="2329"/>
                    </a:moveTo>
                    <a:lnTo>
                      <a:pt x="1369" y="2329"/>
                    </a:lnTo>
                    <a:lnTo>
                      <a:pt x="1364" y="2325"/>
                    </a:lnTo>
                    <a:lnTo>
                      <a:pt x="1364" y="2320"/>
                    </a:lnTo>
                    <a:lnTo>
                      <a:pt x="1362" y="2315"/>
                    </a:lnTo>
                    <a:lnTo>
                      <a:pt x="1376" y="2310"/>
                    </a:lnTo>
                    <a:lnTo>
                      <a:pt x="1378" y="2310"/>
                    </a:lnTo>
                    <a:lnTo>
                      <a:pt x="1378" y="2315"/>
                    </a:lnTo>
                    <a:lnTo>
                      <a:pt x="1378" y="2320"/>
                    </a:lnTo>
                    <a:lnTo>
                      <a:pt x="1373" y="2327"/>
                    </a:lnTo>
                    <a:lnTo>
                      <a:pt x="1371" y="2329"/>
                    </a:lnTo>
                    <a:close/>
                    <a:moveTo>
                      <a:pt x="1336" y="2384"/>
                    </a:moveTo>
                    <a:lnTo>
                      <a:pt x="1326" y="2384"/>
                    </a:lnTo>
                    <a:lnTo>
                      <a:pt x="1321" y="2379"/>
                    </a:lnTo>
                    <a:lnTo>
                      <a:pt x="1317" y="2372"/>
                    </a:lnTo>
                    <a:lnTo>
                      <a:pt x="1317" y="2365"/>
                    </a:lnTo>
                    <a:lnTo>
                      <a:pt x="1331" y="2374"/>
                    </a:lnTo>
                    <a:lnTo>
                      <a:pt x="1333" y="2377"/>
                    </a:lnTo>
                    <a:lnTo>
                      <a:pt x="1336" y="2384"/>
                    </a:lnTo>
                    <a:close/>
                    <a:moveTo>
                      <a:pt x="1090" y="2353"/>
                    </a:moveTo>
                    <a:lnTo>
                      <a:pt x="1087" y="2353"/>
                    </a:lnTo>
                    <a:lnTo>
                      <a:pt x="1087" y="2351"/>
                    </a:lnTo>
                    <a:lnTo>
                      <a:pt x="1087" y="2346"/>
                    </a:lnTo>
                    <a:lnTo>
                      <a:pt x="1087" y="2336"/>
                    </a:lnTo>
                    <a:lnTo>
                      <a:pt x="1094" y="2334"/>
                    </a:lnTo>
                    <a:lnTo>
                      <a:pt x="1097" y="2334"/>
                    </a:lnTo>
                    <a:lnTo>
                      <a:pt x="1097" y="2336"/>
                    </a:lnTo>
                    <a:lnTo>
                      <a:pt x="1099" y="2344"/>
                    </a:lnTo>
                    <a:lnTo>
                      <a:pt x="1101" y="2346"/>
                    </a:lnTo>
                    <a:lnTo>
                      <a:pt x="1104" y="2348"/>
                    </a:lnTo>
                    <a:lnTo>
                      <a:pt x="1099" y="2348"/>
                    </a:lnTo>
                    <a:lnTo>
                      <a:pt x="1090" y="2353"/>
                    </a:lnTo>
                    <a:close/>
                    <a:moveTo>
                      <a:pt x="1066" y="2355"/>
                    </a:moveTo>
                    <a:lnTo>
                      <a:pt x="1061" y="2358"/>
                    </a:lnTo>
                    <a:lnTo>
                      <a:pt x="1059" y="2355"/>
                    </a:lnTo>
                    <a:lnTo>
                      <a:pt x="1059" y="2355"/>
                    </a:lnTo>
                    <a:lnTo>
                      <a:pt x="1049" y="2353"/>
                    </a:lnTo>
                    <a:lnTo>
                      <a:pt x="1049" y="2353"/>
                    </a:lnTo>
                    <a:lnTo>
                      <a:pt x="1047" y="2344"/>
                    </a:lnTo>
                    <a:lnTo>
                      <a:pt x="1047" y="2339"/>
                    </a:lnTo>
                    <a:lnTo>
                      <a:pt x="1049" y="2336"/>
                    </a:lnTo>
                    <a:lnTo>
                      <a:pt x="1054" y="2334"/>
                    </a:lnTo>
                    <a:lnTo>
                      <a:pt x="1061" y="2334"/>
                    </a:lnTo>
                    <a:lnTo>
                      <a:pt x="1068" y="2336"/>
                    </a:lnTo>
                    <a:lnTo>
                      <a:pt x="1075" y="2346"/>
                    </a:lnTo>
                    <a:lnTo>
                      <a:pt x="1078" y="2353"/>
                    </a:lnTo>
                    <a:lnTo>
                      <a:pt x="1078" y="2355"/>
                    </a:lnTo>
                    <a:lnTo>
                      <a:pt x="1073" y="2355"/>
                    </a:lnTo>
                    <a:lnTo>
                      <a:pt x="1066" y="2355"/>
                    </a:lnTo>
                    <a:close/>
                    <a:moveTo>
                      <a:pt x="1000" y="2360"/>
                    </a:moveTo>
                    <a:lnTo>
                      <a:pt x="1000" y="2367"/>
                    </a:lnTo>
                    <a:lnTo>
                      <a:pt x="1007" y="2365"/>
                    </a:lnTo>
                    <a:lnTo>
                      <a:pt x="1014" y="2360"/>
                    </a:lnTo>
                    <a:lnTo>
                      <a:pt x="1019" y="2355"/>
                    </a:lnTo>
                    <a:lnTo>
                      <a:pt x="1021" y="2353"/>
                    </a:lnTo>
                    <a:lnTo>
                      <a:pt x="1023" y="2358"/>
                    </a:lnTo>
                    <a:lnTo>
                      <a:pt x="1031" y="2365"/>
                    </a:lnTo>
                    <a:lnTo>
                      <a:pt x="1021" y="2370"/>
                    </a:lnTo>
                    <a:lnTo>
                      <a:pt x="1005" y="2377"/>
                    </a:lnTo>
                    <a:lnTo>
                      <a:pt x="997" y="2384"/>
                    </a:lnTo>
                    <a:lnTo>
                      <a:pt x="995" y="2388"/>
                    </a:lnTo>
                    <a:lnTo>
                      <a:pt x="1009" y="2388"/>
                    </a:lnTo>
                    <a:lnTo>
                      <a:pt x="1012" y="2391"/>
                    </a:lnTo>
                    <a:lnTo>
                      <a:pt x="1014" y="2393"/>
                    </a:lnTo>
                    <a:lnTo>
                      <a:pt x="1009" y="2396"/>
                    </a:lnTo>
                    <a:lnTo>
                      <a:pt x="1002" y="2396"/>
                    </a:lnTo>
                    <a:lnTo>
                      <a:pt x="995" y="2400"/>
                    </a:lnTo>
                    <a:lnTo>
                      <a:pt x="976" y="2405"/>
                    </a:lnTo>
                    <a:lnTo>
                      <a:pt x="969" y="2412"/>
                    </a:lnTo>
                    <a:lnTo>
                      <a:pt x="962" y="2412"/>
                    </a:lnTo>
                    <a:lnTo>
                      <a:pt x="953" y="2410"/>
                    </a:lnTo>
                    <a:lnTo>
                      <a:pt x="936" y="2412"/>
                    </a:lnTo>
                    <a:lnTo>
                      <a:pt x="927" y="2412"/>
                    </a:lnTo>
                    <a:lnTo>
                      <a:pt x="922" y="2414"/>
                    </a:lnTo>
                    <a:lnTo>
                      <a:pt x="919" y="2414"/>
                    </a:lnTo>
                    <a:lnTo>
                      <a:pt x="915" y="2414"/>
                    </a:lnTo>
                    <a:lnTo>
                      <a:pt x="912" y="2414"/>
                    </a:lnTo>
                    <a:lnTo>
                      <a:pt x="905" y="2419"/>
                    </a:lnTo>
                    <a:lnTo>
                      <a:pt x="903" y="2419"/>
                    </a:lnTo>
                    <a:lnTo>
                      <a:pt x="896" y="2417"/>
                    </a:lnTo>
                    <a:lnTo>
                      <a:pt x="893" y="2419"/>
                    </a:lnTo>
                    <a:lnTo>
                      <a:pt x="889" y="2417"/>
                    </a:lnTo>
                    <a:lnTo>
                      <a:pt x="882" y="2410"/>
                    </a:lnTo>
                    <a:lnTo>
                      <a:pt x="882" y="2405"/>
                    </a:lnTo>
                    <a:lnTo>
                      <a:pt x="891" y="2403"/>
                    </a:lnTo>
                    <a:lnTo>
                      <a:pt x="898" y="2403"/>
                    </a:lnTo>
                    <a:lnTo>
                      <a:pt x="905" y="2403"/>
                    </a:lnTo>
                    <a:lnTo>
                      <a:pt x="917" y="2400"/>
                    </a:lnTo>
                    <a:lnTo>
                      <a:pt x="936" y="2398"/>
                    </a:lnTo>
                    <a:lnTo>
                      <a:pt x="943" y="2396"/>
                    </a:lnTo>
                    <a:lnTo>
                      <a:pt x="950" y="2381"/>
                    </a:lnTo>
                    <a:lnTo>
                      <a:pt x="955" y="2381"/>
                    </a:lnTo>
                    <a:lnTo>
                      <a:pt x="960" y="2377"/>
                    </a:lnTo>
                    <a:lnTo>
                      <a:pt x="969" y="2379"/>
                    </a:lnTo>
                    <a:lnTo>
                      <a:pt x="971" y="2386"/>
                    </a:lnTo>
                    <a:lnTo>
                      <a:pt x="971" y="2388"/>
                    </a:lnTo>
                    <a:lnTo>
                      <a:pt x="974" y="2388"/>
                    </a:lnTo>
                    <a:lnTo>
                      <a:pt x="976" y="2384"/>
                    </a:lnTo>
                    <a:lnTo>
                      <a:pt x="981" y="2381"/>
                    </a:lnTo>
                    <a:lnTo>
                      <a:pt x="979" y="2377"/>
                    </a:lnTo>
                    <a:lnTo>
                      <a:pt x="971" y="2372"/>
                    </a:lnTo>
                    <a:lnTo>
                      <a:pt x="967" y="2367"/>
                    </a:lnTo>
                    <a:lnTo>
                      <a:pt x="962" y="2367"/>
                    </a:lnTo>
                    <a:lnTo>
                      <a:pt x="960" y="2362"/>
                    </a:lnTo>
                    <a:lnTo>
                      <a:pt x="957" y="2358"/>
                    </a:lnTo>
                    <a:lnTo>
                      <a:pt x="957" y="2355"/>
                    </a:lnTo>
                    <a:lnTo>
                      <a:pt x="960" y="2351"/>
                    </a:lnTo>
                    <a:lnTo>
                      <a:pt x="962" y="2346"/>
                    </a:lnTo>
                    <a:lnTo>
                      <a:pt x="967" y="2344"/>
                    </a:lnTo>
                    <a:lnTo>
                      <a:pt x="974" y="2341"/>
                    </a:lnTo>
                    <a:lnTo>
                      <a:pt x="983" y="2344"/>
                    </a:lnTo>
                    <a:lnTo>
                      <a:pt x="993" y="2344"/>
                    </a:lnTo>
                    <a:lnTo>
                      <a:pt x="1000" y="2344"/>
                    </a:lnTo>
                    <a:lnTo>
                      <a:pt x="1002" y="2346"/>
                    </a:lnTo>
                    <a:lnTo>
                      <a:pt x="1000" y="2360"/>
                    </a:lnTo>
                    <a:close/>
                    <a:moveTo>
                      <a:pt x="1023" y="2393"/>
                    </a:moveTo>
                    <a:lnTo>
                      <a:pt x="1021" y="2393"/>
                    </a:lnTo>
                    <a:lnTo>
                      <a:pt x="1021" y="2388"/>
                    </a:lnTo>
                    <a:lnTo>
                      <a:pt x="1021" y="2386"/>
                    </a:lnTo>
                    <a:lnTo>
                      <a:pt x="1023" y="2384"/>
                    </a:lnTo>
                    <a:lnTo>
                      <a:pt x="1028" y="2379"/>
                    </a:lnTo>
                    <a:lnTo>
                      <a:pt x="1033" y="2379"/>
                    </a:lnTo>
                    <a:lnTo>
                      <a:pt x="1035" y="2379"/>
                    </a:lnTo>
                    <a:lnTo>
                      <a:pt x="1035" y="2381"/>
                    </a:lnTo>
                    <a:lnTo>
                      <a:pt x="1031" y="2386"/>
                    </a:lnTo>
                    <a:lnTo>
                      <a:pt x="1026" y="2388"/>
                    </a:lnTo>
                    <a:lnTo>
                      <a:pt x="1023" y="2393"/>
                    </a:lnTo>
                    <a:close/>
                    <a:moveTo>
                      <a:pt x="870" y="2398"/>
                    </a:moveTo>
                    <a:lnTo>
                      <a:pt x="841" y="2405"/>
                    </a:lnTo>
                    <a:lnTo>
                      <a:pt x="830" y="2412"/>
                    </a:lnTo>
                    <a:lnTo>
                      <a:pt x="820" y="2419"/>
                    </a:lnTo>
                    <a:lnTo>
                      <a:pt x="815" y="2424"/>
                    </a:lnTo>
                    <a:lnTo>
                      <a:pt x="811" y="2424"/>
                    </a:lnTo>
                    <a:lnTo>
                      <a:pt x="806" y="2424"/>
                    </a:lnTo>
                    <a:lnTo>
                      <a:pt x="797" y="2429"/>
                    </a:lnTo>
                    <a:lnTo>
                      <a:pt x="792" y="2429"/>
                    </a:lnTo>
                    <a:lnTo>
                      <a:pt x="761" y="2436"/>
                    </a:lnTo>
                    <a:lnTo>
                      <a:pt x="759" y="2436"/>
                    </a:lnTo>
                    <a:lnTo>
                      <a:pt x="761" y="2431"/>
                    </a:lnTo>
                    <a:lnTo>
                      <a:pt x="773" y="2429"/>
                    </a:lnTo>
                    <a:lnTo>
                      <a:pt x="778" y="2426"/>
                    </a:lnTo>
                    <a:lnTo>
                      <a:pt x="787" y="2419"/>
                    </a:lnTo>
                    <a:lnTo>
                      <a:pt x="792" y="2417"/>
                    </a:lnTo>
                    <a:lnTo>
                      <a:pt x="794" y="2412"/>
                    </a:lnTo>
                    <a:lnTo>
                      <a:pt x="799" y="2403"/>
                    </a:lnTo>
                    <a:lnTo>
                      <a:pt x="801" y="2400"/>
                    </a:lnTo>
                    <a:lnTo>
                      <a:pt x="808" y="2396"/>
                    </a:lnTo>
                    <a:lnTo>
                      <a:pt x="813" y="2393"/>
                    </a:lnTo>
                    <a:lnTo>
                      <a:pt x="818" y="2393"/>
                    </a:lnTo>
                    <a:lnTo>
                      <a:pt x="830" y="2398"/>
                    </a:lnTo>
                    <a:lnTo>
                      <a:pt x="834" y="2396"/>
                    </a:lnTo>
                    <a:lnTo>
                      <a:pt x="837" y="2393"/>
                    </a:lnTo>
                    <a:lnTo>
                      <a:pt x="834" y="2391"/>
                    </a:lnTo>
                    <a:lnTo>
                      <a:pt x="837" y="2386"/>
                    </a:lnTo>
                    <a:lnTo>
                      <a:pt x="839" y="2379"/>
                    </a:lnTo>
                    <a:lnTo>
                      <a:pt x="844" y="2374"/>
                    </a:lnTo>
                    <a:lnTo>
                      <a:pt x="851" y="2370"/>
                    </a:lnTo>
                    <a:lnTo>
                      <a:pt x="860" y="2367"/>
                    </a:lnTo>
                    <a:lnTo>
                      <a:pt x="870" y="2367"/>
                    </a:lnTo>
                    <a:lnTo>
                      <a:pt x="877" y="2370"/>
                    </a:lnTo>
                    <a:lnTo>
                      <a:pt x="889" y="2381"/>
                    </a:lnTo>
                    <a:lnTo>
                      <a:pt x="889" y="2384"/>
                    </a:lnTo>
                    <a:lnTo>
                      <a:pt x="884" y="2391"/>
                    </a:lnTo>
                    <a:lnTo>
                      <a:pt x="879" y="2396"/>
                    </a:lnTo>
                    <a:lnTo>
                      <a:pt x="870" y="2398"/>
                    </a:lnTo>
                    <a:close/>
                    <a:moveTo>
                      <a:pt x="711" y="2417"/>
                    </a:moveTo>
                    <a:lnTo>
                      <a:pt x="709" y="2422"/>
                    </a:lnTo>
                    <a:lnTo>
                      <a:pt x="707" y="2424"/>
                    </a:lnTo>
                    <a:lnTo>
                      <a:pt x="697" y="2417"/>
                    </a:lnTo>
                    <a:lnTo>
                      <a:pt x="688" y="2414"/>
                    </a:lnTo>
                    <a:lnTo>
                      <a:pt x="688" y="2412"/>
                    </a:lnTo>
                    <a:lnTo>
                      <a:pt x="690" y="2410"/>
                    </a:lnTo>
                    <a:lnTo>
                      <a:pt x="704" y="2410"/>
                    </a:lnTo>
                    <a:lnTo>
                      <a:pt x="709" y="2412"/>
                    </a:lnTo>
                    <a:lnTo>
                      <a:pt x="711" y="2414"/>
                    </a:lnTo>
                    <a:lnTo>
                      <a:pt x="711" y="2417"/>
                    </a:lnTo>
                    <a:close/>
                    <a:moveTo>
                      <a:pt x="619" y="2424"/>
                    </a:moveTo>
                    <a:lnTo>
                      <a:pt x="612" y="2426"/>
                    </a:lnTo>
                    <a:lnTo>
                      <a:pt x="612" y="2424"/>
                    </a:lnTo>
                    <a:lnTo>
                      <a:pt x="612" y="2417"/>
                    </a:lnTo>
                    <a:lnTo>
                      <a:pt x="617" y="2414"/>
                    </a:lnTo>
                    <a:lnTo>
                      <a:pt x="629" y="2410"/>
                    </a:lnTo>
                    <a:lnTo>
                      <a:pt x="633" y="2412"/>
                    </a:lnTo>
                    <a:lnTo>
                      <a:pt x="633" y="2417"/>
                    </a:lnTo>
                    <a:lnTo>
                      <a:pt x="633" y="2419"/>
                    </a:lnTo>
                    <a:lnTo>
                      <a:pt x="629" y="2422"/>
                    </a:lnTo>
                    <a:lnTo>
                      <a:pt x="626" y="2424"/>
                    </a:lnTo>
                    <a:lnTo>
                      <a:pt x="622" y="2422"/>
                    </a:lnTo>
                    <a:lnTo>
                      <a:pt x="619" y="2424"/>
                    </a:lnTo>
                    <a:close/>
                    <a:moveTo>
                      <a:pt x="284" y="2374"/>
                    </a:moveTo>
                    <a:lnTo>
                      <a:pt x="239" y="2360"/>
                    </a:lnTo>
                    <a:lnTo>
                      <a:pt x="234" y="2355"/>
                    </a:lnTo>
                    <a:lnTo>
                      <a:pt x="241" y="2355"/>
                    </a:lnTo>
                    <a:lnTo>
                      <a:pt x="248" y="2358"/>
                    </a:lnTo>
                    <a:lnTo>
                      <a:pt x="267" y="2358"/>
                    </a:lnTo>
                    <a:lnTo>
                      <a:pt x="288" y="2360"/>
                    </a:lnTo>
                    <a:lnTo>
                      <a:pt x="307" y="2360"/>
                    </a:lnTo>
                    <a:lnTo>
                      <a:pt x="321" y="2362"/>
                    </a:lnTo>
                    <a:lnTo>
                      <a:pt x="329" y="2358"/>
                    </a:lnTo>
                    <a:lnTo>
                      <a:pt x="317" y="2348"/>
                    </a:lnTo>
                    <a:lnTo>
                      <a:pt x="317" y="2346"/>
                    </a:lnTo>
                    <a:lnTo>
                      <a:pt x="324" y="2344"/>
                    </a:lnTo>
                    <a:lnTo>
                      <a:pt x="329" y="2341"/>
                    </a:lnTo>
                    <a:lnTo>
                      <a:pt x="343" y="2341"/>
                    </a:lnTo>
                    <a:lnTo>
                      <a:pt x="350" y="2351"/>
                    </a:lnTo>
                    <a:lnTo>
                      <a:pt x="350" y="2355"/>
                    </a:lnTo>
                    <a:lnTo>
                      <a:pt x="347" y="2362"/>
                    </a:lnTo>
                    <a:lnTo>
                      <a:pt x="343" y="2367"/>
                    </a:lnTo>
                    <a:lnTo>
                      <a:pt x="333" y="2365"/>
                    </a:lnTo>
                    <a:lnTo>
                      <a:pt x="331" y="2367"/>
                    </a:lnTo>
                    <a:lnTo>
                      <a:pt x="331" y="2379"/>
                    </a:lnTo>
                    <a:lnTo>
                      <a:pt x="312" y="2379"/>
                    </a:lnTo>
                    <a:lnTo>
                      <a:pt x="284" y="2374"/>
                    </a:lnTo>
                    <a:close/>
                    <a:moveTo>
                      <a:pt x="468" y="2412"/>
                    </a:moveTo>
                    <a:lnTo>
                      <a:pt x="461" y="2412"/>
                    </a:lnTo>
                    <a:lnTo>
                      <a:pt x="456" y="2407"/>
                    </a:lnTo>
                    <a:lnTo>
                      <a:pt x="461" y="2403"/>
                    </a:lnTo>
                    <a:lnTo>
                      <a:pt x="466" y="2400"/>
                    </a:lnTo>
                    <a:lnTo>
                      <a:pt x="473" y="2398"/>
                    </a:lnTo>
                    <a:lnTo>
                      <a:pt x="480" y="2403"/>
                    </a:lnTo>
                    <a:lnTo>
                      <a:pt x="482" y="2410"/>
                    </a:lnTo>
                    <a:lnTo>
                      <a:pt x="468" y="2412"/>
                    </a:lnTo>
                    <a:close/>
                    <a:moveTo>
                      <a:pt x="376" y="2396"/>
                    </a:moveTo>
                    <a:lnTo>
                      <a:pt x="390" y="2407"/>
                    </a:lnTo>
                    <a:lnTo>
                      <a:pt x="409" y="2414"/>
                    </a:lnTo>
                    <a:lnTo>
                      <a:pt x="416" y="2419"/>
                    </a:lnTo>
                    <a:lnTo>
                      <a:pt x="414" y="2419"/>
                    </a:lnTo>
                    <a:lnTo>
                      <a:pt x="402" y="2417"/>
                    </a:lnTo>
                    <a:lnTo>
                      <a:pt x="397" y="2414"/>
                    </a:lnTo>
                    <a:lnTo>
                      <a:pt x="385" y="2412"/>
                    </a:lnTo>
                    <a:lnTo>
                      <a:pt x="378" y="2410"/>
                    </a:lnTo>
                    <a:lnTo>
                      <a:pt x="362" y="2403"/>
                    </a:lnTo>
                    <a:lnTo>
                      <a:pt x="350" y="2398"/>
                    </a:lnTo>
                    <a:lnTo>
                      <a:pt x="345" y="2396"/>
                    </a:lnTo>
                    <a:lnTo>
                      <a:pt x="343" y="2393"/>
                    </a:lnTo>
                    <a:lnTo>
                      <a:pt x="340" y="2386"/>
                    </a:lnTo>
                    <a:lnTo>
                      <a:pt x="340" y="2384"/>
                    </a:lnTo>
                    <a:lnTo>
                      <a:pt x="345" y="2384"/>
                    </a:lnTo>
                    <a:lnTo>
                      <a:pt x="355" y="2393"/>
                    </a:lnTo>
                    <a:lnTo>
                      <a:pt x="357" y="2391"/>
                    </a:lnTo>
                    <a:lnTo>
                      <a:pt x="369" y="2391"/>
                    </a:lnTo>
                    <a:lnTo>
                      <a:pt x="376" y="2396"/>
                    </a:lnTo>
                    <a:close/>
                    <a:moveTo>
                      <a:pt x="177" y="2334"/>
                    </a:moveTo>
                    <a:lnTo>
                      <a:pt x="173" y="2336"/>
                    </a:lnTo>
                    <a:lnTo>
                      <a:pt x="168" y="2329"/>
                    </a:lnTo>
                    <a:lnTo>
                      <a:pt x="165" y="2325"/>
                    </a:lnTo>
                    <a:lnTo>
                      <a:pt x="168" y="2322"/>
                    </a:lnTo>
                    <a:lnTo>
                      <a:pt x="170" y="2318"/>
                    </a:lnTo>
                    <a:lnTo>
                      <a:pt x="177" y="2320"/>
                    </a:lnTo>
                    <a:lnTo>
                      <a:pt x="180" y="2322"/>
                    </a:lnTo>
                    <a:lnTo>
                      <a:pt x="182" y="2329"/>
                    </a:lnTo>
                    <a:lnTo>
                      <a:pt x="182" y="2332"/>
                    </a:lnTo>
                    <a:lnTo>
                      <a:pt x="177" y="2334"/>
                    </a:lnTo>
                    <a:close/>
                    <a:moveTo>
                      <a:pt x="125" y="2332"/>
                    </a:moveTo>
                    <a:lnTo>
                      <a:pt x="123" y="2336"/>
                    </a:lnTo>
                    <a:lnTo>
                      <a:pt x="132" y="2339"/>
                    </a:lnTo>
                    <a:lnTo>
                      <a:pt x="135" y="2341"/>
                    </a:lnTo>
                    <a:lnTo>
                      <a:pt x="130" y="2351"/>
                    </a:lnTo>
                    <a:lnTo>
                      <a:pt x="128" y="2353"/>
                    </a:lnTo>
                    <a:lnTo>
                      <a:pt x="128" y="2353"/>
                    </a:lnTo>
                    <a:lnTo>
                      <a:pt x="125" y="2348"/>
                    </a:lnTo>
                    <a:lnTo>
                      <a:pt x="118" y="2351"/>
                    </a:lnTo>
                    <a:lnTo>
                      <a:pt x="97" y="2355"/>
                    </a:lnTo>
                    <a:lnTo>
                      <a:pt x="95" y="2346"/>
                    </a:lnTo>
                    <a:lnTo>
                      <a:pt x="83" y="2351"/>
                    </a:lnTo>
                    <a:lnTo>
                      <a:pt x="99" y="2332"/>
                    </a:lnTo>
                    <a:lnTo>
                      <a:pt x="109" y="2332"/>
                    </a:lnTo>
                    <a:lnTo>
                      <a:pt x="111" y="2329"/>
                    </a:lnTo>
                    <a:lnTo>
                      <a:pt x="113" y="2322"/>
                    </a:lnTo>
                    <a:lnTo>
                      <a:pt x="123" y="2313"/>
                    </a:lnTo>
                    <a:lnTo>
                      <a:pt x="130" y="2318"/>
                    </a:lnTo>
                    <a:lnTo>
                      <a:pt x="132" y="2322"/>
                    </a:lnTo>
                    <a:lnTo>
                      <a:pt x="130" y="2327"/>
                    </a:lnTo>
                    <a:lnTo>
                      <a:pt x="125" y="2332"/>
                    </a:lnTo>
                    <a:close/>
                    <a:moveTo>
                      <a:pt x="73" y="2332"/>
                    </a:moveTo>
                    <a:lnTo>
                      <a:pt x="71" y="2332"/>
                    </a:lnTo>
                    <a:lnTo>
                      <a:pt x="66" y="2332"/>
                    </a:lnTo>
                    <a:lnTo>
                      <a:pt x="54" y="2325"/>
                    </a:lnTo>
                    <a:lnTo>
                      <a:pt x="47" y="2322"/>
                    </a:lnTo>
                    <a:lnTo>
                      <a:pt x="38" y="2320"/>
                    </a:lnTo>
                    <a:lnTo>
                      <a:pt x="31" y="2318"/>
                    </a:lnTo>
                    <a:lnTo>
                      <a:pt x="33" y="2315"/>
                    </a:lnTo>
                    <a:lnTo>
                      <a:pt x="33" y="2313"/>
                    </a:lnTo>
                    <a:lnTo>
                      <a:pt x="61" y="2318"/>
                    </a:lnTo>
                    <a:lnTo>
                      <a:pt x="71" y="2315"/>
                    </a:lnTo>
                    <a:lnTo>
                      <a:pt x="76" y="2313"/>
                    </a:lnTo>
                    <a:lnTo>
                      <a:pt x="83" y="2306"/>
                    </a:lnTo>
                    <a:lnTo>
                      <a:pt x="87" y="2306"/>
                    </a:lnTo>
                    <a:lnTo>
                      <a:pt x="87" y="2306"/>
                    </a:lnTo>
                    <a:lnTo>
                      <a:pt x="90" y="2310"/>
                    </a:lnTo>
                    <a:lnTo>
                      <a:pt x="87" y="2315"/>
                    </a:lnTo>
                    <a:lnTo>
                      <a:pt x="83" y="2318"/>
                    </a:lnTo>
                    <a:lnTo>
                      <a:pt x="80" y="2320"/>
                    </a:lnTo>
                    <a:lnTo>
                      <a:pt x="73" y="2332"/>
                    </a:lnTo>
                    <a:close/>
                    <a:moveTo>
                      <a:pt x="12" y="2313"/>
                    </a:moveTo>
                    <a:lnTo>
                      <a:pt x="9" y="2318"/>
                    </a:lnTo>
                    <a:lnTo>
                      <a:pt x="7" y="2318"/>
                    </a:lnTo>
                    <a:lnTo>
                      <a:pt x="0" y="2306"/>
                    </a:lnTo>
                    <a:lnTo>
                      <a:pt x="0" y="2301"/>
                    </a:lnTo>
                    <a:lnTo>
                      <a:pt x="7" y="2301"/>
                    </a:lnTo>
                    <a:lnTo>
                      <a:pt x="9" y="2299"/>
                    </a:lnTo>
                    <a:lnTo>
                      <a:pt x="12" y="2296"/>
                    </a:lnTo>
                    <a:lnTo>
                      <a:pt x="9" y="2289"/>
                    </a:lnTo>
                    <a:lnTo>
                      <a:pt x="2" y="2280"/>
                    </a:lnTo>
                    <a:lnTo>
                      <a:pt x="2" y="2275"/>
                    </a:lnTo>
                    <a:lnTo>
                      <a:pt x="5" y="2273"/>
                    </a:lnTo>
                    <a:lnTo>
                      <a:pt x="9" y="2273"/>
                    </a:lnTo>
                    <a:lnTo>
                      <a:pt x="21" y="2277"/>
                    </a:lnTo>
                    <a:lnTo>
                      <a:pt x="26" y="2289"/>
                    </a:lnTo>
                    <a:lnTo>
                      <a:pt x="31" y="2294"/>
                    </a:lnTo>
                    <a:lnTo>
                      <a:pt x="40" y="2301"/>
                    </a:lnTo>
                    <a:lnTo>
                      <a:pt x="33" y="2301"/>
                    </a:lnTo>
                    <a:lnTo>
                      <a:pt x="28" y="2301"/>
                    </a:lnTo>
                    <a:lnTo>
                      <a:pt x="19" y="2310"/>
                    </a:lnTo>
                    <a:lnTo>
                      <a:pt x="12" y="2313"/>
                    </a:lnTo>
                    <a:close/>
                    <a:moveTo>
                      <a:pt x="168" y="2358"/>
                    </a:moveTo>
                    <a:lnTo>
                      <a:pt x="158" y="2358"/>
                    </a:lnTo>
                    <a:lnTo>
                      <a:pt x="154" y="2348"/>
                    </a:lnTo>
                    <a:lnTo>
                      <a:pt x="156" y="2341"/>
                    </a:lnTo>
                    <a:lnTo>
                      <a:pt x="163" y="2351"/>
                    </a:lnTo>
                    <a:lnTo>
                      <a:pt x="168" y="2358"/>
                    </a:lnTo>
                    <a:close/>
                    <a:moveTo>
                      <a:pt x="144" y="2351"/>
                    </a:moveTo>
                    <a:lnTo>
                      <a:pt x="137" y="2355"/>
                    </a:lnTo>
                    <a:lnTo>
                      <a:pt x="135" y="2351"/>
                    </a:lnTo>
                    <a:lnTo>
                      <a:pt x="137" y="2341"/>
                    </a:lnTo>
                    <a:lnTo>
                      <a:pt x="142" y="2339"/>
                    </a:lnTo>
                    <a:lnTo>
                      <a:pt x="147" y="2351"/>
                    </a:lnTo>
                    <a:lnTo>
                      <a:pt x="144" y="235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5" name="Freeform 40">
                <a:extLst>
                  <a:ext uri="{FF2B5EF4-FFF2-40B4-BE49-F238E27FC236}">
                    <a16:creationId xmlns:a16="http://schemas.microsoft.com/office/drawing/2014/main" id="{8149B151-1C7D-5D04-243F-A34853FED69B}"/>
                  </a:ext>
                </a:extLst>
              </p:cNvPr>
              <p:cNvSpPr>
                <a:spLocks noEditPoints="1"/>
              </p:cNvSpPr>
              <p:nvPr/>
            </p:nvSpPr>
            <p:spPr bwMode="auto">
              <a:xfrm>
                <a:off x="6056" y="2059"/>
                <a:ext cx="652" cy="1050"/>
              </a:xfrm>
              <a:custGeom>
                <a:avLst/>
                <a:gdLst>
                  <a:gd name="T0" fmla="*/ 461 w 652"/>
                  <a:gd name="T1" fmla="*/ 53 h 1050"/>
                  <a:gd name="T2" fmla="*/ 485 w 652"/>
                  <a:gd name="T3" fmla="*/ 131 h 1050"/>
                  <a:gd name="T4" fmla="*/ 508 w 652"/>
                  <a:gd name="T5" fmla="*/ 209 h 1050"/>
                  <a:gd name="T6" fmla="*/ 529 w 652"/>
                  <a:gd name="T7" fmla="*/ 289 h 1050"/>
                  <a:gd name="T8" fmla="*/ 553 w 652"/>
                  <a:gd name="T9" fmla="*/ 367 h 1050"/>
                  <a:gd name="T10" fmla="*/ 574 w 652"/>
                  <a:gd name="T11" fmla="*/ 431 h 1050"/>
                  <a:gd name="T12" fmla="*/ 624 w 652"/>
                  <a:gd name="T13" fmla="*/ 528 h 1050"/>
                  <a:gd name="T14" fmla="*/ 636 w 652"/>
                  <a:gd name="T15" fmla="*/ 554 h 1050"/>
                  <a:gd name="T16" fmla="*/ 619 w 652"/>
                  <a:gd name="T17" fmla="*/ 585 h 1050"/>
                  <a:gd name="T18" fmla="*/ 610 w 652"/>
                  <a:gd name="T19" fmla="*/ 644 h 1050"/>
                  <a:gd name="T20" fmla="*/ 626 w 652"/>
                  <a:gd name="T21" fmla="*/ 693 h 1050"/>
                  <a:gd name="T22" fmla="*/ 641 w 652"/>
                  <a:gd name="T23" fmla="*/ 802 h 1050"/>
                  <a:gd name="T24" fmla="*/ 537 w 652"/>
                  <a:gd name="T25" fmla="*/ 840 h 1050"/>
                  <a:gd name="T26" fmla="*/ 359 w 652"/>
                  <a:gd name="T27" fmla="*/ 859 h 1050"/>
                  <a:gd name="T28" fmla="*/ 184 w 652"/>
                  <a:gd name="T29" fmla="*/ 875 h 1050"/>
                  <a:gd name="T30" fmla="*/ 194 w 652"/>
                  <a:gd name="T31" fmla="*/ 918 h 1050"/>
                  <a:gd name="T32" fmla="*/ 222 w 652"/>
                  <a:gd name="T33" fmla="*/ 970 h 1050"/>
                  <a:gd name="T34" fmla="*/ 217 w 652"/>
                  <a:gd name="T35" fmla="*/ 998 h 1050"/>
                  <a:gd name="T36" fmla="*/ 194 w 652"/>
                  <a:gd name="T37" fmla="*/ 1031 h 1050"/>
                  <a:gd name="T38" fmla="*/ 142 w 652"/>
                  <a:gd name="T39" fmla="*/ 1039 h 1050"/>
                  <a:gd name="T40" fmla="*/ 147 w 652"/>
                  <a:gd name="T41" fmla="*/ 1005 h 1050"/>
                  <a:gd name="T42" fmla="*/ 132 w 652"/>
                  <a:gd name="T43" fmla="*/ 975 h 1050"/>
                  <a:gd name="T44" fmla="*/ 111 w 652"/>
                  <a:gd name="T45" fmla="*/ 951 h 1050"/>
                  <a:gd name="T46" fmla="*/ 97 w 652"/>
                  <a:gd name="T47" fmla="*/ 1020 h 1050"/>
                  <a:gd name="T48" fmla="*/ 50 w 652"/>
                  <a:gd name="T49" fmla="*/ 1022 h 1050"/>
                  <a:gd name="T50" fmla="*/ 33 w 652"/>
                  <a:gd name="T51" fmla="*/ 899 h 1050"/>
                  <a:gd name="T52" fmla="*/ 17 w 652"/>
                  <a:gd name="T53" fmla="*/ 781 h 1050"/>
                  <a:gd name="T54" fmla="*/ 7 w 652"/>
                  <a:gd name="T55" fmla="*/ 663 h 1050"/>
                  <a:gd name="T56" fmla="*/ 12 w 652"/>
                  <a:gd name="T57" fmla="*/ 544 h 1050"/>
                  <a:gd name="T58" fmla="*/ 14 w 652"/>
                  <a:gd name="T59" fmla="*/ 428 h 1050"/>
                  <a:gd name="T60" fmla="*/ 17 w 652"/>
                  <a:gd name="T61" fmla="*/ 310 h 1050"/>
                  <a:gd name="T62" fmla="*/ 19 w 652"/>
                  <a:gd name="T63" fmla="*/ 192 h 1050"/>
                  <a:gd name="T64" fmla="*/ 24 w 652"/>
                  <a:gd name="T65" fmla="*/ 74 h 1050"/>
                  <a:gd name="T66" fmla="*/ 24 w 652"/>
                  <a:gd name="T67" fmla="*/ 57 h 1050"/>
                  <a:gd name="T68" fmla="*/ 0 w 652"/>
                  <a:gd name="T69" fmla="*/ 38 h 1050"/>
                  <a:gd name="T70" fmla="*/ 59 w 652"/>
                  <a:gd name="T71" fmla="*/ 34 h 1050"/>
                  <a:gd name="T72" fmla="*/ 142 w 652"/>
                  <a:gd name="T73" fmla="*/ 29 h 1050"/>
                  <a:gd name="T74" fmla="*/ 225 w 652"/>
                  <a:gd name="T75" fmla="*/ 22 h 1050"/>
                  <a:gd name="T76" fmla="*/ 307 w 652"/>
                  <a:gd name="T77" fmla="*/ 12 h 1050"/>
                  <a:gd name="T78" fmla="*/ 390 w 652"/>
                  <a:gd name="T79" fmla="*/ 5 h 1050"/>
                  <a:gd name="T80" fmla="*/ 111 w 652"/>
                  <a:gd name="T81" fmla="*/ 1041 h 1050"/>
                  <a:gd name="T82" fmla="*/ 66 w 652"/>
                  <a:gd name="T83" fmla="*/ 1048 h 1050"/>
                  <a:gd name="T84" fmla="*/ 111 w 652"/>
                  <a:gd name="T85" fmla="*/ 1041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2" h="1050">
                    <a:moveTo>
                      <a:pt x="447" y="0"/>
                    </a:moveTo>
                    <a:lnTo>
                      <a:pt x="454" y="26"/>
                    </a:lnTo>
                    <a:lnTo>
                      <a:pt x="461" y="53"/>
                    </a:lnTo>
                    <a:lnTo>
                      <a:pt x="468" y="79"/>
                    </a:lnTo>
                    <a:lnTo>
                      <a:pt x="475" y="105"/>
                    </a:lnTo>
                    <a:lnTo>
                      <a:pt x="485" y="131"/>
                    </a:lnTo>
                    <a:lnTo>
                      <a:pt x="492" y="157"/>
                    </a:lnTo>
                    <a:lnTo>
                      <a:pt x="499" y="183"/>
                    </a:lnTo>
                    <a:lnTo>
                      <a:pt x="508" y="209"/>
                    </a:lnTo>
                    <a:lnTo>
                      <a:pt x="515" y="235"/>
                    </a:lnTo>
                    <a:lnTo>
                      <a:pt x="522" y="261"/>
                    </a:lnTo>
                    <a:lnTo>
                      <a:pt x="529" y="289"/>
                    </a:lnTo>
                    <a:lnTo>
                      <a:pt x="539" y="315"/>
                    </a:lnTo>
                    <a:lnTo>
                      <a:pt x="546" y="341"/>
                    </a:lnTo>
                    <a:lnTo>
                      <a:pt x="553" y="367"/>
                    </a:lnTo>
                    <a:lnTo>
                      <a:pt x="563" y="393"/>
                    </a:lnTo>
                    <a:lnTo>
                      <a:pt x="570" y="419"/>
                    </a:lnTo>
                    <a:lnTo>
                      <a:pt x="574" y="431"/>
                    </a:lnTo>
                    <a:lnTo>
                      <a:pt x="581" y="450"/>
                    </a:lnTo>
                    <a:lnTo>
                      <a:pt x="615" y="504"/>
                    </a:lnTo>
                    <a:lnTo>
                      <a:pt x="624" y="528"/>
                    </a:lnTo>
                    <a:lnTo>
                      <a:pt x="622" y="540"/>
                    </a:lnTo>
                    <a:lnTo>
                      <a:pt x="626" y="547"/>
                    </a:lnTo>
                    <a:lnTo>
                      <a:pt x="636" y="554"/>
                    </a:lnTo>
                    <a:lnTo>
                      <a:pt x="636" y="561"/>
                    </a:lnTo>
                    <a:lnTo>
                      <a:pt x="626" y="573"/>
                    </a:lnTo>
                    <a:lnTo>
                      <a:pt x="619" y="585"/>
                    </a:lnTo>
                    <a:lnTo>
                      <a:pt x="617" y="606"/>
                    </a:lnTo>
                    <a:lnTo>
                      <a:pt x="617" y="606"/>
                    </a:lnTo>
                    <a:lnTo>
                      <a:pt x="610" y="644"/>
                    </a:lnTo>
                    <a:lnTo>
                      <a:pt x="612" y="665"/>
                    </a:lnTo>
                    <a:lnTo>
                      <a:pt x="626" y="693"/>
                    </a:lnTo>
                    <a:lnTo>
                      <a:pt x="626" y="693"/>
                    </a:lnTo>
                    <a:lnTo>
                      <a:pt x="631" y="705"/>
                    </a:lnTo>
                    <a:lnTo>
                      <a:pt x="631" y="764"/>
                    </a:lnTo>
                    <a:lnTo>
                      <a:pt x="641" y="802"/>
                    </a:lnTo>
                    <a:lnTo>
                      <a:pt x="652" y="826"/>
                    </a:lnTo>
                    <a:lnTo>
                      <a:pt x="596" y="833"/>
                    </a:lnTo>
                    <a:lnTo>
                      <a:pt x="537" y="840"/>
                    </a:lnTo>
                    <a:lnTo>
                      <a:pt x="477" y="845"/>
                    </a:lnTo>
                    <a:lnTo>
                      <a:pt x="418" y="852"/>
                    </a:lnTo>
                    <a:lnTo>
                      <a:pt x="359" y="859"/>
                    </a:lnTo>
                    <a:lnTo>
                      <a:pt x="303" y="864"/>
                    </a:lnTo>
                    <a:lnTo>
                      <a:pt x="243" y="871"/>
                    </a:lnTo>
                    <a:lnTo>
                      <a:pt x="184" y="875"/>
                    </a:lnTo>
                    <a:lnTo>
                      <a:pt x="182" y="892"/>
                    </a:lnTo>
                    <a:lnTo>
                      <a:pt x="187" y="906"/>
                    </a:lnTo>
                    <a:lnTo>
                      <a:pt x="194" y="918"/>
                    </a:lnTo>
                    <a:lnTo>
                      <a:pt x="222" y="942"/>
                    </a:lnTo>
                    <a:lnTo>
                      <a:pt x="225" y="949"/>
                    </a:lnTo>
                    <a:lnTo>
                      <a:pt x="222" y="970"/>
                    </a:lnTo>
                    <a:lnTo>
                      <a:pt x="225" y="984"/>
                    </a:lnTo>
                    <a:lnTo>
                      <a:pt x="222" y="991"/>
                    </a:lnTo>
                    <a:lnTo>
                      <a:pt x="217" y="998"/>
                    </a:lnTo>
                    <a:lnTo>
                      <a:pt x="215" y="1005"/>
                    </a:lnTo>
                    <a:lnTo>
                      <a:pt x="210" y="1008"/>
                    </a:lnTo>
                    <a:lnTo>
                      <a:pt x="194" y="1031"/>
                    </a:lnTo>
                    <a:lnTo>
                      <a:pt x="123" y="1046"/>
                    </a:lnTo>
                    <a:lnTo>
                      <a:pt x="128" y="1041"/>
                    </a:lnTo>
                    <a:lnTo>
                      <a:pt x="142" y="1039"/>
                    </a:lnTo>
                    <a:lnTo>
                      <a:pt x="163" y="1029"/>
                    </a:lnTo>
                    <a:lnTo>
                      <a:pt x="156" y="1017"/>
                    </a:lnTo>
                    <a:lnTo>
                      <a:pt x="147" y="1005"/>
                    </a:lnTo>
                    <a:lnTo>
                      <a:pt x="139" y="1005"/>
                    </a:lnTo>
                    <a:lnTo>
                      <a:pt x="135" y="998"/>
                    </a:lnTo>
                    <a:lnTo>
                      <a:pt x="132" y="975"/>
                    </a:lnTo>
                    <a:lnTo>
                      <a:pt x="128" y="960"/>
                    </a:lnTo>
                    <a:lnTo>
                      <a:pt x="113" y="946"/>
                    </a:lnTo>
                    <a:lnTo>
                      <a:pt x="111" y="951"/>
                    </a:lnTo>
                    <a:lnTo>
                      <a:pt x="104" y="975"/>
                    </a:lnTo>
                    <a:lnTo>
                      <a:pt x="99" y="1008"/>
                    </a:lnTo>
                    <a:lnTo>
                      <a:pt x="97" y="1020"/>
                    </a:lnTo>
                    <a:lnTo>
                      <a:pt x="76" y="1022"/>
                    </a:lnTo>
                    <a:lnTo>
                      <a:pt x="59" y="1020"/>
                    </a:lnTo>
                    <a:lnTo>
                      <a:pt x="50" y="1022"/>
                    </a:lnTo>
                    <a:lnTo>
                      <a:pt x="43" y="979"/>
                    </a:lnTo>
                    <a:lnTo>
                      <a:pt x="38" y="939"/>
                    </a:lnTo>
                    <a:lnTo>
                      <a:pt x="33" y="899"/>
                    </a:lnTo>
                    <a:lnTo>
                      <a:pt x="28" y="861"/>
                    </a:lnTo>
                    <a:lnTo>
                      <a:pt x="21" y="821"/>
                    </a:lnTo>
                    <a:lnTo>
                      <a:pt x="17" y="781"/>
                    </a:lnTo>
                    <a:lnTo>
                      <a:pt x="12" y="741"/>
                    </a:lnTo>
                    <a:lnTo>
                      <a:pt x="7" y="703"/>
                    </a:lnTo>
                    <a:lnTo>
                      <a:pt x="7" y="663"/>
                    </a:lnTo>
                    <a:lnTo>
                      <a:pt x="9" y="625"/>
                    </a:lnTo>
                    <a:lnTo>
                      <a:pt x="9" y="585"/>
                    </a:lnTo>
                    <a:lnTo>
                      <a:pt x="12" y="544"/>
                    </a:lnTo>
                    <a:lnTo>
                      <a:pt x="12" y="506"/>
                    </a:lnTo>
                    <a:lnTo>
                      <a:pt x="14" y="466"/>
                    </a:lnTo>
                    <a:lnTo>
                      <a:pt x="14" y="428"/>
                    </a:lnTo>
                    <a:lnTo>
                      <a:pt x="14" y="388"/>
                    </a:lnTo>
                    <a:lnTo>
                      <a:pt x="17" y="348"/>
                    </a:lnTo>
                    <a:lnTo>
                      <a:pt x="17" y="310"/>
                    </a:lnTo>
                    <a:lnTo>
                      <a:pt x="19" y="270"/>
                    </a:lnTo>
                    <a:lnTo>
                      <a:pt x="19" y="232"/>
                    </a:lnTo>
                    <a:lnTo>
                      <a:pt x="19" y="192"/>
                    </a:lnTo>
                    <a:lnTo>
                      <a:pt x="21" y="154"/>
                    </a:lnTo>
                    <a:lnTo>
                      <a:pt x="21" y="114"/>
                    </a:lnTo>
                    <a:lnTo>
                      <a:pt x="24" y="74"/>
                    </a:lnTo>
                    <a:lnTo>
                      <a:pt x="24" y="64"/>
                    </a:lnTo>
                    <a:lnTo>
                      <a:pt x="24" y="62"/>
                    </a:lnTo>
                    <a:lnTo>
                      <a:pt x="24" y="57"/>
                    </a:lnTo>
                    <a:lnTo>
                      <a:pt x="7" y="43"/>
                    </a:lnTo>
                    <a:lnTo>
                      <a:pt x="2" y="41"/>
                    </a:lnTo>
                    <a:lnTo>
                      <a:pt x="0" y="38"/>
                    </a:lnTo>
                    <a:lnTo>
                      <a:pt x="2" y="38"/>
                    </a:lnTo>
                    <a:lnTo>
                      <a:pt x="31" y="36"/>
                    </a:lnTo>
                    <a:lnTo>
                      <a:pt x="59" y="34"/>
                    </a:lnTo>
                    <a:lnTo>
                      <a:pt x="85" y="31"/>
                    </a:lnTo>
                    <a:lnTo>
                      <a:pt x="113" y="31"/>
                    </a:lnTo>
                    <a:lnTo>
                      <a:pt x="142" y="29"/>
                    </a:lnTo>
                    <a:lnTo>
                      <a:pt x="170" y="26"/>
                    </a:lnTo>
                    <a:lnTo>
                      <a:pt x="196" y="24"/>
                    </a:lnTo>
                    <a:lnTo>
                      <a:pt x="225" y="22"/>
                    </a:lnTo>
                    <a:lnTo>
                      <a:pt x="253" y="17"/>
                    </a:lnTo>
                    <a:lnTo>
                      <a:pt x="279" y="15"/>
                    </a:lnTo>
                    <a:lnTo>
                      <a:pt x="307" y="12"/>
                    </a:lnTo>
                    <a:lnTo>
                      <a:pt x="336" y="10"/>
                    </a:lnTo>
                    <a:lnTo>
                      <a:pt x="364" y="8"/>
                    </a:lnTo>
                    <a:lnTo>
                      <a:pt x="390" y="5"/>
                    </a:lnTo>
                    <a:lnTo>
                      <a:pt x="418" y="3"/>
                    </a:lnTo>
                    <a:lnTo>
                      <a:pt x="447" y="0"/>
                    </a:lnTo>
                    <a:close/>
                    <a:moveTo>
                      <a:pt x="111" y="1041"/>
                    </a:moveTo>
                    <a:lnTo>
                      <a:pt x="95" y="1048"/>
                    </a:lnTo>
                    <a:lnTo>
                      <a:pt x="71" y="1050"/>
                    </a:lnTo>
                    <a:lnTo>
                      <a:pt x="66" y="1048"/>
                    </a:lnTo>
                    <a:lnTo>
                      <a:pt x="76" y="1046"/>
                    </a:lnTo>
                    <a:lnTo>
                      <a:pt x="104" y="1039"/>
                    </a:lnTo>
                    <a:lnTo>
                      <a:pt x="111" y="104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6" name="Freeform 43">
                <a:extLst>
                  <a:ext uri="{FF2B5EF4-FFF2-40B4-BE49-F238E27FC236}">
                    <a16:creationId xmlns:a16="http://schemas.microsoft.com/office/drawing/2014/main" id="{514AD103-3289-D78C-EFD2-9730181A8E26}"/>
                  </a:ext>
                </a:extLst>
              </p:cNvPr>
              <p:cNvSpPr>
                <a:spLocks/>
              </p:cNvSpPr>
              <p:nvPr/>
            </p:nvSpPr>
            <p:spPr bwMode="auto">
              <a:xfrm>
                <a:off x="4943" y="1814"/>
                <a:ext cx="844" cy="763"/>
              </a:xfrm>
              <a:custGeom>
                <a:avLst/>
                <a:gdLst>
                  <a:gd name="T0" fmla="*/ 844 w 844"/>
                  <a:gd name="T1" fmla="*/ 111 h 763"/>
                  <a:gd name="T2" fmla="*/ 836 w 844"/>
                  <a:gd name="T3" fmla="*/ 120 h 763"/>
                  <a:gd name="T4" fmla="*/ 832 w 844"/>
                  <a:gd name="T5" fmla="*/ 130 h 763"/>
                  <a:gd name="T6" fmla="*/ 829 w 844"/>
                  <a:gd name="T7" fmla="*/ 141 h 763"/>
                  <a:gd name="T8" fmla="*/ 808 w 844"/>
                  <a:gd name="T9" fmla="*/ 189 h 763"/>
                  <a:gd name="T10" fmla="*/ 780 w 844"/>
                  <a:gd name="T11" fmla="*/ 248 h 763"/>
                  <a:gd name="T12" fmla="*/ 758 w 844"/>
                  <a:gd name="T13" fmla="*/ 307 h 763"/>
                  <a:gd name="T14" fmla="*/ 754 w 844"/>
                  <a:gd name="T15" fmla="*/ 324 h 763"/>
                  <a:gd name="T16" fmla="*/ 735 w 844"/>
                  <a:gd name="T17" fmla="*/ 350 h 763"/>
                  <a:gd name="T18" fmla="*/ 721 w 844"/>
                  <a:gd name="T19" fmla="*/ 373 h 763"/>
                  <a:gd name="T20" fmla="*/ 709 w 844"/>
                  <a:gd name="T21" fmla="*/ 423 h 763"/>
                  <a:gd name="T22" fmla="*/ 680 w 844"/>
                  <a:gd name="T23" fmla="*/ 456 h 763"/>
                  <a:gd name="T24" fmla="*/ 657 w 844"/>
                  <a:gd name="T25" fmla="*/ 494 h 763"/>
                  <a:gd name="T26" fmla="*/ 657 w 844"/>
                  <a:gd name="T27" fmla="*/ 522 h 763"/>
                  <a:gd name="T28" fmla="*/ 633 w 844"/>
                  <a:gd name="T29" fmla="*/ 536 h 763"/>
                  <a:gd name="T30" fmla="*/ 638 w 844"/>
                  <a:gd name="T31" fmla="*/ 555 h 763"/>
                  <a:gd name="T32" fmla="*/ 628 w 844"/>
                  <a:gd name="T33" fmla="*/ 584 h 763"/>
                  <a:gd name="T34" fmla="*/ 617 w 844"/>
                  <a:gd name="T35" fmla="*/ 610 h 763"/>
                  <a:gd name="T36" fmla="*/ 612 w 844"/>
                  <a:gd name="T37" fmla="*/ 631 h 763"/>
                  <a:gd name="T38" fmla="*/ 624 w 844"/>
                  <a:gd name="T39" fmla="*/ 655 h 763"/>
                  <a:gd name="T40" fmla="*/ 631 w 844"/>
                  <a:gd name="T41" fmla="*/ 695 h 763"/>
                  <a:gd name="T42" fmla="*/ 626 w 844"/>
                  <a:gd name="T43" fmla="*/ 742 h 763"/>
                  <a:gd name="T44" fmla="*/ 529 w 844"/>
                  <a:gd name="T45" fmla="*/ 747 h 763"/>
                  <a:gd name="T46" fmla="*/ 432 w 844"/>
                  <a:gd name="T47" fmla="*/ 751 h 763"/>
                  <a:gd name="T48" fmla="*/ 338 w 844"/>
                  <a:gd name="T49" fmla="*/ 756 h 763"/>
                  <a:gd name="T50" fmla="*/ 241 w 844"/>
                  <a:gd name="T51" fmla="*/ 759 h 763"/>
                  <a:gd name="T52" fmla="*/ 146 w 844"/>
                  <a:gd name="T53" fmla="*/ 761 h 763"/>
                  <a:gd name="T54" fmla="*/ 111 w 844"/>
                  <a:gd name="T55" fmla="*/ 707 h 763"/>
                  <a:gd name="T56" fmla="*/ 101 w 844"/>
                  <a:gd name="T57" fmla="*/ 643 h 763"/>
                  <a:gd name="T58" fmla="*/ 66 w 844"/>
                  <a:gd name="T59" fmla="*/ 643 h 763"/>
                  <a:gd name="T60" fmla="*/ 52 w 844"/>
                  <a:gd name="T61" fmla="*/ 647 h 763"/>
                  <a:gd name="T62" fmla="*/ 33 w 844"/>
                  <a:gd name="T63" fmla="*/ 631 h 763"/>
                  <a:gd name="T64" fmla="*/ 33 w 844"/>
                  <a:gd name="T65" fmla="*/ 562 h 763"/>
                  <a:gd name="T66" fmla="*/ 33 w 844"/>
                  <a:gd name="T67" fmla="*/ 491 h 763"/>
                  <a:gd name="T68" fmla="*/ 33 w 844"/>
                  <a:gd name="T69" fmla="*/ 423 h 763"/>
                  <a:gd name="T70" fmla="*/ 33 w 844"/>
                  <a:gd name="T71" fmla="*/ 354 h 763"/>
                  <a:gd name="T72" fmla="*/ 35 w 844"/>
                  <a:gd name="T73" fmla="*/ 286 h 763"/>
                  <a:gd name="T74" fmla="*/ 26 w 844"/>
                  <a:gd name="T75" fmla="*/ 205 h 763"/>
                  <a:gd name="T76" fmla="*/ 11 w 844"/>
                  <a:gd name="T77" fmla="*/ 118 h 763"/>
                  <a:gd name="T78" fmla="*/ 0 w 844"/>
                  <a:gd name="T79" fmla="*/ 30 h 763"/>
                  <a:gd name="T80" fmla="*/ 141 w 844"/>
                  <a:gd name="T81" fmla="*/ 28 h 763"/>
                  <a:gd name="T82" fmla="*/ 283 w 844"/>
                  <a:gd name="T83" fmla="*/ 23 h 763"/>
                  <a:gd name="T84" fmla="*/ 425 w 844"/>
                  <a:gd name="T85" fmla="*/ 18 h 763"/>
                  <a:gd name="T86" fmla="*/ 567 w 844"/>
                  <a:gd name="T87" fmla="*/ 11 h 763"/>
                  <a:gd name="T88" fmla="*/ 709 w 844"/>
                  <a:gd name="T89" fmla="*/ 2 h 763"/>
                  <a:gd name="T90" fmla="*/ 773 w 844"/>
                  <a:gd name="T91" fmla="*/ 26 h 763"/>
                  <a:gd name="T92" fmla="*/ 761 w 844"/>
                  <a:gd name="T93" fmla="*/ 59 h 763"/>
                  <a:gd name="T94" fmla="*/ 737 w 844"/>
                  <a:gd name="T95" fmla="*/ 85 h 763"/>
                  <a:gd name="T96" fmla="*/ 782 w 844"/>
                  <a:gd name="T97" fmla="*/ 104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4" h="763">
                    <a:moveTo>
                      <a:pt x="841" y="99"/>
                    </a:moveTo>
                    <a:lnTo>
                      <a:pt x="839" y="104"/>
                    </a:lnTo>
                    <a:lnTo>
                      <a:pt x="844" y="111"/>
                    </a:lnTo>
                    <a:lnTo>
                      <a:pt x="844" y="115"/>
                    </a:lnTo>
                    <a:lnTo>
                      <a:pt x="841" y="120"/>
                    </a:lnTo>
                    <a:lnTo>
                      <a:pt x="836" y="120"/>
                    </a:lnTo>
                    <a:lnTo>
                      <a:pt x="832" y="123"/>
                    </a:lnTo>
                    <a:lnTo>
                      <a:pt x="832" y="127"/>
                    </a:lnTo>
                    <a:lnTo>
                      <a:pt x="832" y="130"/>
                    </a:lnTo>
                    <a:lnTo>
                      <a:pt x="832" y="132"/>
                    </a:lnTo>
                    <a:lnTo>
                      <a:pt x="832" y="137"/>
                    </a:lnTo>
                    <a:lnTo>
                      <a:pt x="829" y="141"/>
                    </a:lnTo>
                    <a:lnTo>
                      <a:pt x="810" y="153"/>
                    </a:lnTo>
                    <a:lnTo>
                      <a:pt x="803" y="170"/>
                    </a:lnTo>
                    <a:lnTo>
                      <a:pt x="808" y="189"/>
                    </a:lnTo>
                    <a:lnTo>
                      <a:pt x="803" y="208"/>
                    </a:lnTo>
                    <a:lnTo>
                      <a:pt x="787" y="227"/>
                    </a:lnTo>
                    <a:lnTo>
                      <a:pt x="780" y="248"/>
                    </a:lnTo>
                    <a:lnTo>
                      <a:pt x="784" y="271"/>
                    </a:lnTo>
                    <a:lnTo>
                      <a:pt x="777" y="290"/>
                    </a:lnTo>
                    <a:lnTo>
                      <a:pt x="758" y="307"/>
                    </a:lnTo>
                    <a:lnTo>
                      <a:pt x="754" y="316"/>
                    </a:lnTo>
                    <a:lnTo>
                      <a:pt x="754" y="316"/>
                    </a:lnTo>
                    <a:lnTo>
                      <a:pt x="754" y="324"/>
                    </a:lnTo>
                    <a:lnTo>
                      <a:pt x="756" y="328"/>
                    </a:lnTo>
                    <a:lnTo>
                      <a:pt x="749" y="338"/>
                    </a:lnTo>
                    <a:lnTo>
                      <a:pt x="735" y="350"/>
                    </a:lnTo>
                    <a:lnTo>
                      <a:pt x="725" y="359"/>
                    </a:lnTo>
                    <a:lnTo>
                      <a:pt x="725" y="368"/>
                    </a:lnTo>
                    <a:lnTo>
                      <a:pt x="721" y="373"/>
                    </a:lnTo>
                    <a:lnTo>
                      <a:pt x="714" y="376"/>
                    </a:lnTo>
                    <a:lnTo>
                      <a:pt x="711" y="390"/>
                    </a:lnTo>
                    <a:lnTo>
                      <a:pt x="709" y="423"/>
                    </a:lnTo>
                    <a:lnTo>
                      <a:pt x="702" y="444"/>
                    </a:lnTo>
                    <a:lnTo>
                      <a:pt x="688" y="449"/>
                    </a:lnTo>
                    <a:lnTo>
                      <a:pt x="680" y="456"/>
                    </a:lnTo>
                    <a:lnTo>
                      <a:pt x="680" y="468"/>
                    </a:lnTo>
                    <a:lnTo>
                      <a:pt x="671" y="480"/>
                    </a:lnTo>
                    <a:lnTo>
                      <a:pt x="657" y="494"/>
                    </a:lnTo>
                    <a:lnTo>
                      <a:pt x="652" y="506"/>
                    </a:lnTo>
                    <a:lnTo>
                      <a:pt x="657" y="517"/>
                    </a:lnTo>
                    <a:lnTo>
                      <a:pt x="657" y="522"/>
                    </a:lnTo>
                    <a:lnTo>
                      <a:pt x="652" y="527"/>
                    </a:lnTo>
                    <a:lnTo>
                      <a:pt x="636" y="534"/>
                    </a:lnTo>
                    <a:lnTo>
                      <a:pt x="633" y="536"/>
                    </a:lnTo>
                    <a:lnTo>
                      <a:pt x="631" y="541"/>
                    </a:lnTo>
                    <a:lnTo>
                      <a:pt x="633" y="546"/>
                    </a:lnTo>
                    <a:lnTo>
                      <a:pt x="638" y="555"/>
                    </a:lnTo>
                    <a:lnTo>
                      <a:pt x="636" y="572"/>
                    </a:lnTo>
                    <a:lnTo>
                      <a:pt x="631" y="577"/>
                    </a:lnTo>
                    <a:lnTo>
                      <a:pt x="628" y="584"/>
                    </a:lnTo>
                    <a:lnTo>
                      <a:pt x="614" y="595"/>
                    </a:lnTo>
                    <a:lnTo>
                      <a:pt x="610" y="605"/>
                    </a:lnTo>
                    <a:lnTo>
                      <a:pt x="617" y="610"/>
                    </a:lnTo>
                    <a:lnTo>
                      <a:pt x="617" y="617"/>
                    </a:lnTo>
                    <a:lnTo>
                      <a:pt x="610" y="624"/>
                    </a:lnTo>
                    <a:lnTo>
                      <a:pt x="612" y="631"/>
                    </a:lnTo>
                    <a:lnTo>
                      <a:pt x="614" y="636"/>
                    </a:lnTo>
                    <a:lnTo>
                      <a:pt x="621" y="640"/>
                    </a:lnTo>
                    <a:lnTo>
                      <a:pt x="624" y="655"/>
                    </a:lnTo>
                    <a:lnTo>
                      <a:pt x="619" y="671"/>
                    </a:lnTo>
                    <a:lnTo>
                      <a:pt x="621" y="683"/>
                    </a:lnTo>
                    <a:lnTo>
                      <a:pt x="631" y="695"/>
                    </a:lnTo>
                    <a:lnTo>
                      <a:pt x="633" y="699"/>
                    </a:lnTo>
                    <a:lnTo>
                      <a:pt x="626" y="737"/>
                    </a:lnTo>
                    <a:lnTo>
                      <a:pt x="626" y="742"/>
                    </a:lnTo>
                    <a:lnTo>
                      <a:pt x="593" y="744"/>
                    </a:lnTo>
                    <a:lnTo>
                      <a:pt x="560" y="747"/>
                    </a:lnTo>
                    <a:lnTo>
                      <a:pt x="529" y="747"/>
                    </a:lnTo>
                    <a:lnTo>
                      <a:pt x="496" y="749"/>
                    </a:lnTo>
                    <a:lnTo>
                      <a:pt x="465" y="751"/>
                    </a:lnTo>
                    <a:lnTo>
                      <a:pt x="432" y="751"/>
                    </a:lnTo>
                    <a:lnTo>
                      <a:pt x="401" y="754"/>
                    </a:lnTo>
                    <a:lnTo>
                      <a:pt x="368" y="754"/>
                    </a:lnTo>
                    <a:lnTo>
                      <a:pt x="338" y="756"/>
                    </a:lnTo>
                    <a:lnTo>
                      <a:pt x="305" y="756"/>
                    </a:lnTo>
                    <a:lnTo>
                      <a:pt x="274" y="759"/>
                    </a:lnTo>
                    <a:lnTo>
                      <a:pt x="241" y="759"/>
                    </a:lnTo>
                    <a:lnTo>
                      <a:pt x="210" y="761"/>
                    </a:lnTo>
                    <a:lnTo>
                      <a:pt x="177" y="761"/>
                    </a:lnTo>
                    <a:lnTo>
                      <a:pt x="146" y="761"/>
                    </a:lnTo>
                    <a:lnTo>
                      <a:pt x="113" y="763"/>
                    </a:lnTo>
                    <a:lnTo>
                      <a:pt x="113" y="735"/>
                    </a:lnTo>
                    <a:lnTo>
                      <a:pt x="111" y="707"/>
                    </a:lnTo>
                    <a:lnTo>
                      <a:pt x="111" y="676"/>
                    </a:lnTo>
                    <a:lnTo>
                      <a:pt x="111" y="647"/>
                    </a:lnTo>
                    <a:lnTo>
                      <a:pt x="101" y="643"/>
                    </a:lnTo>
                    <a:lnTo>
                      <a:pt x="85" y="643"/>
                    </a:lnTo>
                    <a:lnTo>
                      <a:pt x="75" y="643"/>
                    </a:lnTo>
                    <a:lnTo>
                      <a:pt x="66" y="643"/>
                    </a:lnTo>
                    <a:lnTo>
                      <a:pt x="59" y="647"/>
                    </a:lnTo>
                    <a:lnTo>
                      <a:pt x="54" y="647"/>
                    </a:lnTo>
                    <a:lnTo>
                      <a:pt x="52" y="647"/>
                    </a:lnTo>
                    <a:lnTo>
                      <a:pt x="49" y="643"/>
                    </a:lnTo>
                    <a:lnTo>
                      <a:pt x="42" y="640"/>
                    </a:lnTo>
                    <a:lnTo>
                      <a:pt x="33" y="631"/>
                    </a:lnTo>
                    <a:lnTo>
                      <a:pt x="33" y="607"/>
                    </a:lnTo>
                    <a:lnTo>
                      <a:pt x="33" y="584"/>
                    </a:lnTo>
                    <a:lnTo>
                      <a:pt x="33" y="562"/>
                    </a:lnTo>
                    <a:lnTo>
                      <a:pt x="33" y="539"/>
                    </a:lnTo>
                    <a:lnTo>
                      <a:pt x="33" y="515"/>
                    </a:lnTo>
                    <a:lnTo>
                      <a:pt x="33" y="491"/>
                    </a:lnTo>
                    <a:lnTo>
                      <a:pt x="33" y="470"/>
                    </a:lnTo>
                    <a:lnTo>
                      <a:pt x="33" y="446"/>
                    </a:lnTo>
                    <a:lnTo>
                      <a:pt x="33" y="423"/>
                    </a:lnTo>
                    <a:lnTo>
                      <a:pt x="33" y="402"/>
                    </a:lnTo>
                    <a:lnTo>
                      <a:pt x="33" y="378"/>
                    </a:lnTo>
                    <a:lnTo>
                      <a:pt x="33" y="354"/>
                    </a:lnTo>
                    <a:lnTo>
                      <a:pt x="33" y="333"/>
                    </a:lnTo>
                    <a:lnTo>
                      <a:pt x="35" y="309"/>
                    </a:lnTo>
                    <a:lnTo>
                      <a:pt x="35" y="286"/>
                    </a:lnTo>
                    <a:lnTo>
                      <a:pt x="35" y="264"/>
                    </a:lnTo>
                    <a:lnTo>
                      <a:pt x="30" y="234"/>
                    </a:lnTo>
                    <a:lnTo>
                      <a:pt x="26" y="205"/>
                    </a:lnTo>
                    <a:lnTo>
                      <a:pt x="21" y="177"/>
                    </a:lnTo>
                    <a:lnTo>
                      <a:pt x="16" y="146"/>
                    </a:lnTo>
                    <a:lnTo>
                      <a:pt x="11" y="118"/>
                    </a:lnTo>
                    <a:lnTo>
                      <a:pt x="9" y="87"/>
                    </a:lnTo>
                    <a:lnTo>
                      <a:pt x="4" y="59"/>
                    </a:lnTo>
                    <a:lnTo>
                      <a:pt x="0" y="30"/>
                    </a:lnTo>
                    <a:lnTo>
                      <a:pt x="47" y="28"/>
                    </a:lnTo>
                    <a:lnTo>
                      <a:pt x="94" y="28"/>
                    </a:lnTo>
                    <a:lnTo>
                      <a:pt x="141" y="28"/>
                    </a:lnTo>
                    <a:lnTo>
                      <a:pt x="189" y="26"/>
                    </a:lnTo>
                    <a:lnTo>
                      <a:pt x="236" y="23"/>
                    </a:lnTo>
                    <a:lnTo>
                      <a:pt x="283" y="23"/>
                    </a:lnTo>
                    <a:lnTo>
                      <a:pt x="331" y="21"/>
                    </a:lnTo>
                    <a:lnTo>
                      <a:pt x="378" y="18"/>
                    </a:lnTo>
                    <a:lnTo>
                      <a:pt x="425" y="18"/>
                    </a:lnTo>
                    <a:lnTo>
                      <a:pt x="472" y="16"/>
                    </a:lnTo>
                    <a:lnTo>
                      <a:pt x="520" y="14"/>
                    </a:lnTo>
                    <a:lnTo>
                      <a:pt x="567" y="11"/>
                    </a:lnTo>
                    <a:lnTo>
                      <a:pt x="614" y="9"/>
                    </a:lnTo>
                    <a:lnTo>
                      <a:pt x="662" y="7"/>
                    </a:lnTo>
                    <a:lnTo>
                      <a:pt x="709" y="2"/>
                    </a:lnTo>
                    <a:lnTo>
                      <a:pt x="756" y="0"/>
                    </a:lnTo>
                    <a:lnTo>
                      <a:pt x="763" y="16"/>
                    </a:lnTo>
                    <a:lnTo>
                      <a:pt x="773" y="26"/>
                    </a:lnTo>
                    <a:lnTo>
                      <a:pt x="775" y="33"/>
                    </a:lnTo>
                    <a:lnTo>
                      <a:pt x="773" y="42"/>
                    </a:lnTo>
                    <a:lnTo>
                      <a:pt x="761" y="59"/>
                    </a:lnTo>
                    <a:lnTo>
                      <a:pt x="751" y="68"/>
                    </a:lnTo>
                    <a:lnTo>
                      <a:pt x="744" y="78"/>
                    </a:lnTo>
                    <a:lnTo>
                      <a:pt x="737" y="85"/>
                    </a:lnTo>
                    <a:lnTo>
                      <a:pt x="725" y="108"/>
                    </a:lnTo>
                    <a:lnTo>
                      <a:pt x="754" y="106"/>
                    </a:lnTo>
                    <a:lnTo>
                      <a:pt x="782" y="104"/>
                    </a:lnTo>
                    <a:lnTo>
                      <a:pt x="808" y="101"/>
                    </a:lnTo>
                    <a:lnTo>
                      <a:pt x="841" y="9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7" name="Freeform 45">
                <a:extLst>
                  <a:ext uri="{FF2B5EF4-FFF2-40B4-BE49-F238E27FC236}">
                    <a16:creationId xmlns:a16="http://schemas.microsoft.com/office/drawing/2014/main" id="{E7A34CDA-938E-9591-5D4A-8041382A905D}"/>
                  </a:ext>
                </a:extLst>
              </p:cNvPr>
              <p:cNvSpPr>
                <a:spLocks/>
              </p:cNvSpPr>
              <p:nvPr/>
            </p:nvSpPr>
            <p:spPr bwMode="auto">
              <a:xfrm>
                <a:off x="1362" y="1438"/>
                <a:ext cx="1155" cy="1328"/>
              </a:xfrm>
              <a:custGeom>
                <a:avLst/>
                <a:gdLst>
                  <a:gd name="T0" fmla="*/ 1144 w 1155"/>
                  <a:gd name="T1" fmla="*/ 220 h 1328"/>
                  <a:gd name="T2" fmla="*/ 1122 w 1155"/>
                  <a:gd name="T3" fmla="*/ 366 h 1328"/>
                  <a:gd name="T4" fmla="*/ 1101 w 1155"/>
                  <a:gd name="T5" fmla="*/ 513 h 1328"/>
                  <a:gd name="T6" fmla="*/ 1080 w 1155"/>
                  <a:gd name="T7" fmla="*/ 662 h 1328"/>
                  <a:gd name="T8" fmla="*/ 1058 w 1155"/>
                  <a:gd name="T9" fmla="*/ 811 h 1328"/>
                  <a:gd name="T10" fmla="*/ 1037 w 1155"/>
                  <a:gd name="T11" fmla="*/ 957 h 1328"/>
                  <a:gd name="T12" fmla="*/ 1016 w 1155"/>
                  <a:gd name="T13" fmla="*/ 1106 h 1328"/>
                  <a:gd name="T14" fmla="*/ 995 w 1155"/>
                  <a:gd name="T15" fmla="*/ 1255 h 1328"/>
                  <a:gd name="T16" fmla="*/ 943 w 1155"/>
                  <a:gd name="T17" fmla="*/ 1324 h 1328"/>
                  <a:gd name="T18" fmla="*/ 815 w 1155"/>
                  <a:gd name="T19" fmla="*/ 1305 h 1328"/>
                  <a:gd name="T20" fmla="*/ 687 w 1155"/>
                  <a:gd name="T21" fmla="*/ 1284 h 1328"/>
                  <a:gd name="T22" fmla="*/ 546 w 1155"/>
                  <a:gd name="T23" fmla="*/ 1229 h 1328"/>
                  <a:gd name="T24" fmla="*/ 387 w 1155"/>
                  <a:gd name="T25" fmla="*/ 1137 h 1328"/>
                  <a:gd name="T26" fmla="*/ 231 w 1155"/>
                  <a:gd name="T27" fmla="*/ 1042 h 1328"/>
                  <a:gd name="T28" fmla="*/ 75 w 1155"/>
                  <a:gd name="T29" fmla="*/ 948 h 1328"/>
                  <a:gd name="T30" fmla="*/ 9 w 1155"/>
                  <a:gd name="T31" fmla="*/ 891 h 1328"/>
                  <a:gd name="T32" fmla="*/ 28 w 1155"/>
                  <a:gd name="T33" fmla="*/ 860 h 1328"/>
                  <a:gd name="T34" fmla="*/ 54 w 1155"/>
                  <a:gd name="T35" fmla="*/ 863 h 1328"/>
                  <a:gd name="T36" fmla="*/ 75 w 1155"/>
                  <a:gd name="T37" fmla="*/ 844 h 1328"/>
                  <a:gd name="T38" fmla="*/ 80 w 1155"/>
                  <a:gd name="T39" fmla="*/ 815 h 1328"/>
                  <a:gd name="T40" fmla="*/ 56 w 1155"/>
                  <a:gd name="T41" fmla="*/ 792 h 1328"/>
                  <a:gd name="T42" fmla="*/ 54 w 1155"/>
                  <a:gd name="T43" fmla="*/ 735 h 1328"/>
                  <a:gd name="T44" fmla="*/ 70 w 1155"/>
                  <a:gd name="T45" fmla="*/ 716 h 1328"/>
                  <a:gd name="T46" fmla="*/ 92 w 1155"/>
                  <a:gd name="T47" fmla="*/ 700 h 1328"/>
                  <a:gd name="T48" fmla="*/ 108 w 1155"/>
                  <a:gd name="T49" fmla="*/ 669 h 1328"/>
                  <a:gd name="T50" fmla="*/ 115 w 1155"/>
                  <a:gd name="T51" fmla="*/ 624 h 1328"/>
                  <a:gd name="T52" fmla="*/ 156 w 1155"/>
                  <a:gd name="T53" fmla="*/ 581 h 1328"/>
                  <a:gd name="T54" fmla="*/ 198 w 1155"/>
                  <a:gd name="T55" fmla="*/ 558 h 1328"/>
                  <a:gd name="T56" fmla="*/ 198 w 1155"/>
                  <a:gd name="T57" fmla="*/ 553 h 1328"/>
                  <a:gd name="T58" fmla="*/ 172 w 1155"/>
                  <a:gd name="T59" fmla="*/ 522 h 1328"/>
                  <a:gd name="T60" fmla="*/ 165 w 1155"/>
                  <a:gd name="T61" fmla="*/ 499 h 1328"/>
                  <a:gd name="T62" fmla="*/ 163 w 1155"/>
                  <a:gd name="T63" fmla="*/ 487 h 1328"/>
                  <a:gd name="T64" fmla="*/ 141 w 1155"/>
                  <a:gd name="T65" fmla="*/ 413 h 1328"/>
                  <a:gd name="T66" fmla="*/ 146 w 1155"/>
                  <a:gd name="T67" fmla="*/ 394 h 1328"/>
                  <a:gd name="T68" fmla="*/ 158 w 1155"/>
                  <a:gd name="T69" fmla="*/ 295 h 1328"/>
                  <a:gd name="T70" fmla="*/ 167 w 1155"/>
                  <a:gd name="T71" fmla="*/ 262 h 1328"/>
                  <a:gd name="T72" fmla="*/ 165 w 1155"/>
                  <a:gd name="T73" fmla="*/ 241 h 1328"/>
                  <a:gd name="T74" fmla="*/ 172 w 1155"/>
                  <a:gd name="T75" fmla="*/ 203 h 1328"/>
                  <a:gd name="T76" fmla="*/ 167 w 1155"/>
                  <a:gd name="T77" fmla="*/ 182 h 1328"/>
                  <a:gd name="T78" fmla="*/ 184 w 1155"/>
                  <a:gd name="T79" fmla="*/ 160 h 1328"/>
                  <a:gd name="T80" fmla="*/ 212 w 1155"/>
                  <a:gd name="T81" fmla="*/ 160 h 1328"/>
                  <a:gd name="T82" fmla="*/ 241 w 1155"/>
                  <a:gd name="T83" fmla="*/ 175 h 1328"/>
                  <a:gd name="T84" fmla="*/ 252 w 1155"/>
                  <a:gd name="T85" fmla="*/ 196 h 1328"/>
                  <a:gd name="T86" fmla="*/ 274 w 1155"/>
                  <a:gd name="T87" fmla="*/ 189 h 1328"/>
                  <a:gd name="T88" fmla="*/ 290 w 1155"/>
                  <a:gd name="T89" fmla="*/ 170 h 1328"/>
                  <a:gd name="T90" fmla="*/ 326 w 1155"/>
                  <a:gd name="T91" fmla="*/ 0 h 1328"/>
                  <a:gd name="T92" fmla="*/ 427 w 1155"/>
                  <a:gd name="T93" fmla="*/ 21 h 1328"/>
                  <a:gd name="T94" fmla="*/ 531 w 1155"/>
                  <a:gd name="T95" fmla="*/ 42 h 1328"/>
                  <a:gd name="T96" fmla="*/ 635 w 1155"/>
                  <a:gd name="T97" fmla="*/ 61 h 1328"/>
                  <a:gd name="T98" fmla="*/ 739 w 1155"/>
                  <a:gd name="T99" fmla="*/ 78 h 1328"/>
                  <a:gd name="T100" fmla="*/ 843 w 1155"/>
                  <a:gd name="T101" fmla="*/ 97 h 1328"/>
                  <a:gd name="T102" fmla="*/ 947 w 1155"/>
                  <a:gd name="T103" fmla="*/ 113 h 1328"/>
                  <a:gd name="T104" fmla="*/ 1051 w 1155"/>
                  <a:gd name="T105" fmla="*/ 130 h 1328"/>
                  <a:gd name="T106" fmla="*/ 1155 w 1155"/>
                  <a:gd name="T107" fmla="*/ 14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5" h="1328">
                    <a:moveTo>
                      <a:pt x="1155" y="144"/>
                    </a:moveTo>
                    <a:lnTo>
                      <a:pt x="1144" y="220"/>
                    </a:lnTo>
                    <a:lnTo>
                      <a:pt x="1134" y="293"/>
                    </a:lnTo>
                    <a:lnTo>
                      <a:pt x="1122" y="366"/>
                    </a:lnTo>
                    <a:lnTo>
                      <a:pt x="1110" y="439"/>
                    </a:lnTo>
                    <a:lnTo>
                      <a:pt x="1101" y="513"/>
                    </a:lnTo>
                    <a:lnTo>
                      <a:pt x="1089" y="588"/>
                    </a:lnTo>
                    <a:lnTo>
                      <a:pt x="1080" y="662"/>
                    </a:lnTo>
                    <a:lnTo>
                      <a:pt x="1068" y="735"/>
                    </a:lnTo>
                    <a:lnTo>
                      <a:pt x="1058" y="811"/>
                    </a:lnTo>
                    <a:lnTo>
                      <a:pt x="1047" y="884"/>
                    </a:lnTo>
                    <a:lnTo>
                      <a:pt x="1037" y="957"/>
                    </a:lnTo>
                    <a:lnTo>
                      <a:pt x="1025" y="1031"/>
                    </a:lnTo>
                    <a:lnTo>
                      <a:pt x="1016" y="1106"/>
                    </a:lnTo>
                    <a:lnTo>
                      <a:pt x="1004" y="1180"/>
                    </a:lnTo>
                    <a:lnTo>
                      <a:pt x="995" y="1255"/>
                    </a:lnTo>
                    <a:lnTo>
                      <a:pt x="983" y="1328"/>
                    </a:lnTo>
                    <a:lnTo>
                      <a:pt x="943" y="1324"/>
                    </a:lnTo>
                    <a:lnTo>
                      <a:pt x="879" y="1314"/>
                    </a:lnTo>
                    <a:lnTo>
                      <a:pt x="815" y="1305"/>
                    </a:lnTo>
                    <a:lnTo>
                      <a:pt x="751" y="1293"/>
                    </a:lnTo>
                    <a:lnTo>
                      <a:pt x="687" y="1284"/>
                    </a:lnTo>
                    <a:lnTo>
                      <a:pt x="626" y="1274"/>
                    </a:lnTo>
                    <a:lnTo>
                      <a:pt x="546" y="1229"/>
                    </a:lnTo>
                    <a:lnTo>
                      <a:pt x="465" y="1182"/>
                    </a:lnTo>
                    <a:lnTo>
                      <a:pt x="387" y="1137"/>
                    </a:lnTo>
                    <a:lnTo>
                      <a:pt x="309" y="1090"/>
                    </a:lnTo>
                    <a:lnTo>
                      <a:pt x="231" y="1042"/>
                    </a:lnTo>
                    <a:lnTo>
                      <a:pt x="153" y="995"/>
                    </a:lnTo>
                    <a:lnTo>
                      <a:pt x="75" y="948"/>
                    </a:lnTo>
                    <a:lnTo>
                      <a:pt x="0" y="900"/>
                    </a:lnTo>
                    <a:lnTo>
                      <a:pt x="9" y="891"/>
                    </a:lnTo>
                    <a:lnTo>
                      <a:pt x="28" y="863"/>
                    </a:lnTo>
                    <a:lnTo>
                      <a:pt x="28" y="860"/>
                    </a:lnTo>
                    <a:lnTo>
                      <a:pt x="28" y="860"/>
                    </a:lnTo>
                    <a:lnTo>
                      <a:pt x="54" y="863"/>
                    </a:lnTo>
                    <a:lnTo>
                      <a:pt x="66" y="858"/>
                    </a:lnTo>
                    <a:lnTo>
                      <a:pt x="75" y="844"/>
                    </a:lnTo>
                    <a:lnTo>
                      <a:pt x="80" y="830"/>
                    </a:lnTo>
                    <a:lnTo>
                      <a:pt x="80" y="815"/>
                    </a:lnTo>
                    <a:lnTo>
                      <a:pt x="70" y="801"/>
                    </a:lnTo>
                    <a:lnTo>
                      <a:pt x="56" y="792"/>
                    </a:lnTo>
                    <a:lnTo>
                      <a:pt x="52" y="768"/>
                    </a:lnTo>
                    <a:lnTo>
                      <a:pt x="54" y="735"/>
                    </a:lnTo>
                    <a:lnTo>
                      <a:pt x="61" y="718"/>
                    </a:lnTo>
                    <a:lnTo>
                      <a:pt x="70" y="716"/>
                    </a:lnTo>
                    <a:lnTo>
                      <a:pt x="80" y="711"/>
                    </a:lnTo>
                    <a:lnTo>
                      <a:pt x="92" y="700"/>
                    </a:lnTo>
                    <a:lnTo>
                      <a:pt x="101" y="685"/>
                    </a:lnTo>
                    <a:lnTo>
                      <a:pt x="108" y="669"/>
                    </a:lnTo>
                    <a:lnTo>
                      <a:pt x="113" y="650"/>
                    </a:lnTo>
                    <a:lnTo>
                      <a:pt x="115" y="624"/>
                    </a:lnTo>
                    <a:lnTo>
                      <a:pt x="137" y="598"/>
                    </a:lnTo>
                    <a:lnTo>
                      <a:pt x="156" y="581"/>
                    </a:lnTo>
                    <a:lnTo>
                      <a:pt x="189" y="565"/>
                    </a:lnTo>
                    <a:lnTo>
                      <a:pt x="198" y="558"/>
                    </a:lnTo>
                    <a:lnTo>
                      <a:pt x="198" y="553"/>
                    </a:lnTo>
                    <a:lnTo>
                      <a:pt x="198" y="553"/>
                    </a:lnTo>
                    <a:lnTo>
                      <a:pt x="196" y="543"/>
                    </a:lnTo>
                    <a:lnTo>
                      <a:pt x="172" y="522"/>
                    </a:lnTo>
                    <a:lnTo>
                      <a:pt x="165" y="508"/>
                    </a:lnTo>
                    <a:lnTo>
                      <a:pt x="165" y="499"/>
                    </a:lnTo>
                    <a:lnTo>
                      <a:pt x="165" y="496"/>
                    </a:lnTo>
                    <a:lnTo>
                      <a:pt x="163" y="487"/>
                    </a:lnTo>
                    <a:lnTo>
                      <a:pt x="146" y="439"/>
                    </a:lnTo>
                    <a:lnTo>
                      <a:pt x="141" y="413"/>
                    </a:lnTo>
                    <a:lnTo>
                      <a:pt x="144" y="397"/>
                    </a:lnTo>
                    <a:lnTo>
                      <a:pt x="146" y="394"/>
                    </a:lnTo>
                    <a:lnTo>
                      <a:pt x="163" y="321"/>
                    </a:lnTo>
                    <a:lnTo>
                      <a:pt x="158" y="295"/>
                    </a:lnTo>
                    <a:lnTo>
                      <a:pt x="160" y="281"/>
                    </a:lnTo>
                    <a:lnTo>
                      <a:pt x="167" y="262"/>
                    </a:lnTo>
                    <a:lnTo>
                      <a:pt x="167" y="253"/>
                    </a:lnTo>
                    <a:lnTo>
                      <a:pt x="165" y="241"/>
                    </a:lnTo>
                    <a:lnTo>
                      <a:pt x="167" y="224"/>
                    </a:lnTo>
                    <a:lnTo>
                      <a:pt x="172" y="203"/>
                    </a:lnTo>
                    <a:lnTo>
                      <a:pt x="167" y="186"/>
                    </a:lnTo>
                    <a:lnTo>
                      <a:pt x="167" y="182"/>
                    </a:lnTo>
                    <a:lnTo>
                      <a:pt x="174" y="168"/>
                    </a:lnTo>
                    <a:lnTo>
                      <a:pt x="184" y="160"/>
                    </a:lnTo>
                    <a:lnTo>
                      <a:pt x="198" y="158"/>
                    </a:lnTo>
                    <a:lnTo>
                      <a:pt x="212" y="160"/>
                    </a:lnTo>
                    <a:lnTo>
                      <a:pt x="229" y="165"/>
                    </a:lnTo>
                    <a:lnTo>
                      <a:pt x="241" y="175"/>
                    </a:lnTo>
                    <a:lnTo>
                      <a:pt x="245" y="186"/>
                    </a:lnTo>
                    <a:lnTo>
                      <a:pt x="252" y="196"/>
                    </a:lnTo>
                    <a:lnTo>
                      <a:pt x="260" y="196"/>
                    </a:lnTo>
                    <a:lnTo>
                      <a:pt x="274" y="189"/>
                    </a:lnTo>
                    <a:lnTo>
                      <a:pt x="288" y="170"/>
                    </a:lnTo>
                    <a:lnTo>
                      <a:pt x="290" y="170"/>
                    </a:lnTo>
                    <a:lnTo>
                      <a:pt x="309" y="82"/>
                    </a:lnTo>
                    <a:lnTo>
                      <a:pt x="326" y="0"/>
                    </a:lnTo>
                    <a:lnTo>
                      <a:pt x="378" y="11"/>
                    </a:lnTo>
                    <a:lnTo>
                      <a:pt x="427" y="21"/>
                    </a:lnTo>
                    <a:lnTo>
                      <a:pt x="479" y="30"/>
                    </a:lnTo>
                    <a:lnTo>
                      <a:pt x="531" y="42"/>
                    </a:lnTo>
                    <a:lnTo>
                      <a:pt x="583" y="52"/>
                    </a:lnTo>
                    <a:lnTo>
                      <a:pt x="635" y="61"/>
                    </a:lnTo>
                    <a:lnTo>
                      <a:pt x="687" y="71"/>
                    </a:lnTo>
                    <a:lnTo>
                      <a:pt x="739" y="78"/>
                    </a:lnTo>
                    <a:lnTo>
                      <a:pt x="791" y="87"/>
                    </a:lnTo>
                    <a:lnTo>
                      <a:pt x="843" y="97"/>
                    </a:lnTo>
                    <a:lnTo>
                      <a:pt x="895" y="104"/>
                    </a:lnTo>
                    <a:lnTo>
                      <a:pt x="947" y="113"/>
                    </a:lnTo>
                    <a:lnTo>
                      <a:pt x="999" y="120"/>
                    </a:lnTo>
                    <a:lnTo>
                      <a:pt x="1051" y="130"/>
                    </a:lnTo>
                    <a:lnTo>
                      <a:pt x="1103" y="137"/>
                    </a:lnTo>
                    <a:lnTo>
                      <a:pt x="1155" y="14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8" name="Freeform 46">
                <a:extLst>
                  <a:ext uri="{FF2B5EF4-FFF2-40B4-BE49-F238E27FC236}">
                    <a16:creationId xmlns:a16="http://schemas.microsoft.com/office/drawing/2014/main" id="{8B24EA67-4527-657C-A4B8-4A465DAA3E2E}"/>
                  </a:ext>
                </a:extLst>
              </p:cNvPr>
              <p:cNvSpPr>
                <a:spLocks noEditPoints="1"/>
              </p:cNvSpPr>
              <p:nvPr/>
            </p:nvSpPr>
            <p:spPr bwMode="auto">
              <a:xfrm>
                <a:off x="220" y="7"/>
                <a:ext cx="1340" cy="2294"/>
              </a:xfrm>
              <a:custGeom>
                <a:avLst/>
                <a:gdLst>
                  <a:gd name="T0" fmla="*/ 723 w 1340"/>
                  <a:gd name="T1" fmla="*/ 341 h 2294"/>
                  <a:gd name="T2" fmla="*/ 671 w 1340"/>
                  <a:gd name="T3" fmla="*/ 530 h 2294"/>
                  <a:gd name="T4" fmla="*/ 619 w 1340"/>
                  <a:gd name="T5" fmla="*/ 721 h 2294"/>
                  <a:gd name="T6" fmla="*/ 683 w 1340"/>
                  <a:gd name="T7" fmla="*/ 925 h 2294"/>
                  <a:gd name="T8" fmla="*/ 829 w 1340"/>
                  <a:gd name="T9" fmla="*/ 1140 h 2294"/>
                  <a:gd name="T10" fmla="*/ 945 w 1340"/>
                  <a:gd name="T11" fmla="*/ 1317 h 2294"/>
                  <a:gd name="T12" fmla="*/ 1080 w 1340"/>
                  <a:gd name="T13" fmla="*/ 1523 h 2294"/>
                  <a:gd name="T14" fmla="*/ 1250 w 1340"/>
                  <a:gd name="T15" fmla="*/ 1773 h 2294"/>
                  <a:gd name="T16" fmla="*/ 1307 w 1340"/>
                  <a:gd name="T17" fmla="*/ 1927 h 2294"/>
                  <a:gd name="T18" fmla="*/ 1340 w 1340"/>
                  <a:gd name="T19" fmla="*/ 1984 h 2294"/>
                  <a:gd name="T20" fmla="*/ 1279 w 1340"/>
                  <a:gd name="T21" fmla="*/ 2029 h 2294"/>
                  <a:gd name="T22" fmla="*/ 1234 w 1340"/>
                  <a:gd name="T23" fmla="*/ 2131 h 2294"/>
                  <a:gd name="T24" fmla="*/ 1191 w 1340"/>
                  <a:gd name="T25" fmla="*/ 2199 h 2294"/>
                  <a:gd name="T26" fmla="*/ 1217 w 1340"/>
                  <a:gd name="T27" fmla="*/ 2275 h 2294"/>
                  <a:gd name="T28" fmla="*/ 1170 w 1340"/>
                  <a:gd name="T29" fmla="*/ 2294 h 2294"/>
                  <a:gd name="T30" fmla="*/ 945 w 1340"/>
                  <a:gd name="T31" fmla="*/ 2265 h 2294"/>
                  <a:gd name="T32" fmla="*/ 742 w 1340"/>
                  <a:gd name="T33" fmla="*/ 2237 h 2294"/>
                  <a:gd name="T34" fmla="*/ 737 w 1340"/>
                  <a:gd name="T35" fmla="*/ 2161 h 2294"/>
                  <a:gd name="T36" fmla="*/ 652 w 1340"/>
                  <a:gd name="T37" fmla="*/ 1979 h 2294"/>
                  <a:gd name="T38" fmla="*/ 581 w 1340"/>
                  <a:gd name="T39" fmla="*/ 1934 h 2294"/>
                  <a:gd name="T40" fmla="*/ 475 w 1340"/>
                  <a:gd name="T41" fmla="*/ 1828 h 2294"/>
                  <a:gd name="T42" fmla="*/ 395 w 1340"/>
                  <a:gd name="T43" fmla="*/ 1745 h 2294"/>
                  <a:gd name="T44" fmla="*/ 269 w 1340"/>
                  <a:gd name="T45" fmla="*/ 1695 h 2294"/>
                  <a:gd name="T46" fmla="*/ 265 w 1340"/>
                  <a:gd name="T47" fmla="*/ 1620 h 2294"/>
                  <a:gd name="T48" fmla="*/ 248 w 1340"/>
                  <a:gd name="T49" fmla="*/ 1528 h 2294"/>
                  <a:gd name="T50" fmla="*/ 224 w 1340"/>
                  <a:gd name="T51" fmla="*/ 1433 h 2294"/>
                  <a:gd name="T52" fmla="*/ 170 w 1340"/>
                  <a:gd name="T53" fmla="*/ 1298 h 2294"/>
                  <a:gd name="T54" fmla="*/ 184 w 1340"/>
                  <a:gd name="T55" fmla="*/ 1175 h 2294"/>
                  <a:gd name="T56" fmla="*/ 113 w 1340"/>
                  <a:gd name="T57" fmla="*/ 1050 h 2294"/>
                  <a:gd name="T58" fmla="*/ 142 w 1340"/>
                  <a:gd name="T59" fmla="*/ 929 h 2294"/>
                  <a:gd name="T60" fmla="*/ 161 w 1340"/>
                  <a:gd name="T61" fmla="*/ 986 h 2294"/>
                  <a:gd name="T62" fmla="*/ 177 w 1340"/>
                  <a:gd name="T63" fmla="*/ 996 h 2294"/>
                  <a:gd name="T64" fmla="*/ 161 w 1340"/>
                  <a:gd name="T65" fmla="*/ 908 h 2294"/>
                  <a:gd name="T66" fmla="*/ 272 w 1340"/>
                  <a:gd name="T67" fmla="*/ 915 h 2294"/>
                  <a:gd name="T68" fmla="*/ 279 w 1340"/>
                  <a:gd name="T69" fmla="*/ 908 h 2294"/>
                  <a:gd name="T70" fmla="*/ 227 w 1340"/>
                  <a:gd name="T71" fmla="*/ 882 h 2294"/>
                  <a:gd name="T72" fmla="*/ 153 w 1340"/>
                  <a:gd name="T73" fmla="*/ 866 h 2294"/>
                  <a:gd name="T74" fmla="*/ 109 w 1340"/>
                  <a:gd name="T75" fmla="*/ 896 h 2294"/>
                  <a:gd name="T76" fmla="*/ 66 w 1340"/>
                  <a:gd name="T77" fmla="*/ 858 h 2294"/>
                  <a:gd name="T78" fmla="*/ 85 w 1340"/>
                  <a:gd name="T79" fmla="*/ 806 h 2294"/>
                  <a:gd name="T80" fmla="*/ 12 w 1340"/>
                  <a:gd name="T81" fmla="*/ 646 h 2294"/>
                  <a:gd name="T82" fmla="*/ 45 w 1340"/>
                  <a:gd name="T83" fmla="*/ 464 h 2294"/>
                  <a:gd name="T84" fmla="*/ 7 w 1340"/>
                  <a:gd name="T85" fmla="*/ 296 h 2294"/>
                  <a:gd name="T86" fmla="*/ 40 w 1340"/>
                  <a:gd name="T87" fmla="*/ 258 h 2294"/>
                  <a:gd name="T88" fmla="*/ 49 w 1340"/>
                  <a:gd name="T89" fmla="*/ 241 h 2294"/>
                  <a:gd name="T90" fmla="*/ 116 w 1340"/>
                  <a:gd name="T91" fmla="*/ 116 h 2294"/>
                  <a:gd name="T92" fmla="*/ 127 w 1340"/>
                  <a:gd name="T93" fmla="*/ 2 h 2294"/>
                  <a:gd name="T94" fmla="*/ 286 w 1340"/>
                  <a:gd name="T95" fmla="*/ 50 h 2294"/>
                  <a:gd name="T96" fmla="*/ 484 w 1340"/>
                  <a:gd name="T97" fmla="*/ 109 h 2294"/>
                  <a:gd name="T98" fmla="*/ 683 w 1340"/>
                  <a:gd name="T99" fmla="*/ 166 h 2294"/>
                  <a:gd name="T100" fmla="*/ 399 w 1340"/>
                  <a:gd name="T101" fmla="*/ 1821 h 2294"/>
                  <a:gd name="T102" fmla="*/ 345 w 1340"/>
                  <a:gd name="T103" fmla="*/ 1811 h 2294"/>
                  <a:gd name="T104" fmla="*/ 250 w 1340"/>
                  <a:gd name="T105" fmla="*/ 1785 h 2294"/>
                  <a:gd name="T106" fmla="*/ 312 w 1340"/>
                  <a:gd name="T107" fmla="*/ 1825 h 2294"/>
                  <a:gd name="T108" fmla="*/ 324 w 1340"/>
                  <a:gd name="T109" fmla="*/ 1816 h 2294"/>
                  <a:gd name="T110" fmla="*/ 567 w 1340"/>
                  <a:gd name="T111" fmla="*/ 2022 h 2294"/>
                  <a:gd name="T112" fmla="*/ 539 w 1340"/>
                  <a:gd name="T113" fmla="*/ 1991 h 2294"/>
                  <a:gd name="T114" fmla="*/ 574 w 1340"/>
                  <a:gd name="T115" fmla="*/ 2010 h 2294"/>
                  <a:gd name="T116" fmla="*/ 366 w 1340"/>
                  <a:gd name="T117" fmla="*/ 1979 h 2294"/>
                  <a:gd name="T118" fmla="*/ 534 w 1340"/>
                  <a:gd name="T119" fmla="*/ 2123 h 2294"/>
                  <a:gd name="T120" fmla="*/ 525 w 1340"/>
                  <a:gd name="T121" fmla="*/ 2090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0" h="2294">
                    <a:moveTo>
                      <a:pt x="763" y="187"/>
                    </a:moveTo>
                    <a:lnTo>
                      <a:pt x="754" y="225"/>
                    </a:lnTo>
                    <a:lnTo>
                      <a:pt x="742" y="263"/>
                    </a:lnTo>
                    <a:lnTo>
                      <a:pt x="733" y="300"/>
                    </a:lnTo>
                    <a:lnTo>
                      <a:pt x="723" y="341"/>
                    </a:lnTo>
                    <a:lnTo>
                      <a:pt x="711" y="378"/>
                    </a:lnTo>
                    <a:lnTo>
                      <a:pt x="702" y="416"/>
                    </a:lnTo>
                    <a:lnTo>
                      <a:pt x="690" y="454"/>
                    </a:lnTo>
                    <a:lnTo>
                      <a:pt x="681" y="492"/>
                    </a:lnTo>
                    <a:lnTo>
                      <a:pt x="671" y="530"/>
                    </a:lnTo>
                    <a:lnTo>
                      <a:pt x="659" y="568"/>
                    </a:lnTo>
                    <a:lnTo>
                      <a:pt x="650" y="605"/>
                    </a:lnTo>
                    <a:lnTo>
                      <a:pt x="640" y="643"/>
                    </a:lnTo>
                    <a:lnTo>
                      <a:pt x="629" y="681"/>
                    </a:lnTo>
                    <a:lnTo>
                      <a:pt x="619" y="721"/>
                    </a:lnTo>
                    <a:lnTo>
                      <a:pt x="610" y="759"/>
                    </a:lnTo>
                    <a:lnTo>
                      <a:pt x="598" y="797"/>
                    </a:lnTo>
                    <a:lnTo>
                      <a:pt x="626" y="840"/>
                    </a:lnTo>
                    <a:lnTo>
                      <a:pt x="655" y="882"/>
                    </a:lnTo>
                    <a:lnTo>
                      <a:pt x="683" y="925"/>
                    </a:lnTo>
                    <a:lnTo>
                      <a:pt x="711" y="970"/>
                    </a:lnTo>
                    <a:lnTo>
                      <a:pt x="742" y="1012"/>
                    </a:lnTo>
                    <a:lnTo>
                      <a:pt x="770" y="1055"/>
                    </a:lnTo>
                    <a:lnTo>
                      <a:pt x="801" y="1097"/>
                    </a:lnTo>
                    <a:lnTo>
                      <a:pt x="829" y="1140"/>
                    </a:lnTo>
                    <a:lnTo>
                      <a:pt x="853" y="1175"/>
                    </a:lnTo>
                    <a:lnTo>
                      <a:pt x="874" y="1211"/>
                    </a:lnTo>
                    <a:lnTo>
                      <a:pt x="898" y="1246"/>
                    </a:lnTo>
                    <a:lnTo>
                      <a:pt x="922" y="1282"/>
                    </a:lnTo>
                    <a:lnTo>
                      <a:pt x="945" y="1317"/>
                    </a:lnTo>
                    <a:lnTo>
                      <a:pt x="969" y="1353"/>
                    </a:lnTo>
                    <a:lnTo>
                      <a:pt x="993" y="1388"/>
                    </a:lnTo>
                    <a:lnTo>
                      <a:pt x="1016" y="1424"/>
                    </a:lnTo>
                    <a:lnTo>
                      <a:pt x="1047" y="1473"/>
                    </a:lnTo>
                    <a:lnTo>
                      <a:pt x="1080" y="1523"/>
                    </a:lnTo>
                    <a:lnTo>
                      <a:pt x="1113" y="1575"/>
                    </a:lnTo>
                    <a:lnTo>
                      <a:pt x="1149" y="1625"/>
                    </a:lnTo>
                    <a:lnTo>
                      <a:pt x="1182" y="1674"/>
                    </a:lnTo>
                    <a:lnTo>
                      <a:pt x="1215" y="1724"/>
                    </a:lnTo>
                    <a:lnTo>
                      <a:pt x="1250" y="1773"/>
                    </a:lnTo>
                    <a:lnTo>
                      <a:pt x="1286" y="1828"/>
                    </a:lnTo>
                    <a:lnTo>
                      <a:pt x="1283" y="1844"/>
                    </a:lnTo>
                    <a:lnTo>
                      <a:pt x="1286" y="1870"/>
                    </a:lnTo>
                    <a:lnTo>
                      <a:pt x="1305" y="1918"/>
                    </a:lnTo>
                    <a:lnTo>
                      <a:pt x="1307" y="1927"/>
                    </a:lnTo>
                    <a:lnTo>
                      <a:pt x="1307" y="1930"/>
                    </a:lnTo>
                    <a:lnTo>
                      <a:pt x="1305" y="1939"/>
                    </a:lnTo>
                    <a:lnTo>
                      <a:pt x="1314" y="1953"/>
                    </a:lnTo>
                    <a:lnTo>
                      <a:pt x="1335" y="1974"/>
                    </a:lnTo>
                    <a:lnTo>
                      <a:pt x="1340" y="1984"/>
                    </a:lnTo>
                    <a:lnTo>
                      <a:pt x="1340" y="1984"/>
                    </a:lnTo>
                    <a:lnTo>
                      <a:pt x="1340" y="1989"/>
                    </a:lnTo>
                    <a:lnTo>
                      <a:pt x="1331" y="1996"/>
                    </a:lnTo>
                    <a:lnTo>
                      <a:pt x="1298" y="2012"/>
                    </a:lnTo>
                    <a:lnTo>
                      <a:pt x="1279" y="2029"/>
                    </a:lnTo>
                    <a:lnTo>
                      <a:pt x="1257" y="2055"/>
                    </a:lnTo>
                    <a:lnTo>
                      <a:pt x="1255" y="2081"/>
                    </a:lnTo>
                    <a:lnTo>
                      <a:pt x="1250" y="2100"/>
                    </a:lnTo>
                    <a:lnTo>
                      <a:pt x="1243" y="2116"/>
                    </a:lnTo>
                    <a:lnTo>
                      <a:pt x="1234" y="2131"/>
                    </a:lnTo>
                    <a:lnTo>
                      <a:pt x="1222" y="2142"/>
                    </a:lnTo>
                    <a:lnTo>
                      <a:pt x="1212" y="2147"/>
                    </a:lnTo>
                    <a:lnTo>
                      <a:pt x="1203" y="2149"/>
                    </a:lnTo>
                    <a:lnTo>
                      <a:pt x="1196" y="2166"/>
                    </a:lnTo>
                    <a:lnTo>
                      <a:pt x="1191" y="2199"/>
                    </a:lnTo>
                    <a:lnTo>
                      <a:pt x="1198" y="2223"/>
                    </a:lnTo>
                    <a:lnTo>
                      <a:pt x="1212" y="2232"/>
                    </a:lnTo>
                    <a:lnTo>
                      <a:pt x="1222" y="2246"/>
                    </a:lnTo>
                    <a:lnTo>
                      <a:pt x="1222" y="2261"/>
                    </a:lnTo>
                    <a:lnTo>
                      <a:pt x="1217" y="2275"/>
                    </a:lnTo>
                    <a:lnTo>
                      <a:pt x="1208" y="2289"/>
                    </a:lnTo>
                    <a:lnTo>
                      <a:pt x="1196" y="2294"/>
                    </a:lnTo>
                    <a:lnTo>
                      <a:pt x="1170" y="2291"/>
                    </a:lnTo>
                    <a:lnTo>
                      <a:pt x="1170" y="2291"/>
                    </a:lnTo>
                    <a:lnTo>
                      <a:pt x="1170" y="2294"/>
                    </a:lnTo>
                    <a:lnTo>
                      <a:pt x="1149" y="2291"/>
                    </a:lnTo>
                    <a:lnTo>
                      <a:pt x="1099" y="2284"/>
                    </a:lnTo>
                    <a:lnTo>
                      <a:pt x="1047" y="2279"/>
                    </a:lnTo>
                    <a:lnTo>
                      <a:pt x="995" y="2272"/>
                    </a:lnTo>
                    <a:lnTo>
                      <a:pt x="945" y="2265"/>
                    </a:lnTo>
                    <a:lnTo>
                      <a:pt x="893" y="2258"/>
                    </a:lnTo>
                    <a:lnTo>
                      <a:pt x="844" y="2251"/>
                    </a:lnTo>
                    <a:lnTo>
                      <a:pt x="792" y="2244"/>
                    </a:lnTo>
                    <a:lnTo>
                      <a:pt x="742" y="2237"/>
                    </a:lnTo>
                    <a:lnTo>
                      <a:pt x="742" y="2237"/>
                    </a:lnTo>
                    <a:lnTo>
                      <a:pt x="747" y="2213"/>
                    </a:lnTo>
                    <a:lnTo>
                      <a:pt x="740" y="2204"/>
                    </a:lnTo>
                    <a:lnTo>
                      <a:pt x="728" y="2206"/>
                    </a:lnTo>
                    <a:lnTo>
                      <a:pt x="730" y="2175"/>
                    </a:lnTo>
                    <a:lnTo>
                      <a:pt x="737" y="2161"/>
                    </a:lnTo>
                    <a:lnTo>
                      <a:pt x="737" y="2149"/>
                    </a:lnTo>
                    <a:lnTo>
                      <a:pt x="737" y="2114"/>
                    </a:lnTo>
                    <a:lnTo>
                      <a:pt x="721" y="2067"/>
                    </a:lnTo>
                    <a:lnTo>
                      <a:pt x="678" y="2003"/>
                    </a:lnTo>
                    <a:lnTo>
                      <a:pt x="652" y="1979"/>
                    </a:lnTo>
                    <a:lnTo>
                      <a:pt x="636" y="1953"/>
                    </a:lnTo>
                    <a:lnTo>
                      <a:pt x="624" y="1944"/>
                    </a:lnTo>
                    <a:lnTo>
                      <a:pt x="607" y="1939"/>
                    </a:lnTo>
                    <a:lnTo>
                      <a:pt x="600" y="1946"/>
                    </a:lnTo>
                    <a:lnTo>
                      <a:pt x="581" y="1934"/>
                    </a:lnTo>
                    <a:lnTo>
                      <a:pt x="591" y="1913"/>
                    </a:lnTo>
                    <a:lnTo>
                      <a:pt x="579" y="1875"/>
                    </a:lnTo>
                    <a:lnTo>
                      <a:pt x="565" y="1868"/>
                    </a:lnTo>
                    <a:lnTo>
                      <a:pt x="525" y="1859"/>
                    </a:lnTo>
                    <a:lnTo>
                      <a:pt x="475" y="1828"/>
                    </a:lnTo>
                    <a:lnTo>
                      <a:pt x="463" y="1814"/>
                    </a:lnTo>
                    <a:lnTo>
                      <a:pt x="463" y="1792"/>
                    </a:lnTo>
                    <a:lnTo>
                      <a:pt x="442" y="1771"/>
                    </a:lnTo>
                    <a:lnTo>
                      <a:pt x="413" y="1745"/>
                    </a:lnTo>
                    <a:lnTo>
                      <a:pt x="395" y="1745"/>
                    </a:lnTo>
                    <a:lnTo>
                      <a:pt x="371" y="1736"/>
                    </a:lnTo>
                    <a:lnTo>
                      <a:pt x="343" y="1714"/>
                    </a:lnTo>
                    <a:lnTo>
                      <a:pt x="321" y="1707"/>
                    </a:lnTo>
                    <a:lnTo>
                      <a:pt x="283" y="1700"/>
                    </a:lnTo>
                    <a:lnTo>
                      <a:pt x="269" y="1695"/>
                    </a:lnTo>
                    <a:lnTo>
                      <a:pt x="260" y="1677"/>
                    </a:lnTo>
                    <a:lnTo>
                      <a:pt x="248" y="1665"/>
                    </a:lnTo>
                    <a:lnTo>
                      <a:pt x="255" y="1648"/>
                    </a:lnTo>
                    <a:lnTo>
                      <a:pt x="260" y="1632"/>
                    </a:lnTo>
                    <a:lnTo>
                      <a:pt x="265" y="1620"/>
                    </a:lnTo>
                    <a:lnTo>
                      <a:pt x="267" y="1589"/>
                    </a:lnTo>
                    <a:lnTo>
                      <a:pt x="279" y="1565"/>
                    </a:lnTo>
                    <a:lnTo>
                      <a:pt x="276" y="1554"/>
                    </a:lnTo>
                    <a:lnTo>
                      <a:pt x="269" y="1544"/>
                    </a:lnTo>
                    <a:lnTo>
                      <a:pt x="248" y="1528"/>
                    </a:lnTo>
                    <a:lnTo>
                      <a:pt x="248" y="1513"/>
                    </a:lnTo>
                    <a:lnTo>
                      <a:pt x="257" y="1494"/>
                    </a:lnTo>
                    <a:lnTo>
                      <a:pt x="253" y="1483"/>
                    </a:lnTo>
                    <a:lnTo>
                      <a:pt x="236" y="1464"/>
                    </a:lnTo>
                    <a:lnTo>
                      <a:pt x="224" y="1433"/>
                    </a:lnTo>
                    <a:lnTo>
                      <a:pt x="205" y="1412"/>
                    </a:lnTo>
                    <a:lnTo>
                      <a:pt x="201" y="1386"/>
                    </a:lnTo>
                    <a:lnTo>
                      <a:pt x="191" y="1367"/>
                    </a:lnTo>
                    <a:lnTo>
                      <a:pt x="189" y="1353"/>
                    </a:lnTo>
                    <a:lnTo>
                      <a:pt x="170" y="1298"/>
                    </a:lnTo>
                    <a:lnTo>
                      <a:pt x="146" y="1253"/>
                    </a:lnTo>
                    <a:lnTo>
                      <a:pt x="146" y="1230"/>
                    </a:lnTo>
                    <a:lnTo>
                      <a:pt x="153" y="1201"/>
                    </a:lnTo>
                    <a:lnTo>
                      <a:pt x="172" y="1189"/>
                    </a:lnTo>
                    <a:lnTo>
                      <a:pt x="184" y="1175"/>
                    </a:lnTo>
                    <a:lnTo>
                      <a:pt x="187" y="1161"/>
                    </a:lnTo>
                    <a:lnTo>
                      <a:pt x="187" y="1152"/>
                    </a:lnTo>
                    <a:lnTo>
                      <a:pt x="182" y="1130"/>
                    </a:lnTo>
                    <a:lnTo>
                      <a:pt x="137" y="1104"/>
                    </a:lnTo>
                    <a:lnTo>
                      <a:pt x="113" y="1050"/>
                    </a:lnTo>
                    <a:lnTo>
                      <a:pt x="120" y="1017"/>
                    </a:lnTo>
                    <a:lnTo>
                      <a:pt x="116" y="977"/>
                    </a:lnTo>
                    <a:lnTo>
                      <a:pt x="123" y="955"/>
                    </a:lnTo>
                    <a:lnTo>
                      <a:pt x="127" y="929"/>
                    </a:lnTo>
                    <a:lnTo>
                      <a:pt x="142" y="929"/>
                    </a:lnTo>
                    <a:lnTo>
                      <a:pt x="151" y="934"/>
                    </a:lnTo>
                    <a:lnTo>
                      <a:pt x="146" y="944"/>
                    </a:lnTo>
                    <a:lnTo>
                      <a:pt x="144" y="960"/>
                    </a:lnTo>
                    <a:lnTo>
                      <a:pt x="151" y="977"/>
                    </a:lnTo>
                    <a:lnTo>
                      <a:pt x="161" y="986"/>
                    </a:lnTo>
                    <a:lnTo>
                      <a:pt x="168" y="1003"/>
                    </a:lnTo>
                    <a:lnTo>
                      <a:pt x="175" y="1007"/>
                    </a:lnTo>
                    <a:lnTo>
                      <a:pt x="182" y="1010"/>
                    </a:lnTo>
                    <a:lnTo>
                      <a:pt x="179" y="1003"/>
                    </a:lnTo>
                    <a:lnTo>
                      <a:pt x="177" y="996"/>
                    </a:lnTo>
                    <a:lnTo>
                      <a:pt x="177" y="977"/>
                    </a:lnTo>
                    <a:lnTo>
                      <a:pt x="172" y="953"/>
                    </a:lnTo>
                    <a:lnTo>
                      <a:pt x="165" y="936"/>
                    </a:lnTo>
                    <a:lnTo>
                      <a:pt x="165" y="915"/>
                    </a:lnTo>
                    <a:lnTo>
                      <a:pt x="161" y="908"/>
                    </a:lnTo>
                    <a:lnTo>
                      <a:pt x="161" y="899"/>
                    </a:lnTo>
                    <a:lnTo>
                      <a:pt x="175" y="892"/>
                    </a:lnTo>
                    <a:lnTo>
                      <a:pt x="191" y="892"/>
                    </a:lnTo>
                    <a:lnTo>
                      <a:pt x="213" y="894"/>
                    </a:lnTo>
                    <a:lnTo>
                      <a:pt x="272" y="915"/>
                    </a:lnTo>
                    <a:lnTo>
                      <a:pt x="286" y="913"/>
                    </a:lnTo>
                    <a:lnTo>
                      <a:pt x="295" y="918"/>
                    </a:lnTo>
                    <a:lnTo>
                      <a:pt x="302" y="920"/>
                    </a:lnTo>
                    <a:lnTo>
                      <a:pt x="288" y="910"/>
                    </a:lnTo>
                    <a:lnTo>
                      <a:pt x="279" y="908"/>
                    </a:lnTo>
                    <a:lnTo>
                      <a:pt x="269" y="906"/>
                    </a:lnTo>
                    <a:lnTo>
                      <a:pt x="248" y="899"/>
                    </a:lnTo>
                    <a:lnTo>
                      <a:pt x="239" y="894"/>
                    </a:lnTo>
                    <a:lnTo>
                      <a:pt x="231" y="884"/>
                    </a:lnTo>
                    <a:lnTo>
                      <a:pt x="227" y="882"/>
                    </a:lnTo>
                    <a:lnTo>
                      <a:pt x="203" y="889"/>
                    </a:lnTo>
                    <a:lnTo>
                      <a:pt x="196" y="884"/>
                    </a:lnTo>
                    <a:lnTo>
                      <a:pt x="179" y="866"/>
                    </a:lnTo>
                    <a:lnTo>
                      <a:pt x="170" y="861"/>
                    </a:lnTo>
                    <a:lnTo>
                      <a:pt x="153" y="866"/>
                    </a:lnTo>
                    <a:lnTo>
                      <a:pt x="142" y="896"/>
                    </a:lnTo>
                    <a:lnTo>
                      <a:pt x="139" y="920"/>
                    </a:lnTo>
                    <a:lnTo>
                      <a:pt x="130" y="920"/>
                    </a:lnTo>
                    <a:lnTo>
                      <a:pt x="123" y="908"/>
                    </a:lnTo>
                    <a:lnTo>
                      <a:pt x="109" y="896"/>
                    </a:lnTo>
                    <a:lnTo>
                      <a:pt x="99" y="884"/>
                    </a:lnTo>
                    <a:lnTo>
                      <a:pt x="87" y="863"/>
                    </a:lnTo>
                    <a:lnTo>
                      <a:pt x="78" y="854"/>
                    </a:lnTo>
                    <a:lnTo>
                      <a:pt x="64" y="863"/>
                    </a:lnTo>
                    <a:lnTo>
                      <a:pt x="66" y="858"/>
                    </a:lnTo>
                    <a:lnTo>
                      <a:pt x="75" y="844"/>
                    </a:lnTo>
                    <a:lnTo>
                      <a:pt x="83" y="816"/>
                    </a:lnTo>
                    <a:lnTo>
                      <a:pt x="92" y="842"/>
                    </a:lnTo>
                    <a:lnTo>
                      <a:pt x="92" y="825"/>
                    </a:lnTo>
                    <a:lnTo>
                      <a:pt x="85" y="806"/>
                    </a:lnTo>
                    <a:lnTo>
                      <a:pt x="75" y="797"/>
                    </a:lnTo>
                    <a:lnTo>
                      <a:pt x="73" y="766"/>
                    </a:lnTo>
                    <a:lnTo>
                      <a:pt x="52" y="740"/>
                    </a:lnTo>
                    <a:lnTo>
                      <a:pt x="40" y="705"/>
                    </a:lnTo>
                    <a:lnTo>
                      <a:pt x="12" y="646"/>
                    </a:lnTo>
                    <a:lnTo>
                      <a:pt x="21" y="603"/>
                    </a:lnTo>
                    <a:lnTo>
                      <a:pt x="21" y="546"/>
                    </a:lnTo>
                    <a:lnTo>
                      <a:pt x="38" y="520"/>
                    </a:lnTo>
                    <a:lnTo>
                      <a:pt x="42" y="499"/>
                    </a:lnTo>
                    <a:lnTo>
                      <a:pt x="45" y="464"/>
                    </a:lnTo>
                    <a:lnTo>
                      <a:pt x="42" y="445"/>
                    </a:lnTo>
                    <a:lnTo>
                      <a:pt x="23" y="388"/>
                    </a:lnTo>
                    <a:lnTo>
                      <a:pt x="0" y="345"/>
                    </a:lnTo>
                    <a:lnTo>
                      <a:pt x="2" y="319"/>
                    </a:lnTo>
                    <a:lnTo>
                      <a:pt x="7" y="296"/>
                    </a:lnTo>
                    <a:lnTo>
                      <a:pt x="21" y="277"/>
                    </a:lnTo>
                    <a:lnTo>
                      <a:pt x="35" y="255"/>
                    </a:lnTo>
                    <a:lnTo>
                      <a:pt x="42" y="251"/>
                    </a:lnTo>
                    <a:lnTo>
                      <a:pt x="42" y="253"/>
                    </a:lnTo>
                    <a:lnTo>
                      <a:pt x="40" y="258"/>
                    </a:lnTo>
                    <a:lnTo>
                      <a:pt x="45" y="260"/>
                    </a:lnTo>
                    <a:lnTo>
                      <a:pt x="49" y="251"/>
                    </a:lnTo>
                    <a:lnTo>
                      <a:pt x="54" y="248"/>
                    </a:lnTo>
                    <a:lnTo>
                      <a:pt x="49" y="246"/>
                    </a:lnTo>
                    <a:lnTo>
                      <a:pt x="49" y="241"/>
                    </a:lnTo>
                    <a:lnTo>
                      <a:pt x="54" y="237"/>
                    </a:lnTo>
                    <a:lnTo>
                      <a:pt x="75" y="211"/>
                    </a:lnTo>
                    <a:lnTo>
                      <a:pt x="85" y="173"/>
                    </a:lnTo>
                    <a:lnTo>
                      <a:pt x="111" y="130"/>
                    </a:lnTo>
                    <a:lnTo>
                      <a:pt x="116" y="116"/>
                    </a:lnTo>
                    <a:lnTo>
                      <a:pt x="118" y="80"/>
                    </a:lnTo>
                    <a:lnTo>
                      <a:pt x="118" y="59"/>
                    </a:lnTo>
                    <a:lnTo>
                      <a:pt x="111" y="40"/>
                    </a:lnTo>
                    <a:lnTo>
                      <a:pt x="123" y="24"/>
                    </a:lnTo>
                    <a:lnTo>
                      <a:pt x="127" y="2"/>
                    </a:lnTo>
                    <a:lnTo>
                      <a:pt x="127" y="0"/>
                    </a:lnTo>
                    <a:lnTo>
                      <a:pt x="168" y="12"/>
                    </a:lnTo>
                    <a:lnTo>
                      <a:pt x="208" y="24"/>
                    </a:lnTo>
                    <a:lnTo>
                      <a:pt x="246" y="38"/>
                    </a:lnTo>
                    <a:lnTo>
                      <a:pt x="286" y="50"/>
                    </a:lnTo>
                    <a:lnTo>
                      <a:pt x="326" y="62"/>
                    </a:lnTo>
                    <a:lnTo>
                      <a:pt x="366" y="73"/>
                    </a:lnTo>
                    <a:lnTo>
                      <a:pt x="404" y="85"/>
                    </a:lnTo>
                    <a:lnTo>
                      <a:pt x="444" y="97"/>
                    </a:lnTo>
                    <a:lnTo>
                      <a:pt x="484" y="109"/>
                    </a:lnTo>
                    <a:lnTo>
                      <a:pt x="525" y="121"/>
                    </a:lnTo>
                    <a:lnTo>
                      <a:pt x="565" y="133"/>
                    </a:lnTo>
                    <a:lnTo>
                      <a:pt x="605" y="144"/>
                    </a:lnTo>
                    <a:lnTo>
                      <a:pt x="643" y="154"/>
                    </a:lnTo>
                    <a:lnTo>
                      <a:pt x="683" y="166"/>
                    </a:lnTo>
                    <a:lnTo>
                      <a:pt x="723" y="177"/>
                    </a:lnTo>
                    <a:lnTo>
                      <a:pt x="763" y="187"/>
                    </a:lnTo>
                    <a:close/>
                    <a:moveTo>
                      <a:pt x="350" y="1802"/>
                    </a:moveTo>
                    <a:lnTo>
                      <a:pt x="380" y="1821"/>
                    </a:lnTo>
                    <a:lnTo>
                      <a:pt x="399" y="1821"/>
                    </a:lnTo>
                    <a:lnTo>
                      <a:pt x="402" y="1825"/>
                    </a:lnTo>
                    <a:lnTo>
                      <a:pt x="399" y="1830"/>
                    </a:lnTo>
                    <a:lnTo>
                      <a:pt x="354" y="1828"/>
                    </a:lnTo>
                    <a:lnTo>
                      <a:pt x="343" y="1818"/>
                    </a:lnTo>
                    <a:lnTo>
                      <a:pt x="345" y="1811"/>
                    </a:lnTo>
                    <a:lnTo>
                      <a:pt x="343" y="1802"/>
                    </a:lnTo>
                    <a:lnTo>
                      <a:pt x="350" y="1802"/>
                    </a:lnTo>
                    <a:close/>
                    <a:moveTo>
                      <a:pt x="274" y="1792"/>
                    </a:moveTo>
                    <a:lnTo>
                      <a:pt x="265" y="1790"/>
                    </a:lnTo>
                    <a:lnTo>
                      <a:pt x="250" y="1785"/>
                    </a:lnTo>
                    <a:lnTo>
                      <a:pt x="257" y="1781"/>
                    </a:lnTo>
                    <a:lnTo>
                      <a:pt x="267" y="1781"/>
                    </a:lnTo>
                    <a:lnTo>
                      <a:pt x="267" y="1783"/>
                    </a:lnTo>
                    <a:lnTo>
                      <a:pt x="274" y="1792"/>
                    </a:lnTo>
                    <a:close/>
                    <a:moveTo>
                      <a:pt x="312" y="1825"/>
                    </a:moveTo>
                    <a:lnTo>
                      <a:pt x="300" y="1825"/>
                    </a:lnTo>
                    <a:lnTo>
                      <a:pt x="291" y="1821"/>
                    </a:lnTo>
                    <a:lnTo>
                      <a:pt x="283" y="1797"/>
                    </a:lnTo>
                    <a:lnTo>
                      <a:pt x="314" y="1804"/>
                    </a:lnTo>
                    <a:lnTo>
                      <a:pt x="324" y="1816"/>
                    </a:lnTo>
                    <a:lnTo>
                      <a:pt x="326" y="1818"/>
                    </a:lnTo>
                    <a:lnTo>
                      <a:pt x="312" y="1825"/>
                    </a:lnTo>
                    <a:close/>
                    <a:moveTo>
                      <a:pt x="574" y="2010"/>
                    </a:moveTo>
                    <a:lnTo>
                      <a:pt x="579" y="2029"/>
                    </a:lnTo>
                    <a:lnTo>
                      <a:pt x="567" y="2022"/>
                    </a:lnTo>
                    <a:lnTo>
                      <a:pt x="553" y="2019"/>
                    </a:lnTo>
                    <a:lnTo>
                      <a:pt x="551" y="2012"/>
                    </a:lnTo>
                    <a:lnTo>
                      <a:pt x="551" y="1998"/>
                    </a:lnTo>
                    <a:lnTo>
                      <a:pt x="548" y="1996"/>
                    </a:lnTo>
                    <a:lnTo>
                      <a:pt x="539" y="1991"/>
                    </a:lnTo>
                    <a:lnTo>
                      <a:pt x="539" y="1991"/>
                    </a:lnTo>
                    <a:lnTo>
                      <a:pt x="539" y="1984"/>
                    </a:lnTo>
                    <a:lnTo>
                      <a:pt x="543" y="1984"/>
                    </a:lnTo>
                    <a:lnTo>
                      <a:pt x="567" y="2003"/>
                    </a:lnTo>
                    <a:lnTo>
                      <a:pt x="574" y="2010"/>
                    </a:lnTo>
                    <a:close/>
                    <a:moveTo>
                      <a:pt x="378" y="1998"/>
                    </a:moveTo>
                    <a:lnTo>
                      <a:pt x="369" y="1996"/>
                    </a:lnTo>
                    <a:lnTo>
                      <a:pt x="359" y="1991"/>
                    </a:lnTo>
                    <a:lnTo>
                      <a:pt x="357" y="1979"/>
                    </a:lnTo>
                    <a:lnTo>
                      <a:pt x="366" y="1979"/>
                    </a:lnTo>
                    <a:lnTo>
                      <a:pt x="373" y="1984"/>
                    </a:lnTo>
                    <a:lnTo>
                      <a:pt x="378" y="1993"/>
                    </a:lnTo>
                    <a:lnTo>
                      <a:pt x="378" y="1998"/>
                    </a:lnTo>
                    <a:close/>
                    <a:moveTo>
                      <a:pt x="543" y="2126"/>
                    </a:moveTo>
                    <a:lnTo>
                      <a:pt x="534" y="2123"/>
                    </a:lnTo>
                    <a:lnTo>
                      <a:pt x="525" y="2116"/>
                    </a:lnTo>
                    <a:lnTo>
                      <a:pt x="520" y="2095"/>
                    </a:lnTo>
                    <a:lnTo>
                      <a:pt x="513" y="2076"/>
                    </a:lnTo>
                    <a:lnTo>
                      <a:pt x="520" y="2074"/>
                    </a:lnTo>
                    <a:lnTo>
                      <a:pt x="525" y="2090"/>
                    </a:lnTo>
                    <a:lnTo>
                      <a:pt x="539" y="2119"/>
                    </a:lnTo>
                    <a:lnTo>
                      <a:pt x="543" y="212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 name="Freeform 47">
                <a:extLst>
                  <a:ext uri="{FF2B5EF4-FFF2-40B4-BE49-F238E27FC236}">
                    <a16:creationId xmlns:a16="http://schemas.microsoft.com/office/drawing/2014/main" id="{1C52685F-E7C1-A7D6-A6F1-B947CDADE6A4}"/>
                  </a:ext>
                </a:extLst>
              </p:cNvPr>
              <p:cNvSpPr>
                <a:spLocks/>
              </p:cNvSpPr>
              <p:nvPr/>
            </p:nvSpPr>
            <p:spPr bwMode="auto">
              <a:xfrm>
                <a:off x="2517" y="750"/>
                <a:ext cx="1232" cy="957"/>
              </a:xfrm>
              <a:custGeom>
                <a:avLst/>
                <a:gdLst>
                  <a:gd name="T0" fmla="*/ 1215 w 1232"/>
                  <a:gd name="T1" fmla="*/ 366 h 957"/>
                  <a:gd name="T2" fmla="*/ 1211 w 1232"/>
                  <a:gd name="T3" fmla="*/ 446 h 957"/>
                  <a:gd name="T4" fmla="*/ 1206 w 1232"/>
                  <a:gd name="T5" fmla="*/ 524 h 957"/>
                  <a:gd name="T6" fmla="*/ 1201 w 1232"/>
                  <a:gd name="T7" fmla="*/ 603 h 957"/>
                  <a:gd name="T8" fmla="*/ 1196 w 1232"/>
                  <a:gd name="T9" fmla="*/ 681 h 957"/>
                  <a:gd name="T10" fmla="*/ 1192 w 1232"/>
                  <a:gd name="T11" fmla="*/ 761 h 957"/>
                  <a:gd name="T12" fmla="*/ 1185 w 1232"/>
                  <a:gd name="T13" fmla="*/ 839 h 957"/>
                  <a:gd name="T14" fmla="*/ 1180 w 1232"/>
                  <a:gd name="T15" fmla="*/ 917 h 957"/>
                  <a:gd name="T16" fmla="*/ 1137 w 1232"/>
                  <a:gd name="T17" fmla="*/ 955 h 957"/>
                  <a:gd name="T18" fmla="*/ 1055 w 1232"/>
                  <a:gd name="T19" fmla="*/ 948 h 957"/>
                  <a:gd name="T20" fmla="*/ 948 w 1232"/>
                  <a:gd name="T21" fmla="*/ 941 h 957"/>
                  <a:gd name="T22" fmla="*/ 821 w 1232"/>
                  <a:gd name="T23" fmla="*/ 929 h 957"/>
                  <a:gd name="T24" fmla="*/ 695 w 1232"/>
                  <a:gd name="T25" fmla="*/ 917 h 957"/>
                  <a:gd name="T26" fmla="*/ 568 w 1232"/>
                  <a:gd name="T27" fmla="*/ 905 h 957"/>
                  <a:gd name="T28" fmla="*/ 442 w 1232"/>
                  <a:gd name="T29" fmla="*/ 891 h 957"/>
                  <a:gd name="T30" fmla="*/ 315 w 1232"/>
                  <a:gd name="T31" fmla="*/ 874 h 957"/>
                  <a:gd name="T32" fmla="*/ 190 w 1232"/>
                  <a:gd name="T33" fmla="*/ 858 h 957"/>
                  <a:gd name="T34" fmla="*/ 62 w 1232"/>
                  <a:gd name="T35" fmla="*/ 841 h 957"/>
                  <a:gd name="T36" fmla="*/ 7 w 1232"/>
                  <a:gd name="T37" fmla="*/ 780 h 957"/>
                  <a:gd name="T38" fmla="*/ 22 w 1232"/>
                  <a:gd name="T39" fmla="*/ 676 h 957"/>
                  <a:gd name="T40" fmla="*/ 36 w 1232"/>
                  <a:gd name="T41" fmla="*/ 572 h 957"/>
                  <a:gd name="T42" fmla="*/ 52 w 1232"/>
                  <a:gd name="T43" fmla="*/ 468 h 957"/>
                  <a:gd name="T44" fmla="*/ 67 w 1232"/>
                  <a:gd name="T45" fmla="*/ 364 h 957"/>
                  <a:gd name="T46" fmla="*/ 83 w 1232"/>
                  <a:gd name="T47" fmla="*/ 260 h 957"/>
                  <a:gd name="T48" fmla="*/ 97 w 1232"/>
                  <a:gd name="T49" fmla="*/ 156 h 957"/>
                  <a:gd name="T50" fmla="*/ 111 w 1232"/>
                  <a:gd name="T51" fmla="*/ 52 h 957"/>
                  <a:gd name="T52" fmla="*/ 168 w 1232"/>
                  <a:gd name="T53" fmla="*/ 7 h 957"/>
                  <a:gd name="T54" fmla="*/ 268 w 1232"/>
                  <a:gd name="T55" fmla="*/ 21 h 957"/>
                  <a:gd name="T56" fmla="*/ 367 w 1232"/>
                  <a:gd name="T57" fmla="*/ 35 h 957"/>
                  <a:gd name="T58" fmla="*/ 466 w 1232"/>
                  <a:gd name="T59" fmla="*/ 47 h 957"/>
                  <a:gd name="T60" fmla="*/ 565 w 1232"/>
                  <a:gd name="T61" fmla="*/ 59 h 957"/>
                  <a:gd name="T62" fmla="*/ 665 w 1232"/>
                  <a:gd name="T63" fmla="*/ 68 h 957"/>
                  <a:gd name="T64" fmla="*/ 766 w 1232"/>
                  <a:gd name="T65" fmla="*/ 80 h 957"/>
                  <a:gd name="T66" fmla="*/ 866 w 1232"/>
                  <a:gd name="T67" fmla="*/ 89 h 957"/>
                  <a:gd name="T68" fmla="*/ 955 w 1232"/>
                  <a:gd name="T69" fmla="*/ 97 h 957"/>
                  <a:gd name="T70" fmla="*/ 1033 w 1232"/>
                  <a:gd name="T71" fmla="*/ 104 h 957"/>
                  <a:gd name="T72" fmla="*/ 1114 w 1232"/>
                  <a:gd name="T73" fmla="*/ 108 h 957"/>
                  <a:gd name="T74" fmla="*/ 1192 w 1232"/>
                  <a:gd name="T75" fmla="*/ 115 h 957"/>
                  <a:gd name="T76" fmla="*/ 1230 w 1232"/>
                  <a:gd name="T77" fmla="*/ 144 h 957"/>
                  <a:gd name="T78" fmla="*/ 1227 w 1232"/>
                  <a:gd name="T79" fmla="*/ 196 h 957"/>
                  <a:gd name="T80" fmla="*/ 1222 w 1232"/>
                  <a:gd name="T81" fmla="*/ 248 h 957"/>
                  <a:gd name="T82" fmla="*/ 1220 w 1232"/>
                  <a:gd name="T83" fmla="*/ 302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32" h="957">
                    <a:moveTo>
                      <a:pt x="1218" y="328"/>
                    </a:moveTo>
                    <a:lnTo>
                      <a:pt x="1215" y="366"/>
                    </a:lnTo>
                    <a:lnTo>
                      <a:pt x="1213" y="406"/>
                    </a:lnTo>
                    <a:lnTo>
                      <a:pt x="1211" y="446"/>
                    </a:lnTo>
                    <a:lnTo>
                      <a:pt x="1208" y="484"/>
                    </a:lnTo>
                    <a:lnTo>
                      <a:pt x="1206" y="524"/>
                    </a:lnTo>
                    <a:lnTo>
                      <a:pt x="1204" y="565"/>
                    </a:lnTo>
                    <a:lnTo>
                      <a:pt x="1201" y="603"/>
                    </a:lnTo>
                    <a:lnTo>
                      <a:pt x="1199" y="643"/>
                    </a:lnTo>
                    <a:lnTo>
                      <a:pt x="1196" y="681"/>
                    </a:lnTo>
                    <a:lnTo>
                      <a:pt x="1194" y="721"/>
                    </a:lnTo>
                    <a:lnTo>
                      <a:pt x="1192" y="761"/>
                    </a:lnTo>
                    <a:lnTo>
                      <a:pt x="1189" y="799"/>
                    </a:lnTo>
                    <a:lnTo>
                      <a:pt x="1185" y="839"/>
                    </a:lnTo>
                    <a:lnTo>
                      <a:pt x="1182" y="879"/>
                    </a:lnTo>
                    <a:lnTo>
                      <a:pt x="1180" y="917"/>
                    </a:lnTo>
                    <a:lnTo>
                      <a:pt x="1178" y="957"/>
                    </a:lnTo>
                    <a:lnTo>
                      <a:pt x="1137" y="955"/>
                    </a:lnTo>
                    <a:lnTo>
                      <a:pt x="1095" y="950"/>
                    </a:lnTo>
                    <a:lnTo>
                      <a:pt x="1055" y="948"/>
                    </a:lnTo>
                    <a:lnTo>
                      <a:pt x="1012" y="945"/>
                    </a:lnTo>
                    <a:lnTo>
                      <a:pt x="948" y="941"/>
                    </a:lnTo>
                    <a:lnTo>
                      <a:pt x="884" y="934"/>
                    </a:lnTo>
                    <a:lnTo>
                      <a:pt x="821" y="929"/>
                    </a:lnTo>
                    <a:lnTo>
                      <a:pt x="759" y="924"/>
                    </a:lnTo>
                    <a:lnTo>
                      <a:pt x="695" y="917"/>
                    </a:lnTo>
                    <a:lnTo>
                      <a:pt x="632" y="910"/>
                    </a:lnTo>
                    <a:lnTo>
                      <a:pt x="568" y="905"/>
                    </a:lnTo>
                    <a:lnTo>
                      <a:pt x="504" y="898"/>
                    </a:lnTo>
                    <a:lnTo>
                      <a:pt x="442" y="891"/>
                    </a:lnTo>
                    <a:lnTo>
                      <a:pt x="379" y="884"/>
                    </a:lnTo>
                    <a:lnTo>
                      <a:pt x="315" y="874"/>
                    </a:lnTo>
                    <a:lnTo>
                      <a:pt x="251" y="867"/>
                    </a:lnTo>
                    <a:lnTo>
                      <a:pt x="190" y="858"/>
                    </a:lnTo>
                    <a:lnTo>
                      <a:pt x="126" y="851"/>
                    </a:lnTo>
                    <a:lnTo>
                      <a:pt x="62" y="841"/>
                    </a:lnTo>
                    <a:lnTo>
                      <a:pt x="0" y="832"/>
                    </a:lnTo>
                    <a:lnTo>
                      <a:pt x="7" y="780"/>
                    </a:lnTo>
                    <a:lnTo>
                      <a:pt x="15" y="728"/>
                    </a:lnTo>
                    <a:lnTo>
                      <a:pt x="22" y="676"/>
                    </a:lnTo>
                    <a:lnTo>
                      <a:pt x="29" y="624"/>
                    </a:lnTo>
                    <a:lnTo>
                      <a:pt x="36" y="572"/>
                    </a:lnTo>
                    <a:lnTo>
                      <a:pt x="45" y="520"/>
                    </a:lnTo>
                    <a:lnTo>
                      <a:pt x="52" y="468"/>
                    </a:lnTo>
                    <a:lnTo>
                      <a:pt x="59" y="416"/>
                    </a:lnTo>
                    <a:lnTo>
                      <a:pt x="67" y="364"/>
                    </a:lnTo>
                    <a:lnTo>
                      <a:pt x="74" y="312"/>
                    </a:lnTo>
                    <a:lnTo>
                      <a:pt x="83" y="260"/>
                    </a:lnTo>
                    <a:lnTo>
                      <a:pt x="90" y="208"/>
                    </a:lnTo>
                    <a:lnTo>
                      <a:pt x="97" y="156"/>
                    </a:lnTo>
                    <a:lnTo>
                      <a:pt x="104" y="104"/>
                    </a:lnTo>
                    <a:lnTo>
                      <a:pt x="111" y="52"/>
                    </a:lnTo>
                    <a:lnTo>
                      <a:pt x="119" y="0"/>
                    </a:lnTo>
                    <a:lnTo>
                      <a:pt x="168" y="7"/>
                    </a:lnTo>
                    <a:lnTo>
                      <a:pt x="218" y="14"/>
                    </a:lnTo>
                    <a:lnTo>
                      <a:pt x="268" y="21"/>
                    </a:lnTo>
                    <a:lnTo>
                      <a:pt x="317" y="28"/>
                    </a:lnTo>
                    <a:lnTo>
                      <a:pt x="367" y="35"/>
                    </a:lnTo>
                    <a:lnTo>
                      <a:pt x="416" y="40"/>
                    </a:lnTo>
                    <a:lnTo>
                      <a:pt x="466" y="47"/>
                    </a:lnTo>
                    <a:lnTo>
                      <a:pt x="516" y="52"/>
                    </a:lnTo>
                    <a:lnTo>
                      <a:pt x="565" y="59"/>
                    </a:lnTo>
                    <a:lnTo>
                      <a:pt x="615" y="63"/>
                    </a:lnTo>
                    <a:lnTo>
                      <a:pt x="665" y="68"/>
                    </a:lnTo>
                    <a:lnTo>
                      <a:pt x="717" y="75"/>
                    </a:lnTo>
                    <a:lnTo>
                      <a:pt x="766" y="80"/>
                    </a:lnTo>
                    <a:lnTo>
                      <a:pt x="816" y="85"/>
                    </a:lnTo>
                    <a:lnTo>
                      <a:pt x="866" y="89"/>
                    </a:lnTo>
                    <a:lnTo>
                      <a:pt x="915" y="94"/>
                    </a:lnTo>
                    <a:lnTo>
                      <a:pt x="955" y="97"/>
                    </a:lnTo>
                    <a:lnTo>
                      <a:pt x="993" y="99"/>
                    </a:lnTo>
                    <a:lnTo>
                      <a:pt x="1033" y="104"/>
                    </a:lnTo>
                    <a:lnTo>
                      <a:pt x="1074" y="106"/>
                    </a:lnTo>
                    <a:lnTo>
                      <a:pt x="1114" y="108"/>
                    </a:lnTo>
                    <a:lnTo>
                      <a:pt x="1152" y="113"/>
                    </a:lnTo>
                    <a:lnTo>
                      <a:pt x="1192" y="115"/>
                    </a:lnTo>
                    <a:lnTo>
                      <a:pt x="1232" y="118"/>
                    </a:lnTo>
                    <a:lnTo>
                      <a:pt x="1230" y="144"/>
                    </a:lnTo>
                    <a:lnTo>
                      <a:pt x="1230" y="170"/>
                    </a:lnTo>
                    <a:lnTo>
                      <a:pt x="1227" y="196"/>
                    </a:lnTo>
                    <a:lnTo>
                      <a:pt x="1225" y="222"/>
                    </a:lnTo>
                    <a:lnTo>
                      <a:pt x="1222" y="248"/>
                    </a:lnTo>
                    <a:lnTo>
                      <a:pt x="1222" y="276"/>
                    </a:lnTo>
                    <a:lnTo>
                      <a:pt x="1220" y="302"/>
                    </a:lnTo>
                    <a:lnTo>
                      <a:pt x="1218" y="32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 name="Freeform 48">
                <a:extLst>
                  <a:ext uri="{FF2B5EF4-FFF2-40B4-BE49-F238E27FC236}">
                    <a16:creationId xmlns:a16="http://schemas.microsoft.com/office/drawing/2014/main" id="{AEECD526-3A27-73C3-4174-7D99B662CC1F}"/>
                  </a:ext>
                </a:extLst>
              </p:cNvPr>
              <p:cNvSpPr>
                <a:spLocks/>
              </p:cNvSpPr>
              <p:nvPr/>
            </p:nvSpPr>
            <p:spPr bwMode="auto">
              <a:xfrm>
                <a:off x="8205" y="182"/>
                <a:ext cx="290" cy="284"/>
              </a:xfrm>
              <a:custGeom>
                <a:avLst/>
                <a:gdLst>
                  <a:gd name="T0" fmla="*/ 257 w 290"/>
                  <a:gd name="T1" fmla="*/ 2 h 284"/>
                  <a:gd name="T2" fmla="*/ 260 w 290"/>
                  <a:gd name="T3" fmla="*/ 12 h 284"/>
                  <a:gd name="T4" fmla="*/ 264 w 290"/>
                  <a:gd name="T5" fmla="*/ 28 h 284"/>
                  <a:gd name="T6" fmla="*/ 267 w 290"/>
                  <a:gd name="T7" fmla="*/ 38 h 284"/>
                  <a:gd name="T8" fmla="*/ 272 w 290"/>
                  <a:gd name="T9" fmla="*/ 54 h 284"/>
                  <a:gd name="T10" fmla="*/ 276 w 290"/>
                  <a:gd name="T11" fmla="*/ 71 h 284"/>
                  <a:gd name="T12" fmla="*/ 281 w 290"/>
                  <a:gd name="T13" fmla="*/ 88 h 284"/>
                  <a:gd name="T14" fmla="*/ 286 w 290"/>
                  <a:gd name="T15" fmla="*/ 102 h 284"/>
                  <a:gd name="T16" fmla="*/ 288 w 290"/>
                  <a:gd name="T17" fmla="*/ 109 h 284"/>
                  <a:gd name="T18" fmla="*/ 290 w 290"/>
                  <a:gd name="T19" fmla="*/ 123 h 284"/>
                  <a:gd name="T20" fmla="*/ 288 w 290"/>
                  <a:gd name="T21" fmla="*/ 128 h 284"/>
                  <a:gd name="T22" fmla="*/ 288 w 290"/>
                  <a:gd name="T23" fmla="*/ 142 h 284"/>
                  <a:gd name="T24" fmla="*/ 274 w 290"/>
                  <a:gd name="T25" fmla="*/ 144 h 284"/>
                  <a:gd name="T26" fmla="*/ 253 w 290"/>
                  <a:gd name="T27" fmla="*/ 151 h 284"/>
                  <a:gd name="T28" fmla="*/ 227 w 290"/>
                  <a:gd name="T29" fmla="*/ 168 h 284"/>
                  <a:gd name="T30" fmla="*/ 210 w 290"/>
                  <a:gd name="T31" fmla="*/ 168 h 284"/>
                  <a:gd name="T32" fmla="*/ 194 w 290"/>
                  <a:gd name="T33" fmla="*/ 180 h 284"/>
                  <a:gd name="T34" fmla="*/ 139 w 290"/>
                  <a:gd name="T35" fmla="*/ 196 h 284"/>
                  <a:gd name="T36" fmla="*/ 125 w 290"/>
                  <a:gd name="T37" fmla="*/ 196 h 284"/>
                  <a:gd name="T38" fmla="*/ 113 w 290"/>
                  <a:gd name="T39" fmla="*/ 213 h 284"/>
                  <a:gd name="T40" fmla="*/ 92 w 290"/>
                  <a:gd name="T41" fmla="*/ 227 h 284"/>
                  <a:gd name="T42" fmla="*/ 37 w 290"/>
                  <a:gd name="T43" fmla="*/ 274 h 284"/>
                  <a:gd name="T44" fmla="*/ 33 w 290"/>
                  <a:gd name="T45" fmla="*/ 284 h 284"/>
                  <a:gd name="T46" fmla="*/ 21 w 290"/>
                  <a:gd name="T47" fmla="*/ 272 h 284"/>
                  <a:gd name="T48" fmla="*/ 11 w 290"/>
                  <a:gd name="T49" fmla="*/ 263 h 284"/>
                  <a:gd name="T50" fmla="*/ 23 w 290"/>
                  <a:gd name="T51" fmla="*/ 253 h 284"/>
                  <a:gd name="T52" fmla="*/ 30 w 290"/>
                  <a:gd name="T53" fmla="*/ 244 h 284"/>
                  <a:gd name="T54" fmla="*/ 37 w 290"/>
                  <a:gd name="T55" fmla="*/ 237 h 284"/>
                  <a:gd name="T56" fmla="*/ 42 w 290"/>
                  <a:gd name="T57" fmla="*/ 232 h 284"/>
                  <a:gd name="T58" fmla="*/ 35 w 290"/>
                  <a:gd name="T59" fmla="*/ 225 h 284"/>
                  <a:gd name="T60" fmla="*/ 30 w 290"/>
                  <a:gd name="T61" fmla="*/ 218 h 284"/>
                  <a:gd name="T62" fmla="*/ 26 w 290"/>
                  <a:gd name="T63" fmla="*/ 199 h 284"/>
                  <a:gd name="T64" fmla="*/ 23 w 290"/>
                  <a:gd name="T65" fmla="*/ 177 h 284"/>
                  <a:gd name="T66" fmla="*/ 19 w 290"/>
                  <a:gd name="T67" fmla="*/ 159 h 284"/>
                  <a:gd name="T68" fmla="*/ 14 w 290"/>
                  <a:gd name="T69" fmla="*/ 140 h 284"/>
                  <a:gd name="T70" fmla="*/ 11 w 290"/>
                  <a:gd name="T71" fmla="*/ 118 h 284"/>
                  <a:gd name="T72" fmla="*/ 7 w 290"/>
                  <a:gd name="T73" fmla="*/ 99 h 284"/>
                  <a:gd name="T74" fmla="*/ 4 w 290"/>
                  <a:gd name="T75" fmla="*/ 80 h 284"/>
                  <a:gd name="T76" fmla="*/ 0 w 290"/>
                  <a:gd name="T77" fmla="*/ 59 h 284"/>
                  <a:gd name="T78" fmla="*/ 14 w 290"/>
                  <a:gd name="T79" fmla="*/ 57 h 284"/>
                  <a:gd name="T80" fmla="*/ 26 w 290"/>
                  <a:gd name="T81" fmla="*/ 54 h 284"/>
                  <a:gd name="T82" fmla="*/ 40 w 290"/>
                  <a:gd name="T83" fmla="*/ 52 h 284"/>
                  <a:gd name="T84" fmla="*/ 52 w 290"/>
                  <a:gd name="T85" fmla="*/ 50 h 284"/>
                  <a:gd name="T86" fmla="*/ 66 w 290"/>
                  <a:gd name="T87" fmla="*/ 47 h 284"/>
                  <a:gd name="T88" fmla="*/ 78 w 290"/>
                  <a:gd name="T89" fmla="*/ 43 h 284"/>
                  <a:gd name="T90" fmla="*/ 92 w 290"/>
                  <a:gd name="T91" fmla="*/ 40 h 284"/>
                  <a:gd name="T92" fmla="*/ 104 w 290"/>
                  <a:gd name="T93" fmla="*/ 38 h 284"/>
                  <a:gd name="T94" fmla="*/ 106 w 290"/>
                  <a:gd name="T95" fmla="*/ 43 h 284"/>
                  <a:gd name="T96" fmla="*/ 111 w 290"/>
                  <a:gd name="T97" fmla="*/ 40 h 284"/>
                  <a:gd name="T98" fmla="*/ 111 w 290"/>
                  <a:gd name="T99" fmla="*/ 36 h 284"/>
                  <a:gd name="T100" fmla="*/ 130 w 290"/>
                  <a:gd name="T101" fmla="*/ 31 h 284"/>
                  <a:gd name="T102" fmla="*/ 149 w 290"/>
                  <a:gd name="T103" fmla="*/ 26 h 284"/>
                  <a:gd name="T104" fmla="*/ 165 w 290"/>
                  <a:gd name="T105" fmla="*/ 21 h 284"/>
                  <a:gd name="T106" fmla="*/ 184 w 290"/>
                  <a:gd name="T107" fmla="*/ 19 h 284"/>
                  <a:gd name="T108" fmla="*/ 203 w 290"/>
                  <a:gd name="T109" fmla="*/ 14 h 284"/>
                  <a:gd name="T110" fmla="*/ 220 w 290"/>
                  <a:gd name="T111" fmla="*/ 10 h 284"/>
                  <a:gd name="T112" fmla="*/ 238 w 290"/>
                  <a:gd name="T113" fmla="*/ 5 h 284"/>
                  <a:gd name="T114" fmla="*/ 257 w 290"/>
                  <a:gd name="T115" fmla="*/ 0 h 284"/>
                  <a:gd name="T116" fmla="*/ 257 w 290"/>
                  <a:gd name="T117"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 h="284">
                    <a:moveTo>
                      <a:pt x="257" y="2"/>
                    </a:moveTo>
                    <a:lnTo>
                      <a:pt x="260" y="12"/>
                    </a:lnTo>
                    <a:lnTo>
                      <a:pt x="264" y="28"/>
                    </a:lnTo>
                    <a:lnTo>
                      <a:pt x="267" y="38"/>
                    </a:lnTo>
                    <a:lnTo>
                      <a:pt x="272" y="54"/>
                    </a:lnTo>
                    <a:lnTo>
                      <a:pt x="276" y="71"/>
                    </a:lnTo>
                    <a:lnTo>
                      <a:pt x="281" y="88"/>
                    </a:lnTo>
                    <a:lnTo>
                      <a:pt x="286" y="102"/>
                    </a:lnTo>
                    <a:lnTo>
                      <a:pt x="288" y="109"/>
                    </a:lnTo>
                    <a:lnTo>
                      <a:pt x="290" y="123"/>
                    </a:lnTo>
                    <a:lnTo>
                      <a:pt x="288" y="128"/>
                    </a:lnTo>
                    <a:lnTo>
                      <a:pt x="288" y="142"/>
                    </a:lnTo>
                    <a:lnTo>
                      <a:pt x="274" y="144"/>
                    </a:lnTo>
                    <a:lnTo>
                      <a:pt x="253" y="151"/>
                    </a:lnTo>
                    <a:lnTo>
                      <a:pt x="227" y="168"/>
                    </a:lnTo>
                    <a:lnTo>
                      <a:pt x="210" y="168"/>
                    </a:lnTo>
                    <a:lnTo>
                      <a:pt x="194" y="180"/>
                    </a:lnTo>
                    <a:lnTo>
                      <a:pt x="139" y="196"/>
                    </a:lnTo>
                    <a:lnTo>
                      <a:pt x="125" y="196"/>
                    </a:lnTo>
                    <a:lnTo>
                      <a:pt x="113" y="213"/>
                    </a:lnTo>
                    <a:lnTo>
                      <a:pt x="92" y="227"/>
                    </a:lnTo>
                    <a:lnTo>
                      <a:pt x="37" y="274"/>
                    </a:lnTo>
                    <a:lnTo>
                      <a:pt x="33" y="284"/>
                    </a:lnTo>
                    <a:lnTo>
                      <a:pt x="21" y="272"/>
                    </a:lnTo>
                    <a:lnTo>
                      <a:pt x="11" y="263"/>
                    </a:lnTo>
                    <a:lnTo>
                      <a:pt x="23" y="253"/>
                    </a:lnTo>
                    <a:lnTo>
                      <a:pt x="30" y="244"/>
                    </a:lnTo>
                    <a:lnTo>
                      <a:pt x="37" y="237"/>
                    </a:lnTo>
                    <a:lnTo>
                      <a:pt x="42" y="232"/>
                    </a:lnTo>
                    <a:lnTo>
                      <a:pt x="35" y="225"/>
                    </a:lnTo>
                    <a:lnTo>
                      <a:pt x="30" y="218"/>
                    </a:lnTo>
                    <a:lnTo>
                      <a:pt x="26" y="199"/>
                    </a:lnTo>
                    <a:lnTo>
                      <a:pt x="23" y="177"/>
                    </a:lnTo>
                    <a:lnTo>
                      <a:pt x="19" y="159"/>
                    </a:lnTo>
                    <a:lnTo>
                      <a:pt x="14" y="140"/>
                    </a:lnTo>
                    <a:lnTo>
                      <a:pt x="11" y="118"/>
                    </a:lnTo>
                    <a:lnTo>
                      <a:pt x="7" y="99"/>
                    </a:lnTo>
                    <a:lnTo>
                      <a:pt x="4" y="80"/>
                    </a:lnTo>
                    <a:lnTo>
                      <a:pt x="0" y="59"/>
                    </a:lnTo>
                    <a:lnTo>
                      <a:pt x="14" y="57"/>
                    </a:lnTo>
                    <a:lnTo>
                      <a:pt x="26" y="54"/>
                    </a:lnTo>
                    <a:lnTo>
                      <a:pt x="40" y="52"/>
                    </a:lnTo>
                    <a:lnTo>
                      <a:pt x="52" y="50"/>
                    </a:lnTo>
                    <a:lnTo>
                      <a:pt x="66" y="47"/>
                    </a:lnTo>
                    <a:lnTo>
                      <a:pt x="78" y="43"/>
                    </a:lnTo>
                    <a:lnTo>
                      <a:pt x="92" y="40"/>
                    </a:lnTo>
                    <a:lnTo>
                      <a:pt x="104" y="38"/>
                    </a:lnTo>
                    <a:lnTo>
                      <a:pt x="106" y="43"/>
                    </a:lnTo>
                    <a:lnTo>
                      <a:pt x="111" y="40"/>
                    </a:lnTo>
                    <a:lnTo>
                      <a:pt x="111" y="36"/>
                    </a:lnTo>
                    <a:lnTo>
                      <a:pt x="130" y="31"/>
                    </a:lnTo>
                    <a:lnTo>
                      <a:pt x="149" y="26"/>
                    </a:lnTo>
                    <a:lnTo>
                      <a:pt x="165" y="21"/>
                    </a:lnTo>
                    <a:lnTo>
                      <a:pt x="184" y="19"/>
                    </a:lnTo>
                    <a:lnTo>
                      <a:pt x="203" y="14"/>
                    </a:lnTo>
                    <a:lnTo>
                      <a:pt x="220" y="10"/>
                    </a:lnTo>
                    <a:lnTo>
                      <a:pt x="238" y="5"/>
                    </a:lnTo>
                    <a:lnTo>
                      <a:pt x="257" y="0"/>
                    </a:lnTo>
                    <a:lnTo>
                      <a:pt x="257" y="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1" name="Freeform 49">
                <a:extLst>
                  <a:ext uri="{FF2B5EF4-FFF2-40B4-BE49-F238E27FC236}">
                    <a16:creationId xmlns:a16="http://schemas.microsoft.com/office/drawing/2014/main" id="{C7D897AF-88C4-F81B-418D-65ED9BD77CCA}"/>
                  </a:ext>
                </a:extLst>
              </p:cNvPr>
              <p:cNvSpPr>
                <a:spLocks/>
              </p:cNvSpPr>
              <p:nvPr/>
            </p:nvSpPr>
            <p:spPr bwMode="auto">
              <a:xfrm>
                <a:off x="7784" y="995"/>
                <a:ext cx="33" cy="41"/>
              </a:xfrm>
              <a:custGeom>
                <a:avLst/>
                <a:gdLst>
                  <a:gd name="T0" fmla="*/ 16 w 33"/>
                  <a:gd name="T1" fmla="*/ 24 h 41"/>
                  <a:gd name="T2" fmla="*/ 12 w 33"/>
                  <a:gd name="T3" fmla="*/ 19 h 41"/>
                  <a:gd name="T4" fmla="*/ 2 w 33"/>
                  <a:gd name="T5" fmla="*/ 17 h 41"/>
                  <a:gd name="T6" fmla="*/ 0 w 33"/>
                  <a:gd name="T7" fmla="*/ 17 h 41"/>
                  <a:gd name="T8" fmla="*/ 9 w 33"/>
                  <a:gd name="T9" fmla="*/ 0 h 41"/>
                  <a:gd name="T10" fmla="*/ 21 w 33"/>
                  <a:gd name="T11" fmla="*/ 10 h 41"/>
                  <a:gd name="T12" fmla="*/ 33 w 33"/>
                  <a:gd name="T13" fmla="*/ 22 h 41"/>
                  <a:gd name="T14" fmla="*/ 21 w 33"/>
                  <a:gd name="T15" fmla="*/ 41 h 41"/>
                  <a:gd name="T16" fmla="*/ 16 w 33"/>
                  <a:gd name="T1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16" y="24"/>
                    </a:moveTo>
                    <a:lnTo>
                      <a:pt x="12" y="19"/>
                    </a:lnTo>
                    <a:lnTo>
                      <a:pt x="2" y="17"/>
                    </a:lnTo>
                    <a:lnTo>
                      <a:pt x="0" y="17"/>
                    </a:lnTo>
                    <a:lnTo>
                      <a:pt x="9" y="0"/>
                    </a:lnTo>
                    <a:lnTo>
                      <a:pt x="21" y="10"/>
                    </a:lnTo>
                    <a:lnTo>
                      <a:pt x="33" y="22"/>
                    </a:lnTo>
                    <a:lnTo>
                      <a:pt x="21" y="41"/>
                    </a:lnTo>
                    <a:lnTo>
                      <a:pt x="16" y="2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2" name="Freeform 50">
                <a:extLst>
                  <a:ext uri="{FF2B5EF4-FFF2-40B4-BE49-F238E27FC236}">
                    <a16:creationId xmlns:a16="http://schemas.microsoft.com/office/drawing/2014/main" id="{02E0861D-0833-4C59-3B15-328D765EB9BE}"/>
                  </a:ext>
                </a:extLst>
              </p:cNvPr>
              <p:cNvSpPr>
                <a:spLocks/>
              </p:cNvSpPr>
              <p:nvPr/>
            </p:nvSpPr>
            <p:spPr bwMode="auto">
              <a:xfrm>
                <a:off x="7961" y="771"/>
                <a:ext cx="180" cy="291"/>
              </a:xfrm>
              <a:custGeom>
                <a:avLst/>
                <a:gdLst>
                  <a:gd name="T0" fmla="*/ 55 w 180"/>
                  <a:gd name="T1" fmla="*/ 2 h 291"/>
                  <a:gd name="T2" fmla="*/ 50 w 180"/>
                  <a:gd name="T3" fmla="*/ 9 h 291"/>
                  <a:gd name="T4" fmla="*/ 45 w 180"/>
                  <a:gd name="T5" fmla="*/ 26 h 291"/>
                  <a:gd name="T6" fmla="*/ 36 w 180"/>
                  <a:gd name="T7" fmla="*/ 42 h 291"/>
                  <a:gd name="T8" fmla="*/ 40 w 180"/>
                  <a:gd name="T9" fmla="*/ 54 h 291"/>
                  <a:gd name="T10" fmla="*/ 43 w 180"/>
                  <a:gd name="T11" fmla="*/ 61 h 291"/>
                  <a:gd name="T12" fmla="*/ 45 w 180"/>
                  <a:gd name="T13" fmla="*/ 76 h 291"/>
                  <a:gd name="T14" fmla="*/ 57 w 180"/>
                  <a:gd name="T15" fmla="*/ 90 h 291"/>
                  <a:gd name="T16" fmla="*/ 81 w 180"/>
                  <a:gd name="T17" fmla="*/ 111 h 291"/>
                  <a:gd name="T18" fmla="*/ 92 w 180"/>
                  <a:gd name="T19" fmla="*/ 149 h 291"/>
                  <a:gd name="T20" fmla="*/ 111 w 180"/>
                  <a:gd name="T21" fmla="*/ 172 h 291"/>
                  <a:gd name="T22" fmla="*/ 140 w 180"/>
                  <a:gd name="T23" fmla="*/ 196 h 291"/>
                  <a:gd name="T24" fmla="*/ 156 w 180"/>
                  <a:gd name="T25" fmla="*/ 201 h 291"/>
                  <a:gd name="T26" fmla="*/ 159 w 180"/>
                  <a:gd name="T27" fmla="*/ 213 h 291"/>
                  <a:gd name="T28" fmla="*/ 156 w 180"/>
                  <a:gd name="T29" fmla="*/ 234 h 291"/>
                  <a:gd name="T30" fmla="*/ 149 w 180"/>
                  <a:gd name="T31" fmla="*/ 243 h 291"/>
                  <a:gd name="T32" fmla="*/ 161 w 180"/>
                  <a:gd name="T33" fmla="*/ 239 h 291"/>
                  <a:gd name="T34" fmla="*/ 168 w 180"/>
                  <a:gd name="T35" fmla="*/ 241 h 291"/>
                  <a:gd name="T36" fmla="*/ 177 w 180"/>
                  <a:gd name="T37" fmla="*/ 255 h 291"/>
                  <a:gd name="T38" fmla="*/ 180 w 180"/>
                  <a:gd name="T39" fmla="*/ 267 h 291"/>
                  <a:gd name="T40" fmla="*/ 163 w 180"/>
                  <a:gd name="T41" fmla="*/ 269 h 291"/>
                  <a:gd name="T42" fmla="*/ 128 w 180"/>
                  <a:gd name="T43" fmla="*/ 279 h 291"/>
                  <a:gd name="T44" fmla="*/ 92 w 180"/>
                  <a:gd name="T45" fmla="*/ 286 h 291"/>
                  <a:gd name="T46" fmla="*/ 76 w 180"/>
                  <a:gd name="T47" fmla="*/ 291 h 291"/>
                  <a:gd name="T48" fmla="*/ 76 w 180"/>
                  <a:gd name="T49" fmla="*/ 291 h 291"/>
                  <a:gd name="T50" fmla="*/ 73 w 180"/>
                  <a:gd name="T51" fmla="*/ 291 h 291"/>
                  <a:gd name="T52" fmla="*/ 73 w 180"/>
                  <a:gd name="T53" fmla="*/ 291 h 291"/>
                  <a:gd name="T54" fmla="*/ 73 w 180"/>
                  <a:gd name="T55" fmla="*/ 291 h 291"/>
                  <a:gd name="T56" fmla="*/ 73 w 180"/>
                  <a:gd name="T57" fmla="*/ 291 h 291"/>
                  <a:gd name="T58" fmla="*/ 73 w 180"/>
                  <a:gd name="T59" fmla="*/ 291 h 291"/>
                  <a:gd name="T60" fmla="*/ 73 w 180"/>
                  <a:gd name="T61" fmla="*/ 291 h 291"/>
                  <a:gd name="T62" fmla="*/ 71 w 180"/>
                  <a:gd name="T63" fmla="*/ 291 h 291"/>
                  <a:gd name="T64" fmla="*/ 64 w 180"/>
                  <a:gd name="T65" fmla="*/ 258 h 291"/>
                  <a:gd name="T66" fmla="*/ 55 w 180"/>
                  <a:gd name="T67" fmla="*/ 227 h 291"/>
                  <a:gd name="T68" fmla="*/ 45 w 180"/>
                  <a:gd name="T69" fmla="*/ 194 h 291"/>
                  <a:gd name="T70" fmla="*/ 36 w 180"/>
                  <a:gd name="T71" fmla="*/ 163 h 291"/>
                  <a:gd name="T72" fmla="*/ 29 w 180"/>
                  <a:gd name="T73" fmla="*/ 130 h 291"/>
                  <a:gd name="T74" fmla="*/ 19 w 180"/>
                  <a:gd name="T75" fmla="*/ 99 h 291"/>
                  <a:gd name="T76" fmla="*/ 10 w 180"/>
                  <a:gd name="T77" fmla="*/ 66 h 291"/>
                  <a:gd name="T78" fmla="*/ 0 w 180"/>
                  <a:gd name="T79" fmla="*/ 33 h 291"/>
                  <a:gd name="T80" fmla="*/ 10 w 180"/>
                  <a:gd name="T81" fmla="*/ 14 h 291"/>
                  <a:gd name="T82" fmla="*/ 12 w 180"/>
                  <a:gd name="T83" fmla="*/ 9 h 291"/>
                  <a:gd name="T84" fmla="*/ 19 w 180"/>
                  <a:gd name="T85" fmla="*/ 5 h 291"/>
                  <a:gd name="T86" fmla="*/ 38 w 180"/>
                  <a:gd name="T87" fmla="*/ 0 h 291"/>
                  <a:gd name="T88" fmla="*/ 55 w 180"/>
                  <a:gd name="T89" fmla="*/ 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0" h="291">
                    <a:moveTo>
                      <a:pt x="55" y="2"/>
                    </a:moveTo>
                    <a:lnTo>
                      <a:pt x="50" y="9"/>
                    </a:lnTo>
                    <a:lnTo>
                      <a:pt x="45" y="26"/>
                    </a:lnTo>
                    <a:lnTo>
                      <a:pt x="36" y="42"/>
                    </a:lnTo>
                    <a:lnTo>
                      <a:pt x="40" y="54"/>
                    </a:lnTo>
                    <a:lnTo>
                      <a:pt x="43" y="61"/>
                    </a:lnTo>
                    <a:lnTo>
                      <a:pt x="45" y="76"/>
                    </a:lnTo>
                    <a:lnTo>
                      <a:pt x="57" y="90"/>
                    </a:lnTo>
                    <a:lnTo>
                      <a:pt x="81" y="111"/>
                    </a:lnTo>
                    <a:lnTo>
                      <a:pt x="92" y="149"/>
                    </a:lnTo>
                    <a:lnTo>
                      <a:pt x="111" y="172"/>
                    </a:lnTo>
                    <a:lnTo>
                      <a:pt x="140" y="196"/>
                    </a:lnTo>
                    <a:lnTo>
                      <a:pt x="156" y="201"/>
                    </a:lnTo>
                    <a:lnTo>
                      <a:pt x="159" y="213"/>
                    </a:lnTo>
                    <a:lnTo>
                      <a:pt x="156" y="234"/>
                    </a:lnTo>
                    <a:lnTo>
                      <a:pt x="149" y="243"/>
                    </a:lnTo>
                    <a:lnTo>
                      <a:pt x="161" y="239"/>
                    </a:lnTo>
                    <a:lnTo>
                      <a:pt x="168" y="241"/>
                    </a:lnTo>
                    <a:lnTo>
                      <a:pt x="177" y="255"/>
                    </a:lnTo>
                    <a:lnTo>
                      <a:pt x="180" y="267"/>
                    </a:lnTo>
                    <a:lnTo>
                      <a:pt x="163" y="269"/>
                    </a:lnTo>
                    <a:lnTo>
                      <a:pt x="128" y="279"/>
                    </a:lnTo>
                    <a:lnTo>
                      <a:pt x="92" y="286"/>
                    </a:lnTo>
                    <a:lnTo>
                      <a:pt x="76" y="291"/>
                    </a:lnTo>
                    <a:lnTo>
                      <a:pt x="76" y="291"/>
                    </a:lnTo>
                    <a:lnTo>
                      <a:pt x="73" y="291"/>
                    </a:lnTo>
                    <a:lnTo>
                      <a:pt x="73" y="291"/>
                    </a:lnTo>
                    <a:lnTo>
                      <a:pt x="73" y="291"/>
                    </a:lnTo>
                    <a:lnTo>
                      <a:pt x="73" y="291"/>
                    </a:lnTo>
                    <a:lnTo>
                      <a:pt x="73" y="291"/>
                    </a:lnTo>
                    <a:lnTo>
                      <a:pt x="73" y="291"/>
                    </a:lnTo>
                    <a:lnTo>
                      <a:pt x="71" y="291"/>
                    </a:lnTo>
                    <a:lnTo>
                      <a:pt x="64" y="258"/>
                    </a:lnTo>
                    <a:lnTo>
                      <a:pt x="55" y="227"/>
                    </a:lnTo>
                    <a:lnTo>
                      <a:pt x="45" y="194"/>
                    </a:lnTo>
                    <a:lnTo>
                      <a:pt x="36" y="163"/>
                    </a:lnTo>
                    <a:lnTo>
                      <a:pt x="29" y="130"/>
                    </a:lnTo>
                    <a:lnTo>
                      <a:pt x="19" y="99"/>
                    </a:lnTo>
                    <a:lnTo>
                      <a:pt x="10" y="66"/>
                    </a:lnTo>
                    <a:lnTo>
                      <a:pt x="0" y="33"/>
                    </a:lnTo>
                    <a:lnTo>
                      <a:pt x="10" y="14"/>
                    </a:lnTo>
                    <a:lnTo>
                      <a:pt x="12" y="9"/>
                    </a:lnTo>
                    <a:lnTo>
                      <a:pt x="19" y="5"/>
                    </a:lnTo>
                    <a:lnTo>
                      <a:pt x="38" y="0"/>
                    </a:lnTo>
                    <a:lnTo>
                      <a:pt x="55" y="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3" name="Freeform 51">
                <a:extLst>
                  <a:ext uri="{FF2B5EF4-FFF2-40B4-BE49-F238E27FC236}">
                    <a16:creationId xmlns:a16="http://schemas.microsoft.com/office/drawing/2014/main" id="{8BFDECFF-2740-10C9-390E-6F0E13BD982E}"/>
                  </a:ext>
                </a:extLst>
              </p:cNvPr>
              <p:cNvSpPr>
                <a:spLocks noEditPoints="1"/>
              </p:cNvSpPr>
              <p:nvPr/>
            </p:nvSpPr>
            <p:spPr bwMode="auto">
              <a:xfrm>
                <a:off x="6238" y="2845"/>
                <a:ext cx="1544" cy="1324"/>
              </a:xfrm>
              <a:custGeom>
                <a:avLst/>
                <a:gdLst>
                  <a:gd name="T0" fmla="*/ 1229 w 1544"/>
                  <a:gd name="T1" fmla="*/ 262 h 1324"/>
                  <a:gd name="T2" fmla="*/ 1369 w 1544"/>
                  <a:gd name="T3" fmla="*/ 494 h 1324"/>
                  <a:gd name="T4" fmla="*/ 1359 w 1544"/>
                  <a:gd name="T5" fmla="*/ 487 h 1324"/>
                  <a:gd name="T6" fmla="*/ 1333 w 1544"/>
                  <a:gd name="T7" fmla="*/ 458 h 1324"/>
                  <a:gd name="T8" fmla="*/ 1317 w 1544"/>
                  <a:gd name="T9" fmla="*/ 404 h 1324"/>
                  <a:gd name="T10" fmla="*/ 1350 w 1544"/>
                  <a:gd name="T11" fmla="*/ 498 h 1324"/>
                  <a:gd name="T12" fmla="*/ 1532 w 1544"/>
                  <a:gd name="T13" fmla="*/ 837 h 1324"/>
                  <a:gd name="T14" fmla="*/ 1529 w 1544"/>
                  <a:gd name="T15" fmla="*/ 1016 h 1324"/>
                  <a:gd name="T16" fmla="*/ 1451 w 1544"/>
                  <a:gd name="T17" fmla="*/ 1158 h 1324"/>
                  <a:gd name="T18" fmla="*/ 1369 w 1544"/>
                  <a:gd name="T19" fmla="*/ 1139 h 1324"/>
                  <a:gd name="T20" fmla="*/ 1371 w 1544"/>
                  <a:gd name="T21" fmla="*/ 1125 h 1324"/>
                  <a:gd name="T22" fmla="*/ 1210 w 1544"/>
                  <a:gd name="T23" fmla="*/ 983 h 1324"/>
                  <a:gd name="T24" fmla="*/ 1180 w 1544"/>
                  <a:gd name="T25" fmla="*/ 874 h 1324"/>
                  <a:gd name="T26" fmla="*/ 1137 w 1544"/>
                  <a:gd name="T27" fmla="*/ 832 h 1324"/>
                  <a:gd name="T28" fmla="*/ 1104 w 1544"/>
                  <a:gd name="T29" fmla="*/ 846 h 1324"/>
                  <a:gd name="T30" fmla="*/ 995 w 1544"/>
                  <a:gd name="T31" fmla="*/ 721 h 1324"/>
                  <a:gd name="T32" fmla="*/ 1042 w 1544"/>
                  <a:gd name="T33" fmla="*/ 636 h 1324"/>
                  <a:gd name="T34" fmla="*/ 988 w 1544"/>
                  <a:gd name="T35" fmla="*/ 621 h 1324"/>
                  <a:gd name="T36" fmla="*/ 988 w 1544"/>
                  <a:gd name="T37" fmla="*/ 671 h 1324"/>
                  <a:gd name="T38" fmla="*/ 974 w 1544"/>
                  <a:gd name="T39" fmla="*/ 513 h 1324"/>
                  <a:gd name="T40" fmla="*/ 740 w 1544"/>
                  <a:gd name="T41" fmla="*/ 236 h 1324"/>
                  <a:gd name="T42" fmla="*/ 615 w 1544"/>
                  <a:gd name="T43" fmla="*/ 255 h 1324"/>
                  <a:gd name="T44" fmla="*/ 501 w 1544"/>
                  <a:gd name="T45" fmla="*/ 309 h 1324"/>
                  <a:gd name="T46" fmla="*/ 433 w 1544"/>
                  <a:gd name="T47" fmla="*/ 305 h 1324"/>
                  <a:gd name="T48" fmla="*/ 371 w 1544"/>
                  <a:gd name="T49" fmla="*/ 238 h 1324"/>
                  <a:gd name="T50" fmla="*/ 366 w 1544"/>
                  <a:gd name="T51" fmla="*/ 205 h 1324"/>
                  <a:gd name="T52" fmla="*/ 274 w 1544"/>
                  <a:gd name="T53" fmla="*/ 205 h 1324"/>
                  <a:gd name="T54" fmla="*/ 255 w 1544"/>
                  <a:gd name="T55" fmla="*/ 172 h 1324"/>
                  <a:gd name="T56" fmla="*/ 128 w 1544"/>
                  <a:gd name="T57" fmla="*/ 212 h 1324"/>
                  <a:gd name="T58" fmla="*/ 118 w 1544"/>
                  <a:gd name="T59" fmla="*/ 170 h 1324"/>
                  <a:gd name="T60" fmla="*/ 76 w 1544"/>
                  <a:gd name="T61" fmla="*/ 212 h 1324"/>
                  <a:gd name="T62" fmla="*/ 33 w 1544"/>
                  <a:gd name="T63" fmla="*/ 219 h 1324"/>
                  <a:gd name="T64" fmla="*/ 40 w 1544"/>
                  <a:gd name="T65" fmla="*/ 156 h 1324"/>
                  <a:gd name="T66" fmla="*/ 118 w 1544"/>
                  <a:gd name="T67" fmla="*/ 78 h 1324"/>
                  <a:gd name="T68" fmla="*/ 470 w 1544"/>
                  <a:gd name="T69" fmla="*/ 40 h 1324"/>
                  <a:gd name="T70" fmla="*/ 577 w 1544"/>
                  <a:gd name="T71" fmla="*/ 92 h 1324"/>
                  <a:gd name="T72" fmla="*/ 752 w 1544"/>
                  <a:gd name="T73" fmla="*/ 80 h 1324"/>
                  <a:gd name="T74" fmla="*/ 927 w 1544"/>
                  <a:gd name="T75" fmla="*/ 68 h 1324"/>
                  <a:gd name="T76" fmla="*/ 1000 w 1544"/>
                  <a:gd name="T77" fmla="*/ 96 h 1324"/>
                  <a:gd name="T78" fmla="*/ 1019 w 1544"/>
                  <a:gd name="T79" fmla="*/ 37 h 1324"/>
                  <a:gd name="T80" fmla="*/ 1042 w 1544"/>
                  <a:gd name="T81" fmla="*/ 2 h 1324"/>
                  <a:gd name="T82" fmla="*/ 499 w 1544"/>
                  <a:gd name="T83" fmla="*/ 328 h 1324"/>
                  <a:gd name="T84" fmla="*/ 1480 w 1544"/>
                  <a:gd name="T85" fmla="*/ 690 h 1324"/>
                  <a:gd name="T86" fmla="*/ 1432 w 1544"/>
                  <a:gd name="T87" fmla="*/ 612 h 1324"/>
                  <a:gd name="T88" fmla="*/ 1135 w 1544"/>
                  <a:gd name="T89" fmla="*/ 881 h 1324"/>
                  <a:gd name="T90" fmla="*/ 1123 w 1544"/>
                  <a:gd name="T91" fmla="*/ 907 h 1324"/>
                  <a:gd name="T92" fmla="*/ 1492 w 1544"/>
                  <a:gd name="T93" fmla="*/ 1186 h 1324"/>
                  <a:gd name="T94" fmla="*/ 1532 w 1544"/>
                  <a:gd name="T95" fmla="*/ 1104 h 1324"/>
                  <a:gd name="T96" fmla="*/ 1482 w 1544"/>
                  <a:gd name="T97" fmla="*/ 1201 h 1324"/>
                  <a:gd name="T98" fmla="*/ 1454 w 1544"/>
                  <a:gd name="T99" fmla="*/ 1229 h 1324"/>
                  <a:gd name="T100" fmla="*/ 1399 w 1544"/>
                  <a:gd name="T101" fmla="*/ 1260 h 1324"/>
                  <a:gd name="T102" fmla="*/ 1345 w 1544"/>
                  <a:gd name="T103" fmla="*/ 1291 h 1324"/>
                  <a:gd name="T104" fmla="*/ 1352 w 1544"/>
                  <a:gd name="T105" fmla="*/ 1286 h 1324"/>
                  <a:gd name="T106" fmla="*/ 1317 w 1544"/>
                  <a:gd name="T107" fmla="*/ 1300 h 1324"/>
                  <a:gd name="T108" fmla="*/ 1276 w 1544"/>
                  <a:gd name="T109" fmla="*/ 1314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44" h="1324">
                    <a:moveTo>
                      <a:pt x="1113" y="7"/>
                    </a:moveTo>
                    <a:lnTo>
                      <a:pt x="1125" y="23"/>
                    </a:lnTo>
                    <a:lnTo>
                      <a:pt x="1151" y="99"/>
                    </a:lnTo>
                    <a:lnTo>
                      <a:pt x="1163" y="125"/>
                    </a:lnTo>
                    <a:lnTo>
                      <a:pt x="1191" y="196"/>
                    </a:lnTo>
                    <a:lnTo>
                      <a:pt x="1229" y="262"/>
                    </a:lnTo>
                    <a:lnTo>
                      <a:pt x="1281" y="340"/>
                    </a:lnTo>
                    <a:lnTo>
                      <a:pt x="1362" y="435"/>
                    </a:lnTo>
                    <a:lnTo>
                      <a:pt x="1371" y="449"/>
                    </a:lnTo>
                    <a:lnTo>
                      <a:pt x="1366" y="461"/>
                    </a:lnTo>
                    <a:lnTo>
                      <a:pt x="1366" y="475"/>
                    </a:lnTo>
                    <a:lnTo>
                      <a:pt x="1369" y="494"/>
                    </a:lnTo>
                    <a:lnTo>
                      <a:pt x="1373" y="513"/>
                    </a:lnTo>
                    <a:lnTo>
                      <a:pt x="1385" y="536"/>
                    </a:lnTo>
                    <a:lnTo>
                      <a:pt x="1406" y="569"/>
                    </a:lnTo>
                    <a:lnTo>
                      <a:pt x="1397" y="562"/>
                    </a:lnTo>
                    <a:lnTo>
                      <a:pt x="1366" y="515"/>
                    </a:lnTo>
                    <a:lnTo>
                      <a:pt x="1359" y="487"/>
                    </a:lnTo>
                    <a:lnTo>
                      <a:pt x="1354" y="442"/>
                    </a:lnTo>
                    <a:lnTo>
                      <a:pt x="1350" y="444"/>
                    </a:lnTo>
                    <a:lnTo>
                      <a:pt x="1350" y="458"/>
                    </a:lnTo>
                    <a:lnTo>
                      <a:pt x="1350" y="475"/>
                    </a:lnTo>
                    <a:lnTo>
                      <a:pt x="1345" y="482"/>
                    </a:lnTo>
                    <a:lnTo>
                      <a:pt x="1333" y="458"/>
                    </a:lnTo>
                    <a:lnTo>
                      <a:pt x="1333" y="449"/>
                    </a:lnTo>
                    <a:lnTo>
                      <a:pt x="1338" y="435"/>
                    </a:lnTo>
                    <a:lnTo>
                      <a:pt x="1336" y="430"/>
                    </a:lnTo>
                    <a:lnTo>
                      <a:pt x="1321" y="425"/>
                    </a:lnTo>
                    <a:lnTo>
                      <a:pt x="1317" y="413"/>
                    </a:lnTo>
                    <a:lnTo>
                      <a:pt x="1317" y="404"/>
                    </a:lnTo>
                    <a:lnTo>
                      <a:pt x="1310" y="399"/>
                    </a:lnTo>
                    <a:lnTo>
                      <a:pt x="1305" y="401"/>
                    </a:lnTo>
                    <a:lnTo>
                      <a:pt x="1312" y="425"/>
                    </a:lnTo>
                    <a:lnTo>
                      <a:pt x="1319" y="439"/>
                    </a:lnTo>
                    <a:lnTo>
                      <a:pt x="1333" y="477"/>
                    </a:lnTo>
                    <a:lnTo>
                      <a:pt x="1350" y="498"/>
                    </a:lnTo>
                    <a:lnTo>
                      <a:pt x="1359" y="515"/>
                    </a:lnTo>
                    <a:lnTo>
                      <a:pt x="1475" y="706"/>
                    </a:lnTo>
                    <a:lnTo>
                      <a:pt x="1499" y="730"/>
                    </a:lnTo>
                    <a:lnTo>
                      <a:pt x="1508" y="747"/>
                    </a:lnTo>
                    <a:lnTo>
                      <a:pt x="1522" y="787"/>
                    </a:lnTo>
                    <a:lnTo>
                      <a:pt x="1532" y="837"/>
                    </a:lnTo>
                    <a:lnTo>
                      <a:pt x="1536" y="931"/>
                    </a:lnTo>
                    <a:lnTo>
                      <a:pt x="1544" y="995"/>
                    </a:lnTo>
                    <a:lnTo>
                      <a:pt x="1541" y="993"/>
                    </a:lnTo>
                    <a:lnTo>
                      <a:pt x="1539" y="985"/>
                    </a:lnTo>
                    <a:lnTo>
                      <a:pt x="1536" y="985"/>
                    </a:lnTo>
                    <a:lnTo>
                      <a:pt x="1529" y="1016"/>
                    </a:lnTo>
                    <a:lnTo>
                      <a:pt x="1518" y="1047"/>
                    </a:lnTo>
                    <a:lnTo>
                      <a:pt x="1520" y="1087"/>
                    </a:lnTo>
                    <a:lnTo>
                      <a:pt x="1518" y="1108"/>
                    </a:lnTo>
                    <a:lnTo>
                      <a:pt x="1496" y="1134"/>
                    </a:lnTo>
                    <a:lnTo>
                      <a:pt x="1482" y="1137"/>
                    </a:lnTo>
                    <a:lnTo>
                      <a:pt x="1451" y="1158"/>
                    </a:lnTo>
                    <a:lnTo>
                      <a:pt x="1425" y="1158"/>
                    </a:lnTo>
                    <a:lnTo>
                      <a:pt x="1399" y="1172"/>
                    </a:lnTo>
                    <a:lnTo>
                      <a:pt x="1380" y="1175"/>
                    </a:lnTo>
                    <a:lnTo>
                      <a:pt x="1366" y="1158"/>
                    </a:lnTo>
                    <a:lnTo>
                      <a:pt x="1366" y="1149"/>
                    </a:lnTo>
                    <a:lnTo>
                      <a:pt x="1369" y="1139"/>
                    </a:lnTo>
                    <a:lnTo>
                      <a:pt x="1376" y="1134"/>
                    </a:lnTo>
                    <a:lnTo>
                      <a:pt x="1404" y="1151"/>
                    </a:lnTo>
                    <a:lnTo>
                      <a:pt x="1409" y="1142"/>
                    </a:lnTo>
                    <a:lnTo>
                      <a:pt x="1399" y="1134"/>
                    </a:lnTo>
                    <a:lnTo>
                      <a:pt x="1383" y="1130"/>
                    </a:lnTo>
                    <a:lnTo>
                      <a:pt x="1371" y="1125"/>
                    </a:lnTo>
                    <a:lnTo>
                      <a:pt x="1343" y="1082"/>
                    </a:lnTo>
                    <a:lnTo>
                      <a:pt x="1314" y="1056"/>
                    </a:lnTo>
                    <a:lnTo>
                      <a:pt x="1307" y="1035"/>
                    </a:lnTo>
                    <a:lnTo>
                      <a:pt x="1265" y="1028"/>
                    </a:lnTo>
                    <a:lnTo>
                      <a:pt x="1234" y="1014"/>
                    </a:lnTo>
                    <a:lnTo>
                      <a:pt x="1210" y="983"/>
                    </a:lnTo>
                    <a:lnTo>
                      <a:pt x="1189" y="922"/>
                    </a:lnTo>
                    <a:lnTo>
                      <a:pt x="1177" y="917"/>
                    </a:lnTo>
                    <a:lnTo>
                      <a:pt x="1170" y="915"/>
                    </a:lnTo>
                    <a:lnTo>
                      <a:pt x="1180" y="889"/>
                    </a:lnTo>
                    <a:lnTo>
                      <a:pt x="1189" y="867"/>
                    </a:lnTo>
                    <a:lnTo>
                      <a:pt x="1180" y="874"/>
                    </a:lnTo>
                    <a:lnTo>
                      <a:pt x="1172" y="881"/>
                    </a:lnTo>
                    <a:lnTo>
                      <a:pt x="1165" y="900"/>
                    </a:lnTo>
                    <a:lnTo>
                      <a:pt x="1161" y="905"/>
                    </a:lnTo>
                    <a:lnTo>
                      <a:pt x="1154" y="903"/>
                    </a:lnTo>
                    <a:lnTo>
                      <a:pt x="1142" y="872"/>
                    </a:lnTo>
                    <a:lnTo>
                      <a:pt x="1137" y="832"/>
                    </a:lnTo>
                    <a:lnTo>
                      <a:pt x="1144" y="815"/>
                    </a:lnTo>
                    <a:lnTo>
                      <a:pt x="1130" y="818"/>
                    </a:lnTo>
                    <a:lnTo>
                      <a:pt x="1113" y="825"/>
                    </a:lnTo>
                    <a:lnTo>
                      <a:pt x="1118" y="839"/>
                    </a:lnTo>
                    <a:lnTo>
                      <a:pt x="1116" y="846"/>
                    </a:lnTo>
                    <a:lnTo>
                      <a:pt x="1104" y="846"/>
                    </a:lnTo>
                    <a:lnTo>
                      <a:pt x="1094" y="844"/>
                    </a:lnTo>
                    <a:lnTo>
                      <a:pt x="1080" y="832"/>
                    </a:lnTo>
                    <a:lnTo>
                      <a:pt x="1061" y="808"/>
                    </a:lnTo>
                    <a:lnTo>
                      <a:pt x="1016" y="740"/>
                    </a:lnTo>
                    <a:lnTo>
                      <a:pt x="1007" y="730"/>
                    </a:lnTo>
                    <a:lnTo>
                      <a:pt x="995" y="721"/>
                    </a:lnTo>
                    <a:lnTo>
                      <a:pt x="1000" y="718"/>
                    </a:lnTo>
                    <a:lnTo>
                      <a:pt x="1009" y="714"/>
                    </a:lnTo>
                    <a:lnTo>
                      <a:pt x="1026" y="678"/>
                    </a:lnTo>
                    <a:lnTo>
                      <a:pt x="1040" y="657"/>
                    </a:lnTo>
                    <a:lnTo>
                      <a:pt x="1042" y="643"/>
                    </a:lnTo>
                    <a:lnTo>
                      <a:pt x="1042" y="636"/>
                    </a:lnTo>
                    <a:lnTo>
                      <a:pt x="1033" y="628"/>
                    </a:lnTo>
                    <a:lnTo>
                      <a:pt x="1024" y="638"/>
                    </a:lnTo>
                    <a:lnTo>
                      <a:pt x="1019" y="636"/>
                    </a:lnTo>
                    <a:lnTo>
                      <a:pt x="1005" y="621"/>
                    </a:lnTo>
                    <a:lnTo>
                      <a:pt x="995" y="617"/>
                    </a:lnTo>
                    <a:lnTo>
                      <a:pt x="988" y="621"/>
                    </a:lnTo>
                    <a:lnTo>
                      <a:pt x="998" y="636"/>
                    </a:lnTo>
                    <a:lnTo>
                      <a:pt x="1005" y="640"/>
                    </a:lnTo>
                    <a:lnTo>
                      <a:pt x="1005" y="659"/>
                    </a:lnTo>
                    <a:lnTo>
                      <a:pt x="1005" y="666"/>
                    </a:lnTo>
                    <a:lnTo>
                      <a:pt x="998" y="673"/>
                    </a:lnTo>
                    <a:lnTo>
                      <a:pt x="988" y="671"/>
                    </a:lnTo>
                    <a:lnTo>
                      <a:pt x="983" y="678"/>
                    </a:lnTo>
                    <a:lnTo>
                      <a:pt x="976" y="673"/>
                    </a:lnTo>
                    <a:lnTo>
                      <a:pt x="969" y="666"/>
                    </a:lnTo>
                    <a:lnTo>
                      <a:pt x="960" y="652"/>
                    </a:lnTo>
                    <a:lnTo>
                      <a:pt x="964" y="567"/>
                    </a:lnTo>
                    <a:lnTo>
                      <a:pt x="974" y="513"/>
                    </a:lnTo>
                    <a:lnTo>
                      <a:pt x="967" y="451"/>
                    </a:lnTo>
                    <a:lnTo>
                      <a:pt x="967" y="442"/>
                    </a:lnTo>
                    <a:lnTo>
                      <a:pt x="962" y="427"/>
                    </a:lnTo>
                    <a:lnTo>
                      <a:pt x="936" y="394"/>
                    </a:lnTo>
                    <a:lnTo>
                      <a:pt x="827" y="326"/>
                    </a:lnTo>
                    <a:lnTo>
                      <a:pt x="740" y="236"/>
                    </a:lnTo>
                    <a:lnTo>
                      <a:pt x="671" y="205"/>
                    </a:lnTo>
                    <a:lnTo>
                      <a:pt x="624" y="222"/>
                    </a:lnTo>
                    <a:lnTo>
                      <a:pt x="615" y="229"/>
                    </a:lnTo>
                    <a:lnTo>
                      <a:pt x="612" y="241"/>
                    </a:lnTo>
                    <a:lnTo>
                      <a:pt x="617" y="250"/>
                    </a:lnTo>
                    <a:lnTo>
                      <a:pt x="615" y="255"/>
                    </a:lnTo>
                    <a:lnTo>
                      <a:pt x="600" y="257"/>
                    </a:lnTo>
                    <a:lnTo>
                      <a:pt x="584" y="262"/>
                    </a:lnTo>
                    <a:lnTo>
                      <a:pt x="541" y="293"/>
                    </a:lnTo>
                    <a:lnTo>
                      <a:pt x="525" y="295"/>
                    </a:lnTo>
                    <a:lnTo>
                      <a:pt x="511" y="305"/>
                    </a:lnTo>
                    <a:lnTo>
                      <a:pt x="501" y="309"/>
                    </a:lnTo>
                    <a:lnTo>
                      <a:pt x="470" y="316"/>
                    </a:lnTo>
                    <a:lnTo>
                      <a:pt x="447" y="326"/>
                    </a:lnTo>
                    <a:lnTo>
                      <a:pt x="437" y="323"/>
                    </a:lnTo>
                    <a:lnTo>
                      <a:pt x="428" y="309"/>
                    </a:lnTo>
                    <a:lnTo>
                      <a:pt x="425" y="293"/>
                    </a:lnTo>
                    <a:lnTo>
                      <a:pt x="433" y="305"/>
                    </a:lnTo>
                    <a:lnTo>
                      <a:pt x="442" y="312"/>
                    </a:lnTo>
                    <a:lnTo>
                      <a:pt x="447" y="309"/>
                    </a:lnTo>
                    <a:lnTo>
                      <a:pt x="447" y="300"/>
                    </a:lnTo>
                    <a:lnTo>
                      <a:pt x="437" y="283"/>
                    </a:lnTo>
                    <a:lnTo>
                      <a:pt x="407" y="267"/>
                    </a:lnTo>
                    <a:lnTo>
                      <a:pt x="371" y="238"/>
                    </a:lnTo>
                    <a:lnTo>
                      <a:pt x="381" y="238"/>
                    </a:lnTo>
                    <a:lnTo>
                      <a:pt x="383" y="231"/>
                    </a:lnTo>
                    <a:lnTo>
                      <a:pt x="371" y="224"/>
                    </a:lnTo>
                    <a:lnTo>
                      <a:pt x="373" y="215"/>
                    </a:lnTo>
                    <a:lnTo>
                      <a:pt x="381" y="203"/>
                    </a:lnTo>
                    <a:lnTo>
                      <a:pt x="366" y="205"/>
                    </a:lnTo>
                    <a:lnTo>
                      <a:pt x="357" y="215"/>
                    </a:lnTo>
                    <a:lnTo>
                      <a:pt x="357" y="224"/>
                    </a:lnTo>
                    <a:lnTo>
                      <a:pt x="355" y="231"/>
                    </a:lnTo>
                    <a:lnTo>
                      <a:pt x="350" y="231"/>
                    </a:lnTo>
                    <a:lnTo>
                      <a:pt x="336" y="224"/>
                    </a:lnTo>
                    <a:lnTo>
                      <a:pt x="274" y="205"/>
                    </a:lnTo>
                    <a:lnTo>
                      <a:pt x="222" y="196"/>
                    </a:lnTo>
                    <a:lnTo>
                      <a:pt x="260" y="186"/>
                    </a:lnTo>
                    <a:lnTo>
                      <a:pt x="281" y="189"/>
                    </a:lnTo>
                    <a:lnTo>
                      <a:pt x="279" y="182"/>
                    </a:lnTo>
                    <a:lnTo>
                      <a:pt x="274" y="177"/>
                    </a:lnTo>
                    <a:lnTo>
                      <a:pt x="255" y="172"/>
                    </a:lnTo>
                    <a:lnTo>
                      <a:pt x="234" y="177"/>
                    </a:lnTo>
                    <a:lnTo>
                      <a:pt x="220" y="177"/>
                    </a:lnTo>
                    <a:lnTo>
                      <a:pt x="208" y="184"/>
                    </a:lnTo>
                    <a:lnTo>
                      <a:pt x="194" y="193"/>
                    </a:lnTo>
                    <a:lnTo>
                      <a:pt x="180" y="200"/>
                    </a:lnTo>
                    <a:lnTo>
                      <a:pt x="128" y="212"/>
                    </a:lnTo>
                    <a:lnTo>
                      <a:pt x="87" y="222"/>
                    </a:lnTo>
                    <a:lnTo>
                      <a:pt x="92" y="215"/>
                    </a:lnTo>
                    <a:lnTo>
                      <a:pt x="99" y="210"/>
                    </a:lnTo>
                    <a:lnTo>
                      <a:pt x="123" y="200"/>
                    </a:lnTo>
                    <a:lnTo>
                      <a:pt x="125" y="184"/>
                    </a:lnTo>
                    <a:lnTo>
                      <a:pt x="118" y="170"/>
                    </a:lnTo>
                    <a:lnTo>
                      <a:pt x="113" y="174"/>
                    </a:lnTo>
                    <a:lnTo>
                      <a:pt x="106" y="186"/>
                    </a:lnTo>
                    <a:lnTo>
                      <a:pt x="97" y="179"/>
                    </a:lnTo>
                    <a:lnTo>
                      <a:pt x="87" y="179"/>
                    </a:lnTo>
                    <a:lnTo>
                      <a:pt x="87" y="198"/>
                    </a:lnTo>
                    <a:lnTo>
                      <a:pt x="76" y="212"/>
                    </a:lnTo>
                    <a:lnTo>
                      <a:pt x="71" y="224"/>
                    </a:lnTo>
                    <a:lnTo>
                      <a:pt x="38" y="238"/>
                    </a:lnTo>
                    <a:lnTo>
                      <a:pt x="33" y="234"/>
                    </a:lnTo>
                    <a:lnTo>
                      <a:pt x="43" y="222"/>
                    </a:lnTo>
                    <a:lnTo>
                      <a:pt x="40" y="215"/>
                    </a:lnTo>
                    <a:lnTo>
                      <a:pt x="33" y="219"/>
                    </a:lnTo>
                    <a:lnTo>
                      <a:pt x="33" y="212"/>
                    </a:lnTo>
                    <a:lnTo>
                      <a:pt x="40" y="205"/>
                    </a:lnTo>
                    <a:lnTo>
                      <a:pt x="43" y="198"/>
                    </a:lnTo>
                    <a:lnTo>
                      <a:pt x="40" y="184"/>
                    </a:lnTo>
                    <a:lnTo>
                      <a:pt x="43" y="163"/>
                    </a:lnTo>
                    <a:lnTo>
                      <a:pt x="40" y="156"/>
                    </a:lnTo>
                    <a:lnTo>
                      <a:pt x="9" y="132"/>
                    </a:lnTo>
                    <a:lnTo>
                      <a:pt x="2" y="120"/>
                    </a:lnTo>
                    <a:lnTo>
                      <a:pt x="0" y="106"/>
                    </a:lnTo>
                    <a:lnTo>
                      <a:pt x="2" y="89"/>
                    </a:lnTo>
                    <a:lnTo>
                      <a:pt x="59" y="85"/>
                    </a:lnTo>
                    <a:lnTo>
                      <a:pt x="118" y="78"/>
                    </a:lnTo>
                    <a:lnTo>
                      <a:pt x="177" y="73"/>
                    </a:lnTo>
                    <a:lnTo>
                      <a:pt x="236" y="66"/>
                    </a:lnTo>
                    <a:lnTo>
                      <a:pt x="295" y="61"/>
                    </a:lnTo>
                    <a:lnTo>
                      <a:pt x="355" y="54"/>
                    </a:lnTo>
                    <a:lnTo>
                      <a:pt x="411" y="47"/>
                    </a:lnTo>
                    <a:lnTo>
                      <a:pt x="470" y="40"/>
                    </a:lnTo>
                    <a:lnTo>
                      <a:pt x="480" y="56"/>
                    </a:lnTo>
                    <a:lnTo>
                      <a:pt x="499" y="87"/>
                    </a:lnTo>
                    <a:lnTo>
                      <a:pt x="501" y="96"/>
                    </a:lnTo>
                    <a:lnTo>
                      <a:pt x="518" y="94"/>
                    </a:lnTo>
                    <a:lnTo>
                      <a:pt x="546" y="94"/>
                    </a:lnTo>
                    <a:lnTo>
                      <a:pt x="577" y="92"/>
                    </a:lnTo>
                    <a:lnTo>
                      <a:pt x="605" y="89"/>
                    </a:lnTo>
                    <a:lnTo>
                      <a:pt x="634" y="87"/>
                    </a:lnTo>
                    <a:lnTo>
                      <a:pt x="664" y="87"/>
                    </a:lnTo>
                    <a:lnTo>
                      <a:pt x="693" y="85"/>
                    </a:lnTo>
                    <a:lnTo>
                      <a:pt x="721" y="82"/>
                    </a:lnTo>
                    <a:lnTo>
                      <a:pt x="752" y="80"/>
                    </a:lnTo>
                    <a:lnTo>
                      <a:pt x="780" y="78"/>
                    </a:lnTo>
                    <a:lnTo>
                      <a:pt x="811" y="75"/>
                    </a:lnTo>
                    <a:lnTo>
                      <a:pt x="839" y="73"/>
                    </a:lnTo>
                    <a:lnTo>
                      <a:pt x="868" y="73"/>
                    </a:lnTo>
                    <a:lnTo>
                      <a:pt x="898" y="70"/>
                    </a:lnTo>
                    <a:lnTo>
                      <a:pt x="927" y="68"/>
                    </a:lnTo>
                    <a:lnTo>
                      <a:pt x="955" y="66"/>
                    </a:lnTo>
                    <a:lnTo>
                      <a:pt x="986" y="63"/>
                    </a:lnTo>
                    <a:lnTo>
                      <a:pt x="986" y="68"/>
                    </a:lnTo>
                    <a:lnTo>
                      <a:pt x="993" y="80"/>
                    </a:lnTo>
                    <a:lnTo>
                      <a:pt x="995" y="92"/>
                    </a:lnTo>
                    <a:lnTo>
                      <a:pt x="1000" y="96"/>
                    </a:lnTo>
                    <a:lnTo>
                      <a:pt x="1005" y="99"/>
                    </a:lnTo>
                    <a:lnTo>
                      <a:pt x="1014" y="99"/>
                    </a:lnTo>
                    <a:lnTo>
                      <a:pt x="1024" y="92"/>
                    </a:lnTo>
                    <a:lnTo>
                      <a:pt x="1026" y="75"/>
                    </a:lnTo>
                    <a:lnTo>
                      <a:pt x="1026" y="56"/>
                    </a:lnTo>
                    <a:lnTo>
                      <a:pt x="1019" y="37"/>
                    </a:lnTo>
                    <a:lnTo>
                      <a:pt x="1016" y="21"/>
                    </a:lnTo>
                    <a:lnTo>
                      <a:pt x="1019" y="11"/>
                    </a:lnTo>
                    <a:lnTo>
                      <a:pt x="1024" y="9"/>
                    </a:lnTo>
                    <a:lnTo>
                      <a:pt x="1028" y="2"/>
                    </a:lnTo>
                    <a:lnTo>
                      <a:pt x="1033" y="0"/>
                    </a:lnTo>
                    <a:lnTo>
                      <a:pt x="1042" y="2"/>
                    </a:lnTo>
                    <a:lnTo>
                      <a:pt x="1083" y="9"/>
                    </a:lnTo>
                    <a:lnTo>
                      <a:pt x="1113" y="7"/>
                    </a:lnTo>
                    <a:close/>
                    <a:moveTo>
                      <a:pt x="525" y="323"/>
                    </a:moveTo>
                    <a:lnTo>
                      <a:pt x="508" y="333"/>
                    </a:lnTo>
                    <a:lnTo>
                      <a:pt x="487" y="331"/>
                    </a:lnTo>
                    <a:lnTo>
                      <a:pt x="499" y="328"/>
                    </a:lnTo>
                    <a:lnTo>
                      <a:pt x="508" y="328"/>
                    </a:lnTo>
                    <a:lnTo>
                      <a:pt x="529" y="316"/>
                    </a:lnTo>
                    <a:lnTo>
                      <a:pt x="541" y="305"/>
                    </a:lnTo>
                    <a:lnTo>
                      <a:pt x="553" y="300"/>
                    </a:lnTo>
                    <a:lnTo>
                      <a:pt x="525" y="323"/>
                    </a:lnTo>
                    <a:close/>
                    <a:moveTo>
                      <a:pt x="1480" y="690"/>
                    </a:moveTo>
                    <a:lnTo>
                      <a:pt x="1484" y="706"/>
                    </a:lnTo>
                    <a:lnTo>
                      <a:pt x="1461" y="673"/>
                    </a:lnTo>
                    <a:lnTo>
                      <a:pt x="1430" y="619"/>
                    </a:lnTo>
                    <a:lnTo>
                      <a:pt x="1411" y="579"/>
                    </a:lnTo>
                    <a:lnTo>
                      <a:pt x="1421" y="588"/>
                    </a:lnTo>
                    <a:lnTo>
                      <a:pt x="1432" y="612"/>
                    </a:lnTo>
                    <a:lnTo>
                      <a:pt x="1480" y="690"/>
                    </a:lnTo>
                    <a:close/>
                    <a:moveTo>
                      <a:pt x="1144" y="903"/>
                    </a:moveTo>
                    <a:lnTo>
                      <a:pt x="1146" y="917"/>
                    </a:lnTo>
                    <a:lnTo>
                      <a:pt x="1132" y="898"/>
                    </a:lnTo>
                    <a:lnTo>
                      <a:pt x="1123" y="874"/>
                    </a:lnTo>
                    <a:lnTo>
                      <a:pt x="1135" y="881"/>
                    </a:lnTo>
                    <a:lnTo>
                      <a:pt x="1144" y="903"/>
                    </a:lnTo>
                    <a:close/>
                    <a:moveTo>
                      <a:pt x="1156" y="924"/>
                    </a:moveTo>
                    <a:lnTo>
                      <a:pt x="1151" y="931"/>
                    </a:lnTo>
                    <a:lnTo>
                      <a:pt x="1137" y="929"/>
                    </a:lnTo>
                    <a:lnTo>
                      <a:pt x="1128" y="922"/>
                    </a:lnTo>
                    <a:lnTo>
                      <a:pt x="1123" y="907"/>
                    </a:lnTo>
                    <a:lnTo>
                      <a:pt x="1137" y="922"/>
                    </a:lnTo>
                    <a:lnTo>
                      <a:pt x="1142" y="924"/>
                    </a:lnTo>
                    <a:lnTo>
                      <a:pt x="1156" y="924"/>
                    </a:lnTo>
                    <a:close/>
                    <a:moveTo>
                      <a:pt x="1520" y="1149"/>
                    </a:moveTo>
                    <a:lnTo>
                      <a:pt x="1489" y="1196"/>
                    </a:lnTo>
                    <a:lnTo>
                      <a:pt x="1492" y="1186"/>
                    </a:lnTo>
                    <a:lnTo>
                      <a:pt x="1503" y="1160"/>
                    </a:lnTo>
                    <a:lnTo>
                      <a:pt x="1506" y="1151"/>
                    </a:lnTo>
                    <a:lnTo>
                      <a:pt x="1515" y="1142"/>
                    </a:lnTo>
                    <a:lnTo>
                      <a:pt x="1522" y="1130"/>
                    </a:lnTo>
                    <a:lnTo>
                      <a:pt x="1520" y="1116"/>
                    </a:lnTo>
                    <a:lnTo>
                      <a:pt x="1532" y="1104"/>
                    </a:lnTo>
                    <a:lnTo>
                      <a:pt x="1536" y="1101"/>
                    </a:lnTo>
                    <a:lnTo>
                      <a:pt x="1520" y="1149"/>
                    </a:lnTo>
                    <a:close/>
                    <a:moveTo>
                      <a:pt x="1480" y="1210"/>
                    </a:moveTo>
                    <a:lnTo>
                      <a:pt x="1475" y="1210"/>
                    </a:lnTo>
                    <a:lnTo>
                      <a:pt x="1480" y="1201"/>
                    </a:lnTo>
                    <a:lnTo>
                      <a:pt x="1482" y="1201"/>
                    </a:lnTo>
                    <a:lnTo>
                      <a:pt x="1480" y="1210"/>
                    </a:lnTo>
                    <a:close/>
                    <a:moveTo>
                      <a:pt x="1447" y="1236"/>
                    </a:moveTo>
                    <a:lnTo>
                      <a:pt x="1442" y="1236"/>
                    </a:lnTo>
                    <a:lnTo>
                      <a:pt x="1444" y="1234"/>
                    </a:lnTo>
                    <a:lnTo>
                      <a:pt x="1451" y="1227"/>
                    </a:lnTo>
                    <a:lnTo>
                      <a:pt x="1454" y="1229"/>
                    </a:lnTo>
                    <a:lnTo>
                      <a:pt x="1454" y="1231"/>
                    </a:lnTo>
                    <a:lnTo>
                      <a:pt x="1447" y="1236"/>
                    </a:lnTo>
                    <a:close/>
                    <a:moveTo>
                      <a:pt x="1406" y="1262"/>
                    </a:moveTo>
                    <a:lnTo>
                      <a:pt x="1399" y="1269"/>
                    </a:lnTo>
                    <a:lnTo>
                      <a:pt x="1390" y="1267"/>
                    </a:lnTo>
                    <a:lnTo>
                      <a:pt x="1399" y="1260"/>
                    </a:lnTo>
                    <a:lnTo>
                      <a:pt x="1428" y="1250"/>
                    </a:lnTo>
                    <a:lnTo>
                      <a:pt x="1418" y="1257"/>
                    </a:lnTo>
                    <a:lnTo>
                      <a:pt x="1406" y="1262"/>
                    </a:lnTo>
                    <a:close/>
                    <a:moveTo>
                      <a:pt x="1352" y="1286"/>
                    </a:moveTo>
                    <a:lnTo>
                      <a:pt x="1347" y="1291"/>
                    </a:lnTo>
                    <a:lnTo>
                      <a:pt x="1345" y="1291"/>
                    </a:lnTo>
                    <a:lnTo>
                      <a:pt x="1345" y="1283"/>
                    </a:lnTo>
                    <a:lnTo>
                      <a:pt x="1333" y="1272"/>
                    </a:lnTo>
                    <a:lnTo>
                      <a:pt x="1333" y="1267"/>
                    </a:lnTo>
                    <a:lnTo>
                      <a:pt x="1354" y="1279"/>
                    </a:lnTo>
                    <a:lnTo>
                      <a:pt x="1354" y="1281"/>
                    </a:lnTo>
                    <a:lnTo>
                      <a:pt x="1352" y="1286"/>
                    </a:lnTo>
                    <a:close/>
                    <a:moveTo>
                      <a:pt x="1310" y="1305"/>
                    </a:moveTo>
                    <a:lnTo>
                      <a:pt x="1298" y="1307"/>
                    </a:lnTo>
                    <a:lnTo>
                      <a:pt x="1307" y="1298"/>
                    </a:lnTo>
                    <a:lnTo>
                      <a:pt x="1307" y="1283"/>
                    </a:lnTo>
                    <a:lnTo>
                      <a:pt x="1314" y="1293"/>
                    </a:lnTo>
                    <a:lnTo>
                      <a:pt x="1317" y="1300"/>
                    </a:lnTo>
                    <a:lnTo>
                      <a:pt x="1310" y="1305"/>
                    </a:lnTo>
                    <a:close/>
                    <a:moveTo>
                      <a:pt x="1269" y="1321"/>
                    </a:moveTo>
                    <a:lnTo>
                      <a:pt x="1265" y="1324"/>
                    </a:lnTo>
                    <a:lnTo>
                      <a:pt x="1262" y="1321"/>
                    </a:lnTo>
                    <a:lnTo>
                      <a:pt x="1272" y="1314"/>
                    </a:lnTo>
                    <a:lnTo>
                      <a:pt x="1276" y="1314"/>
                    </a:lnTo>
                    <a:lnTo>
                      <a:pt x="1276" y="1319"/>
                    </a:lnTo>
                    <a:lnTo>
                      <a:pt x="1269" y="132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4" name="Freeform 52">
                <a:extLst>
                  <a:ext uri="{FF2B5EF4-FFF2-40B4-BE49-F238E27FC236}">
                    <a16:creationId xmlns:a16="http://schemas.microsoft.com/office/drawing/2014/main" id="{F413C282-CF1A-D1AC-6BD7-857A52ABE8BE}"/>
                  </a:ext>
                </a:extLst>
              </p:cNvPr>
              <p:cNvSpPr>
                <a:spLocks noEditPoints="1"/>
              </p:cNvSpPr>
              <p:nvPr/>
            </p:nvSpPr>
            <p:spPr bwMode="auto">
              <a:xfrm>
                <a:off x="6503" y="2003"/>
                <a:ext cx="917" cy="941"/>
              </a:xfrm>
              <a:custGeom>
                <a:avLst/>
                <a:gdLst>
                  <a:gd name="T0" fmla="*/ 891 w 917"/>
                  <a:gd name="T1" fmla="*/ 593 h 941"/>
                  <a:gd name="T2" fmla="*/ 884 w 917"/>
                  <a:gd name="T3" fmla="*/ 605 h 941"/>
                  <a:gd name="T4" fmla="*/ 886 w 917"/>
                  <a:gd name="T5" fmla="*/ 624 h 941"/>
                  <a:gd name="T6" fmla="*/ 874 w 917"/>
                  <a:gd name="T7" fmla="*/ 643 h 941"/>
                  <a:gd name="T8" fmla="*/ 867 w 917"/>
                  <a:gd name="T9" fmla="*/ 664 h 941"/>
                  <a:gd name="T10" fmla="*/ 877 w 917"/>
                  <a:gd name="T11" fmla="*/ 671 h 941"/>
                  <a:gd name="T12" fmla="*/ 870 w 917"/>
                  <a:gd name="T13" fmla="*/ 695 h 941"/>
                  <a:gd name="T14" fmla="*/ 851 w 917"/>
                  <a:gd name="T15" fmla="*/ 719 h 941"/>
                  <a:gd name="T16" fmla="*/ 858 w 917"/>
                  <a:gd name="T17" fmla="*/ 752 h 941"/>
                  <a:gd name="T18" fmla="*/ 844 w 917"/>
                  <a:gd name="T19" fmla="*/ 763 h 941"/>
                  <a:gd name="T20" fmla="*/ 844 w 917"/>
                  <a:gd name="T21" fmla="*/ 811 h 941"/>
                  <a:gd name="T22" fmla="*/ 848 w 917"/>
                  <a:gd name="T23" fmla="*/ 849 h 941"/>
                  <a:gd name="T24" fmla="*/ 768 w 917"/>
                  <a:gd name="T25" fmla="*/ 842 h 941"/>
                  <a:gd name="T26" fmla="*/ 756 w 917"/>
                  <a:gd name="T27" fmla="*/ 853 h 941"/>
                  <a:gd name="T28" fmla="*/ 761 w 917"/>
                  <a:gd name="T29" fmla="*/ 898 h 941"/>
                  <a:gd name="T30" fmla="*/ 751 w 917"/>
                  <a:gd name="T31" fmla="*/ 941 h 941"/>
                  <a:gd name="T32" fmla="*/ 733 w 917"/>
                  <a:gd name="T33" fmla="*/ 934 h 941"/>
                  <a:gd name="T34" fmla="*/ 721 w 917"/>
                  <a:gd name="T35" fmla="*/ 905 h 941"/>
                  <a:gd name="T36" fmla="*/ 633 w 917"/>
                  <a:gd name="T37" fmla="*/ 912 h 941"/>
                  <a:gd name="T38" fmla="*/ 546 w 917"/>
                  <a:gd name="T39" fmla="*/ 917 h 941"/>
                  <a:gd name="T40" fmla="*/ 458 w 917"/>
                  <a:gd name="T41" fmla="*/ 924 h 941"/>
                  <a:gd name="T42" fmla="*/ 371 w 917"/>
                  <a:gd name="T43" fmla="*/ 929 h 941"/>
                  <a:gd name="T44" fmla="*/ 283 w 917"/>
                  <a:gd name="T45" fmla="*/ 936 h 941"/>
                  <a:gd name="T46" fmla="*/ 234 w 917"/>
                  <a:gd name="T47" fmla="*/ 929 h 941"/>
                  <a:gd name="T48" fmla="*/ 194 w 917"/>
                  <a:gd name="T49" fmla="*/ 858 h 941"/>
                  <a:gd name="T50" fmla="*/ 179 w 917"/>
                  <a:gd name="T51" fmla="*/ 749 h 941"/>
                  <a:gd name="T52" fmla="*/ 163 w 917"/>
                  <a:gd name="T53" fmla="*/ 700 h 941"/>
                  <a:gd name="T54" fmla="*/ 172 w 917"/>
                  <a:gd name="T55" fmla="*/ 641 h 941"/>
                  <a:gd name="T56" fmla="*/ 189 w 917"/>
                  <a:gd name="T57" fmla="*/ 610 h 941"/>
                  <a:gd name="T58" fmla="*/ 177 w 917"/>
                  <a:gd name="T59" fmla="*/ 586 h 941"/>
                  <a:gd name="T60" fmla="*/ 130 w 917"/>
                  <a:gd name="T61" fmla="*/ 487 h 941"/>
                  <a:gd name="T62" fmla="*/ 106 w 917"/>
                  <a:gd name="T63" fmla="*/ 423 h 941"/>
                  <a:gd name="T64" fmla="*/ 82 w 917"/>
                  <a:gd name="T65" fmla="*/ 345 h 941"/>
                  <a:gd name="T66" fmla="*/ 61 w 917"/>
                  <a:gd name="T67" fmla="*/ 265 h 941"/>
                  <a:gd name="T68" fmla="*/ 38 w 917"/>
                  <a:gd name="T69" fmla="*/ 187 h 941"/>
                  <a:gd name="T70" fmla="*/ 14 w 917"/>
                  <a:gd name="T71" fmla="*/ 109 h 941"/>
                  <a:gd name="T72" fmla="*/ 54 w 917"/>
                  <a:gd name="T73" fmla="*/ 49 h 941"/>
                  <a:gd name="T74" fmla="*/ 222 w 917"/>
                  <a:gd name="T75" fmla="*/ 30 h 941"/>
                  <a:gd name="T76" fmla="*/ 378 w 917"/>
                  <a:gd name="T77" fmla="*/ 9 h 941"/>
                  <a:gd name="T78" fmla="*/ 423 w 917"/>
                  <a:gd name="T79" fmla="*/ 16 h 941"/>
                  <a:gd name="T80" fmla="*/ 432 w 917"/>
                  <a:gd name="T81" fmla="*/ 85 h 941"/>
                  <a:gd name="T82" fmla="*/ 470 w 917"/>
                  <a:gd name="T83" fmla="*/ 106 h 941"/>
                  <a:gd name="T84" fmla="*/ 501 w 917"/>
                  <a:gd name="T85" fmla="*/ 125 h 941"/>
                  <a:gd name="T86" fmla="*/ 551 w 917"/>
                  <a:gd name="T87" fmla="*/ 194 h 941"/>
                  <a:gd name="T88" fmla="*/ 629 w 917"/>
                  <a:gd name="T89" fmla="*/ 255 h 941"/>
                  <a:gd name="T90" fmla="*/ 685 w 917"/>
                  <a:gd name="T91" fmla="*/ 305 h 941"/>
                  <a:gd name="T92" fmla="*/ 709 w 917"/>
                  <a:gd name="T93" fmla="*/ 326 h 941"/>
                  <a:gd name="T94" fmla="*/ 759 w 917"/>
                  <a:gd name="T95" fmla="*/ 364 h 941"/>
                  <a:gd name="T96" fmla="*/ 808 w 917"/>
                  <a:gd name="T97" fmla="*/ 454 h 941"/>
                  <a:gd name="T98" fmla="*/ 863 w 917"/>
                  <a:gd name="T99" fmla="*/ 515 h 941"/>
                  <a:gd name="T100" fmla="*/ 917 w 917"/>
                  <a:gd name="T101" fmla="*/ 558 h 941"/>
                  <a:gd name="T102" fmla="*/ 851 w 917"/>
                  <a:gd name="T103" fmla="*/ 830 h 941"/>
                  <a:gd name="T104" fmla="*/ 855 w 917"/>
                  <a:gd name="T105" fmla="*/ 797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7" h="941">
                    <a:moveTo>
                      <a:pt x="917" y="558"/>
                    </a:moveTo>
                    <a:lnTo>
                      <a:pt x="912" y="579"/>
                    </a:lnTo>
                    <a:lnTo>
                      <a:pt x="891" y="593"/>
                    </a:lnTo>
                    <a:lnTo>
                      <a:pt x="884" y="593"/>
                    </a:lnTo>
                    <a:lnTo>
                      <a:pt x="879" y="598"/>
                    </a:lnTo>
                    <a:lnTo>
                      <a:pt x="884" y="605"/>
                    </a:lnTo>
                    <a:lnTo>
                      <a:pt x="891" y="610"/>
                    </a:lnTo>
                    <a:lnTo>
                      <a:pt x="891" y="615"/>
                    </a:lnTo>
                    <a:lnTo>
                      <a:pt x="886" y="624"/>
                    </a:lnTo>
                    <a:lnTo>
                      <a:pt x="874" y="626"/>
                    </a:lnTo>
                    <a:lnTo>
                      <a:pt x="870" y="636"/>
                    </a:lnTo>
                    <a:lnTo>
                      <a:pt x="874" y="643"/>
                    </a:lnTo>
                    <a:lnTo>
                      <a:pt x="879" y="648"/>
                    </a:lnTo>
                    <a:lnTo>
                      <a:pt x="879" y="655"/>
                    </a:lnTo>
                    <a:lnTo>
                      <a:pt x="867" y="664"/>
                    </a:lnTo>
                    <a:lnTo>
                      <a:pt x="865" y="674"/>
                    </a:lnTo>
                    <a:lnTo>
                      <a:pt x="872" y="674"/>
                    </a:lnTo>
                    <a:lnTo>
                      <a:pt x="877" y="671"/>
                    </a:lnTo>
                    <a:lnTo>
                      <a:pt x="881" y="671"/>
                    </a:lnTo>
                    <a:lnTo>
                      <a:pt x="874" y="685"/>
                    </a:lnTo>
                    <a:lnTo>
                      <a:pt x="870" y="695"/>
                    </a:lnTo>
                    <a:lnTo>
                      <a:pt x="865" y="709"/>
                    </a:lnTo>
                    <a:lnTo>
                      <a:pt x="851" y="714"/>
                    </a:lnTo>
                    <a:lnTo>
                      <a:pt x="851" y="719"/>
                    </a:lnTo>
                    <a:lnTo>
                      <a:pt x="860" y="721"/>
                    </a:lnTo>
                    <a:lnTo>
                      <a:pt x="870" y="730"/>
                    </a:lnTo>
                    <a:lnTo>
                      <a:pt x="858" y="752"/>
                    </a:lnTo>
                    <a:lnTo>
                      <a:pt x="851" y="752"/>
                    </a:lnTo>
                    <a:lnTo>
                      <a:pt x="844" y="749"/>
                    </a:lnTo>
                    <a:lnTo>
                      <a:pt x="844" y="763"/>
                    </a:lnTo>
                    <a:lnTo>
                      <a:pt x="846" y="773"/>
                    </a:lnTo>
                    <a:lnTo>
                      <a:pt x="846" y="789"/>
                    </a:lnTo>
                    <a:lnTo>
                      <a:pt x="844" y="811"/>
                    </a:lnTo>
                    <a:lnTo>
                      <a:pt x="841" y="820"/>
                    </a:lnTo>
                    <a:lnTo>
                      <a:pt x="844" y="834"/>
                    </a:lnTo>
                    <a:lnTo>
                      <a:pt x="848" y="849"/>
                    </a:lnTo>
                    <a:lnTo>
                      <a:pt x="818" y="851"/>
                    </a:lnTo>
                    <a:lnTo>
                      <a:pt x="777" y="844"/>
                    </a:lnTo>
                    <a:lnTo>
                      <a:pt x="768" y="842"/>
                    </a:lnTo>
                    <a:lnTo>
                      <a:pt x="763" y="844"/>
                    </a:lnTo>
                    <a:lnTo>
                      <a:pt x="761" y="851"/>
                    </a:lnTo>
                    <a:lnTo>
                      <a:pt x="756" y="853"/>
                    </a:lnTo>
                    <a:lnTo>
                      <a:pt x="751" y="863"/>
                    </a:lnTo>
                    <a:lnTo>
                      <a:pt x="754" y="879"/>
                    </a:lnTo>
                    <a:lnTo>
                      <a:pt x="761" y="898"/>
                    </a:lnTo>
                    <a:lnTo>
                      <a:pt x="761" y="917"/>
                    </a:lnTo>
                    <a:lnTo>
                      <a:pt x="759" y="934"/>
                    </a:lnTo>
                    <a:lnTo>
                      <a:pt x="751" y="941"/>
                    </a:lnTo>
                    <a:lnTo>
                      <a:pt x="742" y="941"/>
                    </a:lnTo>
                    <a:lnTo>
                      <a:pt x="735" y="938"/>
                    </a:lnTo>
                    <a:lnTo>
                      <a:pt x="733" y="934"/>
                    </a:lnTo>
                    <a:lnTo>
                      <a:pt x="728" y="922"/>
                    </a:lnTo>
                    <a:lnTo>
                      <a:pt x="723" y="910"/>
                    </a:lnTo>
                    <a:lnTo>
                      <a:pt x="721" y="905"/>
                    </a:lnTo>
                    <a:lnTo>
                      <a:pt x="692" y="908"/>
                    </a:lnTo>
                    <a:lnTo>
                      <a:pt x="662" y="910"/>
                    </a:lnTo>
                    <a:lnTo>
                      <a:pt x="633" y="912"/>
                    </a:lnTo>
                    <a:lnTo>
                      <a:pt x="605" y="915"/>
                    </a:lnTo>
                    <a:lnTo>
                      <a:pt x="574" y="917"/>
                    </a:lnTo>
                    <a:lnTo>
                      <a:pt x="546" y="917"/>
                    </a:lnTo>
                    <a:lnTo>
                      <a:pt x="517" y="920"/>
                    </a:lnTo>
                    <a:lnTo>
                      <a:pt x="487" y="922"/>
                    </a:lnTo>
                    <a:lnTo>
                      <a:pt x="458" y="924"/>
                    </a:lnTo>
                    <a:lnTo>
                      <a:pt x="430" y="927"/>
                    </a:lnTo>
                    <a:lnTo>
                      <a:pt x="399" y="929"/>
                    </a:lnTo>
                    <a:lnTo>
                      <a:pt x="371" y="929"/>
                    </a:lnTo>
                    <a:lnTo>
                      <a:pt x="340" y="931"/>
                    </a:lnTo>
                    <a:lnTo>
                      <a:pt x="312" y="934"/>
                    </a:lnTo>
                    <a:lnTo>
                      <a:pt x="283" y="936"/>
                    </a:lnTo>
                    <a:lnTo>
                      <a:pt x="253" y="936"/>
                    </a:lnTo>
                    <a:lnTo>
                      <a:pt x="236" y="938"/>
                    </a:lnTo>
                    <a:lnTo>
                      <a:pt x="234" y="929"/>
                    </a:lnTo>
                    <a:lnTo>
                      <a:pt x="217" y="898"/>
                    </a:lnTo>
                    <a:lnTo>
                      <a:pt x="208" y="882"/>
                    </a:lnTo>
                    <a:lnTo>
                      <a:pt x="194" y="858"/>
                    </a:lnTo>
                    <a:lnTo>
                      <a:pt x="184" y="823"/>
                    </a:lnTo>
                    <a:lnTo>
                      <a:pt x="184" y="763"/>
                    </a:lnTo>
                    <a:lnTo>
                      <a:pt x="179" y="749"/>
                    </a:lnTo>
                    <a:lnTo>
                      <a:pt x="179" y="749"/>
                    </a:lnTo>
                    <a:lnTo>
                      <a:pt x="165" y="721"/>
                    </a:lnTo>
                    <a:lnTo>
                      <a:pt x="163" y="700"/>
                    </a:lnTo>
                    <a:lnTo>
                      <a:pt x="170" y="662"/>
                    </a:lnTo>
                    <a:lnTo>
                      <a:pt x="170" y="662"/>
                    </a:lnTo>
                    <a:lnTo>
                      <a:pt x="172" y="641"/>
                    </a:lnTo>
                    <a:lnTo>
                      <a:pt x="179" y="629"/>
                    </a:lnTo>
                    <a:lnTo>
                      <a:pt x="189" y="619"/>
                    </a:lnTo>
                    <a:lnTo>
                      <a:pt x="189" y="610"/>
                    </a:lnTo>
                    <a:lnTo>
                      <a:pt x="179" y="603"/>
                    </a:lnTo>
                    <a:lnTo>
                      <a:pt x="177" y="596"/>
                    </a:lnTo>
                    <a:lnTo>
                      <a:pt x="177" y="586"/>
                    </a:lnTo>
                    <a:lnTo>
                      <a:pt x="168" y="562"/>
                    </a:lnTo>
                    <a:lnTo>
                      <a:pt x="134" y="506"/>
                    </a:lnTo>
                    <a:lnTo>
                      <a:pt x="130" y="487"/>
                    </a:lnTo>
                    <a:lnTo>
                      <a:pt x="123" y="475"/>
                    </a:lnTo>
                    <a:lnTo>
                      <a:pt x="116" y="449"/>
                    </a:lnTo>
                    <a:lnTo>
                      <a:pt x="106" y="423"/>
                    </a:lnTo>
                    <a:lnTo>
                      <a:pt x="99" y="397"/>
                    </a:lnTo>
                    <a:lnTo>
                      <a:pt x="92" y="371"/>
                    </a:lnTo>
                    <a:lnTo>
                      <a:pt x="82" y="345"/>
                    </a:lnTo>
                    <a:lnTo>
                      <a:pt x="75" y="319"/>
                    </a:lnTo>
                    <a:lnTo>
                      <a:pt x="68" y="293"/>
                    </a:lnTo>
                    <a:lnTo>
                      <a:pt x="61" y="265"/>
                    </a:lnTo>
                    <a:lnTo>
                      <a:pt x="52" y="239"/>
                    </a:lnTo>
                    <a:lnTo>
                      <a:pt x="45" y="213"/>
                    </a:lnTo>
                    <a:lnTo>
                      <a:pt x="38" y="187"/>
                    </a:lnTo>
                    <a:lnTo>
                      <a:pt x="30" y="161"/>
                    </a:lnTo>
                    <a:lnTo>
                      <a:pt x="21" y="135"/>
                    </a:lnTo>
                    <a:lnTo>
                      <a:pt x="14" y="109"/>
                    </a:lnTo>
                    <a:lnTo>
                      <a:pt x="7" y="82"/>
                    </a:lnTo>
                    <a:lnTo>
                      <a:pt x="0" y="56"/>
                    </a:lnTo>
                    <a:lnTo>
                      <a:pt x="54" y="49"/>
                    </a:lnTo>
                    <a:lnTo>
                      <a:pt x="111" y="45"/>
                    </a:lnTo>
                    <a:lnTo>
                      <a:pt x="168" y="38"/>
                    </a:lnTo>
                    <a:lnTo>
                      <a:pt x="222" y="30"/>
                    </a:lnTo>
                    <a:lnTo>
                      <a:pt x="274" y="23"/>
                    </a:lnTo>
                    <a:lnTo>
                      <a:pt x="326" y="16"/>
                    </a:lnTo>
                    <a:lnTo>
                      <a:pt x="378" y="9"/>
                    </a:lnTo>
                    <a:lnTo>
                      <a:pt x="430" y="0"/>
                    </a:lnTo>
                    <a:lnTo>
                      <a:pt x="430" y="0"/>
                    </a:lnTo>
                    <a:lnTo>
                      <a:pt x="423" y="16"/>
                    </a:lnTo>
                    <a:lnTo>
                      <a:pt x="402" y="47"/>
                    </a:lnTo>
                    <a:lnTo>
                      <a:pt x="397" y="68"/>
                    </a:lnTo>
                    <a:lnTo>
                      <a:pt x="432" y="85"/>
                    </a:lnTo>
                    <a:lnTo>
                      <a:pt x="432" y="85"/>
                    </a:lnTo>
                    <a:lnTo>
                      <a:pt x="456" y="101"/>
                    </a:lnTo>
                    <a:lnTo>
                      <a:pt x="470" y="106"/>
                    </a:lnTo>
                    <a:lnTo>
                      <a:pt x="484" y="106"/>
                    </a:lnTo>
                    <a:lnTo>
                      <a:pt x="494" y="111"/>
                    </a:lnTo>
                    <a:lnTo>
                      <a:pt x="501" y="125"/>
                    </a:lnTo>
                    <a:lnTo>
                      <a:pt x="501" y="125"/>
                    </a:lnTo>
                    <a:lnTo>
                      <a:pt x="551" y="194"/>
                    </a:lnTo>
                    <a:lnTo>
                      <a:pt x="551" y="194"/>
                    </a:lnTo>
                    <a:lnTo>
                      <a:pt x="598" y="224"/>
                    </a:lnTo>
                    <a:lnTo>
                      <a:pt x="617" y="239"/>
                    </a:lnTo>
                    <a:lnTo>
                      <a:pt x="629" y="255"/>
                    </a:lnTo>
                    <a:lnTo>
                      <a:pt x="669" y="281"/>
                    </a:lnTo>
                    <a:lnTo>
                      <a:pt x="683" y="293"/>
                    </a:lnTo>
                    <a:lnTo>
                      <a:pt x="685" y="305"/>
                    </a:lnTo>
                    <a:lnTo>
                      <a:pt x="690" y="314"/>
                    </a:lnTo>
                    <a:lnTo>
                      <a:pt x="699" y="317"/>
                    </a:lnTo>
                    <a:lnTo>
                      <a:pt x="709" y="326"/>
                    </a:lnTo>
                    <a:lnTo>
                      <a:pt x="718" y="343"/>
                    </a:lnTo>
                    <a:lnTo>
                      <a:pt x="735" y="354"/>
                    </a:lnTo>
                    <a:lnTo>
                      <a:pt x="759" y="364"/>
                    </a:lnTo>
                    <a:lnTo>
                      <a:pt x="777" y="388"/>
                    </a:lnTo>
                    <a:lnTo>
                      <a:pt x="794" y="430"/>
                    </a:lnTo>
                    <a:lnTo>
                      <a:pt x="808" y="454"/>
                    </a:lnTo>
                    <a:lnTo>
                      <a:pt x="825" y="461"/>
                    </a:lnTo>
                    <a:lnTo>
                      <a:pt x="853" y="494"/>
                    </a:lnTo>
                    <a:lnTo>
                      <a:pt x="863" y="515"/>
                    </a:lnTo>
                    <a:lnTo>
                      <a:pt x="865" y="534"/>
                    </a:lnTo>
                    <a:lnTo>
                      <a:pt x="879" y="548"/>
                    </a:lnTo>
                    <a:lnTo>
                      <a:pt x="917" y="558"/>
                    </a:lnTo>
                    <a:close/>
                    <a:moveTo>
                      <a:pt x="855" y="797"/>
                    </a:moveTo>
                    <a:lnTo>
                      <a:pt x="855" y="849"/>
                    </a:lnTo>
                    <a:lnTo>
                      <a:pt x="851" y="830"/>
                    </a:lnTo>
                    <a:lnTo>
                      <a:pt x="846" y="813"/>
                    </a:lnTo>
                    <a:lnTo>
                      <a:pt x="851" y="801"/>
                    </a:lnTo>
                    <a:lnTo>
                      <a:pt x="855" y="79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5" name="Freeform 53">
                <a:extLst>
                  <a:ext uri="{FF2B5EF4-FFF2-40B4-BE49-F238E27FC236}">
                    <a16:creationId xmlns:a16="http://schemas.microsoft.com/office/drawing/2014/main" id="{7012001B-D7CD-D0D6-9500-446068C0D23A}"/>
                  </a:ext>
                </a:extLst>
              </p:cNvPr>
              <p:cNvSpPr>
                <a:spLocks noEditPoints="1"/>
              </p:cNvSpPr>
              <p:nvPr/>
            </p:nvSpPr>
            <p:spPr bwMode="auto">
              <a:xfrm>
                <a:off x="2955" y="4081"/>
                <a:ext cx="357" cy="709"/>
              </a:xfrm>
              <a:custGeom>
                <a:avLst/>
                <a:gdLst>
                  <a:gd name="T0" fmla="*/ 80 w 357"/>
                  <a:gd name="T1" fmla="*/ 62 h 709"/>
                  <a:gd name="T2" fmla="*/ 64 w 357"/>
                  <a:gd name="T3" fmla="*/ 33 h 709"/>
                  <a:gd name="T4" fmla="*/ 101 w 357"/>
                  <a:gd name="T5" fmla="*/ 24 h 709"/>
                  <a:gd name="T6" fmla="*/ 118 w 357"/>
                  <a:gd name="T7" fmla="*/ 59 h 709"/>
                  <a:gd name="T8" fmla="*/ 97 w 357"/>
                  <a:gd name="T9" fmla="*/ 71 h 709"/>
                  <a:gd name="T10" fmla="*/ 0 w 357"/>
                  <a:gd name="T11" fmla="*/ 12 h 709"/>
                  <a:gd name="T12" fmla="*/ 19 w 357"/>
                  <a:gd name="T13" fmla="*/ 2 h 709"/>
                  <a:gd name="T14" fmla="*/ 30 w 357"/>
                  <a:gd name="T15" fmla="*/ 10 h 709"/>
                  <a:gd name="T16" fmla="*/ 9 w 357"/>
                  <a:gd name="T17" fmla="*/ 12 h 709"/>
                  <a:gd name="T18" fmla="*/ 220 w 357"/>
                  <a:gd name="T19" fmla="*/ 258 h 709"/>
                  <a:gd name="T20" fmla="*/ 215 w 357"/>
                  <a:gd name="T21" fmla="*/ 279 h 709"/>
                  <a:gd name="T22" fmla="*/ 191 w 357"/>
                  <a:gd name="T23" fmla="*/ 265 h 709"/>
                  <a:gd name="T24" fmla="*/ 186 w 357"/>
                  <a:gd name="T25" fmla="*/ 246 h 709"/>
                  <a:gd name="T26" fmla="*/ 182 w 357"/>
                  <a:gd name="T27" fmla="*/ 251 h 709"/>
                  <a:gd name="T28" fmla="*/ 170 w 357"/>
                  <a:gd name="T29" fmla="*/ 232 h 709"/>
                  <a:gd name="T30" fmla="*/ 175 w 357"/>
                  <a:gd name="T31" fmla="*/ 199 h 709"/>
                  <a:gd name="T32" fmla="*/ 217 w 357"/>
                  <a:gd name="T33" fmla="*/ 211 h 709"/>
                  <a:gd name="T34" fmla="*/ 210 w 357"/>
                  <a:gd name="T35" fmla="*/ 246 h 709"/>
                  <a:gd name="T36" fmla="*/ 269 w 357"/>
                  <a:gd name="T37" fmla="*/ 345 h 709"/>
                  <a:gd name="T38" fmla="*/ 293 w 357"/>
                  <a:gd name="T39" fmla="*/ 369 h 709"/>
                  <a:gd name="T40" fmla="*/ 272 w 357"/>
                  <a:gd name="T41" fmla="*/ 371 h 709"/>
                  <a:gd name="T42" fmla="*/ 238 w 357"/>
                  <a:gd name="T43" fmla="*/ 326 h 709"/>
                  <a:gd name="T44" fmla="*/ 250 w 357"/>
                  <a:gd name="T45" fmla="*/ 324 h 709"/>
                  <a:gd name="T46" fmla="*/ 314 w 357"/>
                  <a:gd name="T47" fmla="*/ 423 h 709"/>
                  <a:gd name="T48" fmla="*/ 331 w 357"/>
                  <a:gd name="T49" fmla="*/ 454 h 709"/>
                  <a:gd name="T50" fmla="*/ 331 w 357"/>
                  <a:gd name="T51" fmla="*/ 475 h 709"/>
                  <a:gd name="T52" fmla="*/ 290 w 357"/>
                  <a:gd name="T53" fmla="*/ 464 h 709"/>
                  <a:gd name="T54" fmla="*/ 283 w 357"/>
                  <a:gd name="T55" fmla="*/ 442 h 709"/>
                  <a:gd name="T56" fmla="*/ 276 w 357"/>
                  <a:gd name="T57" fmla="*/ 416 h 709"/>
                  <a:gd name="T58" fmla="*/ 290 w 357"/>
                  <a:gd name="T59" fmla="*/ 390 h 709"/>
                  <a:gd name="T60" fmla="*/ 300 w 357"/>
                  <a:gd name="T61" fmla="*/ 414 h 709"/>
                  <a:gd name="T62" fmla="*/ 234 w 357"/>
                  <a:gd name="T63" fmla="*/ 393 h 709"/>
                  <a:gd name="T64" fmla="*/ 253 w 357"/>
                  <a:gd name="T65" fmla="*/ 378 h 709"/>
                  <a:gd name="T66" fmla="*/ 257 w 357"/>
                  <a:gd name="T67" fmla="*/ 400 h 709"/>
                  <a:gd name="T68" fmla="*/ 222 w 357"/>
                  <a:gd name="T69" fmla="*/ 700 h 709"/>
                  <a:gd name="T70" fmla="*/ 205 w 357"/>
                  <a:gd name="T71" fmla="*/ 660 h 709"/>
                  <a:gd name="T72" fmla="*/ 243 w 357"/>
                  <a:gd name="T73" fmla="*/ 579 h 709"/>
                  <a:gd name="T74" fmla="*/ 290 w 357"/>
                  <a:gd name="T75" fmla="*/ 568 h 709"/>
                  <a:gd name="T76" fmla="*/ 312 w 357"/>
                  <a:gd name="T77" fmla="*/ 539 h 709"/>
                  <a:gd name="T78" fmla="*/ 354 w 357"/>
                  <a:gd name="T79" fmla="*/ 643 h 709"/>
                  <a:gd name="T80" fmla="*/ 350 w 357"/>
                  <a:gd name="T81" fmla="*/ 679 h 709"/>
                  <a:gd name="T82" fmla="*/ 345 w 357"/>
                  <a:gd name="T83" fmla="*/ 709 h 709"/>
                  <a:gd name="T84" fmla="*/ 243 w 357"/>
                  <a:gd name="T85" fmla="*/ 69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7" h="709">
                    <a:moveTo>
                      <a:pt x="97" y="71"/>
                    </a:moveTo>
                    <a:lnTo>
                      <a:pt x="82" y="69"/>
                    </a:lnTo>
                    <a:lnTo>
                      <a:pt x="80" y="62"/>
                    </a:lnTo>
                    <a:lnTo>
                      <a:pt x="71" y="55"/>
                    </a:lnTo>
                    <a:lnTo>
                      <a:pt x="71" y="45"/>
                    </a:lnTo>
                    <a:lnTo>
                      <a:pt x="64" y="33"/>
                    </a:lnTo>
                    <a:lnTo>
                      <a:pt x="66" y="24"/>
                    </a:lnTo>
                    <a:lnTo>
                      <a:pt x="80" y="19"/>
                    </a:lnTo>
                    <a:lnTo>
                      <a:pt x="101" y="24"/>
                    </a:lnTo>
                    <a:lnTo>
                      <a:pt x="123" y="43"/>
                    </a:lnTo>
                    <a:lnTo>
                      <a:pt x="123" y="52"/>
                    </a:lnTo>
                    <a:lnTo>
                      <a:pt x="118" y="59"/>
                    </a:lnTo>
                    <a:lnTo>
                      <a:pt x="111" y="62"/>
                    </a:lnTo>
                    <a:lnTo>
                      <a:pt x="104" y="69"/>
                    </a:lnTo>
                    <a:lnTo>
                      <a:pt x="97" y="71"/>
                    </a:lnTo>
                    <a:close/>
                    <a:moveTo>
                      <a:pt x="9" y="12"/>
                    </a:moveTo>
                    <a:lnTo>
                      <a:pt x="2" y="17"/>
                    </a:lnTo>
                    <a:lnTo>
                      <a:pt x="0" y="12"/>
                    </a:lnTo>
                    <a:lnTo>
                      <a:pt x="2" y="7"/>
                    </a:lnTo>
                    <a:lnTo>
                      <a:pt x="9" y="2"/>
                    </a:lnTo>
                    <a:lnTo>
                      <a:pt x="19" y="2"/>
                    </a:lnTo>
                    <a:lnTo>
                      <a:pt x="33" y="0"/>
                    </a:lnTo>
                    <a:lnTo>
                      <a:pt x="35" y="7"/>
                    </a:lnTo>
                    <a:lnTo>
                      <a:pt x="30" y="10"/>
                    </a:lnTo>
                    <a:lnTo>
                      <a:pt x="26" y="14"/>
                    </a:lnTo>
                    <a:lnTo>
                      <a:pt x="14" y="12"/>
                    </a:lnTo>
                    <a:lnTo>
                      <a:pt x="9" y="12"/>
                    </a:lnTo>
                    <a:close/>
                    <a:moveTo>
                      <a:pt x="212" y="251"/>
                    </a:moveTo>
                    <a:lnTo>
                      <a:pt x="215" y="253"/>
                    </a:lnTo>
                    <a:lnTo>
                      <a:pt x="220" y="258"/>
                    </a:lnTo>
                    <a:lnTo>
                      <a:pt x="215" y="267"/>
                    </a:lnTo>
                    <a:lnTo>
                      <a:pt x="215" y="277"/>
                    </a:lnTo>
                    <a:lnTo>
                      <a:pt x="215" y="279"/>
                    </a:lnTo>
                    <a:lnTo>
                      <a:pt x="208" y="279"/>
                    </a:lnTo>
                    <a:lnTo>
                      <a:pt x="196" y="272"/>
                    </a:lnTo>
                    <a:lnTo>
                      <a:pt x="191" y="265"/>
                    </a:lnTo>
                    <a:lnTo>
                      <a:pt x="191" y="255"/>
                    </a:lnTo>
                    <a:lnTo>
                      <a:pt x="184" y="251"/>
                    </a:lnTo>
                    <a:lnTo>
                      <a:pt x="186" y="246"/>
                    </a:lnTo>
                    <a:lnTo>
                      <a:pt x="186" y="244"/>
                    </a:lnTo>
                    <a:lnTo>
                      <a:pt x="182" y="241"/>
                    </a:lnTo>
                    <a:lnTo>
                      <a:pt x="182" y="251"/>
                    </a:lnTo>
                    <a:lnTo>
                      <a:pt x="170" y="244"/>
                    </a:lnTo>
                    <a:lnTo>
                      <a:pt x="168" y="239"/>
                    </a:lnTo>
                    <a:lnTo>
                      <a:pt x="170" y="232"/>
                    </a:lnTo>
                    <a:lnTo>
                      <a:pt x="170" y="211"/>
                    </a:lnTo>
                    <a:lnTo>
                      <a:pt x="175" y="206"/>
                    </a:lnTo>
                    <a:lnTo>
                      <a:pt x="175" y="199"/>
                    </a:lnTo>
                    <a:lnTo>
                      <a:pt x="191" y="208"/>
                    </a:lnTo>
                    <a:lnTo>
                      <a:pt x="210" y="208"/>
                    </a:lnTo>
                    <a:lnTo>
                      <a:pt x="217" y="211"/>
                    </a:lnTo>
                    <a:lnTo>
                      <a:pt x="215" y="237"/>
                    </a:lnTo>
                    <a:lnTo>
                      <a:pt x="210" y="241"/>
                    </a:lnTo>
                    <a:lnTo>
                      <a:pt x="210" y="246"/>
                    </a:lnTo>
                    <a:lnTo>
                      <a:pt x="212" y="251"/>
                    </a:lnTo>
                    <a:close/>
                    <a:moveTo>
                      <a:pt x="250" y="324"/>
                    </a:moveTo>
                    <a:lnTo>
                      <a:pt x="269" y="345"/>
                    </a:lnTo>
                    <a:lnTo>
                      <a:pt x="274" y="348"/>
                    </a:lnTo>
                    <a:lnTo>
                      <a:pt x="276" y="352"/>
                    </a:lnTo>
                    <a:lnTo>
                      <a:pt x="293" y="369"/>
                    </a:lnTo>
                    <a:lnTo>
                      <a:pt x="295" y="371"/>
                    </a:lnTo>
                    <a:lnTo>
                      <a:pt x="288" y="374"/>
                    </a:lnTo>
                    <a:lnTo>
                      <a:pt x="272" y="371"/>
                    </a:lnTo>
                    <a:lnTo>
                      <a:pt x="260" y="352"/>
                    </a:lnTo>
                    <a:lnTo>
                      <a:pt x="234" y="329"/>
                    </a:lnTo>
                    <a:lnTo>
                      <a:pt x="238" y="326"/>
                    </a:lnTo>
                    <a:lnTo>
                      <a:pt x="243" y="324"/>
                    </a:lnTo>
                    <a:lnTo>
                      <a:pt x="248" y="319"/>
                    </a:lnTo>
                    <a:lnTo>
                      <a:pt x="250" y="324"/>
                    </a:lnTo>
                    <a:close/>
                    <a:moveTo>
                      <a:pt x="300" y="414"/>
                    </a:moveTo>
                    <a:lnTo>
                      <a:pt x="300" y="419"/>
                    </a:lnTo>
                    <a:lnTo>
                      <a:pt x="314" y="423"/>
                    </a:lnTo>
                    <a:lnTo>
                      <a:pt x="324" y="428"/>
                    </a:lnTo>
                    <a:lnTo>
                      <a:pt x="331" y="447"/>
                    </a:lnTo>
                    <a:lnTo>
                      <a:pt x="331" y="454"/>
                    </a:lnTo>
                    <a:lnTo>
                      <a:pt x="335" y="466"/>
                    </a:lnTo>
                    <a:lnTo>
                      <a:pt x="335" y="473"/>
                    </a:lnTo>
                    <a:lnTo>
                      <a:pt x="331" y="475"/>
                    </a:lnTo>
                    <a:lnTo>
                      <a:pt x="314" y="475"/>
                    </a:lnTo>
                    <a:lnTo>
                      <a:pt x="300" y="468"/>
                    </a:lnTo>
                    <a:lnTo>
                      <a:pt x="290" y="464"/>
                    </a:lnTo>
                    <a:lnTo>
                      <a:pt x="279" y="456"/>
                    </a:lnTo>
                    <a:lnTo>
                      <a:pt x="279" y="452"/>
                    </a:lnTo>
                    <a:lnTo>
                      <a:pt x="283" y="442"/>
                    </a:lnTo>
                    <a:lnTo>
                      <a:pt x="288" y="428"/>
                    </a:lnTo>
                    <a:lnTo>
                      <a:pt x="281" y="426"/>
                    </a:lnTo>
                    <a:lnTo>
                      <a:pt x="276" y="416"/>
                    </a:lnTo>
                    <a:lnTo>
                      <a:pt x="276" y="400"/>
                    </a:lnTo>
                    <a:lnTo>
                      <a:pt x="279" y="395"/>
                    </a:lnTo>
                    <a:lnTo>
                      <a:pt x="290" y="390"/>
                    </a:lnTo>
                    <a:lnTo>
                      <a:pt x="298" y="395"/>
                    </a:lnTo>
                    <a:lnTo>
                      <a:pt x="300" y="404"/>
                    </a:lnTo>
                    <a:lnTo>
                      <a:pt x="300" y="414"/>
                    </a:lnTo>
                    <a:close/>
                    <a:moveTo>
                      <a:pt x="248" y="402"/>
                    </a:moveTo>
                    <a:lnTo>
                      <a:pt x="241" y="400"/>
                    </a:lnTo>
                    <a:lnTo>
                      <a:pt x="234" y="393"/>
                    </a:lnTo>
                    <a:lnTo>
                      <a:pt x="238" y="386"/>
                    </a:lnTo>
                    <a:lnTo>
                      <a:pt x="241" y="371"/>
                    </a:lnTo>
                    <a:lnTo>
                      <a:pt x="253" y="378"/>
                    </a:lnTo>
                    <a:lnTo>
                      <a:pt x="257" y="386"/>
                    </a:lnTo>
                    <a:lnTo>
                      <a:pt x="257" y="390"/>
                    </a:lnTo>
                    <a:lnTo>
                      <a:pt x="257" y="400"/>
                    </a:lnTo>
                    <a:lnTo>
                      <a:pt x="248" y="402"/>
                    </a:lnTo>
                    <a:close/>
                    <a:moveTo>
                      <a:pt x="229" y="698"/>
                    </a:moveTo>
                    <a:lnTo>
                      <a:pt x="222" y="700"/>
                    </a:lnTo>
                    <a:lnTo>
                      <a:pt x="215" y="695"/>
                    </a:lnTo>
                    <a:lnTo>
                      <a:pt x="203" y="667"/>
                    </a:lnTo>
                    <a:lnTo>
                      <a:pt x="205" y="660"/>
                    </a:lnTo>
                    <a:lnTo>
                      <a:pt x="229" y="631"/>
                    </a:lnTo>
                    <a:lnTo>
                      <a:pt x="238" y="603"/>
                    </a:lnTo>
                    <a:lnTo>
                      <a:pt x="243" y="579"/>
                    </a:lnTo>
                    <a:lnTo>
                      <a:pt x="257" y="575"/>
                    </a:lnTo>
                    <a:lnTo>
                      <a:pt x="272" y="575"/>
                    </a:lnTo>
                    <a:lnTo>
                      <a:pt x="290" y="568"/>
                    </a:lnTo>
                    <a:lnTo>
                      <a:pt x="295" y="546"/>
                    </a:lnTo>
                    <a:lnTo>
                      <a:pt x="305" y="537"/>
                    </a:lnTo>
                    <a:lnTo>
                      <a:pt x="312" y="539"/>
                    </a:lnTo>
                    <a:lnTo>
                      <a:pt x="324" y="568"/>
                    </a:lnTo>
                    <a:lnTo>
                      <a:pt x="354" y="620"/>
                    </a:lnTo>
                    <a:lnTo>
                      <a:pt x="354" y="643"/>
                    </a:lnTo>
                    <a:lnTo>
                      <a:pt x="347" y="657"/>
                    </a:lnTo>
                    <a:lnTo>
                      <a:pt x="354" y="667"/>
                    </a:lnTo>
                    <a:lnTo>
                      <a:pt x="350" y="679"/>
                    </a:lnTo>
                    <a:lnTo>
                      <a:pt x="354" y="695"/>
                    </a:lnTo>
                    <a:lnTo>
                      <a:pt x="357" y="705"/>
                    </a:lnTo>
                    <a:lnTo>
                      <a:pt x="345" y="709"/>
                    </a:lnTo>
                    <a:lnTo>
                      <a:pt x="312" y="707"/>
                    </a:lnTo>
                    <a:lnTo>
                      <a:pt x="281" y="693"/>
                    </a:lnTo>
                    <a:lnTo>
                      <a:pt x="243" y="691"/>
                    </a:lnTo>
                    <a:lnTo>
                      <a:pt x="229" y="69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6" name="Freeform 54">
                <a:extLst>
                  <a:ext uri="{FF2B5EF4-FFF2-40B4-BE49-F238E27FC236}">
                    <a16:creationId xmlns:a16="http://schemas.microsoft.com/office/drawing/2014/main" id="{901AD66D-04BB-6211-6AF9-27676E6F81D6}"/>
                  </a:ext>
                </a:extLst>
              </p:cNvPr>
              <p:cNvSpPr>
                <a:spLocks/>
              </p:cNvSpPr>
              <p:nvPr/>
            </p:nvSpPr>
            <p:spPr bwMode="auto">
              <a:xfrm>
                <a:off x="4612" y="352"/>
                <a:ext cx="1014" cy="660"/>
              </a:xfrm>
              <a:custGeom>
                <a:avLst/>
                <a:gdLst>
                  <a:gd name="T0" fmla="*/ 957 w 1014"/>
                  <a:gd name="T1" fmla="*/ 230 h 660"/>
                  <a:gd name="T2" fmla="*/ 981 w 1014"/>
                  <a:gd name="T3" fmla="*/ 265 h 660"/>
                  <a:gd name="T4" fmla="*/ 1014 w 1014"/>
                  <a:gd name="T5" fmla="*/ 296 h 660"/>
                  <a:gd name="T6" fmla="*/ 1007 w 1014"/>
                  <a:gd name="T7" fmla="*/ 348 h 660"/>
                  <a:gd name="T8" fmla="*/ 988 w 1014"/>
                  <a:gd name="T9" fmla="*/ 388 h 660"/>
                  <a:gd name="T10" fmla="*/ 926 w 1014"/>
                  <a:gd name="T11" fmla="*/ 428 h 660"/>
                  <a:gd name="T12" fmla="*/ 877 w 1014"/>
                  <a:gd name="T13" fmla="*/ 468 h 660"/>
                  <a:gd name="T14" fmla="*/ 898 w 1014"/>
                  <a:gd name="T15" fmla="*/ 509 h 660"/>
                  <a:gd name="T16" fmla="*/ 879 w 1014"/>
                  <a:gd name="T17" fmla="*/ 580 h 660"/>
                  <a:gd name="T18" fmla="*/ 834 w 1014"/>
                  <a:gd name="T19" fmla="*/ 627 h 660"/>
                  <a:gd name="T20" fmla="*/ 829 w 1014"/>
                  <a:gd name="T21" fmla="*/ 660 h 660"/>
                  <a:gd name="T22" fmla="*/ 799 w 1014"/>
                  <a:gd name="T23" fmla="*/ 634 h 660"/>
                  <a:gd name="T24" fmla="*/ 780 w 1014"/>
                  <a:gd name="T25" fmla="*/ 610 h 660"/>
                  <a:gd name="T26" fmla="*/ 659 w 1014"/>
                  <a:gd name="T27" fmla="*/ 617 h 660"/>
                  <a:gd name="T28" fmla="*/ 539 w 1014"/>
                  <a:gd name="T29" fmla="*/ 622 h 660"/>
                  <a:gd name="T30" fmla="*/ 416 w 1014"/>
                  <a:gd name="T31" fmla="*/ 627 h 660"/>
                  <a:gd name="T32" fmla="*/ 295 w 1014"/>
                  <a:gd name="T33" fmla="*/ 629 h 660"/>
                  <a:gd name="T34" fmla="*/ 175 w 1014"/>
                  <a:gd name="T35" fmla="*/ 632 h 660"/>
                  <a:gd name="T36" fmla="*/ 118 w 1014"/>
                  <a:gd name="T37" fmla="*/ 601 h 660"/>
                  <a:gd name="T38" fmla="*/ 120 w 1014"/>
                  <a:gd name="T39" fmla="*/ 530 h 660"/>
                  <a:gd name="T40" fmla="*/ 111 w 1014"/>
                  <a:gd name="T41" fmla="*/ 497 h 660"/>
                  <a:gd name="T42" fmla="*/ 106 w 1014"/>
                  <a:gd name="T43" fmla="*/ 478 h 660"/>
                  <a:gd name="T44" fmla="*/ 106 w 1014"/>
                  <a:gd name="T45" fmla="*/ 450 h 660"/>
                  <a:gd name="T46" fmla="*/ 97 w 1014"/>
                  <a:gd name="T47" fmla="*/ 438 h 660"/>
                  <a:gd name="T48" fmla="*/ 85 w 1014"/>
                  <a:gd name="T49" fmla="*/ 419 h 660"/>
                  <a:gd name="T50" fmla="*/ 75 w 1014"/>
                  <a:gd name="T51" fmla="*/ 364 h 660"/>
                  <a:gd name="T52" fmla="*/ 64 w 1014"/>
                  <a:gd name="T53" fmla="*/ 329 h 660"/>
                  <a:gd name="T54" fmla="*/ 35 w 1014"/>
                  <a:gd name="T55" fmla="*/ 249 h 660"/>
                  <a:gd name="T56" fmla="*/ 16 w 1014"/>
                  <a:gd name="T57" fmla="*/ 213 h 660"/>
                  <a:gd name="T58" fmla="*/ 0 w 1014"/>
                  <a:gd name="T59" fmla="*/ 182 h 660"/>
                  <a:gd name="T60" fmla="*/ 9 w 1014"/>
                  <a:gd name="T61" fmla="*/ 156 h 660"/>
                  <a:gd name="T62" fmla="*/ 26 w 1014"/>
                  <a:gd name="T63" fmla="*/ 104 h 660"/>
                  <a:gd name="T64" fmla="*/ 21 w 1014"/>
                  <a:gd name="T65" fmla="*/ 83 h 660"/>
                  <a:gd name="T66" fmla="*/ 9 w 1014"/>
                  <a:gd name="T67" fmla="*/ 67 h 660"/>
                  <a:gd name="T68" fmla="*/ 14 w 1014"/>
                  <a:gd name="T69" fmla="*/ 48 h 660"/>
                  <a:gd name="T70" fmla="*/ 26 w 1014"/>
                  <a:gd name="T71" fmla="*/ 22 h 660"/>
                  <a:gd name="T72" fmla="*/ 177 w 1014"/>
                  <a:gd name="T73" fmla="*/ 22 h 660"/>
                  <a:gd name="T74" fmla="*/ 326 w 1014"/>
                  <a:gd name="T75" fmla="*/ 19 h 660"/>
                  <a:gd name="T76" fmla="*/ 475 w 1014"/>
                  <a:gd name="T77" fmla="*/ 15 h 660"/>
                  <a:gd name="T78" fmla="*/ 626 w 1014"/>
                  <a:gd name="T79" fmla="*/ 10 h 660"/>
                  <a:gd name="T80" fmla="*/ 775 w 1014"/>
                  <a:gd name="T81" fmla="*/ 5 h 660"/>
                  <a:gd name="T82" fmla="*/ 832 w 1014"/>
                  <a:gd name="T83" fmla="*/ 24 h 660"/>
                  <a:gd name="T84" fmla="*/ 851 w 1014"/>
                  <a:gd name="T85" fmla="*/ 48 h 660"/>
                  <a:gd name="T86" fmla="*/ 846 w 1014"/>
                  <a:gd name="T87" fmla="*/ 109 h 660"/>
                  <a:gd name="T88" fmla="*/ 879 w 1014"/>
                  <a:gd name="T89" fmla="*/ 163 h 660"/>
                  <a:gd name="T90" fmla="*/ 929 w 1014"/>
                  <a:gd name="T91" fmla="*/ 20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14" h="660">
                    <a:moveTo>
                      <a:pt x="929" y="204"/>
                    </a:moveTo>
                    <a:lnTo>
                      <a:pt x="941" y="218"/>
                    </a:lnTo>
                    <a:lnTo>
                      <a:pt x="957" y="230"/>
                    </a:lnTo>
                    <a:lnTo>
                      <a:pt x="967" y="242"/>
                    </a:lnTo>
                    <a:lnTo>
                      <a:pt x="969" y="253"/>
                    </a:lnTo>
                    <a:lnTo>
                      <a:pt x="981" y="265"/>
                    </a:lnTo>
                    <a:lnTo>
                      <a:pt x="1000" y="277"/>
                    </a:lnTo>
                    <a:lnTo>
                      <a:pt x="1009" y="286"/>
                    </a:lnTo>
                    <a:lnTo>
                      <a:pt x="1014" y="296"/>
                    </a:lnTo>
                    <a:lnTo>
                      <a:pt x="1014" y="312"/>
                    </a:lnTo>
                    <a:lnTo>
                      <a:pt x="1011" y="331"/>
                    </a:lnTo>
                    <a:lnTo>
                      <a:pt x="1007" y="348"/>
                    </a:lnTo>
                    <a:lnTo>
                      <a:pt x="997" y="357"/>
                    </a:lnTo>
                    <a:lnTo>
                      <a:pt x="993" y="372"/>
                    </a:lnTo>
                    <a:lnTo>
                      <a:pt x="988" y="388"/>
                    </a:lnTo>
                    <a:lnTo>
                      <a:pt x="976" y="402"/>
                    </a:lnTo>
                    <a:lnTo>
                      <a:pt x="952" y="419"/>
                    </a:lnTo>
                    <a:lnTo>
                      <a:pt x="926" y="428"/>
                    </a:lnTo>
                    <a:lnTo>
                      <a:pt x="898" y="435"/>
                    </a:lnTo>
                    <a:lnTo>
                      <a:pt x="881" y="450"/>
                    </a:lnTo>
                    <a:lnTo>
                      <a:pt x="877" y="468"/>
                    </a:lnTo>
                    <a:lnTo>
                      <a:pt x="879" y="483"/>
                    </a:lnTo>
                    <a:lnTo>
                      <a:pt x="891" y="495"/>
                    </a:lnTo>
                    <a:lnTo>
                      <a:pt x="898" y="509"/>
                    </a:lnTo>
                    <a:lnTo>
                      <a:pt x="900" y="523"/>
                    </a:lnTo>
                    <a:lnTo>
                      <a:pt x="893" y="547"/>
                    </a:lnTo>
                    <a:lnTo>
                      <a:pt x="879" y="580"/>
                    </a:lnTo>
                    <a:lnTo>
                      <a:pt x="863" y="601"/>
                    </a:lnTo>
                    <a:lnTo>
                      <a:pt x="844" y="613"/>
                    </a:lnTo>
                    <a:lnTo>
                      <a:pt x="834" y="627"/>
                    </a:lnTo>
                    <a:lnTo>
                      <a:pt x="839" y="646"/>
                    </a:lnTo>
                    <a:lnTo>
                      <a:pt x="836" y="655"/>
                    </a:lnTo>
                    <a:lnTo>
                      <a:pt x="829" y="660"/>
                    </a:lnTo>
                    <a:lnTo>
                      <a:pt x="813" y="651"/>
                    </a:lnTo>
                    <a:lnTo>
                      <a:pt x="810" y="641"/>
                    </a:lnTo>
                    <a:lnTo>
                      <a:pt x="799" y="634"/>
                    </a:lnTo>
                    <a:lnTo>
                      <a:pt x="796" y="629"/>
                    </a:lnTo>
                    <a:lnTo>
                      <a:pt x="789" y="625"/>
                    </a:lnTo>
                    <a:lnTo>
                      <a:pt x="780" y="610"/>
                    </a:lnTo>
                    <a:lnTo>
                      <a:pt x="740" y="613"/>
                    </a:lnTo>
                    <a:lnTo>
                      <a:pt x="699" y="615"/>
                    </a:lnTo>
                    <a:lnTo>
                      <a:pt x="659" y="617"/>
                    </a:lnTo>
                    <a:lnTo>
                      <a:pt x="619" y="617"/>
                    </a:lnTo>
                    <a:lnTo>
                      <a:pt x="579" y="620"/>
                    </a:lnTo>
                    <a:lnTo>
                      <a:pt x="539" y="622"/>
                    </a:lnTo>
                    <a:lnTo>
                      <a:pt x="496" y="622"/>
                    </a:lnTo>
                    <a:lnTo>
                      <a:pt x="456" y="625"/>
                    </a:lnTo>
                    <a:lnTo>
                      <a:pt x="416" y="627"/>
                    </a:lnTo>
                    <a:lnTo>
                      <a:pt x="376" y="627"/>
                    </a:lnTo>
                    <a:lnTo>
                      <a:pt x="335" y="627"/>
                    </a:lnTo>
                    <a:lnTo>
                      <a:pt x="295" y="629"/>
                    </a:lnTo>
                    <a:lnTo>
                      <a:pt x="255" y="629"/>
                    </a:lnTo>
                    <a:lnTo>
                      <a:pt x="215" y="629"/>
                    </a:lnTo>
                    <a:lnTo>
                      <a:pt x="175" y="632"/>
                    </a:lnTo>
                    <a:lnTo>
                      <a:pt x="134" y="632"/>
                    </a:lnTo>
                    <a:lnTo>
                      <a:pt x="125" y="615"/>
                    </a:lnTo>
                    <a:lnTo>
                      <a:pt x="118" y="601"/>
                    </a:lnTo>
                    <a:lnTo>
                      <a:pt x="123" y="594"/>
                    </a:lnTo>
                    <a:lnTo>
                      <a:pt x="123" y="570"/>
                    </a:lnTo>
                    <a:lnTo>
                      <a:pt x="120" y="530"/>
                    </a:lnTo>
                    <a:lnTo>
                      <a:pt x="118" y="509"/>
                    </a:lnTo>
                    <a:lnTo>
                      <a:pt x="111" y="504"/>
                    </a:lnTo>
                    <a:lnTo>
                      <a:pt x="111" y="497"/>
                    </a:lnTo>
                    <a:lnTo>
                      <a:pt x="116" y="487"/>
                    </a:lnTo>
                    <a:lnTo>
                      <a:pt x="113" y="480"/>
                    </a:lnTo>
                    <a:lnTo>
                      <a:pt x="106" y="478"/>
                    </a:lnTo>
                    <a:lnTo>
                      <a:pt x="104" y="471"/>
                    </a:lnTo>
                    <a:lnTo>
                      <a:pt x="106" y="459"/>
                    </a:lnTo>
                    <a:lnTo>
                      <a:pt x="106" y="450"/>
                    </a:lnTo>
                    <a:lnTo>
                      <a:pt x="99" y="447"/>
                    </a:lnTo>
                    <a:lnTo>
                      <a:pt x="97" y="445"/>
                    </a:lnTo>
                    <a:lnTo>
                      <a:pt x="97" y="438"/>
                    </a:lnTo>
                    <a:lnTo>
                      <a:pt x="94" y="435"/>
                    </a:lnTo>
                    <a:lnTo>
                      <a:pt x="87" y="433"/>
                    </a:lnTo>
                    <a:lnTo>
                      <a:pt x="85" y="419"/>
                    </a:lnTo>
                    <a:lnTo>
                      <a:pt x="85" y="393"/>
                    </a:lnTo>
                    <a:lnTo>
                      <a:pt x="82" y="374"/>
                    </a:lnTo>
                    <a:lnTo>
                      <a:pt x="75" y="364"/>
                    </a:lnTo>
                    <a:lnTo>
                      <a:pt x="73" y="355"/>
                    </a:lnTo>
                    <a:lnTo>
                      <a:pt x="73" y="346"/>
                    </a:lnTo>
                    <a:lnTo>
                      <a:pt x="64" y="329"/>
                    </a:lnTo>
                    <a:lnTo>
                      <a:pt x="49" y="310"/>
                    </a:lnTo>
                    <a:lnTo>
                      <a:pt x="40" y="282"/>
                    </a:lnTo>
                    <a:lnTo>
                      <a:pt x="35" y="249"/>
                    </a:lnTo>
                    <a:lnTo>
                      <a:pt x="26" y="230"/>
                    </a:lnTo>
                    <a:lnTo>
                      <a:pt x="21" y="230"/>
                    </a:lnTo>
                    <a:lnTo>
                      <a:pt x="16" y="213"/>
                    </a:lnTo>
                    <a:lnTo>
                      <a:pt x="14" y="204"/>
                    </a:lnTo>
                    <a:lnTo>
                      <a:pt x="12" y="199"/>
                    </a:lnTo>
                    <a:lnTo>
                      <a:pt x="0" y="182"/>
                    </a:lnTo>
                    <a:lnTo>
                      <a:pt x="0" y="178"/>
                    </a:lnTo>
                    <a:lnTo>
                      <a:pt x="0" y="171"/>
                    </a:lnTo>
                    <a:lnTo>
                      <a:pt x="9" y="156"/>
                    </a:lnTo>
                    <a:lnTo>
                      <a:pt x="16" y="133"/>
                    </a:lnTo>
                    <a:lnTo>
                      <a:pt x="19" y="116"/>
                    </a:lnTo>
                    <a:lnTo>
                      <a:pt x="26" y="104"/>
                    </a:lnTo>
                    <a:lnTo>
                      <a:pt x="26" y="100"/>
                    </a:lnTo>
                    <a:lnTo>
                      <a:pt x="23" y="90"/>
                    </a:lnTo>
                    <a:lnTo>
                      <a:pt x="21" y="83"/>
                    </a:lnTo>
                    <a:lnTo>
                      <a:pt x="12" y="78"/>
                    </a:lnTo>
                    <a:lnTo>
                      <a:pt x="9" y="76"/>
                    </a:lnTo>
                    <a:lnTo>
                      <a:pt x="9" y="67"/>
                    </a:lnTo>
                    <a:lnTo>
                      <a:pt x="12" y="62"/>
                    </a:lnTo>
                    <a:lnTo>
                      <a:pt x="14" y="55"/>
                    </a:lnTo>
                    <a:lnTo>
                      <a:pt x="14" y="48"/>
                    </a:lnTo>
                    <a:lnTo>
                      <a:pt x="7" y="33"/>
                    </a:lnTo>
                    <a:lnTo>
                      <a:pt x="4" y="22"/>
                    </a:lnTo>
                    <a:lnTo>
                      <a:pt x="26" y="22"/>
                    </a:lnTo>
                    <a:lnTo>
                      <a:pt x="75" y="22"/>
                    </a:lnTo>
                    <a:lnTo>
                      <a:pt x="127" y="22"/>
                    </a:lnTo>
                    <a:lnTo>
                      <a:pt x="177" y="22"/>
                    </a:lnTo>
                    <a:lnTo>
                      <a:pt x="227" y="19"/>
                    </a:lnTo>
                    <a:lnTo>
                      <a:pt x="276" y="19"/>
                    </a:lnTo>
                    <a:lnTo>
                      <a:pt x="326" y="19"/>
                    </a:lnTo>
                    <a:lnTo>
                      <a:pt x="376" y="17"/>
                    </a:lnTo>
                    <a:lnTo>
                      <a:pt x="425" y="17"/>
                    </a:lnTo>
                    <a:lnTo>
                      <a:pt x="475" y="15"/>
                    </a:lnTo>
                    <a:lnTo>
                      <a:pt x="527" y="15"/>
                    </a:lnTo>
                    <a:lnTo>
                      <a:pt x="576" y="12"/>
                    </a:lnTo>
                    <a:lnTo>
                      <a:pt x="626" y="10"/>
                    </a:lnTo>
                    <a:lnTo>
                      <a:pt x="676" y="10"/>
                    </a:lnTo>
                    <a:lnTo>
                      <a:pt x="725" y="7"/>
                    </a:lnTo>
                    <a:lnTo>
                      <a:pt x="775" y="5"/>
                    </a:lnTo>
                    <a:lnTo>
                      <a:pt x="827" y="0"/>
                    </a:lnTo>
                    <a:lnTo>
                      <a:pt x="827" y="15"/>
                    </a:lnTo>
                    <a:lnTo>
                      <a:pt x="832" y="24"/>
                    </a:lnTo>
                    <a:lnTo>
                      <a:pt x="839" y="31"/>
                    </a:lnTo>
                    <a:lnTo>
                      <a:pt x="848" y="36"/>
                    </a:lnTo>
                    <a:lnTo>
                      <a:pt x="851" y="48"/>
                    </a:lnTo>
                    <a:lnTo>
                      <a:pt x="844" y="64"/>
                    </a:lnTo>
                    <a:lnTo>
                      <a:pt x="844" y="85"/>
                    </a:lnTo>
                    <a:lnTo>
                      <a:pt x="846" y="109"/>
                    </a:lnTo>
                    <a:lnTo>
                      <a:pt x="853" y="130"/>
                    </a:lnTo>
                    <a:lnTo>
                      <a:pt x="860" y="149"/>
                    </a:lnTo>
                    <a:lnTo>
                      <a:pt x="879" y="163"/>
                    </a:lnTo>
                    <a:lnTo>
                      <a:pt x="905" y="171"/>
                    </a:lnTo>
                    <a:lnTo>
                      <a:pt x="922" y="185"/>
                    </a:lnTo>
                    <a:lnTo>
                      <a:pt x="929" y="204"/>
                    </a:lnTo>
                    <a:lnTo>
                      <a:pt x="929" y="20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7" name="Freeform 55">
                <a:extLst>
                  <a:ext uri="{FF2B5EF4-FFF2-40B4-BE49-F238E27FC236}">
                    <a16:creationId xmlns:a16="http://schemas.microsoft.com/office/drawing/2014/main" id="{6ED84AFC-9844-2B81-4203-5DD1B60D8FD0}"/>
                  </a:ext>
                </a:extLst>
              </p:cNvPr>
              <p:cNvSpPr>
                <a:spLocks/>
              </p:cNvSpPr>
              <p:nvPr/>
            </p:nvSpPr>
            <p:spPr bwMode="auto">
              <a:xfrm>
                <a:off x="1437" y="-1135"/>
                <a:ext cx="1005" cy="1629"/>
              </a:xfrm>
              <a:custGeom>
                <a:avLst/>
                <a:gdLst>
                  <a:gd name="T0" fmla="*/ 988 w 1005"/>
                  <a:gd name="T1" fmla="*/ 1206 h 1629"/>
                  <a:gd name="T2" fmla="*/ 967 w 1005"/>
                  <a:gd name="T3" fmla="*/ 1336 h 1629"/>
                  <a:gd name="T4" fmla="*/ 946 w 1005"/>
                  <a:gd name="T5" fmla="*/ 1466 h 1629"/>
                  <a:gd name="T6" fmla="*/ 924 w 1005"/>
                  <a:gd name="T7" fmla="*/ 1596 h 1629"/>
                  <a:gd name="T8" fmla="*/ 832 w 1005"/>
                  <a:gd name="T9" fmla="*/ 1615 h 1629"/>
                  <a:gd name="T10" fmla="*/ 716 w 1005"/>
                  <a:gd name="T11" fmla="*/ 1594 h 1629"/>
                  <a:gd name="T12" fmla="*/ 601 w 1005"/>
                  <a:gd name="T13" fmla="*/ 1572 h 1629"/>
                  <a:gd name="T14" fmla="*/ 485 w 1005"/>
                  <a:gd name="T15" fmla="*/ 1549 h 1629"/>
                  <a:gd name="T16" fmla="*/ 286 w 1005"/>
                  <a:gd name="T17" fmla="*/ 1509 h 1629"/>
                  <a:gd name="T18" fmla="*/ 57 w 1005"/>
                  <a:gd name="T19" fmla="*/ 1457 h 1629"/>
                  <a:gd name="T20" fmla="*/ 33 w 1005"/>
                  <a:gd name="T21" fmla="*/ 1308 h 1629"/>
                  <a:gd name="T22" fmla="*/ 76 w 1005"/>
                  <a:gd name="T23" fmla="*/ 1123 h 1629"/>
                  <a:gd name="T24" fmla="*/ 109 w 1005"/>
                  <a:gd name="T25" fmla="*/ 1029 h 1629"/>
                  <a:gd name="T26" fmla="*/ 123 w 1005"/>
                  <a:gd name="T27" fmla="*/ 996 h 1629"/>
                  <a:gd name="T28" fmla="*/ 88 w 1005"/>
                  <a:gd name="T29" fmla="*/ 958 h 1629"/>
                  <a:gd name="T30" fmla="*/ 166 w 1005"/>
                  <a:gd name="T31" fmla="*/ 854 h 1629"/>
                  <a:gd name="T32" fmla="*/ 255 w 1005"/>
                  <a:gd name="T33" fmla="*/ 714 h 1629"/>
                  <a:gd name="T34" fmla="*/ 213 w 1005"/>
                  <a:gd name="T35" fmla="*/ 636 h 1629"/>
                  <a:gd name="T36" fmla="*/ 215 w 1005"/>
                  <a:gd name="T37" fmla="*/ 591 h 1629"/>
                  <a:gd name="T38" fmla="*/ 213 w 1005"/>
                  <a:gd name="T39" fmla="*/ 534 h 1629"/>
                  <a:gd name="T40" fmla="*/ 237 w 1005"/>
                  <a:gd name="T41" fmla="*/ 433 h 1629"/>
                  <a:gd name="T42" fmla="*/ 267 w 1005"/>
                  <a:gd name="T43" fmla="*/ 300 h 1629"/>
                  <a:gd name="T44" fmla="*/ 298 w 1005"/>
                  <a:gd name="T45" fmla="*/ 168 h 1629"/>
                  <a:gd name="T46" fmla="*/ 329 w 1005"/>
                  <a:gd name="T47" fmla="*/ 33 h 1629"/>
                  <a:gd name="T48" fmla="*/ 473 w 1005"/>
                  <a:gd name="T49" fmla="*/ 33 h 1629"/>
                  <a:gd name="T50" fmla="*/ 426 w 1005"/>
                  <a:gd name="T51" fmla="*/ 239 h 1629"/>
                  <a:gd name="T52" fmla="*/ 456 w 1005"/>
                  <a:gd name="T53" fmla="*/ 310 h 1629"/>
                  <a:gd name="T54" fmla="*/ 456 w 1005"/>
                  <a:gd name="T55" fmla="*/ 355 h 1629"/>
                  <a:gd name="T56" fmla="*/ 447 w 1005"/>
                  <a:gd name="T57" fmla="*/ 364 h 1629"/>
                  <a:gd name="T58" fmla="*/ 492 w 1005"/>
                  <a:gd name="T59" fmla="*/ 414 h 1629"/>
                  <a:gd name="T60" fmla="*/ 534 w 1005"/>
                  <a:gd name="T61" fmla="*/ 497 h 1629"/>
                  <a:gd name="T62" fmla="*/ 553 w 1005"/>
                  <a:gd name="T63" fmla="*/ 542 h 1629"/>
                  <a:gd name="T64" fmla="*/ 570 w 1005"/>
                  <a:gd name="T65" fmla="*/ 549 h 1629"/>
                  <a:gd name="T66" fmla="*/ 582 w 1005"/>
                  <a:gd name="T67" fmla="*/ 568 h 1629"/>
                  <a:gd name="T68" fmla="*/ 608 w 1005"/>
                  <a:gd name="T69" fmla="*/ 575 h 1629"/>
                  <a:gd name="T70" fmla="*/ 593 w 1005"/>
                  <a:gd name="T71" fmla="*/ 612 h 1629"/>
                  <a:gd name="T72" fmla="*/ 565 w 1005"/>
                  <a:gd name="T73" fmla="*/ 669 h 1629"/>
                  <a:gd name="T74" fmla="*/ 567 w 1005"/>
                  <a:gd name="T75" fmla="*/ 709 h 1629"/>
                  <a:gd name="T76" fmla="*/ 546 w 1005"/>
                  <a:gd name="T77" fmla="*/ 740 h 1629"/>
                  <a:gd name="T78" fmla="*/ 534 w 1005"/>
                  <a:gd name="T79" fmla="*/ 787 h 1629"/>
                  <a:gd name="T80" fmla="*/ 560 w 1005"/>
                  <a:gd name="T81" fmla="*/ 813 h 1629"/>
                  <a:gd name="T82" fmla="*/ 596 w 1005"/>
                  <a:gd name="T83" fmla="*/ 802 h 1629"/>
                  <a:gd name="T84" fmla="*/ 619 w 1005"/>
                  <a:gd name="T85" fmla="*/ 780 h 1629"/>
                  <a:gd name="T86" fmla="*/ 641 w 1005"/>
                  <a:gd name="T87" fmla="*/ 806 h 1629"/>
                  <a:gd name="T88" fmla="*/ 641 w 1005"/>
                  <a:gd name="T89" fmla="*/ 839 h 1629"/>
                  <a:gd name="T90" fmla="*/ 660 w 1005"/>
                  <a:gd name="T91" fmla="*/ 908 h 1629"/>
                  <a:gd name="T92" fmla="*/ 671 w 1005"/>
                  <a:gd name="T93" fmla="*/ 941 h 1629"/>
                  <a:gd name="T94" fmla="*/ 679 w 1005"/>
                  <a:gd name="T95" fmla="*/ 984 h 1629"/>
                  <a:gd name="T96" fmla="*/ 705 w 1005"/>
                  <a:gd name="T97" fmla="*/ 998 h 1629"/>
                  <a:gd name="T98" fmla="*/ 716 w 1005"/>
                  <a:gd name="T99" fmla="*/ 1050 h 1629"/>
                  <a:gd name="T100" fmla="*/ 733 w 1005"/>
                  <a:gd name="T101" fmla="*/ 1083 h 1629"/>
                  <a:gd name="T102" fmla="*/ 745 w 1005"/>
                  <a:gd name="T103" fmla="*/ 1071 h 1629"/>
                  <a:gd name="T104" fmla="*/ 806 w 1005"/>
                  <a:gd name="T105" fmla="*/ 1081 h 1629"/>
                  <a:gd name="T106" fmla="*/ 832 w 1005"/>
                  <a:gd name="T107" fmla="*/ 1066 h 1629"/>
                  <a:gd name="T108" fmla="*/ 917 w 1005"/>
                  <a:gd name="T109" fmla="*/ 1081 h 1629"/>
                  <a:gd name="T110" fmla="*/ 943 w 1005"/>
                  <a:gd name="T111" fmla="*/ 1081 h 1629"/>
                  <a:gd name="T112" fmla="*/ 960 w 1005"/>
                  <a:gd name="T113" fmla="*/ 1050 h 1629"/>
                  <a:gd name="T114" fmla="*/ 981 w 1005"/>
                  <a:gd name="T115" fmla="*/ 1064 h 1629"/>
                  <a:gd name="T116" fmla="*/ 1005 w 1005"/>
                  <a:gd name="T117" fmla="*/ 1109 h 1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5" h="1629">
                    <a:moveTo>
                      <a:pt x="1005" y="1109"/>
                    </a:moveTo>
                    <a:lnTo>
                      <a:pt x="1000" y="1142"/>
                    </a:lnTo>
                    <a:lnTo>
                      <a:pt x="995" y="1175"/>
                    </a:lnTo>
                    <a:lnTo>
                      <a:pt x="988" y="1206"/>
                    </a:lnTo>
                    <a:lnTo>
                      <a:pt x="983" y="1239"/>
                    </a:lnTo>
                    <a:lnTo>
                      <a:pt x="979" y="1272"/>
                    </a:lnTo>
                    <a:lnTo>
                      <a:pt x="974" y="1305"/>
                    </a:lnTo>
                    <a:lnTo>
                      <a:pt x="967" y="1336"/>
                    </a:lnTo>
                    <a:lnTo>
                      <a:pt x="962" y="1369"/>
                    </a:lnTo>
                    <a:lnTo>
                      <a:pt x="957" y="1402"/>
                    </a:lnTo>
                    <a:lnTo>
                      <a:pt x="950" y="1433"/>
                    </a:lnTo>
                    <a:lnTo>
                      <a:pt x="946" y="1466"/>
                    </a:lnTo>
                    <a:lnTo>
                      <a:pt x="941" y="1499"/>
                    </a:lnTo>
                    <a:lnTo>
                      <a:pt x="936" y="1532"/>
                    </a:lnTo>
                    <a:lnTo>
                      <a:pt x="929" y="1563"/>
                    </a:lnTo>
                    <a:lnTo>
                      <a:pt x="924" y="1596"/>
                    </a:lnTo>
                    <a:lnTo>
                      <a:pt x="920" y="1629"/>
                    </a:lnTo>
                    <a:lnTo>
                      <a:pt x="889" y="1624"/>
                    </a:lnTo>
                    <a:lnTo>
                      <a:pt x="861" y="1620"/>
                    </a:lnTo>
                    <a:lnTo>
                      <a:pt x="832" y="1615"/>
                    </a:lnTo>
                    <a:lnTo>
                      <a:pt x="804" y="1608"/>
                    </a:lnTo>
                    <a:lnTo>
                      <a:pt x="773" y="1603"/>
                    </a:lnTo>
                    <a:lnTo>
                      <a:pt x="745" y="1598"/>
                    </a:lnTo>
                    <a:lnTo>
                      <a:pt x="716" y="1594"/>
                    </a:lnTo>
                    <a:lnTo>
                      <a:pt x="688" y="1589"/>
                    </a:lnTo>
                    <a:lnTo>
                      <a:pt x="660" y="1582"/>
                    </a:lnTo>
                    <a:lnTo>
                      <a:pt x="629" y="1577"/>
                    </a:lnTo>
                    <a:lnTo>
                      <a:pt x="601" y="1572"/>
                    </a:lnTo>
                    <a:lnTo>
                      <a:pt x="572" y="1565"/>
                    </a:lnTo>
                    <a:lnTo>
                      <a:pt x="544" y="1561"/>
                    </a:lnTo>
                    <a:lnTo>
                      <a:pt x="515" y="1556"/>
                    </a:lnTo>
                    <a:lnTo>
                      <a:pt x="485" y="1549"/>
                    </a:lnTo>
                    <a:lnTo>
                      <a:pt x="456" y="1544"/>
                    </a:lnTo>
                    <a:lnTo>
                      <a:pt x="400" y="1532"/>
                    </a:lnTo>
                    <a:lnTo>
                      <a:pt x="343" y="1520"/>
                    </a:lnTo>
                    <a:lnTo>
                      <a:pt x="286" y="1509"/>
                    </a:lnTo>
                    <a:lnTo>
                      <a:pt x="229" y="1497"/>
                    </a:lnTo>
                    <a:lnTo>
                      <a:pt x="170" y="1483"/>
                    </a:lnTo>
                    <a:lnTo>
                      <a:pt x="114" y="1471"/>
                    </a:lnTo>
                    <a:lnTo>
                      <a:pt x="57" y="1457"/>
                    </a:lnTo>
                    <a:lnTo>
                      <a:pt x="0" y="1445"/>
                    </a:lnTo>
                    <a:lnTo>
                      <a:pt x="12" y="1397"/>
                    </a:lnTo>
                    <a:lnTo>
                      <a:pt x="21" y="1353"/>
                    </a:lnTo>
                    <a:lnTo>
                      <a:pt x="33" y="1308"/>
                    </a:lnTo>
                    <a:lnTo>
                      <a:pt x="43" y="1260"/>
                    </a:lnTo>
                    <a:lnTo>
                      <a:pt x="55" y="1215"/>
                    </a:lnTo>
                    <a:lnTo>
                      <a:pt x="64" y="1170"/>
                    </a:lnTo>
                    <a:lnTo>
                      <a:pt x="76" y="1123"/>
                    </a:lnTo>
                    <a:lnTo>
                      <a:pt x="88" y="1074"/>
                    </a:lnTo>
                    <a:lnTo>
                      <a:pt x="88" y="1071"/>
                    </a:lnTo>
                    <a:lnTo>
                      <a:pt x="104" y="1043"/>
                    </a:lnTo>
                    <a:lnTo>
                      <a:pt x="109" y="1029"/>
                    </a:lnTo>
                    <a:lnTo>
                      <a:pt x="109" y="1019"/>
                    </a:lnTo>
                    <a:lnTo>
                      <a:pt x="114" y="1012"/>
                    </a:lnTo>
                    <a:lnTo>
                      <a:pt x="121" y="1005"/>
                    </a:lnTo>
                    <a:lnTo>
                      <a:pt x="123" y="996"/>
                    </a:lnTo>
                    <a:lnTo>
                      <a:pt x="118" y="986"/>
                    </a:lnTo>
                    <a:lnTo>
                      <a:pt x="109" y="977"/>
                    </a:lnTo>
                    <a:lnTo>
                      <a:pt x="92" y="969"/>
                    </a:lnTo>
                    <a:lnTo>
                      <a:pt x="88" y="958"/>
                    </a:lnTo>
                    <a:lnTo>
                      <a:pt x="90" y="939"/>
                    </a:lnTo>
                    <a:lnTo>
                      <a:pt x="111" y="910"/>
                    </a:lnTo>
                    <a:lnTo>
                      <a:pt x="144" y="877"/>
                    </a:lnTo>
                    <a:lnTo>
                      <a:pt x="166" y="854"/>
                    </a:lnTo>
                    <a:lnTo>
                      <a:pt x="170" y="837"/>
                    </a:lnTo>
                    <a:lnTo>
                      <a:pt x="194" y="802"/>
                    </a:lnTo>
                    <a:lnTo>
                      <a:pt x="237" y="750"/>
                    </a:lnTo>
                    <a:lnTo>
                      <a:pt x="255" y="714"/>
                    </a:lnTo>
                    <a:lnTo>
                      <a:pt x="253" y="695"/>
                    </a:lnTo>
                    <a:lnTo>
                      <a:pt x="241" y="676"/>
                    </a:lnTo>
                    <a:lnTo>
                      <a:pt x="225" y="657"/>
                    </a:lnTo>
                    <a:lnTo>
                      <a:pt x="213" y="636"/>
                    </a:lnTo>
                    <a:lnTo>
                      <a:pt x="211" y="627"/>
                    </a:lnTo>
                    <a:lnTo>
                      <a:pt x="208" y="612"/>
                    </a:lnTo>
                    <a:lnTo>
                      <a:pt x="211" y="598"/>
                    </a:lnTo>
                    <a:lnTo>
                      <a:pt x="215" y="591"/>
                    </a:lnTo>
                    <a:lnTo>
                      <a:pt x="215" y="577"/>
                    </a:lnTo>
                    <a:lnTo>
                      <a:pt x="211" y="553"/>
                    </a:lnTo>
                    <a:lnTo>
                      <a:pt x="211" y="539"/>
                    </a:lnTo>
                    <a:lnTo>
                      <a:pt x="213" y="534"/>
                    </a:lnTo>
                    <a:lnTo>
                      <a:pt x="213" y="532"/>
                    </a:lnTo>
                    <a:lnTo>
                      <a:pt x="222" y="499"/>
                    </a:lnTo>
                    <a:lnTo>
                      <a:pt x="229" y="466"/>
                    </a:lnTo>
                    <a:lnTo>
                      <a:pt x="237" y="433"/>
                    </a:lnTo>
                    <a:lnTo>
                      <a:pt x="244" y="400"/>
                    </a:lnTo>
                    <a:lnTo>
                      <a:pt x="253" y="367"/>
                    </a:lnTo>
                    <a:lnTo>
                      <a:pt x="260" y="333"/>
                    </a:lnTo>
                    <a:lnTo>
                      <a:pt x="267" y="300"/>
                    </a:lnTo>
                    <a:lnTo>
                      <a:pt x="274" y="267"/>
                    </a:lnTo>
                    <a:lnTo>
                      <a:pt x="284" y="234"/>
                    </a:lnTo>
                    <a:lnTo>
                      <a:pt x="291" y="201"/>
                    </a:lnTo>
                    <a:lnTo>
                      <a:pt x="298" y="168"/>
                    </a:lnTo>
                    <a:lnTo>
                      <a:pt x="307" y="135"/>
                    </a:lnTo>
                    <a:lnTo>
                      <a:pt x="315" y="102"/>
                    </a:lnTo>
                    <a:lnTo>
                      <a:pt x="322" y="69"/>
                    </a:lnTo>
                    <a:lnTo>
                      <a:pt x="329" y="33"/>
                    </a:lnTo>
                    <a:lnTo>
                      <a:pt x="338" y="0"/>
                    </a:lnTo>
                    <a:lnTo>
                      <a:pt x="381" y="12"/>
                    </a:lnTo>
                    <a:lnTo>
                      <a:pt x="440" y="24"/>
                    </a:lnTo>
                    <a:lnTo>
                      <a:pt x="473" y="33"/>
                    </a:lnTo>
                    <a:lnTo>
                      <a:pt x="461" y="83"/>
                    </a:lnTo>
                    <a:lnTo>
                      <a:pt x="449" y="135"/>
                    </a:lnTo>
                    <a:lnTo>
                      <a:pt x="437" y="187"/>
                    </a:lnTo>
                    <a:lnTo>
                      <a:pt x="426" y="239"/>
                    </a:lnTo>
                    <a:lnTo>
                      <a:pt x="437" y="263"/>
                    </a:lnTo>
                    <a:lnTo>
                      <a:pt x="445" y="277"/>
                    </a:lnTo>
                    <a:lnTo>
                      <a:pt x="449" y="293"/>
                    </a:lnTo>
                    <a:lnTo>
                      <a:pt x="456" y="310"/>
                    </a:lnTo>
                    <a:lnTo>
                      <a:pt x="459" y="315"/>
                    </a:lnTo>
                    <a:lnTo>
                      <a:pt x="459" y="331"/>
                    </a:lnTo>
                    <a:lnTo>
                      <a:pt x="454" y="343"/>
                    </a:lnTo>
                    <a:lnTo>
                      <a:pt x="456" y="355"/>
                    </a:lnTo>
                    <a:lnTo>
                      <a:pt x="454" y="362"/>
                    </a:lnTo>
                    <a:lnTo>
                      <a:pt x="449" y="362"/>
                    </a:lnTo>
                    <a:lnTo>
                      <a:pt x="447" y="364"/>
                    </a:lnTo>
                    <a:lnTo>
                      <a:pt x="447" y="364"/>
                    </a:lnTo>
                    <a:lnTo>
                      <a:pt x="449" y="367"/>
                    </a:lnTo>
                    <a:lnTo>
                      <a:pt x="461" y="381"/>
                    </a:lnTo>
                    <a:lnTo>
                      <a:pt x="473" y="400"/>
                    </a:lnTo>
                    <a:lnTo>
                      <a:pt x="492" y="414"/>
                    </a:lnTo>
                    <a:lnTo>
                      <a:pt x="497" y="421"/>
                    </a:lnTo>
                    <a:lnTo>
                      <a:pt x="515" y="459"/>
                    </a:lnTo>
                    <a:lnTo>
                      <a:pt x="523" y="480"/>
                    </a:lnTo>
                    <a:lnTo>
                      <a:pt x="534" y="497"/>
                    </a:lnTo>
                    <a:lnTo>
                      <a:pt x="539" y="516"/>
                    </a:lnTo>
                    <a:lnTo>
                      <a:pt x="549" y="532"/>
                    </a:lnTo>
                    <a:lnTo>
                      <a:pt x="551" y="539"/>
                    </a:lnTo>
                    <a:lnTo>
                      <a:pt x="553" y="542"/>
                    </a:lnTo>
                    <a:lnTo>
                      <a:pt x="553" y="542"/>
                    </a:lnTo>
                    <a:lnTo>
                      <a:pt x="563" y="542"/>
                    </a:lnTo>
                    <a:lnTo>
                      <a:pt x="565" y="542"/>
                    </a:lnTo>
                    <a:lnTo>
                      <a:pt x="570" y="549"/>
                    </a:lnTo>
                    <a:lnTo>
                      <a:pt x="567" y="558"/>
                    </a:lnTo>
                    <a:lnTo>
                      <a:pt x="570" y="563"/>
                    </a:lnTo>
                    <a:lnTo>
                      <a:pt x="577" y="565"/>
                    </a:lnTo>
                    <a:lnTo>
                      <a:pt x="582" y="568"/>
                    </a:lnTo>
                    <a:lnTo>
                      <a:pt x="603" y="568"/>
                    </a:lnTo>
                    <a:lnTo>
                      <a:pt x="608" y="568"/>
                    </a:lnTo>
                    <a:lnTo>
                      <a:pt x="608" y="570"/>
                    </a:lnTo>
                    <a:lnTo>
                      <a:pt x="608" y="575"/>
                    </a:lnTo>
                    <a:lnTo>
                      <a:pt x="608" y="582"/>
                    </a:lnTo>
                    <a:lnTo>
                      <a:pt x="603" y="591"/>
                    </a:lnTo>
                    <a:lnTo>
                      <a:pt x="596" y="601"/>
                    </a:lnTo>
                    <a:lnTo>
                      <a:pt x="593" y="612"/>
                    </a:lnTo>
                    <a:lnTo>
                      <a:pt x="584" y="634"/>
                    </a:lnTo>
                    <a:lnTo>
                      <a:pt x="577" y="648"/>
                    </a:lnTo>
                    <a:lnTo>
                      <a:pt x="575" y="662"/>
                    </a:lnTo>
                    <a:lnTo>
                      <a:pt x="565" y="669"/>
                    </a:lnTo>
                    <a:lnTo>
                      <a:pt x="567" y="681"/>
                    </a:lnTo>
                    <a:lnTo>
                      <a:pt x="563" y="695"/>
                    </a:lnTo>
                    <a:lnTo>
                      <a:pt x="563" y="700"/>
                    </a:lnTo>
                    <a:lnTo>
                      <a:pt x="567" y="709"/>
                    </a:lnTo>
                    <a:lnTo>
                      <a:pt x="567" y="728"/>
                    </a:lnTo>
                    <a:lnTo>
                      <a:pt x="565" y="731"/>
                    </a:lnTo>
                    <a:lnTo>
                      <a:pt x="551" y="735"/>
                    </a:lnTo>
                    <a:lnTo>
                      <a:pt x="546" y="740"/>
                    </a:lnTo>
                    <a:lnTo>
                      <a:pt x="544" y="747"/>
                    </a:lnTo>
                    <a:lnTo>
                      <a:pt x="544" y="769"/>
                    </a:lnTo>
                    <a:lnTo>
                      <a:pt x="537" y="778"/>
                    </a:lnTo>
                    <a:lnTo>
                      <a:pt x="534" y="787"/>
                    </a:lnTo>
                    <a:lnTo>
                      <a:pt x="534" y="790"/>
                    </a:lnTo>
                    <a:lnTo>
                      <a:pt x="546" y="797"/>
                    </a:lnTo>
                    <a:lnTo>
                      <a:pt x="558" y="811"/>
                    </a:lnTo>
                    <a:lnTo>
                      <a:pt x="560" y="813"/>
                    </a:lnTo>
                    <a:lnTo>
                      <a:pt x="565" y="813"/>
                    </a:lnTo>
                    <a:lnTo>
                      <a:pt x="572" y="811"/>
                    </a:lnTo>
                    <a:lnTo>
                      <a:pt x="579" y="806"/>
                    </a:lnTo>
                    <a:lnTo>
                      <a:pt x="596" y="802"/>
                    </a:lnTo>
                    <a:lnTo>
                      <a:pt x="615" y="787"/>
                    </a:lnTo>
                    <a:lnTo>
                      <a:pt x="617" y="783"/>
                    </a:lnTo>
                    <a:lnTo>
                      <a:pt x="617" y="780"/>
                    </a:lnTo>
                    <a:lnTo>
                      <a:pt x="619" y="780"/>
                    </a:lnTo>
                    <a:lnTo>
                      <a:pt x="624" y="785"/>
                    </a:lnTo>
                    <a:lnTo>
                      <a:pt x="634" y="797"/>
                    </a:lnTo>
                    <a:lnTo>
                      <a:pt x="641" y="804"/>
                    </a:lnTo>
                    <a:lnTo>
                      <a:pt x="641" y="806"/>
                    </a:lnTo>
                    <a:lnTo>
                      <a:pt x="643" y="809"/>
                    </a:lnTo>
                    <a:lnTo>
                      <a:pt x="641" y="818"/>
                    </a:lnTo>
                    <a:lnTo>
                      <a:pt x="643" y="828"/>
                    </a:lnTo>
                    <a:lnTo>
                      <a:pt x="641" y="839"/>
                    </a:lnTo>
                    <a:lnTo>
                      <a:pt x="645" y="854"/>
                    </a:lnTo>
                    <a:lnTo>
                      <a:pt x="645" y="870"/>
                    </a:lnTo>
                    <a:lnTo>
                      <a:pt x="655" y="891"/>
                    </a:lnTo>
                    <a:lnTo>
                      <a:pt x="660" y="908"/>
                    </a:lnTo>
                    <a:lnTo>
                      <a:pt x="664" y="915"/>
                    </a:lnTo>
                    <a:lnTo>
                      <a:pt x="669" y="925"/>
                    </a:lnTo>
                    <a:lnTo>
                      <a:pt x="671" y="934"/>
                    </a:lnTo>
                    <a:lnTo>
                      <a:pt x="671" y="941"/>
                    </a:lnTo>
                    <a:lnTo>
                      <a:pt x="662" y="955"/>
                    </a:lnTo>
                    <a:lnTo>
                      <a:pt x="664" y="960"/>
                    </a:lnTo>
                    <a:lnTo>
                      <a:pt x="667" y="967"/>
                    </a:lnTo>
                    <a:lnTo>
                      <a:pt x="679" y="984"/>
                    </a:lnTo>
                    <a:lnTo>
                      <a:pt x="681" y="986"/>
                    </a:lnTo>
                    <a:lnTo>
                      <a:pt x="693" y="986"/>
                    </a:lnTo>
                    <a:lnTo>
                      <a:pt x="700" y="991"/>
                    </a:lnTo>
                    <a:lnTo>
                      <a:pt x="705" y="998"/>
                    </a:lnTo>
                    <a:lnTo>
                      <a:pt x="709" y="1010"/>
                    </a:lnTo>
                    <a:lnTo>
                      <a:pt x="712" y="1022"/>
                    </a:lnTo>
                    <a:lnTo>
                      <a:pt x="712" y="1033"/>
                    </a:lnTo>
                    <a:lnTo>
                      <a:pt x="716" y="1050"/>
                    </a:lnTo>
                    <a:lnTo>
                      <a:pt x="714" y="1062"/>
                    </a:lnTo>
                    <a:lnTo>
                      <a:pt x="719" y="1066"/>
                    </a:lnTo>
                    <a:lnTo>
                      <a:pt x="726" y="1076"/>
                    </a:lnTo>
                    <a:lnTo>
                      <a:pt x="733" y="1083"/>
                    </a:lnTo>
                    <a:lnTo>
                      <a:pt x="738" y="1083"/>
                    </a:lnTo>
                    <a:lnTo>
                      <a:pt x="740" y="1083"/>
                    </a:lnTo>
                    <a:lnTo>
                      <a:pt x="742" y="1076"/>
                    </a:lnTo>
                    <a:lnTo>
                      <a:pt x="745" y="1071"/>
                    </a:lnTo>
                    <a:lnTo>
                      <a:pt x="757" y="1066"/>
                    </a:lnTo>
                    <a:lnTo>
                      <a:pt x="768" y="1066"/>
                    </a:lnTo>
                    <a:lnTo>
                      <a:pt x="804" y="1081"/>
                    </a:lnTo>
                    <a:lnTo>
                      <a:pt x="806" y="1081"/>
                    </a:lnTo>
                    <a:lnTo>
                      <a:pt x="809" y="1078"/>
                    </a:lnTo>
                    <a:lnTo>
                      <a:pt x="818" y="1069"/>
                    </a:lnTo>
                    <a:lnTo>
                      <a:pt x="823" y="1066"/>
                    </a:lnTo>
                    <a:lnTo>
                      <a:pt x="832" y="1066"/>
                    </a:lnTo>
                    <a:lnTo>
                      <a:pt x="856" y="1074"/>
                    </a:lnTo>
                    <a:lnTo>
                      <a:pt x="882" y="1076"/>
                    </a:lnTo>
                    <a:lnTo>
                      <a:pt x="896" y="1081"/>
                    </a:lnTo>
                    <a:lnTo>
                      <a:pt x="917" y="1081"/>
                    </a:lnTo>
                    <a:lnTo>
                      <a:pt x="941" y="1088"/>
                    </a:lnTo>
                    <a:lnTo>
                      <a:pt x="943" y="1088"/>
                    </a:lnTo>
                    <a:lnTo>
                      <a:pt x="946" y="1085"/>
                    </a:lnTo>
                    <a:lnTo>
                      <a:pt x="943" y="1081"/>
                    </a:lnTo>
                    <a:lnTo>
                      <a:pt x="943" y="1071"/>
                    </a:lnTo>
                    <a:lnTo>
                      <a:pt x="950" y="1062"/>
                    </a:lnTo>
                    <a:lnTo>
                      <a:pt x="955" y="1055"/>
                    </a:lnTo>
                    <a:lnTo>
                      <a:pt x="960" y="1050"/>
                    </a:lnTo>
                    <a:lnTo>
                      <a:pt x="967" y="1050"/>
                    </a:lnTo>
                    <a:lnTo>
                      <a:pt x="972" y="1050"/>
                    </a:lnTo>
                    <a:lnTo>
                      <a:pt x="976" y="1057"/>
                    </a:lnTo>
                    <a:lnTo>
                      <a:pt x="981" y="1064"/>
                    </a:lnTo>
                    <a:lnTo>
                      <a:pt x="986" y="1085"/>
                    </a:lnTo>
                    <a:lnTo>
                      <a:pt x="991" y="1095"/>
                    </a:lnTo>
                    <a:lnTo>
                      <a:pt x="998" y="1102"/>
                    </a:lnTo>
                    <a:lnTo>
                      <a:pt x="1005" y="110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8" name="Freeform 56">
                <a:extLst>
                  <a:ext uri="{FF2B5EF4-FFF2-40B4-BE49-F238E27FC236}">
                    <a16:creationId xmlns:a16="http://schemas.microsoft.com/office/drawing/2014/main" id="{7D5232DB-32C7-0C8D-3E11-31D36B99B7EB}"/>
                  </a:ext>
                </a:extLst>
              </p:cNvPr>
              <p:cNvSpPr>
                <a:spLocks/>
              </p:cNvSpPr>
              <p:nvPr/>
            </p:nvSpPr>
            <p:spPr bwMode="auto">
              <a:xfrm>
                <a:off x="5432" y="527"/>
                <a:ext cx="669" cy="1171"/>
              </a:xfrm>
              <a:custGeom>
                <a:avLst/>
                <a:gdLst>
                  <a:gd name="T0" fmla="*/ 558 w 669"/>
                  <a:gd name="T1" fmla="*/ 59 h 1171"/>
                  <a:gd name="T2" fmla="*/ 577 w 669"/>
                  <a:gd name="T3" fmla="*/ 85 h 1171"/>
                  <a:gd name="T4" fmla="*/ 605 w 669"/>
                  <a:gd name="T5" fmla="*/ 149 h 1171"/>
                  <a:gd name="T6" fmla="*/ 622 w 669"/>
                  <a:gd name="T7" fmla="*/ 277 h 1171"/>
                  <a:gd name="T8" fmla="*/ 638 w 669"/>
                  <a:gd name="T9" fmla="*/ 464 h 1171"/>
                  <a:gd name="T10" fmla="*/ 655 w 669"/>
                  <a:gd name="T11" fmla="*/ 648 h 1171"/>
                  <a:gd name="T12" fmla="*/ 643 w 669"/>
                  <a:gd name="T13" fmla="*/ 669 h 1171"/>
                  <a:gd name="T14" fmla="*/ 641 w 669"/>
                  <a:gd name="T15" fmla="*/ 695 h 1171"/>
                  <a:gd name="T16" fmla="*/ 664 w 669"/>
                  <a:gd name="T17" fmla="*/ 747 h 1171"/>
                  <a:gd name="T18" fmla="*/ 659 w 669"/>
                  <a:gd name="T19" fmla="*/ 797 h 1171"/>
                  <a:gd name="T20" fmla="*/ 641 w 669"/>
                  <a:gd name="T21" fmla="*/ 842 h 1171"/>
                  <a:gd name="T22" fmla="*/ 619 w 669"/>
                  <a:gd name="T23" fmla="*/ 882 h 1171"/>
                  <a:gd name="T24" fmla="*/ 603 w 669"/>
                  <a:gd name="T25" fmla="*/ 892 h 1171"/>
                  <a:gd name="T26" fmla="*/ 610 w 669"/>
                  <a:gd name="T27" fmla="*/ 913 h 1171"/>
                  <a:gd name="T28" fmla="*/ 605 w 669"/>
                  <a:gd name="T29" fmla="*/ 927 h 1171"/>
                  <a:gd name="T30" fmla="*/ 598 w 669"/>
                  <a:gd name="T31" fmla="*/ 944 h 1171"/>
                  <a:gd name="T32" fmla="*/ 591 w 669"/>
                  <a:gd name="T33" fmla="*/ 967 h 1171"/>
                  <a:gd name="T34" fmla="*/ 596 w 669"/>
                  <a:gd name="T35" fmla="*/ 993 h 1171"/>
                  <a:gd name="T36" fmla="*/ 596 w 669"/>
                  <a:gd name="T37" fmla="*/ 1043 h 1171"/>
                  <a:gd name="T38" fmla="*/ 534 w 669"/>
                  <a:gd name="T39" fmla="*/ 1086 h 1171"/>
                  <a:gd name="T40" fmla="*/ 544 w 669"/>
                  <a:gd name="T41" fmla="*/ 1123 h 1171"/>
                  <a:gd name="T42" fmla="*/ 518 w 669"/>
                  <a:gd name="T43" fmla="*/ 1140 h 1171"/>
                  <a:gd name="T44" fmla="*/ 430 w 669"/>
                  <a:gd name="T45" fmla="*/ 1149 h 1171"/>
                  <a:gd name="T46" fmla="*/ 416 w 669"/>
                  <a:gd name="T47" fmla="*/ 1159 h 1171"/>
                  <a:gd name="T48" fmla="*/ 404 w 669"/>
                  <a:gd name="T49" fmla="*/ 1157 h 1171"/>
                  <a:gd name="T50" fmla="*/ 407 w 669"/>
                  <a:gd name="T51" fmla="*/ 1166 h 1171"/>
                  <a:gd name="T52" fmla="*/ 395 w 669"/>
                  <a:gd name="T53" fmla="*/ 1166 h 1171"/>
                  <a:gd name="T54" fmla="*/ 366 w 669"/>
                  <a:gd name="T55" fmla="*/ 1112 h 1171"/>
                  <a:gd name="T56" fmla="*/ 364 w 669"/>
                  <a:gd name="T57" fmla="*/ 1069 h 1171"/>
                  <a:gd name="T58" fmla="*/ 340 w 669"/>
                  <a:gd name="T59" fmla="*/ 1019 h 1171"/>
                  <a:gd name="T60" fmla="*/ 262 w 669"/>
                  <a:gd name="T61" fmla="*/ 972 h 1171"/>
                  <a:gd name="T62" fmla="*/ 208 w 669"/>
                  <a:gd name="T63" fmla="*/ 920 h 1171"/>
                  <a:gd name="T64" fmla="*/ 239 w 669"/>
                  <a:gd name="T65" fmla="*/ 809 h 1171"/>
                  <a:gd name="T66" fmla="*/ 239 w 669"/>
                  <a:gd name="T67" fmla="*/ 795 h 1171"/>
                  <a:gd name="T68" fmla="*/ 203 w 669"/>
                  <a:gd name="T69" fmla="*/ 778 h 1171"/>
                  <a:gd name="T70" fmla="*/ 151 w 669"/>
                  <a:gd name="T71" fmla="*/ 771 h 1171"/>
                  <a:gd name="T72" fmla="*/ 54 w 669"/>
                  <a:gd name="T73" fmla="*/ 646 h 1171"/>
                  <a:gd name="T74" fmla="*/ 9 w 669"/>
                  <a:gd name="T75" fmla="*/ 577 h 1171"/>
                  <a:gd name="T76" fmla="*/ 9 w 669"/>
                  <a:gd name="T77" fmla="*/ 485 h 1171"/>
                  <a:gd name="T78" fmla="*/ 14 w 669"/>
                  <a:gd name="T79" fmla="*/ 452 h 1171"/>
                  <a:gd name="T80" fmla="*/ 59 w 669"/>
                  <a:gd name="T81" fmla="*/ 405 h 1171"/>
                  <a:gd name="T82" fmla="*/ 78 w 669"/>
                  <a:gd name="T83" fmla="*/ 334 h 1171"/>
                  <a:gd name="T84" fmla="*/ 57 w 669"/>
                  <a:gd name="T85" fmla="*/ 293 h 1171"/>
                  <a:gd name="T86" fmla="*/ 106 w 669"/>
                  <a:gd name="T87" fmla="*/ 253 h 1171"/>
                  <a:gd name="T88" fmla="*/ 168 w 669"/>
                  <a:gd name="T89" fmla="*/ 213 h 1171"/>
                  <a:gd name="T90" fmla="*/ 187 w 669"/>
                  <a:gd name="T91" fmla="*/ 173 h 1171"/>
                  <a:gd name="T92" fmla="*/ 194 w 669"/>
                  <a:gd name="T93" fmla="*/ 121 h 1171"/>
                  <a:gd name="T94" fmla="*/ 161 w 669"/>
                  <a:gd name="T95" fmla="*/ 90 h 1171"/>
                  <a:gd name="T96" fmla="*/ 137 w 669"/>
                  <a:gd name="T97" fmla="*/ 55 h 1171"/>
                  <a:gd name="T98" fmla="*/ 182 w 669"/>
                  <a:gd name="T99" fmla="*/ 26 h 1171"/>
                  <a:gd name="T100" fmla="*/ 390 w 669"/>
                  <a:gd name="T101" fmla="*/ 12 h 1171"/>
                  <a:gd name="T102" fmla="*/ 551 w 669"/>
                  <a:gd name="T103" fmla="*/ 0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9" h="1171">
                    <a:moveTo>
                      <a:pt x="551" y="0"/>
                    </a:moveTo>
                    <a:lnTo>
                      <a:pt x="553" y="33"/>
                    </a:lnTo>
                    <a:lnTo>
                      <a:pt x="558" y="59"/>
                    </a:lnTo>
                    <a:lnTo>
                      <a:pt x="565" y="71"/>
                    </a:lnTo>
                    <a:lnTo>
                      <a:pt x="570" y="81"/>
                    </a:lnTo>
                    <a:lnTo>
                      <a:pt x="577" y="85"/>
                    </a:lnTo>
                    <a:lnTo>
                      <a:pt x="586" y="102"/>
                    </a:lnTo>
                    <a:lnTo>
                      <a:pt x="596" y="130"/>
                    </a:lnTo>
                    <a:lnTo>
                      <a:pt x="605" y="149"/>
                    </a:lnTo>
                    <a:lnTo>
                      <a:pt x="610" y="156"/>
                    </a:lnTo>
                    <a:lnTo>
                      <a:pt x="617" y="213"/>
                    </a:lnTo>
                    <a:lnTo>
                      <a:pt x="622" y="277"/>
                    </a:lnTo>
                    <a:lnTo>
                      <a:pt x="626" y="338"/>
                    </a:lnTo>
                    <a:lnTo>
                      <a:pt x="633" y="402"/>
                    </a:lnTo>
                    <a:lnTo>
                      <a:pt x="638" y="464"/>
                    </a:lnTo>
                    <a:lnTo>
                      <a:pt x="645" y="528"/>
                    </a:lnTo>
                    <a:lnTo>
                      <a:pt x="650" y="589"/>
                    </a:lnTo>
                    <a:lnTo>
                      <a:pt x="655" y="648"/>
                    </a:lnTo>
                    <a:lnTo>
                      <a:pt x="655" y="651"/>
                    </a:lnTo>
                    <a:lnTo>
                      <a:pt x="648" y="658"/>
                    </a:lnTo>
                    <a:lnTo>
                      <a:pt x="643" y="669"/>
                    </a:lnTo>
                    <a:lnTo>
                      <a:pt x="648" y="681"/>
                    </a:lnTo>
                    <a:lnTo>
                      <a:pt x="645" y="688"/>
                    </a:lnTo>
                    <a:lnTo>
                      <a:pt x="641" y="695"/>
                    </a:lnTo>
                    <a:lnTo>
                      <a:pt x="645" y="707"/>
                    </a:lnTo>
                    <a:lnTo>
                      <a:pt x="657" y="729"/>
                    </a:lnTo>
                    <a:lnTo>
                      <a:pt x="664" y="747"/>
                    </a:lnTo>
                    <a:lnTo>
                      <a:pt x="669" y="769"/>
                    </a:lnTo>
                    <a:lnTo>
                      <a:pt x="669" y="783"/>
                    </a:lnTo>
                    <a:lnTo>
                      <a:pt x="659" y="797"/>
                    </a:lnTo>
                    <a:lnTo>
                      <a:pt x="655" y="826"/>
                    </a:lnTo>
                    <a:lnTo>
                      <a:pt x="648" y="837"/>
                    </a:lnTo>
                    <a:lnTo>
                      <a:pt x="641" y="842"/>
                    </a:lnTo>
                    <a:lnTo>
                      <a:pt x="633" y="854"/>
                    </a:lnTo>
                    <a:lnTo>
                      <a:pt x="626" y="873"/>
                    </a:lnTo>
                    <a:lnTo>
                      <a:pt x="619" y="882"/>
                    </a:lnTo>
                    <a:lnTo>
                      <a:pt x="612" y="882"/>
                    </a:lnTo>
                    <a:lnTo>
                      <a:pt x="607" y="885"/>
                    </a:lnTo>
                    <a:lnTo>
                      <a:pt x="603" y="892"/>
                    </a:lnTo>
                    <a:lnTo>
                      <a:pt x="605" y="899"/>
                    </a:lnTo>
                    <a:lnTo>
                      <a:pt x="610" y="906"/>
                    </a:lnTo>
                    <a:lnTo>
                      <a:pt x="610" y="913"/>
                    </a:lnTo>
                    <a:lnTo>
                      <a:pt x="603" y="920"/>
                    </a:lnTo>
                    <a:lnTo>
                      <a:pt x="603" y="925"/>
                    </a:lnTo>
                    <a:lnTo>
                      <a:pt x="605" y="927"/>
                    </a:lnTo>
                    <a:lnTo>
                      <a:pt x="605" y="930"/>
                    </a:lnTo>
                    <a:lnTo>
                      <a:pt x="600" y="932"/>
                    </a:lnTo>
                    <a:lnTo>
                      <a:pt x="598" y="944"/>
                    </a:lnTo>
                    <a:lnTo>
                      <a:pt x="598" y="958"/>
                    </a:lnTo>
                    <a:lnTo>
                      <a:pt x="596" y="967"/>
                    </a:lnTo>
                    <a:lnTo>
                      <a:pt x="591" y="967"/>
                    </a:lnTo>
                    <a:lnTo>
                      <a:pt x="591" y="972"/>
                    </a:lnTo>
                    <a:lnTo>
                      <a:pt x="603" y="989"/>
                    </a:lnTo>
                    <a:lnTo>
                      <a:pt x="596" y="993"/>
                    </a:lnTo>
                    <a:lnTo>
                      <a:pt x="589" y="1010"/>
                    </a:lnTo>
                    <a:lnTo>
                      <a:pt x="589" y="1026"/>
                    </a:lnTo>
                    <a:lnTo>
                      <a:pt x="596" y="1043"/>
                    </a:lnTo>
                    <a:lnTo>
                      <a:pt x="584" y="1060"/>
                    </a:lnTo>
                    <a:lnTo>
                      <a:pt x="551" y="1074"/>
                    </a:lnTo>
                    <a:lnTo>
                      <a:pt x="534" y="1086"/>
                    </a:lnTo>
                    <a:lnTo>
                      <a:pt x="532" y="1093"/>
                    </a:lnTo>
                    <a:lnTo>
                      <a:pt x="537" y="1107"/>
                    </a:lnTo>
                    <a:lnTo>
                      <a:pt x="544" y="1123"/>
                    </a:lnTo>
                    <a:lnTo>
                      <a:pt x="546" y="1135"/>
                    </a:lnTo>
                    <a:lnTo>
                      <a:pt x="541" y="1142"/>
                    </a:lnTo>
                    <a:lnTo>
                      <a:pt x="518" y="1140"/>
                    </a:lnTo>
                    <a:lnTo>
                      <a:pt x="473" y="1128"/>
                    </a:lnTo>
                    <a:lnTo>
                      <a:pt x="444" y="1131"/>
                    </a:lnTo>
                    <a:lnTo>
                      <a:pt x="430" y="1149"/>
                    </a:lnTo>
                    <a:lnTo>
                      <a:pt x="428" y="1161"/>
                    </a:lnTo>
                    <a:lnTo>
                      <a:pt x="430" y="1171"/>
                    </a:lnTo>
                    <a:lnTo>
                      <a:pt x="416" y="1159"/>
                    </a:lnTo>
                    <a:lnTo>
                      <a:pt x="409" y="1154"/>
                    </a:lnTo>
                    <a:lnTo>
                      <a:pt x="407" y="1157"/>
                    </a:lnTo>
                    <a:lnTo>
                      <a:pt x="404" y="1157"/>
                    </a:lnTo>
                    <a:lnTo>
                      <a:pt x="404" y="1161"/>
                    </a:lnTo>
                    <a:lnTo>
                      <a:pt x="404" y="1164"/>
                    </a:lnTo>
                    <a:lnTo>
                      <a:pt x="407" y="1166"/>
                    </a:lnTo>
                    <a:lnTo>
                      <a:pt x="407" y="1168"/>
                    </a:lnTo>
                    <a:lnTo>
                      <a:pt x="404" y="1168"/>
                    </a:lnTo>
                    <a:lnTo>
                      <a:pt x="395" y="1166"/>
                    </a:lnTo>
                    <a:lnTo>
                      <a:pt x="383" y="1152"/>
                    </a:lnTo>
                    <a:lnTo>
                      <a:pt x="371" y="1131"/>
                    </a:lnTo>
                    <a:lnTo>
                      <a:pt x="366" y="1112"/>
                    </a:lnTo>
                    <a:lnTo>
                      <a:pt x="371" y="1097"/>
                    </a:lnTo>
                    <a:lnTo>
                      <a:pt x="371" y="1083"/>
                    </a:lnTo>
                    <a:lnTo>
                      <a:pt x="364" y="1069"/>
                    </a:lnTo>
                    <a:lnTo>
                      <a:pt x="359" y="1055"/>
                    </a:lnTo>
                    <a:lnTo>
                      <a:pt x="357" y="1041"/>
                    </a:lnTo>
                    <a:lnTo>
                      <a:pt x="340" y="1019"/>
                    </a:lnTo>
                    <a:lnTo>
                      <a:pt x="305" y="993"/>
                    </a:lnTo>
                    <a:lnTo>
                      <a:pt x="279" y="977"/>
                    </a:lnTo>
                    <a:lnTo>
                      <a:pt x="262" y="972"/>
                    </a:lnTo>
                    <a:lnTo>
                      <a:pt x="243" y="958"/>
                    </a:lnTo>
                    <a:lnTo>
                      <a:pt x="222" y="937"/>
                    </a:lnTo>
                    <a:lnTo>
                      <a:pt x="208" y="920"/>
                    </a:lnTo>
                    <a:lnTo>
                      <a:pt x="208" y="911"/>
                    </a:lnTo>
                    <a:lnTo>
                      <a:pt x="215" y="878"/>
                    </a:lnTo>
                    <a:lnTo>
                      <a:pt x="239" y="809"/>
                    </a:lnTo>
                    <a:lnTo>
                      <a:pt x="241" y="799"/>
                    </a:lnTo>
                    <a:lnTo>
                      <a:pt x="241" y="797"/>
                    </a:lnTo>
                    <a:lnTo>
                      <a:pt x="239" y="795"/>
                    </a:lnTo>
                    <a:lnTo>
                      <a:pt x="236" y="792"/>
                    </a:lnTo>
                    <a:lnTo>
                      <a:pt x="225" y="785"/>
                    </a:lnTo>
                    <a:lnTo>
                      <a:pt x="203" y="778"/>
                    </a:lnTo>
                    <a:lnTo>
                      <a:pt x="182" y="776"/>
                    </a:lnTo>
                    <a:lnTo>
                      <a:pt x="165" y="785"/>
                    </a:lnTo>
                    <a:lnTo>
                      <a:pt x="151" y="771"/>
                    </a:lnTo>
                    <a:lnTo>
                      <a:pt x="137" y="731"/>
                    </a:lnTo>
                    <a:lnTo>
                      <a:pt x="104" y="688"/>
                    </a:lnTo>
                    <a:lnTo>
                      <a:pt x="54" y="646"/>
                    </a:lnTo>
                    <a:lnTo>
                      <a:pt x="26" y="617"/>
                    </a:lnTo>
                    <a:lnTo>
                      <a:pt x="16" y="601"/>
                    </a:lnTo>
                    <a:lnTo>
                      <a:pt x="9" y="577"/>
                    </a:lnTo>
                    <a:lnTo>
                      <a:pt x="2" y="544"/>
                    </a:lnTo>
                    <a:lnTo>
                      <a:pt x="0" y="518"/>
                    </a:lnTo>
                    <a:lnTo>
                      <a:pt x="9" y="485"/>
                    </a:lnTo>
                    <a:lnTo>
                      <a:pt x="16" y="480"/>
                    </a:lnTo>
                    <a:lnTo>
                      <a:pt x="19" y="471"/>
                    </a:lnTo>
                    <a:lnTo>
                      <a:pt x="14" y="452"/>
                    </a:lnTo>
                    <a:lnTo>
                      <a:pt x="24" y="438"/>
                    </a:lnTo>
                    <a:lnTo>
                      <a:pt x="43" y="426"/>
                    </a:lnTo>
                    <a:lnTo>
                      <a:pt x="59" y="405"/>
                    </a:lnTo>
                    <a:lnTo>
                      <a:pt x="73" y="372"/>
                    </a:lnTo>
                    <a:lnTo>
                      <a:pt x="80" y="348"/>
                    </a:lnTo>
                    <a:lnTo>
                      <a:pt x="78" y="334"/>
                    </a:lnTo>
                    <a:lnTo>
                      <a:pt x="71" y="320"/>
                    </a:lnTo>
                    <a:lnTo>
                      <a:pt x="59" y="308"/>
                    </a:lnTo>
                    <a:lnTo>
                      <a:pt x="57" y="293"/>
                    </a:lnTo>
                    <a:lnTo>
                      <a:pt x="61" y="275"/>
                    </a:lnTo>
                    <a:lnTo>
                      <a:pt x="78" y="260"/>
                    </a:lnTo>
                    <a:lnTo>
                      <a:pt x="106" y="253"/>
                    </a:lnTo>
                    <a:lnTo>
                      <a:pt x="132" y="244"/>
                    </a:lnTo>
                    <a:lnTo>
                      <a:pt x="156" y="227"/>
                    </a:lnTo>
                    <a:lnTo>
                      <a:pt x="168" y="213"/>
                    </a:lnTo>
                    <a:lnTo>
                      <a:pt x="173" y="197"/>
                    </a:lnTo>
                    <a:lnTo>
                      <a:pt x="177" y="182"/>
                    </a:lnTo>
                    <a:lnTo>
                      <a:pt x="187" y="173"/>
                    </a:lnTo>
                    <a:lnTo>
                      <a:pt x="191" y="156"/>
                    </a:lnTo>
                    <a:lnTo>
                      <a:pt x="194" y="137"/>
                    </a:lnTo>
                    <a:lnTo>
                      <a:pt x="194" y="121"/>
                    </a:lnTo>
                    <a:lnTo>
                      <a:pt x="189" y="111"/>
                    </a:lnTo>
                    <a:lnTo>
                      <a:pt x="180" y="102"/>
                    </a:lnTo>
                    <a:lnTo>
                      <a:pt x="161" y="90"/>
                    </a:lnTo>
                    <a:lnTo>
                      <a:pt x="149" y="78"/>
                    </a:lnTo>
                    <a:lnTo>
                      <a:pt x="147" y="67"/>
                    </a:lnTo>
                    <a:lnTo>
                      <a:pt x="137" y="55"/>
                    </a:lnTo>
                    <a:lnTo>
                      <a:pt x="121" y="43"/>
                    </a:lnTo>
                    <a:lnTo>
                      <a:pt x="109" y="29"/>
                    </a:lnTo>
                    <a:lnTo>
                      <a:pt x="182" y="26"/>
                    </a:lnTo>
                    <a:lnTo>
                      <a:pt x="251" y="22"/>
                    </a:lnTo>
                    <a:lnTo>
                      <a:pt x="321" y="17"/>
                    </a:lnTo>
                    <a:lnTo>
                      <a:pt x="390" y="12"/>
                    </a:lnTo>
                    <a:lnTo>
                      <a:pt x="461" y="7"/>
                    </a:lnTo>
                    <a:lnTo>
                      <a:pt x="532" y="3"/>
                    </a:lnTo>
                    <a:lnTo>
                      <a:pt x="551" y="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9" name="Freeform 57">
                <a:extLst>
                  <a:ext uri="{FF2B5EF4-FFF2-40B4-BE49-F238E27FC236}">
                    <a16:creationId xmlns:a16="http://schemas.microsoft.com/office/drawing/2014/main" id="{89F6DAE5-5318-01FE-85BA-FBA6BC01C188}"/>
                  </a:ext>
                </a:extLst>
              </p:cNvPr>
              <p:cNvSpPr>
                <a:spLocks/>
              </p:cNvSpPr>
              <p:nvPr/>
            </p:nvSpPr>
            <p:spPr bwMode="auto">
              <a:xfrm>
                <a:off x="6023" y="631"/>
                <a:ext cx="522" cy="885"/>
              </a:xfrm>
              <a:custGeom>
                <a:avLst/>
                <a:gdLst>
                  <a:gd name="T0" fmla="*/ 463 w 522"/>
                  <a:gd name="T1" fmla="*/ 149 h 885"/>
                  <a:gd name="T2" fmla="*/ 487 w 522"/>
                  <a:gd name="T3" fmla="*/ 353 h 885"/>
                  <a:gd name="T4" fmla="*/ 510 w 522"/>
                  <a:gd name="T5" fmla="*/ 558 h 885"/>
                  <a:gd name="T6" fmla="*/ 510 w 522"/>
                  <a:gd name="T7" fmla="*/ 577 h 885"/>
                  <a:gd name="T8" fmla="*/ 510 w 522"/>
                  <a:gd name="T9" fmla="*/ 596 h 885"/>
                  <a:gd name="T10" fmla="*/ 522 w 522"/>
                  <a:gd name="T11" fmla="*/ 613 h 885"/>
                  <a:gd name="T12" fmla="*/ 470 w 522"/>
                  <a:gd name="T13" fmla="*/ 646 h 885"/>
                  <a:gd name="T14" fmla="*/ 461 w 522"/>
                  <a:gd name="T15" fmla="*/ 648 h 885"/>
                  <a:gd name="T16" fmla="*/ 442 w 522"/>
                  <a:gd name="T17" fmla="*/ 641 h 885"/>
                  <a:gd name="T18" fmla="*/ 425 w 522"/>
                  <a:gd name="T19" fmla="*/ 672 h 885"/>
                  <a:gd name="T20" fmla="*/ 399 w 522"/>
                  <a:gd name="T21" fmla="*/ 712 h 885"/>
                  <a:gd name="T22" fmla="*/ 373 w 522"/>
                  <a:gd name="T23" fmla="*/ 745 h 885"/>
                  <a:gd name="T24" fmla="*/ 350 w 522"/>
                  <a:gd name="T25" fmla="*/ 804 h 885"/>
                  <a:gd name="T26" fmla="*/ 310 w 522"/>
                  <a:gd name="T27" fmla="*/ 804 h 885"/>
                  <a:gd name="T28" fmla="*/ 288 w 522"/>
                  <a:gd name="T29" fmla="*/ 778 h 885"/>
                  <a:gd name="T30" fmla="*/ 281 w 522"/>
                  <a:gd name="T31" fmla="*/ 778 h 885"/>
                  <a:gd name="T32" fmla="*/ 269 w 522"/>
                  <a:gd name="T33" fmla="*/ 785 h 885"/>
                  <a:gd name="T34" fmla="*/ 267 w 522"/>
                  <a:gd name="T35" fmla="*/ 804 h 885"/>
                  <a:gd name="T36" fmla="*/ 260 w 522"/>
                  <a:gd name="T37" fmla="*/ 826 h 885"/>
                  <a:gd name="T38" fmla="*/ 236 w 522"/>
                  <a:gd name="T39" fmla="*/ 842 h 885"/>
                  <a:gd name="T40" fmla="*/ 187 w 522"/>
                  <a:gd name="T41" fmla="*/ 837 h 885"/>
                  <a:gd name="T42" fmla="*/ 161 w 522"/>
                  <a:gd name="T43" fmla="*/ 868 h 885"/>
                  <a:gd name="T44" fmla="*/ 104 w 522"/>
                  <a:gd name="T45" fmla="*/ 844 h 885"/>
                  <a:gd name="T46" fmla="*/ 85 w 522"/>
                  <a:gd name="T47" fmla="*/ 844 h 885"/>
                  <a:gd name="T48" fmla="*/ 83 w 522"/>
                  <a:gd name="T49" fmla="*/ 859 h 885"/>
                  <a:gd name="T50" fmla="*/ 73 w 522"/>
                  <a:gd name="T51" fmla="*/ 868 h 885"/>
                  <a:gd name="T52" fmla="*/ 54 w 522"/>
                  <a:gd name="T53" fmla="*/ 861 h 885"/>
                  <a:gd name="T54" fmla="*/ 33 w 522"/>
                  <a:gd name="T55" fmla="*/ 859 h 885"/>
                  <a:gd name="T56" fmla="*/ 31 w 522"/>
                  <a:gd name="T57" fmla="*/ 878 h 885"/>
                  <a:gd name="T58" fmla="*/ 14 w 522"/>
                  <a:gd name="T59" fmla="*/ 882 h 885"/>
                  <a:gd name="T60" fmla="*/ 0 w 522"/>
                  <a:gd name="T61" fmla="*/ 863 h 885"/>
                  <a:gd name="T62" fmla="*/ 7 w 522"/>
                  <a:gd name="T63" fmla="*/ 840 h 885"/>
                  <a:gd name="T64" fmla="*/ 14 w 522"/>
                  <a:gd name="T65" fmla="*/ 823 h 885"/>
                  <a:gd name="T66" fmla="*/ 19 w 522"/>
                  <a:gd name="T67" fmla="*/ 809 h 885"/>
                  <a:gd name="T68" fmla="*/ 12 w 522"/>
                  <a:gd name="T69" fmla="*/ 788 h 885"/>
                  <a:gd name="T70" fmla="*/ 28 w 522"/>
                  <a:gd name="T71" fmla="*/ 778 h 885"/>
                  <a:gd name="T72" fmla="*/ 50 w 522"/>
                  <a:gd name="T73" fmla="*/ 738 h 885"/>
                  <a:gd name="T74" fmla="*/ 68 w 522"/>
                  <a:gd name="T75" fmla="*/ 693 h 885"/>
                  <a:gd name="T76" fmla="*/ 73 w 522"/>
                  <a:gd name="T77" fmla="*/ 643 h 885"/>
                  <a:gd name="T78" fmla="*/ 50 w 522"/>
                  <a:gd name="T79" fmla="*/ 591 h 885"/>
                  <a:gd name="T80" fmla="*/ 52 w 522"/>
                  <a:gd name="T81" fmla="*/ 565 h 885"/>
                  <a:gd name="T82" fmla="*/ 64 w 522"/>
                  <a:gd name="T83" fmla="*/ 544 h 885"/>
                  <a:gd name="T84" fmla="*/ 47 w 522"/>
                  <a:gd name="T85" fmla="*/ 360 h 885"/>
                  <a:gd name="T86" fmla="*/ 31 w 522"/>
                  <a:gd name="T87" fmla="*/ 173 h 885"/>
                  <a:gd name="T88" fmla="*/ 21 w 522"/>
                  <a:gd name="T89" fmla="*/ 55 h 885"/>
                  <a:gd name="T90" fmla="*/ 35 w 522"/>
                  <a:gd name="T91" fmla="*/ 62 h 885"/>
                  <a:gd name="T92" fmla="*/ 64 w 522"/>
                  <a:gd name="T93" fmla="*/ 69 h 885"/>
                  <a:gd name="T94" fmla="*/ 123 w 522"/>
                  <a:gd name="T95" fmla="*/ 36 h 885"/>
                  <a:gd name="T96" fmla="*/ 258 w 522"/>
                  <a:gd name="T97" fmla="*/ 22 h 885"/>
                  <a:gd name="T98" fmla="*/ 399 w 522"/>
                  <a:gd name="T99" fmla="*/ 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2" h="885">
                    <a:moveTo>
                      <a:pt x="447" y="12"/>
                    </a:moveTo>
                    <a:lnTo>
                      <a:pt x="456" y="81"/>
                    </a:lnTo>
                    <a:lnTo>
                      <a:pt x="463" y="149"/>
                    </a:lnTo>
                    <a:lnTo>
                      <a:pt x="470" y="216"/>
                    </a:lnTo>
                    <a:lnTo>
                      <a:pt x="480" y="284"/>
                    </a:lnTo>
                    <a:lnTo>
                      <a:pt x="487" y="353"/>
                    </a:lnTo>
                    <a:lnTo>
                      <a:pt x="494" y="421"/>
                    </a:lnTo>
                    <a:lnTo>
                      <a:pt x="503" y="487"/>
                    </a:lnTo>
                    <a:lnTo>
                      <a:pt x="510" y="558"/>
                    </a:lnTo>
                    <a:lnTo>
                      <a:pt x="508" y="561"/>
                    </a:lnTo>
                    <a:lnTo>
                      <a:pt x="506" y="570"/>
                    </a:lnTo>
                    <a:lnTo>
                      <a:pt x="510" y="577"/>
                    </a:lnTo>
                    <a:lnTo>
                      <a:pt x="513" y="584"/>
                    </a:lnTo>
                    <a:lnTo>
                      <a:pt x="508" y="591"/>
                    </a:lnTo>
                    <a:lnTo>
                      <a:pt x="510" y="596"/>
                    </a:lnTo>
                    <a:lnTo>
                      <a:pt x="518" y="596"/>
                    </a:lnTo>
                    <a:lnTo>
                      <a:pt x="522" y="603"/>
                    </a:lnTo>
                    <a:lnTo>
                      <a:pt x="522" y="613"/>
                    </a:lnTo>
                    <a:lnTo>
                      <a:pt x="506" y="627"/>
                    </a:lnTo>
                    <a:lnTo>
                      <a:pt x="477" y="641"/>
                    </a:lnTo>
                    <a:lnTo>
                      <a:pt x="470" y="646"/>
                    </a:lnTo>
                    <a:lnTo>
                      <a:pt x="466" y="648"/>
                    </a:lnTo>
                    <a:lnTo>
                      <a:pt x="461" y="648"/>
                    </a:lnTo>
                    <a:lnTo>
                      <a:pt x="461" y="648"/>
                    </a:lnTo>
                    <a:lnTo>
                      <a:pt x="458" y="646"/>
                    </a:lnTo>
                    <a:lnTo>
                      <a:pt x="451" y="641"/>
                    </a:lnTo>
                    <a:lnTo>
                      <a:pt x="442" y="641"/>
                    </a:lnTo>
                    <a:lnTo>
                      <a:pt x="425" y="643"/>
                    </a:lnTo>
                    <a:lnTo>
                      <a:pt x="421" y="655"/>
                    </a:lnTo>
                    <a:lnTo>
                      <a:pt x="425" y="672"/>
                    </a:lnTo>
                    <a:lnTo>
                      <a:pt x="421" y="686"/>
                    </a:lnTo>
                    <a:lnTo>
                      <a:pt x="409" y="698"/>
                    </a:lnTo>
                    <a:lnTo>
                      <a:pt x="399" y="712"/>
                    </a:lnTo>
                    <a:lnTo>
                      <a:pt x="395" y="729"/>
                    </a:lnTo>
                    <a:lnTo>
                      <a:pt x="385" y="740"/>
                    </a:lnTo>
                    <a:lnTo>
                      <a:pt x="373" y="745"/>
                    </a:lnTo>
                    <a:lnTo>
                      <a:pt x="364" y="759"/>
                    </a:lnTo>
                    <a:lnTo>
                      <a:pt x="359" y="788"/>
                    </a:lnTo>
                    <a:lnTo>
                      <a:pt x="350" y="804"/>
                    </a:lnTo>
                    <a:lnTo>
                      <a:pt x="340" y="811"/>
                    </a:lnTo>
                    <a:lnTo>
                      <a:pt x="328" y="811"/>
                    </a:lnTo>
                    <a:lnTo>
                      <a:pt x="310" y="804"/>
                    </a:lnTo>
                    <a:lnTo>
                      <a:pt x="298" y="795"/>
                    </a:lnTo>
                    <a:lnTo>
                      <a:pt x="295" y="785"/>
                    </a:lnTo>
                    <a:lnTo>
                      <a:pt x="288" y="778"/>
                    </a:lnTo>
                    <a:lnTo>
                      <a:pt x="284" y="776"/>
                    </a:lnTo>
                    <a:lnTo>
                      <a:pt x="281" y="776"/>
                    </a:lnTo>
                    <a:lnTo>
                      <a:pt x="281" y="778"/>
                    </a:lnTo>
                    <a:lnTo>
                      <a:pt x="281" y="781"/>
                    </a:lnTo>
                    <a:lnTo>
                      <a:pt x="281" y="785"/>
                    </a:lnTo>
                    <a:lnTo>
                      <a:pt x="269" y="785"/>
                    </a:lnTo>
                    <a:lnTo>
                      <a:pt x="267" y="790"/>
                    </a:lnTo>
                    <a:lnTo>
                      <a:pt x="269" y="797"/>
                    </a:lnTo>
                    <a:lnTo>
                      <a:pt x="267" y="804"/>
                    </a:lnTo>
                    <a:lnTo>
                      <a:pt x="260" y="807"/>
                    </a:lnTo>
                    <a:lnTo>
                      <a:pt x="258" y="814"/>
                    </a:lnTo>
                    <a:lnTo>
                      <a:pt x="260" y="826"/>
                    </a:lnTo>
                    <a:lnTo>
                      <a:pt x="255" y="835"/>
                    </a:lnTo>
                    <a:lnTo>
                      <a:pt x="248" y="844"/>
                    </a:lnTo>
                    <a:lnTo>
                      <a:pt x="236" y="842"/>
                    </a:lnTo>
                    <a:lnTo>
                      <a:pt x="217" y="830"/>
                    </a:lnTo>
                    <a:lnTo>
                      <a:pt x="201" y="828"/>
                    </a:lnTo>
                    <a:lnTo>
                      <a:pt x="187" y="837"/>
                    </a:lnTo>
                    <a:lnTo>
                      <a:pt x="175" y="849"/>
                    </a:lnTo>
                    <a:lnTo>
                      <a:pt x="168" y="863"/>
                    </a:lnTo>
                    <a:lnTo>
                      <a:pt x="161" y="868"/>
                    </a:lnTo>
                    <a:lnTo>
                      <a:pt x="146" y="859"/>
                    </a:lnTo>
                    <a:lnTo>
                      <a:pt x="118" y="847"/>
                    </a:lnTo>
                    <a:lnTo>
                      <a:pt x="104" y="844"/>
                    </a:lnTo>
                    <a:lnTo>
                      <a:pt x="94" y="849"/>
                    </a:lnTo>
                    <a:lnTo>
                      <a:pt x="87" y="849"/>
                    </a:lnTo>
                    <a:lnTo>
                      <a:pt x="85" y="844"/>
                    </a:lnTo>
                    <a:lnTo>
                      <a:pt x="83" y="844"/>
                    </a:lnTo>
                    <a:lnTo>
                      <a:pt x="80" y="847"/>
                    </a:lnTo>
                    <a:lnTo>
                      <a:pt x="83" y="859"/>
                    </a:lnTo>
                    <a:lnTo>
                      <a:pt x="80" y="866"/>
                    </a:lnTo>
                    <a:lnTo>
                      <a:pt x="76" y="870"/>
                    </a:lnTo>
                    <a:lnTo>
                      <a:pt x="73" y="868"/>
                    </a:lnTo>
                    <a:lnTo>
                      <a:pt x="68" y="861"/>
                    </a:lnTo>
                    <a:lnTo>
                      <a:pt x="64" y="859"/>
                    </a:lnTo>
                    <a:lnTo>
                      <a:pt x="54" y="861"/>
                    </a:lnTo>
                    <a:lnTo>
                      <a:pt x="45" y="861"/>
                    </a:lnTo>
                    <a:lnTo>
                      <a:pt x="35" y="856"/>
                    </a:lnTo>
                    <a:lnTo>
                      <a:pt x="33" y="859"/>
                    </a:lnTo>
                    <a:lnTo>
                      <a:pt x="31" y="861"/>
                    </a:lnTo>
                    <a:lnTo>
                      <a:pt x="33" y="870"/>
                    </a:lnTo>
                    <a:lnTo>
                      <a:pt x="31" y="878"/>
                    </a:lnTo>
                    <a:lnTo>
                      <a:pt x="28" y="882"/>
                    </a:lnTo>
                    <a:lnTo>
                      <a:pt x="21" y="885"/>
                    </a:lnTo>
                    <a:lnTo>
                      <a:pt x="14" y="882"/>
                    </a:lnTo>
                    <a:lnTo>
                      <a:pt x="12" y="885"/>
                    </a:lnTo>
                    <a:lnTo>
                      <a:pt x="0" y="868"/>
                    </a:lnTo>
                    <a:lnTo>
                      <a:pt x="0" y="863"/>
                    </a:lnTo>
                    <a:lnTo>
                      <a:pt x="5" y="863"/>
                    </a:lnTo>
                    <a:lnTo>
                      <a:pt x="7" y="854"/>
                    </a:lnTo>
                    <a:lnTo>
                      <a:pt x="7" y="840"/>
                    </a:lnTo>
                    <a:lnTo>
                      <a:pt x="9" y="828"/>
                    </a:lnTo>
                    <a:lnTo>
                      <a:pt x="14" y="826"/>
                    </a:lnTo>
                    <a:lnTo>
                      <a:pt x="14" y="823"/>
                    </a:lnTo>
                    <a:lnTo>
                      <a:pt x="12" y="821"/>
                    </a:lnTo>
                    <a:lnTo>
                      <a:pt x="12" y="816"/>
                    </a:lnTo>
                    <a:lnTo>
                      <a:pt x="19" y="809"/>
                    </a:lnTo>
                    <a:lnTo>
                      <a:pt x="19" y="802"/>
                    </a:lnTo>
                    <a:lnTo>
                      <a:pt x="14" y="795"/>
                    </a:lnTo>
                    <a:lnTo>
                      <a:pt x="12" y="788"/>
                    </a:lnTo>
                    <a:lnTo>
                      <a:pt x="16" y="781"/>
                    </a:lnTo>
                    <a:lnTo>
                      <a:pt x="21" y="778"/>
                    </a:lnTo>
                    <a:lnTo>
                      <a:pt x="28" y="778"/>
                    </a:lnTo>
                    <a:lnTo>
                      <a:pt x="35" y="769"/>
                    </a:lnTo>
                    <a:lnTo>
                      <a:pt x="42" y="750"/>
                    </a:lnTo>
                    <a:lnTo>
                      <a:pt x="50" y="738"/>
                    </a:lnTo>
                    <a:lnTo>
                      <a:pt x="57" y="733"/>
                    </a:lnTo>
                    <a:lnTo>
                      <a:pt x="64" y="722"/>
                    </a:lnTo>
                    <a:lnTo>
                      <a:pt x="68" y="693"/>
                    </a:lnTo>
                    <a:lnTo>
                      <a:pt x="78" y="679"/>
                    </a:lnTo>
                    <a:lnTo>
                      <a:pt x="78" y="665"/>
                    </a:lnTo>
                    <a:lnTo>
                      <a:pt x="73" y="643"/>
                    </a:lnTo>
                    <a:lnTo>
                      <a:pt x="66" y="625"/>
                    </a:lnTo>
                    <a:lnTo>
                      <a:pt x="54" y="603"/>
                    </a:lnTo>
                    <a:lnTo>
                      <a:pt x="50" y="591"/>
                    </a:lnTo>
                    <a:lnTo>
                      <a:pt x="54" y="584"/>
                    </a:lnTo>
                    <a:lnTo>
                      <a:pt x="57" y="577"/>
                    </a:lnTo>
                    <a:lnTo>
                      <a:pt x="52" y="565"/>
                    </a:lnTo>
                    <a:lnTo>
                      <a:pt x="57" y="554"/>
                    </a:lnTo>
                    <a:lnTo>
                      <a:pt x="64" y="547"/>
                    </a:lnTo>
                    <a:lnTo>
                      <a:pt x="64" y="544"/>
                    </a:lnTo>
                    <a:lnTo>
                      <a:pt x="59" y="485"/>
                    </a:lnTo>
                    <a:lnTo>
                      <a:pt x="54" y="424"/>
                    </a:lnTo>
                    <a:lnTo>
                      <a:pt x="47" y="360"/>
                    </a:lnTo>
                    <a:lnTo>
                      <a:pt x="42" y="298"/>
                    </a:lnTo>
                    <a:lnTo>
                      <a:pt x="35" y="234"/>
                    </a:lnTo>
                    <a:lnTo>
                      <a:pt x="31" y="173"/>
                    </a:lnTo>
                    <a:lnTo>
                      <a:pt x="26" y="109"/>
                    </a:lnTo>
                    <a:lnTo>
                      <a:pt x="19" y="52"/>
                    </a:lnTo>
                    <a:lnTo>
                      <a:pt x="21" y="55"/>
                    </a:lnTo>
                    <a:lnTo>
                      <a:pt x="28" y="59"/>
                    </a:lnTo>
                    <a:lnTo>
                      <a:pt x="33" y="62"/>
                    </a:lnTo>
                    <a:lnTo>
                      <a:pt x="35" y="62"/>
                    </a:lnTo>
                    <a:lnTo>
                      <a:pt x="38" y="67"/>
                    </a:lnTo>
                    <a:lnTo>
                      <a:pt x="47" y="69"/>
                    </a:lnTo>
                    <a:lnTo>
                      <a:pt x="64" y="69"/>
                    </a:lnTo>
                    <a:lnTo>
                      <a:pt x="78" y="64"/>
                    </a:lnTo>
                    <a:lnTo>
                      <a:pt x="92" y="59"/>
                    </a:lnTo>
                    <a:lnTo>
                      <a:pt x="123" y="36"/>
                    </a:lnTo>
                    <a:lnTo>
                      <a:pt x="161" y="33"/>
                    </a:lnTo>
                    <a:lnTo>
                      <a:pt x="208" y="26"/>
                    </a:lnTo>
                    <a:lnTo>
                      <a:pt x="258" y="22"/>
                    </a:lnTo>
                    <a:lnTo>
                      <a:pt x="305" y="17"/>
                    </a:lnTo>
                    <a:lnTo>
                      <a:pt x="352" y="12"/>
                    </a:lnTo>
                    <a:lnTo>
                      <a:pt x="399" y="5"/>
                    </a:lnTo>
                    <a:lnTo>
                      <a:pt x="447" y="0"/>
                    </a:lnTo>
                    <a:lnTo>
                      <a:pt x="447" y="1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0" name="Freeform 58">
                <a:extLst>
                  <a:ext uri="{FF2B5EF4-FFF2-40B4-BE49-F238E27FC236}">
                    <a16:creationId xmlns:a16="http://schemas.microsoft.com/office/drawing/2014/main" id="{88601901-A619-C89F-2AC0-968A5E0C0BFB}"/>
                  </a:ext>
                </a:extLst>
              </p:cNvPr>
              <p:cNvSpPr>
                <a:spLocks/>
              </p:cNvSpPr>
              <p:nvPr/>
            </p:nvSpPr>
            <p:spPr bwMode="auto">
              <a:xfrm>
                <a:off x="3695" y="1078"/>
                <a:ext cx="1245" cy="662"/>
              </a:xfrm>
              <a:custGeom>
                <a:avLst/>
                <a:gdLst>
                  <a:gd name="T0" fmla="*/ 1207 w 1245"/>
                  <a:gd name="T1" fmla="*/ 662 h 662"/>
                  <a:gd name="T2" fmla="*/ 1129 w 1245"/>
                  <a:gd name="T3" fmla="*/ 662 h 662"/>
                  <a:gd name="T4" fmla="*/ 1051 w 1245"/>
                  <a:gd name="T5" fmla="*/ 662 h 662"/>
                  <a:gd name="T6" fmla="*/ 973 w 1245"/>
                  <a:gd name="T7" fmla="*/ 662 h 662"/>
                  <a:gd name="T8" fmla="*/ 895 w 1245"/>
                  <a:gd name="T9" fmla="*/ 662 h 662"/>
                  <a:gd name="T10" fmla="*/ 817 w 1245"/>
                  <a:gd name="T11" fmla="*/ 662 h 662"/>
                  <a:gd name="T12" fmla="*/ 739 w 1245"/>
                  <a:gd name="T13" fmla="*/ 660 h 662"/>
                  <a:gd name="T14" fmla="*/ 661 w 1245"/>
                  <a:gd name="T15" fmla="*/ 658 h 662"/>
                  <a:gd name="T16" fmla="*/ 583 w 1245"/>
                  <a:gd name="T17" fmla="*/ 658 h 662"/>
                  <a:gd name="T18" fmla="*/ 505 w 1245"/>
                  <a:gd name="T19" fmla="*/ 655 h 662"/>
                  <a:gd name="T20" fmla="*/ 427 w 1245"/>
                  <a:gd name="T21" fmla="*/ 650 h 662"/>
                  <a:gd name="T22" fmla="*/ 349 w 1245"/>
                  <a:gd name="T23" fmla="*/ 648 h 662"/>
                  <a:gd name="T24" fmla="*/ 271 w 1245"/>
                  <a:gd name="T25" fmla="*/ 643 h 662"/>
                  <a:gd name="T26" fmla="*/ 196 w 1245"/>
                  <a:gd name="T27" fmla="*/ 641 h 662"/>
                  <a:gd name="T28" fmla="*/ 118 w 1245"/>
                  <a:gd name="T29" fmla="*/ 636 h 662"/>
                  <a:gd name="T30" fmla="*/ 40 w 1245"/>
                  <a:gd name="T31" fmla="*/ 632 h 662"/>
                  <a:gd name="T32" fmla="*/ 2 w 1245"/>
                  <a:gd name="T33" fmla="*/ 589 h 662"/>
                  <a:gd name="T34" fmla="*/ 7 w 1245"/>
                  <a:gd name="T35" fmla="*/ 511 h 662"/>
                  <a:gd name="T36" fmla="*/ 14 w 1245"/>
                  <a:gd name="T37" fmla="*/ 433 h 662"/>
                  <a:gd name="T38" fmla="*/ 18 w 1245"/>
                  <a:gd name="T39" fmla="*/ 353 h 662"/>
                  <a:gd name="T40" fmla="*/ 23 w 1245"/>
                  <a:gd name="T41" fmla="*/ 275 h 662"/>
                  <a:gd name="T42" fmla="*/ 28 w 1245"/>
                  <a:gd name="T43" fmla="*/ 196 h 662"/>
                  <a:gd name="T44" fmla="*/ 33 w 1245"/>
                  <a:gd name="T45" fmla="*/ 118 h 662"/>
                  <a:gd name="T46" fmla="*/ 37 w 1245"/>
                  <a:gd name="T47" fmla="*/ 38 h 662"/>
                  <a:gd name="T48" fmla="*/ 73 w 1245"/>
                  <a:gd name="T49" fmla="*/ 3 h 662"/>
                  <a:gd name="T50" fmla="*/ 141 w 1245"/>
                  <a:gd name="T51" fmla="*/ 5 h 662"/>
                  <a:gd name="T52" fmla="*/ 210 w 1245"/>
                  <a:gd name="T53" fmla="*/ 10 h 662"/>
                  <a:gd name="T54" fmla="*/ 276 w 1245"/>
                  <a:gd name="T55" fmla="*/ 14 h 662"/>
                  <a:gd name="T56" fmla="*/ 345 w 1245"/>
                  <a:gd name="T57" fmla="*/ 17 h 662"/>
                  <a:gd name="T58" fmla="*/ 413 w 1245"/>
                  <a:gd name="T59" fmla="*/ 19 h 662"/>
                  <a:gd name="T60" fmla="*/ 479 w 1245"/>
                  <a:gd name="T61" fmla="*/ 22 h 662"/>
                  <a:gd name="T62" fmla="*/ 548 w 1245"/>
                  <a:gd name="T63" fmla="*/ 24 h 662"/>
                  <a:gd name="T64" fmla="*/ 617 w 1245"/>
                  <a:gd name="T65" fmla="*/ 26 h 662"/>
                  <a:gd name="T66" fmla="*/ 683 w 1245"/>
                  <a:gd name="T67" fmla="*/ 29 h 662"/>
                  <a:gd name="T68" fmla="*/ 751 w 1245"/>
                  <a:gd name="T69" fmla="*/ 29 h 662"/>
                  <a:gd name="T70" fmla="*/ 820 w 1245"/>
                  <a:gd name="T71" fmla="*/ 31 h 662"/>
                  <a:gd name="T72" fmla="*/ 886 w 1245"/>
                  <a:gd name="T73" fmla="*/ 31 h 662"/>
                  <a:gd name="T74" fmla="*/ 955 w 1245"/>
                  <a:gd name="T75" fmla="*/ 31 h 662"/>
                  <a:gd name="T76" fmla="*/ 1023 w 1245"/>
                  <a:gd name="T77" fmla="*/ 31 h 662"/>
                  <a:gd name="T78" fmla="*/ 1089 w 1245"/>
                  <a:gd name="T79" fmla="*/ 31 h 662"/>
                  <a:gd name="T80" fmla="*/ 1155 w 1245"/>
                  <a:gd name="T81" fmla="*/ 59 h 662"/>
                  <a:gd name="T82" fmla="*/ 1177 w 1245"/>
                  <a:gd name="T83" fmla="*/ 55 h 662"/>
                  <a:gd name="T84" fmla="*/ 1193 w 1245"/>
                  <a:gd name="T85" fmla="*/ 76 h 662"/>
                  <a:gd name="T86" fmla="*/ 1184 w 1245"/>
                  <a:gd name="T87" fmla="*/ 85 h 662"/>
                  <a:gd name="T88" fmla="*/ 1163 w 1245"/>
                  <a:gd name="T89" fmla="*/ 116 h 662"/>
                  <a:gd name="T90" fmla="*/ 1184 w 1245"/>
                  <a:gd name="T91" fmla="*/ 152 h 662"/>
                  <a:gd name="T92" fmla="*/ 1200 w 1245"/>
                  <a:gd name="T93" fmla="*/ 187 h 662"/>
                  <a:gd name="T94" fmla="*/ 1238 w 1245"/>
                  <a:gd name="T95" fmla="*/ 215 h 662"/>
                  <a:gd name="T96" fmla="*/ 1238 w 1245"/>
                  <a:gd name="T97" fmla="*/ 251 h 662"/>
                  <a:gd name="T98" fmla="*/ 1241 w 1245"/>
                  <a:gd name="T99" fmla="*/ 305 h 662"/>
                  <a:gd name="T100" fmla="*/ 1241 w 1245"/>
                  <a:gd name="T101" fmla="*/ 360 h 662"/>
                  <a:gd name="T102" fmla="*/ 1243 w 1245"/>
                  <a:gd name="T103" fmla="*/ 414 h 662"/>
                  <a:gd name="T104" fmla="*/ 1243 w 1245"/>
                  <a:gd name="T105" fmla="*/ 468 h 662"/>
                  <a:gd name="T106" fmla="*/ 1243 w 1245"/>
                  <a:gd name="T107" fmla="*/ 523 h 662"/>
                  <a:gd name="T108" fmla="*/ 1245 w 1245"/>
                  <a:gd name="T109" fmla="*/ 580 h 662"/>
                  <a:gd name="T110" fmla="*/ 1245 w 1245"/>
                  <a:gd name="T111" fmla="*/ 634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5" h="662">
                    <a:moveTo>
                      <a:pt x="1245" y="660"/>
                    </a:moveTo>
                    <a:lnTo>
                      <a:pt x="1207" y="662"/>
                    </a:lnTo>
                    <a:lnTo>
                      <a:pt x="1167" y="662"/>
                    </a:lnTo>
                    <a:lnTo>
                      <a:pt x="1129" y="662"/>
                    </a:lnTo>
                    <a:lnTo>
                      <a:pt x="1089" y="662"/>
                    </a:lnTo>
                    <a:lnTo>
                      <a:pt x="1051" y="662"/>
                    </a:lnTo>
                    <a:lnTo>
                      <a:pt x="1011" y="662"/>
                    </a:lnTo>
                    <a:lnTo>
                      <a:pt x="973" y="662"/>
                    </a:lnTo>
                    <a:lnTo>
                      <a:pt x="936" y="662"/>
                    </a:lnTo>
                    <a:lnTo>
                      <a:pt x="895" y="662"/>
                    </a:lnTo>
                    <a:lnTo>
                      <a:pt x="858" y="662"/>
                    </a:lnTo>
                    <a:lnTo>
                      <a:pt x="817" y="662"/>
                    </a:lnTo>
                    <a:lnTo>
                      <a:pt x="780" y="660"/>
                    </a:lnTo>
                    <a:lnTo>
                      <a:pt x="739" y="660"/>
                    </a:lnTo>
                    <a:lnTo>
                      <a:pt x="702" y="660"/>
                    </a:lnTo>
                    <a:lnTo>
                      <a:pt x="661" y="658"/>
                    </a:lnTo>
                    <a:lnTo>
                      <a:pt x="624" y="658"/>
                    </a:lnTo>
                    <a:lnTo>
                      <a:pt x="583" y="658"/>
                    </a:lnTo>
                    <a:lnTo>
                      <a:pt x="546" y="655"/>
                    </a:lnTo>
                    <a:lnTo>
                      <a:pt x="505" y="655"/>
                    </a:lnTo>
                    <a:lnTo>
                      <a:pt x="468" y="653"/>
                    </a:lnTo>
                    <a:lnTo>
                      <a:pt x="427" y="650"/>
                    </a:lnTo>
                    <a:lnTo>
                      <a:pt x="390" y="650"/>
                    </a:lnTo>
                    <a:lnTo>
                      <a:pt x="349" y="648"/>
                    </a:lnTo>
                    <a:lnTo>
                      <a:pt x="312" y="646"/>
                    </a:lnTo>
                    <a:lnTo>
                      <a:pt x="271" y="643"/>
                    </a:lnTo>
                    <a:lnTo>
                      <a:pt x="234" y="643"/>
                    </a:lnTo>
                    <a:lnTo>
                      <a:pt x="196" y="641"/>
                    </a:lnTo>
                    <a:lnTo>
                      <a:pt x="156" y="639"/>
                    </a:lnTo>
                    <a:lnTo>
                      <a:pt x="118" y="636"/>
                    </a:lnTo>
                    <a:lnTo>
                      <a:pt x="78" y="634"/>
                    </a:lnTo>
                    <a:lnTo>
                      <a:pt x="40" y="632"/>
                    </a:lnTo>
                    <a:lnTo>
                      <a:pt x="0" y="629"/>
                    </a:lnTo>
                    <a:lnTo>
                      <a:pt x="2" y="589"/>
                    </a:lnTo>
                    <a:lnTo>
                      <a:pt x="4" y="551"/>
                    </a:lnTo>
                    <a:lnTo>
                      <a:pt x="7" y="511"/>
                    </a:lnTo>
                    <a:lnTo>
                      <a:pt x="11" y="471"/>
                    </a:lnTo>
                    <a:lnTo>
                      <a:pt x="14" y="433"/>
                    </a:lnTo>
                    <a:lnTo>
                      <a:pt x="16" y="393"/>
                    </a:lnTo>
                    <a:lnTo>
                      <a:pt x="18" y="353"/>
                    </a:lnTo>
                    <a:lnTo>
                      <a:pt x="21" y="315"/>
                    </a:lnTo>
                    <a:lnTo>
                      <a:pt x="23" y="275"/>
                    </a:lnTo>
                    <a:lnTo>
                      <a:pt x="26" y="237"/>
                    </a:lnTo>
                    <a:lnTo>
                      <a:pt x="28" y="196"/>
                    </a:lnTo>
                    <a:lnTo>
                      <a:pt x="30" y="156"/>
                    </a:lnTo>
                    <a:lnTo>
                      <a:pt x="33" y="118"/>
                    </a:lnTo>
                    <a:lnTo>
                      <a:pt x="35" y="78"/>
                    </a:lnTo>
                    <a:lnTo>
                      <a:pt x="37" y="38"/>
                    </a:lnTo>
                    <a:lnTo>
                      <a:pt x="40" y="0"/>
                    </a:lnTo>
                    <a:lnTo>
                      <a:pt x="73" y="3"/>
                    </a:lnTo>
                    <a:lnTo>
                      <a:pt x="108" y="5"/>
                    </a:lnTo>
                    <a:lnTo>
                      <a:pt x="141" y="5"/>
                    </a:lnTo>
                    <a:lnTo>
                      <a:pt x="174" y="7"/>
                    </a:lnTo>
                    <a:lnTo>
                      <a:pt x="210" y="10"/>
                    </a:lnTo>
                    <a:lnTo>
                      <a:pt x="243" y="12"/>
                    </a:lnTo>
                    <a:lnTo>
                      <a:pt x="276" y="14"/>
                    </a:lnTo>
                    <a:lnTo>
                      <a:pt x="312" y="14"/>
                    </a:lnTo>
                    <a:lnTo>
                      <a:pt x="345" y="17"/>
                    </a:lnTo>
                    <a:lnTo>
                      <a:pt x="378" y="19"/>
                    </a:lnTo>
                    <a:lnTo>
                      <a:pt x="413" y="19"/>
                    </a:lnTo>
                    <a:lnTo>
                      <a:pt x="446" y="22"/>
                    </a:lnTo>
                    <a:lnTo>
                      <a:pt x="479" y="22"/>
                    </a:lnTo>
                    <a:lnTo>
                      <a:pt x="515" y="24"/>
                    </a:lnTo>
                    <a:lnTo>
                      <a:pt x="548" y="24"/>
                    </a:lnTo>
                    <a:lnTo>
                      <a:pt x="581" y="26"/>
                    </a:lnTo>
                    <a:lnTo>
                      <a:pt x="617" y="26"/>
                    </a:lnTo>
                    <a:lnTo>
                      <a:pt x="650" y="26"/>
                    </a:lnTo>
                    <a:lnTo>
                      <a:pt x="683" y="29"/>
                    </a:lnTo>
                    <a:lnTo>
                      <a:pt x="718" y="29"/>
                    </a:lnTo>
                    <a:lnTo>
                      <a:pt x="751" y="29"/>
                    </a:lnTo>
                    <a:lnTo>
                      <a:pt x="784" y="31"/>
                    </a:lnTo>
                    <a:lnTo>
                      <a:pt x="820" y="31"/>
                    </a:lnTo>
                    <a:lnTo>
                      <a:pt x="853" y="31"/>
                    </a:lnTo>
                    <a:lnTo>
                      <a:pt x="886" y="31"/>
                    </a:lnTo>
                    <a:lnTo>
                      <a:pt x="921" y="31"/>
                    </a:lnTo>
                    <a:lnTo>
                      <a:pt x="955" y="31"/>
                    </a:lnTo>
                    <a:lnTo>
                      <a:pt x="988" y="31"/>
                    </a:lnTo>
                    <a:lnTo>
                      <a:pt x="1023" y="31"/>
                    </a:lnTo>
                    <a:lnTo>
                      <a:pt x="1056" y="31"/>
                    </a:lnTo>
                    <a:lnTo>
                      <a:pt x="1089" y="31"/>
                    </a:lnTo>
                    <a:lnTo>
                      <a:pt x="1118" y="31"/>
                    </a:lnTo>
                    <a:lnTo>
                      <a:pt x="1155" y="59"/>
                    </a:lnTo>
                    <a:lnTo>
                      <a:pt x="1167" y="59"/>
                    </a:lnTo>
                    <a:lnTo>
                      <a:pt x="1177" y="55"/>
                    </a:lnTo>
                    <a:lnTo>
                      <a:pt x="1186" y="59"/>
                    </a:lnTo>
                    <a:lnTo>
                      <a:pt x="1193" y="76"/>
                    </a:lnTo>
                    <a:lnTo>
                      <a:pt x="1191" y="85"/>
                    </a:lnTo>
                    <a:lnTo>
                      <a:pt x="1184" y="85"/>
                    </a:lnTo>
                    <a:lnTo>
                      <a:pt x="1174" y="95"/>
                    </a:lnTo>
                    <a:lnTo>
                      <a:pt x="1163" y="116"/>
                    </a:lnTo>
                    <a:lnTo>
                      <a:pt x="1167" y="135"/>
                    </a:lnTo>
                    <a:lnTo>
                      <a:pt x="1184" y="152"/>
                    </a:lnTo>
                    <a:lnTo>
                      <a:pt x="1196" y="168"/>
                    </a:lnTo>
                    <a:lnTo>
                      <a:pt x="1200" y="187"/>
                    </a:lnTo>
                    <a:lnTo>
                      <a:pt x="1212" y="201"/>
                    </a:lnTo>
                    <a:lnTo>
                      <a:pt x="1238" y="215"/>
                    </a:lnTo>
                    <a:lnTo>
                      <a:pt x="1238" y="222"/>
                    </a:lnTo>
                    <a:lnTo>
                      <a:pt x="1238" y="251"/>
                    </a:lnTo>
                    <a:lnTo>
                      <a:pt x="1241" y="277"/>
                    </a:lnTo>
                    <a:lnTo>
                      <a:pt x="1241" y="305"/>
                    </a:lnTo>
                    <a:lnTo>
                      <a:pt x="1241" y="331"/>
                    </a:lnTo>
                    <a:lnTo>
                      <a:pt x="1241" y="360"/>
                    </a:lnTo>
                    <a:lnTo>
                      <a:pt x="1241" y="386"/>
                    </a:lnTo>
                    <a:lnTo>
                      <a:pt x="1243" y="414"/>
                    </a:lnTo>
                    <a:lnTo>
                      <a:pt x="1243" y="442"/>
                    </a:lnTo>
                    <a:lnTo>
                      <a:pt x="1243" y="468"/>
                    </a:lnTo>
                    <a:lnTo>
                      <a:pt x="1243" y="497"/>
                    </a:lnTo>
                    <a:lnTo>
                      <a:pt x="1243" y="523"/>
                    </a:lnTo>
                    <a:lnTo>
                      <a:pt x="1245" y="551"/>
                    </a:lnTo>
                    <a:lnTo>
                      <a:pt x="1245" y="580"/>
                    </a:lnTo>
                    <a:lnTo>
                      <a:pt x="1245" y="606"/>
                    </a:lnTo>
                    <a:lnTo>
                      <a:pt x="1245" y="634"/>
                    </a:lnTo>
                    <a:lnTo>
                      <a:pt x="1245" y="66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1" name="Freeform 59">
                <a:extLst>
                  <a:ext uri="{FF2B5EF4-FFF2-40B4-BE49-F238E27FC236}">
                    <a16:creationId xmlns:a16="http://schemas.microsoft.com/office/drawing/2014/main" id="{DB525098-55DD-C5A0-BA31-25B6825E1EA7}"/>
                  </a:ext>
                </a:extLst>
              </p:cNvPr>
              <p:cNvSpPr>
                <a:spLocks noEditPoints="1"/>
              </p:cNvSpPr>
              <p:nvPr/>
            </p:nvSpPr>
            <p:spPr bwMode="auto">
              <a:xfrm>
                <a:off x="5801" y="1178"/>
                <a:ext cx="1245" cy="628"/>
              </a:xfrm>
              <a:custGeom>
                <a:avLst/>
                <a:gdLst>
                  <a:gd name="T0" fmla="*/ 1123 w 1245"/>
                  <a:gd name="T1" fmla="*/ 137 h 628"/>
                  <a:gd name="T2" fmla="*/ 1146 w 1245"/>
                  <a:gd name="T3" fmla="*/ 189 h 628"/>
                  <a:gd name="T4" fmla="*/ 1189 w 1245"/>
                  <a:gd name="T5" fmla="*/ 245 h 628"/>
                  <a:gd name="T6" fmla="*/ 1165 w 1245"/>
                  <a:gd name="T7" fmla="*/ 349 h 628"/>
                  <a:gd name="T8" fmla="*/ 1120 w 1245"/>
                  <a:gd name="T9" fmla="*/ 406 h 628"/>
                  <a:gd name="T10" fmla="*/ 1030 w 1245"/>
                  <a:gd name="T11" fmla="*/ 482 h 628"/>
                  <a:gd name="T12" fmla="*/ 988 w 1245"/>
                  <a:gd name="T13" fmla="*/ 506 h 628"/>
                  <a:gd name="T14" fmla="*/ 983 w 1245"/>
                  <a:gd name="T15" fmla="*/ 508 h 628"/>
                  <a:gd name="T16" fmla="*/ 865 w 1245"/>
                  <a:gd name="T17" fmla="*/ 520 h 628"/>
                  <a:gd name="T18" fmla="*/ 628 w 1245"/>
                  <a:gd name="T19" fmla="*/ 541 h 628"/>
                  <a:gd name="T20" fmla="*/ 399 w 1245"/>
                  <a:gd name="T21" fmla="*/ 562 h 628"/>
                  <a:gd name="T22" fmla="*/ 267 w 1245"/>
                  <a:gd name="T23" fmla="*/ 569 h 628"/>
                  <a:gd name="T24" fmla="*/ 255 w 1245"/>
                  <a:gd name="T25" fmla="*/ 607 h 628"/>
                  <a:gd name="T26" fmla="*/ 170 w 1245"/>
                  <a:gd name="T27" fmla="*/ 617 h 628"/>
                  <a:gd name="T28" fmla="*/ 52 w 1245"/>
                  <a:gd name="T29" fmla="*/ 624 h 628"/>
                  <a:gd name="T30" fmla="*/ 38 w 1245"/>
                  <a:gd name="T31" fmla="*/ 602 h 628"/>
                  <a:gd name="T32" fmla="*/ 66 w 1245"/>
                  <a:gd name="T33" fmla="*/ 579 h 628"/>
                  <a:gd name="T34" fmla="*/ 59 w 1245"/>
                  <a:gd name="T35" fmla="*/ 510 h 628"/>
                  <a:gd name="T36" fmla="*/ 149 w 1245"/>
                  <a:gd name="T37" fmla="*/ 489 h 628"/>
                  <a:gd name="T38" fmla="*/ 168 w 1245"/>
                  <a:gd name="T39" fmla="*/ 456 h 628"/>
                  <a:gd name="T40" fmla="*/ 215 w 1245"/>
                  <a:gd name="T41" fmla="*/ 409 h 628"/>
                  <a:gd name="T42" fmla="*/ 229 w 1245"/>
                  <a:gd name="T43" fmla="*/ 342 h 628"/>
                  <a:gd name="T44" fmla="*/ 250 w 1245"/>
                  <a:gd name="T45" fmla="*/ 335 h 628"/>
                  <a:gd name="T46" fmla="*/ 255 w 1245"/>
                  <a:gd name="T47" fmla="*/ 309 h 628"/>
                  <a:gd name="T48" fmla="*/ 286 w 1245"/>
                  <a:gd name="T49" fmla="*/ 309 h 628"/>
                  <a:gd name="T50" fmla="*/ 302 w 1245"/>
                  <a:gd name="T51" fmla="*/ 319 h 628"/>
                  <a:gd name="T52" fmla="*/ 307 w 1245"/>
                  <a:gd name="T53" fmla="*/ 297 h 628"/>
                  <a:gd name="T54" fmla="*/ 342 w 1245"/>
                  <a:gd name="T55" fmla="*/ 300 h 628"/>
                  <a:gd name="T56" fmla="*/ 397 w 1245"/>
                  <a:gd name="T57" fmla="*/ 302 h 628"/>
                  <a:gd name="T58" fmla="*/ 458 w 1245"/>
                  <a:gd name="T59" fmla="*/ 295 h 628"/>
                  <a:gd name="T60" fmla="*/ 480 w 1245"/>
                  <a:gd name="T61" fmla="*/ 267 h 628"/>
                  <a:gd name="T62" fmla="*/ 489 w 1245"/>
                  <a:gd name="T63" fmla="*/ 243 h 628"/>
                  <a:gd name="T64" fmla="*/ 503 w 1245"/>
                  <a:gd name="T65" fmla="*/ 231 h 628"/>
                  <a:gd name="T66" fmla="*/ 517 w 1245"/>
                  <a:gd name="T67" fmla="*/ 238 h 628"/>
                  <a:gd name="T68" fmla="*/ 565 w 1245"/>
                  <a:gd name="T69" fmla="*/ 264 h 628"/>
                  <a:gd name="T70" fmla="*/ 595 w 1245"/>
                  <a:gd name="T71" fmla="*/ 198 h 628"/>
                  <a:gd name="T72" fmla="*/ 631 w 1245"/>
                  <a:gd name="T73" fmla="*/ 151 h 628"/>
                  <a:gd name="T74" fmla="*/ 647 w 1245"/>
                  <a:gd name="T75" fmla="*/ 96 h 628"/>
                  <a:gd name="T76" fmla="*/ 683 w 1245"/>
                  <a:gd name="T77" fmla="*/ 101 h 628"/>
                  <a:gd name="T78" fmla="*/ 699 w 1245"/>
                  <a:gd name="T79" fmla="*/ 94 h 628"/>
                  <a:gd name="T80" fmla="*/ 740 w 1245"/>
                  <a:gd name="T81" fmla="*/ 49 h 628"/>
                  <a:gd name="T82" fmla="*/ 732 w 1245"/>
                  <a:gd name="T83" fmla="*/ 30 h 628"/>
                  <a:gd name="T84" fmla="*/ 742 w 1245"/>
                  <a:gd name="T85" fmla="*/ 2 h 628"/>
                  <a:gd name="T86" fmla="*/ 784 w 1245"/>
                  <a:gd name="T87" fmla="*/ 2 h 628"/>
                  <a:gd name="T88" fmla="*/ 836 w 1245"/>
                  <a:gd name="T89" fmla="*/ 44 h 628"/>
                  <a:gd name="T90" fmla="*/ 919 w 1245"/>
                  <a:gd name="T91" fmla="*/ 75 h 628"/>
                  <a:gd name="T92" fmla="*/ 966 w 1245"/>
                  <a:gd name="T93" fmla="*/ 68 h 628"/>
                  <a:gd name="T94" fmla="*/ 1059 w 1245"/>
                  <a:gd name="T95" fmla="*/ 47 h 628"/>
                  <a:gd name="T96" fmla="*/ 1111 w 1245"/>
                  <a:gd name="T97" fmla="*/ 96 h 628"/>
                  <a:gd name="T98" fmla="*/ 0 w 1245"/>
                  <a:gd name="T99" fmla="*/ 621 h 628"/>
                  <a:gd name="T100" fmla="*/ 9 w 1245"/>
                  <a:gd name="T101" fmla="*/ 62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5" h="628">
                    <a:moveTo>
                      <a:pt x="1111" y="96"/>
                    </a:moveTo>
                    <a:lnTo>
                      <a:pt x="1115" y="101"/>
                    </a:lnTo>
                    <a:lnTo>
                      <a:pt x="1123" y="132"/>
                    </a:lnTo>
                    <a:lnTo>
                      <a:pt x="1123" y="137"/>
                    </a:lnTo>
                    <a:lnTo>
                      <a:pt x="1118" y="151"/>
                    </a:lnTo>
                    <a:lnTo>
                      <a:pt x="1120" y="158"/>
                    </a:lnTo>
                    <a:lnTo>
                      <a:pt x="1127" y="167"/>
                    </a:lnTo>
                    <a:lnTo>
                      <a:pt x="1146" y="189"/>
                    </a:lnTo>
                    <a:lnTo>
                      <a:pt x="1151" y="198"/>
                    </a:lnTo>
                    <a:lnTo>
                      <a:pt x="1158" y="205"/>
                    </a:lnTo>
                    <a:lnTo>
                      <a:pt x="1167" y="219"/>
                    </a:lnTo>
                    <a:lnTo>
                      <a:pt x="1189" y="245"/>
                    </a:lnTo>
                    <a:lnTo>
                      <a:pt x="1222" y="264"/>
                    </a:lnTo>
                    <a:lnTo>
                      <a:pt x="1245" y="269"/>
                    </a:lnTo>
                    <a:lnTo>
                      <a:pt x="1191" y="328"/>
                    </a:lnTo>
                    <a:lnTo>
                      <a:pt x="1165" y="349"/>
                    </a:lnTo>
                    <a:lnTo>
                      <a:pt x="1141" y="368"/>
                    </a:lnTo>
                    <a:lnTo>
                      <a:pt x="1139" y="373"/>
                    </a:lnTo>
                    <a:lnTo>
                      <a:pt x="1134" y="390"/>
                    </a:lnTo>
                    <a:lnTo>
                      <a:pt x="1120" y="406"/>
                    </a:lnTo>
                    <a:lnTo>
                      <a:pt x="1113" y="423"/>
                    </a:lnTo>
                    <a:lnTo>
                      <a:pt x="1089" y="439"/>
                    </a:lnTo>
                    <a:lnTo>
                      <a:pt x="1073" y="458"/>
                    </a:lnTo>
                    <a:lnTo>
                      <a:pt x="1030" y="482"/>
                    </a:lnTo>
                    <a:lnTo>
                      <a:pt x="1007" y="491"/>
                    </a:lnTo>
                    <a:lnTo>
                      <a:pt x="990" y="503"/>
                    </a:lnTo>
                    <a:lnTo>
                      <a:pt x="990" y="506"/>
                    </a:lnTo>
                    <a:lnTo>
                      <a:pt x="988" y="506"/>
                    </a:lnTo>
                    <a:lnTo>
                      <a:pt x="988" y="506"/>
                    </a:lnTo>
                    <a:lnTo>
                      <a:pt x="985" y="506"/>
                    </a:lnTo>
                    <a:lnTo>
                      <a:pt x="985" y="508"/>
                    </a:lnTo>
                    <a:lnTo>
                      <a:pt x="983" y="508"/>
                    </a:lnTo>
                    <a:lnTo>
                      <a:pt x="983" y="508"/>
                    </a:lnTo>
                    <a:lnTo>
                      <a:pt x="981" y="508"/>
                    </a:lnTo>
                    <a:lnTo>
                      <a:pt x="924" y="515"/>
                    </a:lnTo>
                    <a:lnTo>
                      <a:pt x="865" y="520"/>
                    </a:lnTo>
                    <a:lnTo>
                      <a:pt x="806" y="527"/>
                    </a:lnTo>
                    <a:lnTo>
                      <a:pt x="747" y="532"/>
                    </a:lnTo>
                    <a:lnTo>
                      <a:pt x="688" y="536"/>
                    </a:lnTo>
                    <a:lnTo>
                      <a:pt x="628" y="541"/>
                    </a:lnTo>
                    <a:lnTo>
                      <a:pt x="572" y="546"/>
                    </a:lnTo>
                    <a:lnTo>
                      <a:pt x="513" y="548"/>
                    </a:lnTo>
                    <a:lnTo>
                      <a:pt x="456" y="555"/>
                    </a:lnTo>
                    <a:lnTo>
                      <a:pt x="399" y="562"/>
                    </a:lnTo>
                    <a:lnTo>
                      <a:pt x="345" y="569"/>
                    </a:lnTo>
                    <a:lnTo>
                      <a:pt x="288" y="574"/>
                    </a:lnTo>
                    <a:lnTo>
                      <a:pt x="283" y="569"/>
                    </a:lnTo>
                    <a:lnTo>
                      <a:pt x="267" y="569"/>
                    </a:lnTo>
                    <a:lnTo>
                      <a:pt x="246" y="569"/>
                    </a:lnTo>
                    <a:lnTo>
                      <a:pt x="243" y="569"/>
                    </a:lnTo>
                    <a:lnTo>
                      <a:pt x="253" y="591"/>
                    </a:lnTo>
                    <a:lnTo>
                      <a:pt x="255" y="607"/>
                    </a:lnTo>
                    <a:lnTo>
                      <a:pt x="253" y="610"/>
                    </a:lnTo>
                    <a:lnTo>
                      <a:pt x="227" y="612"/>
                    </a:lnTo>
                    <a:lnTo>
                      <a:pt x="198" y="614"/>
                    </a:lnTo>
                    <a:lnTo>
                      <a:pt x="170" y="617"/>
                    </a:lnTo>
                    <a:lnTo>
                      <a:pt x="139" y="619"/>
                    </a:lnTo>
                    <a:lnTo>
                      <a:pt x="111" y="621"/>
                    </a:lnTo>
                    <a:lnTo>
                      <a:pt x="80" y="624"/>
                    </a:lnTo>
                    <a:lnTo>
                      <a:pt x="52" y="624"/>
                    </a:lnTo>
                    <a:lnTo>
                      <a:pt x="19" y="628"/>
                    </a:lnTo>
                    <a:lnTo>
                      <a:pt x="26" y="607"/>
                    </a:lnTo>
                    <a:lnTo>
                      <a:pt x="33" y="602"/>
                    </a:lnTo>
                    <a:lnTo>
                      <a:pt x="38" y="602"/>
                    </a:lnTo>
                    <a:lnTo>
                      <a:pt x="45" y="605"/>
                    </a:lnTo>
                    <a:lnTo>
                      <a:pt x="49" y="605"/>
                    </a:lnTo>
                    <a:lnTo>
                      <a:pt x="59" y="598"/>
                    </a:lnTo>
                    <a:lnTo>
                      <a:pt x="66" y="579"/>
                    </a:lnTo>
                    <a:lnTo>
                      <a:pt x="68" y="558"/>
                    </a:lnTo>
                    <a:lnTo>
                      <a:pt x="68" y="536"/>
                    </a:lnTo>
                    <a:lnTo>
                      <a:pt x="61" y="520"/>
                    </a:lnTo>
                    <a:lnTo>
                      <a:pt x="59" y="510"/>
                    </a:lnTo>
                    <a:lnTo>
                      <a:pt x="64" y="496"/>
                    </a:lnTo>
                    <a:lnTo>
                      <a:pt x="75" y="480"/>
                    </a:lnTo>
                    <a:lnTo>
                      <a:pt x="106" y="477"/>
                    </a:lnTo>
                    <a:lnTo>
                      <a:pt x="149" y="489"/>
                    </a:lnTo>
                    <a:lnTo>
                      <a:pt x="175" y="491"/>
                    </a:lnTo>
                    <a:lnTo>
                      <a:pt x="177" y="484"/>
                    </a:lnTo>
                    <a:lnTo>
                      <a:pt x="175" y="472"/>
                    </a:lnTo>
                    <a:lnTo>
                      <a:pt x="168" y="456"/>
                    </a:lnTo>
                    <a:lnTo>
                      <a:pt x="163" y="442"/>
                    </a:lnTo>
                    <a:lnTo>
                      <a:pt x="165" y="435"/>
                    </a:lnTo>
                    <a:lnTo>
                      <a:pt x="182" y="423"/>
                    </a:lnTo>
                    <a:lnTo>
                      <a:pt x="215" y="409"/>
                    </a:lnTo>
                    <a:lnTo>
                      <a:pt x="227" y="392"/>
                    </a:lnTo>
                    <a:lnTo>
                      <a:pt x="220" y="375"/>
                    </a:lnTo>
                    <a:lnTo>
                      <a:pt x="220" y="359"/>
                    </a:lnTo>
                    <a:lnTo>
                      <a:pt x="229" y="342"/>
                    </a:lnTo>
                    <a:lnTo>
                      <a:pt x="234" y="338"/>
                    </a:lnTo>
                    <a:lnTo>
                      <a:pt x="236" y="335"/>
                    </a:lnTo>
                    <a:lnTo>
                      <a:pt x="243" y="338"/>
                    </a:lnTo>
                    <a:lnTo>
                      <a:pt x="250" y="335"/>
                    </a:lnTo>
                    <a:lnTo>
                      <a:pt x="253" y="331"/>
                    </a:lnTo>
                    <a:lnTo>
                      <a:pt x="255" y="323"/>
                    </a:lnTo>
                    <a:lnTo>
                      <a:pt x="253" y="312"/>
                    </a:lnTo>
                    <a:lnTo>
                      <a:pt x="255" y="309"/>
                    </a:lnTo>
                    <a:lnTo>
                      <a:pt x="257" y="309"/>
                    </a:lnTo>
                    <a:lnTo>
                      <a:pt x="267" y="314"/>
                    </a:lnTo>
                    <a:lnTo>
                      <a:pt x="276" y="314"/>
                    </a:lnTo>
                    <a:lnTo>
                      <a:pt x="286" y="309"/>
                    </a:lnTo>
                    <a:lnTo>
                      <a:pt x="290" y="312"/>
                    </a:lnTo>
                    <a:lnTo>
                      <a:pt x="295" y="321"/>
                    </a:lnTo>
                    <a:lnTo>
                      <a:pt x="298" y="323"/>
                    </a:lnTo>
                    <a:lnTo>
                      <a:pt x="302" y="319"/>
                    </a:lnTo>
                    <a:lnTo>
                      <a:pt x="305" y="312"/>
                    </a:lnTo>
                    <a:lnTo>
                      <a:pt x="302" y="300"/>
                    </a:lnTo>
                    <a:lnTo>
                      <a:pt x="305" y="297"/>
                    </a:lnTo>
                    <a:lnTo>
                      <a:pt x="307" y="297"/>
                    </a:lnTo>
                    <a:lnTo>
                      <a:pt x="309" y="302"/>
                    </a:lnTo>
                    <a:lnTo>
                      <a:pt x="316" y="302"/>
                    </a:lnTo>
                    <a:lnTo>
                      <a:pt x="326" y="297"/>
                    </a:lnTo>
                    <a:lnTo>
                      <a:pt x="342" y="300"/>
                    </a:lnTo>
                    <a:lnTo>
                      <a:pt x="371" y="312"/>
                    </a:lnTo>
                    <a:lnTo>
                      <a:pt x="383" y="321"/>
                    </a:lnTo>
                    <a:lnTo>
                      <a:pt x="390" y="316"/>
                    </a:lnTo>
                    <a:lnTo>
                      <a:pt x="397" y="302"/>
                    </a:lnTo>
                    <a:lnTo>
                      <a:pt x="409" y="290"/>
                    </a:lnTo>
                    <a:lnTo>
                      <a:pt x="423" y="281"/>
                    </a:lnTo>
                    <a:lnTo>
                      <a:pt x="439" y="283"/>
                    </a:lnTo>
                    <a:lnTo>
                      <a:pt x="458" y="295"/>
                    </a:lnTo>
                    <a:lnTo>
                      <a:pt x="470" y="297"/>
                    </a:lnTo>
                    <a:lnTo>
                      <a:pt x="477" y="288"/>
                    </a:lnTo>
                    <a:lnTo>
                      <a:pt x="482" y="279"/>
                    </a:lnTo>
                    <a:lnTo>
                      <a:pt x="480" y="267"/>
                    </a:lnTo>
                    <a:lnTo>
                      <a:pt x="484" y="260"/>
                    </a:lnTo>
                    <a:lnTo>
                      <a:pt x="489" y="255"/>
                    </a:lnTo>
                    <a:lnTo>
                      <a:pt x="491" y="250"/>
                    </a:lnTo>
                    <a:lnTo>
                      <a:pt x="489" y="243"/>
                    </a:lnTo>
                    <a:lnTo>
                      <a:pt x="494" y="238"/>
                    </a:lnTo>
                    <a:lnTo>
                      <a:pt x="503" y="236"/>
                    </a:lnTo>
                    <a:lnTo>
                      <a:pt x="506" y="234"/>
                    </a:lnTo>
                    <a:lnTo>
                      <a:pt x="503" y="231"/>
                    </a:lnTo>
                    <a:lnTo>
                      <a:pt x="503" y="229"/>
                    </a:lnTo>
                    <a:lnTo>
                      <a:pt x="506" y="229"/>
                    </a:lnTo>
                    <a:lnTo>
                      <a:pt x="510" y="231"/>
                    </a:lnTo>
                    <a:lnTo>
                      <a:pt x="517" y="238"/>
                    </a:lnTo>
                    <a:lnTo>
                      <a:pt x="520" y="248"/>
                    </a:lnTo>
                    <a:lnTo>
                      <a:pt x="532" y="257"/>
                    </a:lnTo>
                    <a:lnTo>
                      <a:pt x="550" y="264"/>
                    </a:lnTo>
                    <a:lnTo>
                      <a:pt x="565" y="264"/>
                    </a:lnTo>
                    <a:lnTo>
                      <a:pt x="572" y="257"/>
                    </a:lnTo>
                    <a:lnTo>
                      <a:pt x="581" y="241"/>
                    </a:lnTo>
                    <a:lnTo>
                      <a:pt x="586" y="212"/>
                    </a:lnTo>
                    <a:lnTo>
                      <a:pt x="595" y="198"/>
                    </a:lnTo>
                    <a:lnTo>
                      <a:pt x="607" y="193"/>
                    </a:lnTo>
                    <a:lnTo>
                      <a:pt x="617" y="182"/>
                    </a:lnTo>
                    <a:lnTo>
                      <a:pt x="621" y="165"/>
                    </a:lnTo>
                    <a:lnTo>
                      <a:pt x="631" y="151"/>
                    </a:lnTo>
                    <a:lnTo>
                      <a:pt x="643" y="139"/>
                    </a:lnTo>
                    <a:lnTo>
                      <a:pt x="647" y="125"/>
                    </a:lnTo>
                    <a:lnTo>
                      <a:pt x="643" y="108"/>
                    </a:lnTo>
                    <a:lnTo>
                      <a:pt x="647" y="96"/>
                    </a:lnTo>
                    <a:lnTo>
                      <a:pt x="664" y="94"/>
                    </a:lnTo>
                    <a:lnTo>
                      <a:pt x="673" y="94"/>
                    </a:lnTo>
                    <a:lnTo>
                      <a:pt x="680" y="99"/>
                    </a:lnTo>
                    <a:lnTo>
                      <a:pt x="683" y="101"/>
                    </a:lnTo>
                    <a:lnTo>
                      <a:pt x="683" y="101"/>
                    </a:lnTo>
                    <a:lnTo>
                      <a:pt x="688" y="101"/>
                    </a:lnTo>
                    <a:lnTo>
                      <a:pt x="692" y="99"/>
                    </a:lnTo>
                    <a:lnTo>
                      <a:pt x="699" y="94"/>
                    </a:lnTo>
                    <a:lnTo>
                      <a:pt x="728" y="80"/>
                    </a:lnTo>
                    <a:lnTo>
                      <a:pt x="744" y="66"/>
                    </a:lnTo>
                    <a:lnTo>
                      <a:pt x="744" y="56"/>
                    </a:lnTo>
                    <a:lnTo>
                      <a:pt x="740" y="49"/>
                    </a:lnTo>
                    <a:lnTo>
                      <a:pt x="732" y="49"/>
                    </a:lnTo>
                    <a:lnTo>
                      <a:pt x="730" y="44"/>
                    </a:lnTo>
                    <a:lnTo>
                      <a:pt x="735" y="37"/>
                    </a:lnTo>
                    <a:lnTo>
                      <a:pt x="732" y="30"/>
                    </a:lnTo>
                    <a:lnTo>
                      <a:pt x="728" y="21"/>
                    </a:lnTo>
                    <a:lnTo>
                      <a:pt x="730" y="11"/>
                    </a:lnTo>
                    <a:lnTo>
                      <a:pt x="732" y="9"/>
                    </a:lnTo>
                    <a:lnTo>
                      <a:pt x="742" y="2"/>
                    </a:lnTo>
                    <a:lnTo>
                      <a:pt x="751" y="0"/>
                    </a:lnTo>
                    <a:lnTo>
                      <a:pt x="758" y="7"/>
                    </a:lnTo>
                    <a:lnTo>
                      <a:pt x="770" y="7"/>
                    </a:lnTo>
                    <a:lnTo>
                      <a:pt x="784" y="2"/>
                    </a:lnTo>
                    <a:lnTo>
                      <a:pt x="796" y="2"/>
                    </a:lnTo>
                    <a:lnTo>
                      <a:pt x="810" y="9"/>
                    </a:lnTo>
                    <a:lnTo>
                      <a:pt x="822" y="23"/>
                    </a:lnTo>
                    <a:lnTo>
                      <a:pt x="836" y="44"/>
                    </a:lnTo>
                    <a:lnTo>
                      <a:pt x="855" y="56"/>
                    </a:lnTo>
                    <a:lnTo>
                      <a:pt x="884" y="59"/>
                    </a:lnTo>
                    <a:lnTo>
                      <a:pt x="905" y="63"/>
                    </a:lnTo>
                    <a:lnTo>
                      <a:pt x="919" y="75"/>
                    </a:lnTo>
                    <a:lnTo>
                      <a:pt x="929" y="78"/>
                    </a:lnTo>
                    <a:lnTo>
                      <a:pt x="940" y="70"/>
                    </a:lnTo>
                    <a:lnTo>
                      <a:pt x="952" y="66"/>
                    </a:lnTo>
                    <a:lnTo>
                      <a:pt x="966" y="68"/>
                    </a:lnTo>
                    <a:lnTo>
                      <a:pt x="985" y="75"/>
                    </a:lnTo>
                    <a:lnTo>
                      <a:pt x="1009" y="70"/>
                    </a:lnTo>
                    <a:lnTo>
                      <a:pt x="1040" y="49"/>
                    </a:lnTo>
                    <a:lnTo>
                      <a:pt x="1059" y="47"/>
                    </a:lnTo>
                    <a:lnTo>
                      <a:pt x="1068" y="63"/>
                    </a:lnTo>
                    <a:lnTo>
                      <a:pt x="1085" y="80"/>
                    </a:lnTo>
                    <a:lnTo>
                      <a:pt x="1111" y="94"/>
                    </a:lnTo>
                    <a:lnTo>
                      <a:pt x="1111" y="96"/>
                    </a:lnTo>
                    <a:close/>
                    <a:moveTo>
                      <a:pt x="12" y="628"/>
                    </a:moveTo>
                    <a:lnTo>
                      <a:pt x="0" y="628"/>
                    </a:lnTo>
                    <a:lnTo>
                      <a:pt x="0" y="626"/>
                    </a:lnTo>
                    <a:lnTo>
                      <a:pt x="0" y="621"/>
                    </a:lnTo>
                    <a:lnTo>
                      <a:pt x="0" y="617"/>
                    </a:lnTo>
                    <a:lnTo>
                      <a:pt x="2" y="617"/>
                    </a:lnTo>
                    <a:lnTo>
                      <a:pt x="4" y="617"/>
                    </a:lnTo>
                    <a:lnTo>
                      <a:pt x="9" y="621"/>
                    </a:lnTo>
                    <a:lnTo>
                      <a:pt x="12" y="62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2" name="Freeform 60">
                <a:extLst>
                  <a:ext uri="{FF2B5EF4-FFF2-40B4-BE49-F238E27FC236}">
                    <a16:creationId xmlns:a16="http://schemas.microsoft.com/office/drawing/2014/main" id="{ED5F2F71-7A41-B546-776F-D25E2B4CCC28}"/>
                  </a:ext>
                </a:extLst>
              </p:cNvPr>
              <p:cNvSpPr>
                <a:spLocks noEditPoints="1"/>
              </p:cNvSpPr>
              <p:nvPr/>
            </p:nvSpPr>
            <p:spPr bwMode="auto">
              <a:xfrm>
                <a:off x="5056" y="2556"/>
                <a:ext cx="981" cy="835"/>
              </a:xfrm>
              <a:custGeom>
                <a:avLst/>
                <a:gdLst>
                  <a:gd name="T0" fmla="*/ 733 w 981"/>
                  <a:gd name="T1" fmla="*/ 549 h 835"/>
                  <a:gd name="T2" fmla="*/ 728 w 981"/>
                  <a:gd name="T3" fmla="*/ 622 h 835"/>
                  <a:gd name="T4" fmla="*/ 806 w 981"/>
                  <a:gd name="T5" fmla="*/ 586 h 835"/>
                  <a:gd name="T6" fmla="*/ 794 w 981"/>
                  <a:gd name="T7" fmla="*/ 622 h 835"/>
                  <a:gd name="T8" fmla="*/ 853 w 981"/>
                  <a:gd name="T9" fmla="*/ 608 h 835"/>
                  <a:gd name="T10" fmla="*/ 879 w 981"/>
                  <a:gd name="T11" fmla="*/ 650 h 835"/>
                  <a:gd name="T12" fmla="*/ 846 w 981"/>
                  <a:gd name="T13" fmla="*/ 683 h 835"/>
                  <a:gd name="T14" fmla="*/ 818 w 981"/>
                  <a:gd name="T15" fmla="*/ 702 h 835"/>
                  <a:gd name="T16" fmla="*/ 922 w 981"/>
                  <a:gd name="T17" fmla="*/ 757 h 835"/>
                  <a:gd name="T18" fmla="*/ 939 w 981"/>
                  <a:gd name="T19" fmla="*/ 806 h 835"/>
                  <a:gd name="T20" fmla="*/ 898 w 981"/>
                  <a:gd name="T21" fmla="*/ 830 h 835"/>
                  <a:gd name="T22" fmla="*/ 861 w 981"/>
                  <a:gd name="T23" fmla="*/ 778 h 835"/>
                  <a:gd name="T24" fmla="*/ 809 w 981"/>
                  <a:gd name="T25" fmla="*/ 764 h 835"/>
                  <a:gd name="T26" fmla="*/ 738 w 981"/>
                  <a:gd name="T27" fmla="*/ 733 h 835"/>
                  <a:gd name="T28" fmla="*/ 757 w 981"/>
                  <a:gd name="T29" fmla="*/ 776 h 835"/>
                  <a:gd name="T30" fmla="*/ 726 w 981"/>
                  <a:gd name="T31" fmla="*/ 813 h 835"/>
                  <a:gd name="T32" fmla="*/ 645 w 981"/>
                  <a:gd name="T33" fmla="*/ 813 h 835"/>
                  <a:gd name="T34" fmla="*/ 539 w 981"/>
                  <a:gd name="T35" fmla="*/ 780 h 835"/>
                  <a:gd name="T36" fmla="*/ 534 w 981"/>
                  <a:gd name="T37" fmla="*/ 733 h 835"/>
                  <a:gd name="T38" fmla="*/ 454 w 981"/>
                  <a:gd name="T39" fmla="*/ 698 h 835"/>
                  <a:gd name="T40" fmla="*/ 369 w 981"/>
                  <a:gd name="T41" fmla="*/ 712 h 835"/>
                  <a:gd name="T42" fmla="*/ 270 w 981"/>
                  <a:gd name="T43" fmla="*/ 738 h 835"/>
                  <a:gd name="T44" fmla="*/ 137 w 981"/>
                  <a:gd name="T45" fmla="*/ 702 h 835"/>
                  <a:gd name="T46" fmla="*/ 45 w 981"/>
                  <a:gd name="T47" fmla="*/ 698 h 835"/>
                  <a:gd name="T48" fmla="*/ 62 w 981"/>
                  <a:gd name="T49" fmla="*/ 662 h 835"/>
                  <a:gd name="T50" fmla="*/ 66 w 981"/>
                  <a:gd name="T51" fmla="*/ 577 h 835"/>
                  <a:gd name="T52" fmla="*/ 95 w 981"/>
                  <a:gd name="T53" fmla="*/ 482 h 835"/>
                  <a:gd name="T54" fmla="*/ 99 w 981"/>
                  <a:gd name="T55" fmla="*/ 423 h 835"/>
                  <a:gd name="T56" fmla="*/ 64 w 981"/>
                  <a:gd name="T57" fmla="*/ 345 h 835"/>
                  <a:gd name="T58" fmla="*/ 43 w 981"/>
                  <a:gd name="T59" fmla="*/ 277 h 835"/>
                  <a:gd name="T60" fmla="*/ 2 w 981"/>
                  <a:gd name="T61" fmla="*/ 154 h 835"/>
                  <a:gd name="T62" fmla="*/ 0 w 981"/>
                  <a:gd name="T63" fmla="*/ 21 h 835"/>
                  <a:gd name="T64" fmla="*/ 161 w 981"/>
                  <a:gd name="T65" fmla="*/ 17 h 835"/>
                  <a:gd name="T66" fmla="*/ 319 w 981"/>
                  <a:gd name="T67" fmla="*/ 9 h 835"/>
                  <a:gd name="T68" fmla="*/ 480 w 981"/>
                  <a:gd name="T69" fmla="*/ 2 h 835"/>
                  <a:gd name="T70" fmla="*/ 520 w 981"/>
                  <a:gd name="T71" fmla="*/ 45 h 835"/>
                  <a:gd name="T72" fmla="*/ 520 w 981"/>
                  <a:gd name="T73" fmla="*/ 83 h 835"/>
                  <a:gd name="T74" fmla="*/ 551 w 981"/>
                  <a:gd name="T75" fmla="*/ 132 h 835"/>
                  <a:gd name="T76" fmla="*/ 551 w 981"/>
                  <a:gd name="T77" fmla="*/ 175 h 835"/>
                  <a:gd name="T78" fmla="*/ 525 w 981"/>
                  <a:gd name="T79" fmla="*/ 222 h 835"/>
                  <a:gd name="T80" fmla="*/ 468 w 981"/>
                  <a:gd name="T81" fmla="*/ 319 h 835"/>
                  <a:gd name="T82" fmla="*/ 447 w 981"/>
                  <a:gd name="T83" fmla="*/ 385 h 835"/>
                  <a:gd name="T84" fmla="*/ 489 w 981"/>
                  <a:gd name="T85" fmla="*/ 428 h 835"/>
                  <a:gd name="T86" fmla="*/ 707 w 981"/>
                  <a:gd name="T87" fmla="*/ 416 h 835"/>
                  <a:gd name="T88" fmla="*/ 780 w 981"/>
                  <a:gd name="T89" fmla="*/ 478 h 835"/>
                  <a:gd name="T90" fmla="*/ 811 w 981"/>
                  <a:gd name="T91" fmla="*/ 525 h 835"/>
                  <a:gd name="T92" fmla="*/ 842 w 981"/>
                  <a:gd name="T93" fmla="*/ 577 h 835"/>
                  <a:gd name="T94" fmla="*/ 882 w 981"/>
                  <a:gd name="T95" fmla="*/ 603 h 835"/>
                  <a:gd name="T96" fmla="*/ 903 w 981"/>
                  <a:gd name="T97" fmla="*/ 589 h 835"/>
                  <a:gd name="T98" fmla="*/ 969 w 981"/>
                  <a:gd name="T99" fmla="*/ 598 h 835"/>
                  <a:gd name="T100" fmla="*/ 960 w 981"/>
                  <a:gd name="T101" fmla="*/ 683 h 835"/>
                  <a:gd name="T102" fmla="*/ 435 w 981"/>
                  <a:gd name="T103" fmla="*/ 750 h 835"/>
                  <a:gd name="T104" fmla="*/ 419 w 981"/>
                  <a:gd name="T105" fmla="*/ 721 h 835"/>
                  <a:gd name="T106" fmla="*/ 435 w 981"/>
                  <a:gd name="T107" fmla="*/ 75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1" h="835">
                    <a:moveTo>
                      <a:pt x="846" y="579"/>
                    </a:moveTo>
                    <a:lnTo>
                      <a:pt x="835" y="586"/>
                    </a:lnTo>
                    <a:lnTo>
                      <a:pt x="766" y="568"/>
                    </a:lnTo>
                    <a:lnTo>
                      <a:pt x="747" y="551"/>
                    </a:lnTo>
                    <a:lnTo>
                      <a:pt x="733" y="549"/>
                    </a:lnTo>
                    <a:lnTo>
                      <a:pt x="714" y="549"/>
                    </a:lnTo>
                    <a:lnTo>
                      <a:pt x="695" y="570"/>
                    </a:lnTo>
                    <a:lnTo>
                      <a:pt x="683" y="601"/>
                    </a:lnTo>
                    <a:lnTo>
                      <a:pt x="707" y="615"/>
                    </a:lnTo>
                    <a:lnTo>
                      <a:pt x="728" y="622"/>
                    </a:lnTo>
                    <a:lnTo>
                      <a:pt x="761" y="612"/>
                    </a:lnTo>
                    <a:lnTo>
                      <a:pt x="778" y="598"/>
                    </a:lnTo>
                    <a:lnTo>
                      <a:pt x="794" y="598"/>
                    </a:lnTo>
                    <a:lnTo>
                      <a:pt x="801" y="594"/>
                    </a:lnTo>
                    <a:lnTo>
                      <a:pt x="806" y="586"/>
                    </a:lnTo>
                    <a:lnTo>
                      <a:pt x="820" y="591"/>
                    </a:lnTo>
                    <a:lnTo>
                      <a:pt x="820" y="596"/>
                    </a:lnTo>
                    <a:lnTo>
                      <a:pt x="811" y="605"/>
                    </a:lnTo>
                    <a:lnTo>
                      <a:pt x="801" y="612"/>
                    </a:lnTo>
                    <a:lnTo>
                      <a:pt x="794" y="622"/>
                    </a:lnTo>
                    <a:lnTo>
                      <a:pt x="809" y="636"/>
                    </a:lnTo>
                    <a:lnTo>
                      <a:pt x="830" y="641"/>
                    </a:lnTo>
                    <a:lnTo>
                      <a:pt x="837" y="638"/>
                    </a:lnTo>
                    <a:lnTo>
                      <a:pt x="842" y="620"/>
                    </a:lnTo>
                    <a:lnTo>
                      <a:pt x="853" y="608"/>
                    </a:lnTo>
                    <a:lnTo>
                      <a:pt x="870" y="608"/>
                    </a:lnTo>
                    <a:lnTo>
                      <a:pt x="868" y="615"/>
                    </a:lnTo>
                    <a:lnTo>
                      <a:pt x="872" y="622"/>
                    </a:lnTo>
                    <a:lnTo>
                      <a:pt x="879" y="634"/>
                    </a:lnTo>
                    <a:lnTo>
                      <a:pt x="879" y="650"/>
                    </a:lnTo>
                    <a:lnTo>
                      <a:pt x="882" y="655"/>
                    </a:lnTo>
                    <a:lnTo>
                      <a:pt x="865" y="664"/>
                    </a:lnTo>
                    <a:lnTo>
                      <a:pt x="851" y="669"/>
                    </a:lnTo>
                    <a:lnTo>
                      <a:pt x="839" y="679"/>
                    </a:lnTo>
                    <a:lnTo>
                      <a:pt x="846" y="683"/>
                    </a:lnTo>
                    <a:lnTo>
                      <a:pt x="835" y="690"/>
                    </a:lnTo>
                    <a:lnTo>
                      <a:pt x="827" y="688"/>
                    </a:lnTo>
                    <a:lnTo>
                      <a:pt x="823" y="690"/>
                    </a:lnTo>
                    <a:lnTo>
                      <a:pt x="823" y="698"/>
                    </a:lnTo>
                    <a:lnTo>
                      <a:pt x="818" y="702"/>
                    </a:lnTo>
                    <a:lnTo>
                      <a:pt x="827" y="719"/>
                    </a:lnTo>
                    <a:lnTo>
                      <a:pt x="846" y="728"/>
                    </a:lnTo>
                    <a:lnTo>
                      <a:pt x="858" y="742"/>
                    </a:lnTo>
                    <a:lnTo>
                      <a:pt x="910" y="757"/>
                    </a:lnTo>
                    <a:lnTo>
                      <a:pt x="922" y="757"/>
                    </a:lnTo>
                    <a:lnTo>
                      <a:pt x="936" y="773"/>
                    </a:lnTo>
                    <a:lnTo>
                      <a:pt x="946" y="780"/>
                    </a:lnTo>
                    <a:lnTo>
                      <a:pt x="955" y="783"/>
                    </a:lnTo>
                    <a:lnTo>
                      <a:pt x="955" y="795"/>
                    </a:lnTo>
                    <a:lnTo>
                      <a:pt x="939" y="806"/>
                    </a:lnTo>
                    <a:lnTo>
                      <a:pt x="936" y="816"/>
                    </a:lnTo>
                    <a:lnTo>
                      <a:pt x="931" y="823"/>
                    </a:lnTo>
                    <a:lnTo>
                      <a:pt x="924" y="816"/>
                    </a:lnTo>
                    <a:lnTo>
                      <a:pt x="915" y="811"/>
                    </a:lnTo>
                    <a:lnTo>
                      <a:pt x="898" y="830"/>
                    </a:lnTo>
                    <a:lnTo>
                      <a:pt x="891" y="835"/>
                    </a:lnTo>
                    <a:lnTo>
                      <a:pt x="894" y="816"/>
                    </a:lnTo>
                    <a:lnTo>
                      <a:pt x="887" y="809"/>
                    </a:lnTo>
                    <a:lnTo>
                      <a:pt x="875" y="790"/>
                    </a:lnTo>
                    <a:lnTo>
                      <a:pt x="861" y="778"/>
                    </a:lnTo>
                    <a:lnTo>
                      <a:pt x="849" y="776"/>
                    </a:lnTo>
                    <a:lnTo>
                      <a:pt x="842" y="768"/>
                    </a:lnTo>
                    <a:lnTo>
                      <a:pt x="830" y="766"/>
                    </a:lnTo>
                    <a:lnTo>
                      <a:pt x="823" y="768"/>
                    </a:lnTo>
                    <a:lnTo>
                      <a:pt x="809" y="764"/>
                    </a:lnTo>
                    <a:lnTo>
                      <a:pt x="806" y="754"/>
                    </a:lnTo>
                    <a:lnTo>
                      <a:pt x="801" y="747"/>
                    </a:lnTo>
                    <a:lnTo>
                      <a:pt x="792" y="740"/>
                    </a:lnTo>
                    <a:lnTo>
                      <a:pt x="738" y="726"/>
                    </a:lnTo>
                    <a:lnTo>
                      <a:pt x="738" y="733"/>
                    </a:lnTo>
                    <a:lnTo>
                      <a:pt x="742" y="738"/>
                    </a:lnTo>
                    <a:lnTo>
                      <a:pt x="749" y="740"/>
                    </a:lnTo>
                    <a:lnTo>
                      <a:pt x="759" y="747"/>
                    </a:lnTo>
                    <a:lnTo>
                      <a:pt x="759" y="766"/>
                    </a:lnTo>
                    <a:lnTo>
                      <a:pt x="757" y="776"/>
                    </a:lnTo>
                    <a:lnTo>
                      <a:pt x="757" y="787"/>
                    </a:lnTo>
                    <a:lnTo>
                      <a:pt x="754" y="802"/>
                    </a:lnTo>
                    <a:lnTo>
                      <a:pt x="747" y="811"/>
                    </a:lnTo>
                    <a:lnTo>
                      <a:pt x="733" y="818"/>
                    </a:lnTo>
                    <a:lnTo>
                      <a:pt x="726" y="813"/>
                    </a:lnTo>
                    <a:lnTo>
                      <a:pt x="714" y="787"/>
                    </a:lnTo>
                    <a:lnTo>
                      <a:pt x="700" y="780"/>
                    </a:lnTo>
                    <a:lnTo>
                      <a:pt x="676" y="780"/>
                    </a:lnTo>
                    <a:lnTo>
                      <a:pt x="662" y="787"/>
                    </a:lnTo>
                    <a:lnTo>
                      <a:pt x="645" y="813"/>
                    </a:lnTo>
                    <a:lnTo>
                      <a:pt x="634" y="818"/>
                    </a:lnTo>
                    <a:lnTo>
                      <a:pt x="584" y="809"/>
                    </a:lnTo>
                    <a:lnTo>
                      <a:pt x="530" y="790"/>
                    </a:lnTo>
                    <a:lnTo>
                      <a:pt x="532" y="785"/>
                    </a:lnTo>
                    <a:lnTo>
                      <a:pt x="539" y="780"/>
                    </a:lnTo>
                    <a:lnTo>
                      <a:pt x="556" y="783"/>
                    </a:lnTo>
                    <a:lnTo>
                      <a:pt x="556" y="776"/>
                    </a:lnTo>
                    <a:lnTo>
                      <a:pt x="537" y="754"/>
                    </a:lnTo>
                    <a:lnTo>
                      <a:pt x="534" y="745"/>
                    </a:lnTo>
                    <a:lnTo>
                      <a:pt x="534" y="733"/>
                    </a:lnTo>
                    <a:lnTo>
                      <a:pt x="530" y="733"/>
                    </a:lnTo>
                    <a:lnTo>
                      <a:pt x="520" y="742"/>
                    </a:lnTo>
                    <a:lnTo>
                      <a:pt x="485" y="735"/>
                    </a:lnTo>
                    <a:lnTo>
                      <a:pt x="475" y="726"/>
                    </a:lnTo>
                    <a:lnTo>
                      <a:pt x="454" y="698"/>
                    </a:lnTo>
                    <a:lnTo>
                      <a:pt x="426" y="698"/>
                    </a:lnTo>
                    <a:lnTo>
                      <a:pt x="414" y="681"/>
                    </a:lnTo>
                    <a:lnTo>
                      <a:pt x="390" y="688"/>
                    </a:lnTo>
                    <a:lnTo>
                      <a:pt x="378" y="698"/>
                    </a:lnTo>
                    <a:lnTo>
                      <a:pt x="369" y="712"/>
                    </a:lnTo>
                    <a:lnTo>
                      <a:pt x="374" y="719"/>
                    </a:lnTo>
                    <a:lnTo>
                      <a:pt x="383" y="728"/>
                    </a:lnTo>
                    <a:lnTo>
                      <a:pt x="381" y="733"/>
                    </a:lnTo>
                    <a:lnTo>
                      <a:pt x="348" y="742"/>
                    </a:lnTo>
                    <a:lnTo>
                      <a:pt x="270" y="738"/>
                    </a:lnTo>
                    <a:lnTo>
                      <a:pt x="248" y="731"/>
                    </a:lnTo>
                    <a:lnTo>
                      <a:pt x="218" y="714"/>
                    </a:lnTo>
                    <a:lnTo>
                      <a:pt x="175" y="702"/>
                    </a:lnTo>
                    <a:lnTo>
                      <a:pt x="156" y="700"/>
                    </a:lnTo>
                    <a:lnTo>
                      <a:pt x="137" y="702"/>
                    </a:lnTo>
                    <a:lnTo>
                      <a:pt x="80" y="707"/>
                    </a:lnTo>
                    <a:lnTo>
                      <a:pt x="66" y="709"/>
                    </a:lnTo>
                    <a:lnTo>
                      <a:pt x="54" y="716"/>
                    </a:lnTo>
                    <a:lnTo>
                      <a:pt x="47" y="709"/>
                    </a:lnTo>
                    <a:lnTo>
                      <a:pt x="45" y="698"/>
                    </a:lnTo>
                    <a:lnTo>
                      <a:pt x="52" y="698"/>
                    </a:lnTo>
                    <a:lnTo>
                      <a:pt x="59" y="690"/>
                    </a:lnTo>
                    <a:lnTo>
                      <a:pt x="64" y="676"/>
                    </a:lnTo>
                    <a:lnTo>
                      <a:pt x="66" y="667"/>
                    </a:lnTo>
                    <a:lnTo>
                      <a:pt x="62" y="662"/>
                    </a:lnTo>
                    <a:lnTo>
                      <a:pt x="73" y="641"/>
                    </a:lnTo>
                    <a:lnTo>
                      <a:pt x="76" y="634"/>
                    </a:lnTo>
                    <a:lnTo>
                      <a:pt x="73" y="598"/>
                    </a:lnTo>
                    <a:lnTo>
                      <a:pt x="66" y="584"/>
                    </a:lnTo>
                    <a:lnTo>
                      <a:pt x="66" y="577"/>
                    </a:lnTo>
                    <a:lnTo>
                      <a:pt x="73" y="558"/>
                    </a:lnTo>
                    <a:lnTo>
                      <a:pt x="71" y="539"/>
                    </a:lnTo>
                    <a:lnTo>
                      <a:pt x="80" y="518"/>
                    </a:lnTo>
                    <a:lnTo>
                      <a:pt x="88" y="506"/>
                    </a:lnTo>
                    <a:lnTo>
                      <a:pt x="95" y="482"/>
                    </a:lnTo>
                    <a:lnTo>
                      <a:pt x="97" y="466"/>
                    </a:lnTo>
                    <a:lnTo>
                      <a:pt x="99" y="456"/>
                    </a:lnTo>
                    <a:lnTo>
                      <a:pt x="97" y="445"/>
                    </a:lnTo>
                    <a:lnTo>
                      <a:pt x="102" y="435"/>
                    </a:lnTo>
                    <a:lnTo>
                      <a:pt x="99" y="423"/>
                    </a:lnTo>
                    <a:lnTo>
                      <a:pt x="97" y="407"/>
                    </a:lnTo>
                    <a:lnTo>
                      <a:pt x="90" y="400"/>
                    </a:lnTo>
                    <a:lnTo>
                      <a:pt x="76" y="376"/>
                    </a:lnTo>
                    <a:lnTo>
                      <a:pt x="76" y="367"/>
                    </a:lnTo>
                    <a:lnTo>
                      <a:pt x="64" y="345"/>
                    </a:lnTo>
                    <a:lnTo>
                      <a:pt x="62" y="336"/>
                    </a:lnTo>
                    <a:lnTo>
                      <a:pt x="50" y="324"/>
                    </a:lnTo>
                    <a:lnTo>
                      <a:pt x="47" y="317"/>
                    </a:lnTo>
                    <a:lnTo>
                      <a:pt x="45" y="286"/>
                    </a:lnTo>
                    <a:lnTo>
                      <a:pt x="43" y="277"/>
                    </a:lnTo>
                    <a:lnTo>
                      <a:pt x="31" y="260"/>
                    </a:lnTo>
                    <a:lnTo>
                      <a:pt x="5" y="234"/>
                    </a:lnTo>
                    <a:lnTo>
                      <a:pt x="5" y="208"/>
                    </a:lnTo>
                    <a:lnTo>
                      <a:pt x="5" y="182"/>
                    </a:lnTo>
                    <a:lnTo>
                      <a:pt x="2" y="154"/>
                    </a:lnTo>
                    <a:lnTo>
                      <a:pt x="2" y="128"/>
                    </a:lnTo>
                    <a:lnTo>
                      <a:pt x="2" y="102"/>
                    </a:lnTo>
                    <a:lnTo>
                      <a:pt x="2" y="73"/>
                    </a:lnTo>
                    <a:lnTo>
                      <a:pt x="0" y="47"/>
                    </a:lnTo>
                    <a:lnTo>
                      <a:pt x="0" y="21"/>
                    </a:lnTo>
                    <a:lnTo>
                      <a:pt x="33" y="21"/>
                    </a:lnTo>
                    <a:lnTo>
                      <a:pt x="64" y="19"/>
                    </a:lnTo>
                    <a:lnTo>
                      <a:pt x="97" y="19"/>
                    </a:lnTo>
                    <a:lnTo>
                      <a:pt x="128" y="17"/>
                    </a:lnTo>
                    <a:lnTo>
                      <a:pt x="161" y="17"/>
                    </a:lnTo>
                    <a:lnTo>
                      <a:pt x="192" y="17"/>
                    </a:lnTo>
                    <a:lnTo>
                      <a:pt x="225" y="14"/>
                    </a:lnTo>
                    <a:lnTo>
                      <a:pt x="255" y="14"/>
                    </a:lnTo>
                    <a:lnTo>
                      <a:pt x="288" y="12"/>
                    </a:lnTo>
                    <a:lnTo>
                      <a:pt x="319" y="9"/>
                    </a:lnTo>
                    <a:lnTo>
                      <a:pt x="352" y="9"/>
                    </a:lnTo>
                    <a:lnTo>
                      <a:pt x="383" y="7"/>
                    </a:lnTo>
                    <a:lnTo>
                      <a:pt x="416" y="7"/>
                    </a:lnTo>
                    <a:lnTo>
                      <a:pt x="447" y="5"/>
                    </a:lnTo>
                    <a:lnTo>
                      <a:pt x="480" y="2"/>
                    </a:lnTo>
                    <a:lnTo>
                      <a:pt x="515" y="0"/>
                    </a:lnTo>
                    <a:lnTo>
                      <a:pt x="515" y="12"/>
                    </a:lnTo>
                    <a:lnTo>
                      <a:pt x="525" y="17"/>
                    </a:lnTo>
                    <a:lnTo>
                      <a:pt x="527" y="28"/>
                    </a:lnTo>
                    <a:lnTo>
                      <a:pt x="520" y="45"/>
                    </a:lnTo>
                    <a:lnTo>
                      <a:pt x="520" y="57"/>
                    </a:lnTo>
                    <a:lnTo>
                      <a:pt x="527" y="62"/>
                    </a:lnTo>
                    <a:lnTo>
                      <a:pt x="527" y="69"/>
                    </a:lnTo>
                    <a:lnTo>
                      <a:pt x="520" y="76"/>
                    </a:lnTo>
                    <a:lnTo>
                      <a:pt x="520" y="83"/>
                    </a:lnTo>
                    <a:lnTo>
                      <a:pt x="525" y="92"/>
                    </a:lnTo>
                    <a:lnTo>
                      <a:pt x="530" y="102"/>
                    </a:lnTo>
                    <a:lnTo>
                      <a:pt x="530" y="111"/>
                    </a:lnTo>
                    <a:lnTo>
                      <a:pt x="537" y="125"/>
                    </a:lnTo>
                    <a:lnTo>
                      <a:pt x="551" y="132"/>
                    </a:lnTo>
                    <a:lnTo>
                      <a:pt x="558" y="144"/>
                    </a:lnTo>
                    <a:lnTo>
                      <a:pt x="560" y="149"/>
                    </a:lnTo>
                    <a:lnTo>
                      <a:pt x="560" y="154"/>
                    </a:lnTo>
                    <a:lnTo>
                      <a:pt x="560" y="163"/>
                    </a:lnTo>
                    <a:lnTo>
                      <a:pt x="551" y="175"/>
                    </a:lnTo>
                    <a:lnTo>
                      <a:pt x="541" y="184"/>
                    </a:lnTo>
                    <a:lnTo>
                      <a:pt x="539" y="187"/>
                    </a:lnTo>
                    <a:lnTo>
                      <a:pt x="537" y="192"/>
                    </a:lnTo>
                    <a:lnTo>
                      <a:pt x="537" y="206"/>
                    </a:lnTo>
                    <a:lnTo>
                      <a:pt x="525" y="222"/>
                    </a:lnTo>
                    <a:lnTo>
                      <a:pt x="504" y="241"/>
                    </a:lnTo>
                    <a:lnTo>
                      <a:pt x="489" y="265"/>
                    </a:lnTo>
                    <a:lnTo>
                      <a:pt x="482" y="293"/>
                    </a:lnTo>
                    <a:lnTo>
                      <a:pt x="475" y="312"/>
                    </a:lnTo>
                    <a:lnTo>
                      <a:pt x="468" y="319"/>
                    </a:lnTo>
                    <a:lnTo>
                      <a:pt x="463" y="336"/>
                    </a:lnTo>
                    <a:lnTo>
                      <a:pt x="463" y="357"/>
                    </a:lnTo>
                    <a:lnTo>
                      <a:pt x="459" y="369"/>
                    </a:lnTo>
                    <a:lnTo>
                      <a:pt x="449" y="374"/>
                    </a:lnTo>
                    <a:lnTo>
                      <a:pt x="447" y="385"/>
                    </a:lnTo>
                    <a:lnTo>
                      <a:pt x="454" y="407"/>
                    </a:lnTo>
                    <a:lnTo>
                      <a:pt x="452" y="416"/>
                    </a:lnTo>
                    <a:lnTo>
                      <a:pt x="445" y="426"/>
                    </a:lnTo>
                    <a:lnTo>
                      <a:pt x="445" y="430"/>
                    </a:lnTo>
                    <a:lnTo>
                      <a:pt x="489" y="428"/>
                    </a:lnTo>
                    <a:lnTo>
                      <a:pt x="532" y="426"/>
                    </a:lnTo>
                    <a:lnTo>
                      <a:pt x="577" y="423"/>
                    </a:lnTo>
                    <a:lnTo>
                      <a:pt x="619" y="421"/>
                    </a:lnTo>
                    <a:lnTo>
                      <a:pt x="664" y="419"/>
                    </a:lnTo>
                    <a:lnTo>
                      <a:pt x="707" y="416"/>
                    </a:lnTo>
                    <a:lnTo>
                      <a:pt x="752" y="414"/>
                    </a:lnTo>
                    <a:lnTo>
                      <a:pt x="794" y="411"/>
                    </a:lnTo>
                    <a:lnTo>
                      <a:pt x="792" y="435"/>
                    </a:lnTo>
                    <a:lnTo>
                      <a:pt x="780" y="468"/>
                    </a:lnTo>
                    <a:lnTo>
                      <a:pt x="780" y="478"/>
                    </a:lnTo>
                    <a:lnTo>
                      <a:pt x="785" y="489"/>
                    </a:lnTo>
                    <a:lnTo>
                      <a:pt x="785" y="494"/>
                    </a:lnTo>
                    <a:lnTo>
                      <a:pt x="790" y="504"/>
                    </a:lnTo>
                    <a:lnTo>
                      <a:pt x="801" y="511"/>
                    </a:lnTo>
                    <a:lnTo>
                      <a:pt x="811" y="525"/>
                    </a:lnTo>
                    <a:lnTo>
                      <a:pt x="823" y="549"/>
                    </a:lnTo>
                    <a:lnTo>
                      <a:pt x="825" y="558"/>
                    </a:lnTo>
                    <a:lnTo>
                      <a:pt x="832" y="575"/>
                    </a:lnTo>
                    <a:lnTo>
                      <a:pt x="837" y="577"/>
                    </a:lnTo>
                    <a:lnTo>
                      <a:pt x="842" y="577"/>
                    </a:lnTo>
                    <a:lnTo>
                      <a:pt x="846" y="579"/>
                    </a:lnTo>
                    <a:close/>
                    <a:moveTo>
                      <a:pt x="903" y="598"/>
                    </a:moveTo>
                    <a:lnTo>
                      <a:pt x="903" y="608"/>
                    </a:lnTo>
                    <a:lnTo>
                      <a:pt x="894" y="603"/>
                    </a:lnTo>
                    <a:lnTo>
                      <a:pt x="882" y="603"/>
                    </a:lnTo>
                    <a:lnTo>
                      <a:pt x="887" y="601"/>
                    </a:lnTo>
                    <a:lnTo>
                      <a:pt x="891" y="596"/>
                    </a:lnTo>
                    <a:lnTo>
                      <a:pt x="891" y="594"/>
                    </a:lnTo>
                    <a:lnTo>
                      <a:pt x="908" y="579"/>
                    </a:lnTo>
                    <a:lnTo>
                      <a:pt x="903" y="589"/>
                    </a:lnTo>
                    <a:lnTo>
                      <a:pt x="903" y="598"/>
                    </a:lnTo>
                    <a:close/>
                    <a:moveTo>
                      <a:pt x="979" y="650"/>
                    </a:moveTo>
                    <a:lnTo>
                      <a:pt x="976" y="657"/>
                    </a:lnTo>
                    <a:lnTo>
                      <a:pt x="979" y="624"/>
                    </a:lnTo>
                    <a:lnTo>
                      <a:pt x="969" y="598"/>
                    </a:lnTo>
                    <a:lnTo>
                      <a:pt x="976" y="610"/>
                    </a:lnTo>
                    <a:lnTo>
                      <a:pt x="981" y="624"/>
                    </a:lnTo>
                    <a:lnTo>
                      <a:pt x="979" y="650"/>
                    </a:lnTo>
                    <a:close/>
                    <a:moveTo>
                      <a:pt x="969" y="672"/>
                    </a:moveTo>
                    <a:lnTo>
                      <a:pt x="960" y="683"/>
                    </a:lnTo>
                    <a:lnTo>
                      <a:pt x="960" y="679"/>
                    </a:lnTo>
                    <a:lnTo>
                      <a:pt x="967" y="667"/>
                    </a:lnTo>
                    <a:lnTo>
                      <a:pt x="972" y="662"/>
                    </a:lnTo>
                    <a:lnTo>
                      <a:pt x="969" y="672"/>
                    </a:lnTo>
                    <a:close/>
                    <a:moveTo>
                      <a:pt x="435" y="750"/>
                    </a:moveTo>
                    <a:lnTo>
                      <a:pt x="428" y="754"/>
                    </a:lnTo>
                    <a:lnTo>
                      <a:pt x="395" y="738"/>
                    </a:lnTo>
                    <a:lnTo>
                      <a:pt x="395" y="728"/>
                    </a:lnTo>
                    <a:lnTo>
                      <a:pt x="409" y="721"/>
                    </a:lnTo>
                    <a:lnTo>
                      <a:pt x="419" y="721"/>
                    </a:lnTo>
                    <a:lnTo>
                      <a:pt x="433" y="731"/>
                    </a:lnTo>
                    <a:lnTo>
                      <a:pt x="437" y="733"/>
                    </a:lnTo>
                    <a:lnTo>
                      <a:pt x="442" y="735"/>
                    </a:lnTo>
                    <a:lnTo>
                      <a:pt x="440" y="742"/>
                    </a:lnTo>
                    <a:lnTo>
                      <a:pt x="435" y="75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3" name="Freeform 61">
                <a:extLst>
                  <a:ext uri="{FF2B5EF4-FFF2-40B4-BE49-F238E27FC236}">
                    <a16:creationId xmlns:a16="http://schemas.microsoft.com/office/drawing/2014/main" id="{EA293272-564E-E4B4-9B89-1F678FE9334C}"/>
                  </a:ext>
                </a:extLst>
              </p:cNvPr>
              <p:cNvSpPr>
                <a:spLocks noEditPoints="1"/>
              </p:cNvSpPr>
              <p:nvPr/>
            </p:nvSpPr>
            <p:spPr bwMode="auto">
              <a:xfrm>
                <a:off x="8200" y="-33"/>
                <a:ext cx="581" cy="312"/>
              </a:xfrm>
              <a:custGeom>
                <a:avLst/>
                <a:gdLst>
                  <a:gd name="T0" fmla="*/ 371 w 581"/>
                  <a:gd name="T1" fmla="*/ 21 h 312"/>
                  <a:gd name="T2" fmla="*/ 392 w 581"/>
                  <a:gd name="T3" fmla="*/ 38 h 312"/>
                  <a:gd name="T4" fmla="*/ 407 w 581"/>
                  <a:gd name="T5" fmla="*/ 38 h 312"/>
                  <a:gd name="T6" fmla="*/ 390 w 581"/>
                  <a:gd name="T7" fmla="*/ 59 h 312"/>
                  <a:gd name="T8" fmla="*/ 371 w 581"/>
                  <a:gd name="T9" fmla="*/ 94 h 312"/>
                  <a:gd name="T10" fmla="*/ 397 w 581"/>
                  <a:gd name="T11" fmla="*/ 125 h 312"/>
                  <a:gd name="T12" fmla="*/ 437 w 581"/>
                  <a:gd name="T13" fmla="*/ 165 h 312"/>
                  <a:gd name="T14" fmla="*/ 468 w 581"/>
                  <a:gd name="T15" fmla="*/ 206 h 312"/>
                  <a:gd name="T16" fmla="*/ 529 w 581"/>
                  <a:gd name="T17" fmla="*/ 194 h 312"/>
                  <a:gd name="T18" fmla="*/ 522 w 581"/>
                  <a:gd name="T19" fmla="*/ 151 h 312"/>
                  <a:gd name="T20" fmla="*/ 503 w 581"/>
                  <a:gd name="T21" fmla="*/ 144 h 312"/>
                  <a:gd name="T22" fmla="*/ 499 w 581"/>
                  <a:gd name="T23" fmla="*/ 130 h 312"/>
                  <a:gd name="T24" fmla="*/ 541 w 581"/>
                  <a:gd name="T25" fmla="*/ 149 h 312"/>
                  <a:gd name="T26" fmla="*/ 563 w 581"/>
                  <a:gd name="T27" fmla="*/ 206 h 312"/>
                  <a:gd name="T28" fmla="*/ 496 w 581"/>
                  <a:gd name="T29" fmla="*/ 236 h 312"/>
                  <a:gd name="T30" fmla="*/ 461 w 581"/>
                  <a:gd name="T31" fmla="*/ 260 h 312"/>
                  <a:gd name="T32" fmla="*/ 447 w 581"/>
                  <a:gd name="T33" fmla="*/ 232 h 312"/>
                  <a:gd name="T34" fmla="*/ 388 w 581"/>
                  <a:gd name="T35" fmla="*/ 295 h 312"/>
                  <a:gd name="T36" fmla="*/ 376 w 581"/>
                  <a:gd name="T37" fmla="*/ 243 h 312"/>
                  <a:gd name="T38" fmla="*/ 357 w 581"/>
                  <a:gd name="T39" fmla="*/ 248 h 312"/>
                  <a:gd name="T40" fmla="*/ 343 w 581"/>
                  <a:gd name="T41" fmla="*/ 234 h 312"/>
                  <a:gd name="T42" fmla="*/ 329 w 581"/>
                  <a:gd name="T43" fmla="*/ 208 h 312"/>
                  <a:gd name="T44" fmla="*/ 305 w 581"/>
                  <a:gd name="T45" fmla="*/ 206 h 312"/>
                  <a:gd name="T46" fmla="*/ 262 w 581"/>
                  <a:gd name="T47" fmla="*/ 217 h 312"/>
                  <a:gd name="T48" fmla="*/ 225 w 581"/>
                  <a:gd name="T49" fmla="*/ 225 h 312"/>
                  <a:gd name="T50" fmla="*/ 170 w 581"/>
                  <a:gd name="T51" fmla="*/ 236 h 312"/>
                  <a:gd name="T52" fmla="*/ 116 w 581"/>
                  <a:gd name="T53" fmla="*/ 251 h 312"/>
                  <a:gd name="T54" fmla="*/ 109 w 581"/>
                  <a:gd name="T55" fmla="*/ 253 h 312"/>
                  <a:gd name="T56" fmla="*/ 71 w 581"/>
                  <a:gd name="T57" fmla="*/ 260 h 312"/>
                  <a:gd name="T58" fmla="*/ 31 w 581"/>
                  <a:gd name="T59" fmla="*/ 269 h 312"/>
                  <a:gd name="T60" fmla="*/ 0 w 581"/>
                  <a:gd name="T61" fmla="*/ 272 h 312"/>
                  <a:gd name="T62" fmla="*/ 2 w 581"/>
                  <a:gd name="T63" fmla="*/ 215 h 312"/>
                  <a:gd name="T64" fmla="*/ 2 w 581"/>
                  <a:gd name="T65" fmla="*/ 161 h 312"/>
                  <a:gd name="T66" fmla="*/ 19 w 581"/>
                  <a:gd name="T67" fmla="*/ 120 h 312"/>
                  <a:gd name="T68" fmla="*/ 64 w 581"/>
                  <a:gd name="T69" fmla="*/ 111 h 312"/>
                  <a:gd name="T70" fmla="*/ 109 w 581"/>
                  <a:gd name="T71" fmla="*/ 102 h 312"/>
                  <a:gd name="T72" fmla="*/ 165 w 581"/>
                  <a:gd name="T73" fmla="*/ 87 h 312"/>
                  <a:gd name="T74" fmla="*/ 229 w 581"/>
                  <a:gd name="T75" fmla="*/ 73 h 312"/>
                  <a:gd name="T76" fmla="*/ 295 w 581"/>
                  <a:gd name="T77" fmla="*/ 57 h 312"/>
                  <a:gd name="T78" fmla="*/ 326 w 581"/>
                  <a:gd name="T79" fmla="*/ 21 h 312"/>
                  <a:gd name="T80" fmla="*/ 364 w 581"/>
                  <a:gd name="T81" fmla="*/ 0 h 312"/>
                  <a:gd name="T82" fmla="*/ 447 w 581"/>
                  <a:gd name="T83" fmla="*/ 307 h 312"/>
                  <a:gd name="T84" fmla="*/ 473 w 581"/>
                  <a:gd name="T85" fmla="*/ 279 h 312"/>
                  <a:gd name="T86" fmla="*/ 581 w 581"/>
                  <a:gd name="T87" fmla="*/ 288 h 312"/>
                  <a:gd name="T88" fmla="*/ 563 w 581"/>
                  <a:gd name="T89" fmla="*/ 284 h 312"/>
                  <a:gd name="T90" fmla="*/ 565 w 581"/>
                  <a:gd name="T91" fmla="*/ 26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1" h="312">
                    <a:moveTo>
                      <a:pt x="364" y="0"/>
                    </a:moveTo>
                    <a:lnTo>
                      <a:pt x="362" y="12"/>
                    </a:lnTo>
                    <a:lnTo>
                      <a:pt x="371" y="21"/>
                    </a:lnTo>
                    <a:lnTo>
                      <a:pt x="376" y="31"/>
                    </a:lnTo>
                    <a:lnTo>
                      <a:pt x="385" y="38"/>
                    </a:lnTo>
                    <a:lnTo>
                      <a:pt x="392" y="38"/>
                    </a:lnTo>
                    <a:lnTo>
                      <a:pt x="397" y="35"/>
                    </a:lnTo>
                    <a:lnTo>
                      <a:pt x="402" y="33"/>
                    </a:lnTo>
                    <a:lnTo>
                      <a:pt x="407" y="38"/>
                    </a:lnTo>
                    <a:lnTo>
                      <a:pt x="407" y="42"/>
                    </a:lnTo>
                    <a:lnTo>
                      <a:pt x="399" y="47"/>
                    </a:lnTo>
                    <a:lnTo>
                      <a:pt x="390" y="59"/>
                    </a:lnTo>
                    <a:lnTo>
                      <a:pt x="378" y="66"/>
                    </a:lnTo>
                    <a:lnTo>
                      <a:pt x="376" y="80"/>
                    </a:lnTo>
                    <a:lnTo>
                      <a:pt x="371" y="94"/>
                    </a:lnTo>
                    <a:lnTo>
                      <a:pt x="359" y="120"/>
                    </a:lnTo>
                    <a:lnTo>
                      <a:pt x="369" y="125"/>
                    </a:lnTo>
                    <a:lnTo>
                      <a:pt x="397" y="125"/>
                    </a:lnTo>
                    <a:lnTo>
                      <a:pt x="411" y="128"/>
                    </a:lnTo>
                    <a:lnTo>
                      <a:pt x="440" y="161"/>
                    </a:lnTo>
                    <a:lnTo>
                      <a:pt x="437" y="165"/>
                    </a:lnTo>
                    <a:lnTo>
                      <a:pt x="437" y="173"/>
                    </a:lnTo>
                    <a:lnTo>
                      <a:pt x="456" y="180"/>
                    </a:lnTo>
                    <a:lnTo>
                      <a:pt x="468" y="206"/>
                    </a:lnTo>
                    <a:lnTo>
                      <a:pt x="485" y="210"/>
                    </a:lnTo>
                    <a:lnTo>
                      <a:pt x="506" y="210"/>
                    </a:lnTo>
                    <a:lnTo>
                      <a:pt x="529" y="194"/>
                    </a:lnTo>
                    <a:lnTo>
                      <a:pt x="546" y="177"/>
                    </a:lnTo>
                    <a:lnTo>
                      <a:pt x="541" y="168"/>
                    </a:lnTo>
                    <a:lnTo>
                      <a:pt x="522" y="151"/>
                    </a:lnTo>
                    <a:lnTo>
                      <a:pt x="518" y="142"/>
                    </a:lnTo>
                    <a:lnTo>
                      <a:pt x="506" y="137"/>
                    </a:lnTo>
                    <a:lnTo>
                      <a:pt x="503" y="144"/>
                    </a:lnTo>
                    <a:lnTo>
                      <a:pt x="496" y="139"/>
                    </a:lnTo>
                    <a:lnTo>
                      <a:pt x="494" y="135"/>
                    </a:lnTo>
                    <a:lnTo>
                      <a:pt x="499" y="130"/>
                    </a:lnTo>
                    <a:lnTo>
                      <a:pt x="506" y="130"/>
                    </a:lnTo>
                    <a:lnTo>
                      <a:pt x="515" y="132"/>
                    </a:lnTo>
                    <a:lnTo>
                      <a:pt x="541" y="149"/>
                    </a:lnTo>
                    <a:lnTo>
                      <a:pt x="555" y="180"/>
                    </a:lnTo>
                    <a:lnTo>
                      <a:pt x="563" y="199"/>
                    </a:lnTo>
                    <a:lnTo>
                      <a:pt x="563" y="206"/>
                    </a:lnTo>
                    <a:lnTo>
                      <a:pt x="555" y="206"/>
                    </a:lnTo>
                    <a:lnTo>
                      <a:pt x="546" y="210"/>
                    </a:lnTo>
                    <a:lnTo>
                      <a:pt x="496" y="236"/>
                    </a:lnTo>
                    <a:lnTo>
                      <a:pt x="487" y="248"/>
                    </a:lnTo>
                    <a:lnTo>
                      <a:pt x="463" y="265"/>
                    </a:lnTo>
                    <a:lnTo>
                      <a:pt x="461" y="260"/>
                    </a:lnTo>
                    <a:lnTo>
                      <a:pt x="459" y="251"/>
                    </a:lnTo>
                    <a:lnTo>
                      <a:pt x="451" y="229"/>
                    </a:lnTo>
                    <a:lnTo>
                      <a:pt x="447" y="232"/>
                    </a:lnTo>
                    <a:lnTo>
                      <a:pt x="414" y="277"/>
                    </a:lnTo>
                    <a:lnTo>
                      <a:pt x="399" y="284"/>
                    </a:lnTo>
                    <a:lnTo>
                      <a:pt x="388" y="295"/>
                    </a:lnTo>
                    <a:lnTo>
                      <a:pt x="383" y="291"/>
                    </a:lnTo>
                    <a:lnTo>
                      <a:pt x="373" y="267"/>
                    </a:lnTo>
                    <a:lnTo>
                      <a:pt x="376" y="243"/>
                    </a:lnTo>
                    <a:lnTo>
                      <a:pt x="371" y="246"/>
                    </a:lnTo>
                    <a:lnTo>
                      <a:pt x="366" y="255"/>
                    </a:lnTo>
                    <a:lnTo>
                      <a:pt x="357" y="248"/>
                    </a:lnTo>
                    <a:lnTo>
                      <a:pt x="352" y="243"/>
                    </a:lnTo>
                    <a:lnTo>
                      <a:pt x="345" y="241"/>
                    </a:lnTo>
                    <a:lnTo>
                      <a:pt x="343" y="234"/>
                    </a:lnTo>
                    <a:lnTo>
                      <a:pt x="340" y="222"/>
                    </a:lnTo>
                    <a:lnTo>
                      <a:pt x="333" y="222"/>
                    </a:lnTo>
                    <a:lnTo>
                      <a:pt x="329" y="208"/>
                    </a:lnTo>
                    <a:lnTo>
                      <a:pt x="324" y="199"/>
                    </a:lnTo>
                    <a:lnTo>
                      <a:pt x="314" y="201"/>
                    </a:lnTo>
                    <a:lnTo>
                      <a:pt x="305" y="206"/>
                    </a:lnTo>
                    <a:lnTo>
                      <a:pt x="288" y="208"/>
                    </a:lnTo>
                    <a:lnTo>
                      <a:pt x="274" y="213"/>
                    </a:lnTo>
                    <a:lnTo>
                      <a:pt x="262" y="217"/>
                    </a:lnTo>
                    <a:lnTo>
                      <a:pt x="262" y="215"/>
                    </a:lnTo>
                    <a:lnTo>
                      <a:pt x="243" y="220"/>
                    </a:lnTo>
                    <a:lnTo>
                      <a:pt x="225" y="225"/>
                    </a:lnTo>
                    <a:lnTo>
                      <a:pt x="208" y="229"/>
                    </a:lnTo>
                    <a:lnTo>
                      <a:pt x="189" y="234"/>
                    </a:lnTo>
                    <a:lnTo>
                      <a:pt x="170" y="236"/>
                    </a:lnTo>
                    <a:lnTo>
                      <a:pt x="154" y="241"/>
                    </a:lnTo>
                    <a:lnTo>
                      <a:pt x="135" y="246"/>
                    </a:lnTo>
                    <a:lnTo>
                      <a:pt x="116" y="251"/>
                    </a:lnTo>
                    <a:lnTo>
                      <a:pt x="116" y="255"/>
                    </a:lnTo>
                    <a:lnTo>
                      <a:pt x="111" y="258"/>
                    </a:lnTo>
                    <a:lnTo>
                      <a:pt x="109" y="253"/>
                    </a:lnTo>
                    <a:lnTo>
                      <a:pt x="97" y="255"/>
                    </a:lnTo>
                    <a:lnTo>
                      <a:pt x="83" y="258"/>
                    </a:lnTo>
                    <a:lnTo>
                      <a:pt x="71" y="260"/>
                    </a:lnTo>
                    <a:lnTo>
                      <a:pt x="57" y="265"/>
                    </a:lnTo>
                    <a:lnTo>
                      <a:pt x="45" y="267"/>
                    </a:lnTo>
                    <a:lnTo>
                      <a:pt x="31" y="269"/>
                    </a:lnTo>
                    <a:lnTo>
                      <a:pt x="19" y="272"/>
                    </a:lnTo>
                    <a:lnTo>
                      <a:pt x="5" y="274"/>
                    </a:lnTo>
                    <a:lnTo>
                      <a:pt x="0" y="272"/>
                    </a:lnTo>
                    <a:lnTo>
                      <a:pt x="0" y="253"/>
                    </a:lnTo>
                    <a:lnTo>
                      <a:pt x="0" y="234"/>
                    </a:lnTo>
                    <a:lnTo>
                      <a:pt x="2" y="215"/>
                    </a:lnTo>
                    <a:lnTo>
                      <a:pt x="2" y="199"/>
                    </a:lnTo>
                    <a:lnTo>
                      <a:pt x="2" y="180"/>
                    </a:lnTo>
                    <a:lnTo>
                      <a:pt x="2" y="161"/>
                    </a:lnTo>
                    <a:lnTo>
                      <a:pt x="2" y="142"/>
                    </a:lnTo>
                    <a:lnTo>
                      <a:pt x="2" y="123"/>
                    </a:lnTo>
                    <a:lnTo>
                      <a:pt x="19" y="120"/>
                    </a:lnTo>
                    <a:lnTo>
                      <a:pt x="33" y="118"/>
                    </a:lnTo>
                    <a:lnTo>
                      <a:pt x="47" y="113"/>
                    </a:lnTo>
                    <a:lnTo>
                      <a:pt x="64" y="111"/>
                    </a:lnTo>
                    <a:lnTo>
                      <a:pt x="78" y="109"/>
                    </a:lnTo>
                    <a:lnTo>
                      <a:pt x="92" y="104"/>
                    </a:lnTo>
                    <a:lnTo>
                      <a:pt x="109" y="102"/>
                    </a:lnTo>
                    <a:lnTo>
                      <a:pt x="123" y="97"/>
                    </a:lnTo>
                    <a:lnTo>
                      <a:pt x="144" y="92"/>
                    </a:lnTo>
                    <a:lnTo>
                      <a:pt x="165" y="87"/>
                    </a:lnTo>
                    <a:lnTo>
                      <a:pt x="187" y="83"/>
                    </a:lnTo>
                    <a:lnTo>
                      <a:pt x="208" y="78"/>
                    </a:lnTo>
                    <a:lnTo>
                      <a:pt x="229" y="73"/>
                    </a:lnTo>
                    <a:lnTo>
                      <a:pt x="253" y="68"/>
                    </a:lnTo>
                    <a:lnTo>
                      <a:pt x="274" y="61"/>
                    </a:lnTo>
                    <a:lnTo>
                      <a:pt x="295" y="57"/>
                    </a:lnTo>
                    <a:lnTo>
                      <a:pt x="307" y="47"/>
                    </a:lnTo>
                    <a:lnTo>
                      <a:pt x="317" y="28"/>
                    </a:lnTo>
                    <a:lnTo>
                      <a:pt x="326" y="21"/>
                    </a:lnTo>
                    <a:lnTo>
                      <a:pt x="338" y="7"/>
                    </a:lnTo>
                    <a:lnTo>
                      <a:pt x="345" y="5"/>
                    </a:lnTo>
                    <a:lnTo>
                      <a:pt x="364" y="0"/>
                    </a:lnTo>
                    <a:close/>
                    <a:moveTo>
                      <a:pt x="494" y="291"/>
                    </a:moveTo>
                    <a:lnTo>
                      <a:pt x="456" y="312"/>
                    </a:lnTo>
                    <a:lnTo>
                      <a:pt x="447" y="307"/>
                    </a:lnTo>
                    <a:lnTo>
                      <a:pt x="456" y="303"/>
                    </a:lnTo>
                    <a:lnTo>
                      <a:pt x="466" y="284"/>
                    </a:lnTo>
                    <a:lnTo>
                      <a:pt x="473" y="279"/>
                    </a:lnTo>
                    <a:lnTo>
                      <a:pt x="489" y="284"/>
                    </a:lnTo>
                    <a:lnTo>
                      <a:pt x="494" y="291"/>
                    </a:lnTo>
                    <a:close/>
                    <a:moveTo>
                      <a:pt x="581" y="288"/>
                    </a:moveTo>
                    <a:lnTo>
                      <a:pt x="572" y="295"/>
                    </a:lnTo>
                    <a:lnTo>
                      <a:pt x="541" y="295"/>
                    </a:lnTo>
                    <a:lnTo>
                      <a:pt x="563" y="284"/>
                    </a:lnTo>
                    <a:lnTo>
                      <a:pt x="565" y="281"/>
                    </a:lnTo>
                    <a:lnTo>
                      <a:pt x="565" y="269"/>
                    </a:lnTo>
                    <a:lnTo>
                      <a:pt x="565" y="265"/>
                    </a:lnTo>
                    <a:lnTo>
                      <a:pt x="579" y="284"/>
                    </a:lnTo>
                    <a:lnTo>
                      <a:pt x="581" y="28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4" name="Freeform 62">
                <a:extLst>
                  <a:ext uri="{FF2B5EF4-FFF2-40B4-BE49-F238E27FC236}">
                    <a16:creationId xmlns:a16="http://schemas.microsoft.com/office/drawing/2014/main" id="{3BDC6C84-96AE-8814-9640-0F13E1791BEB}"/>
                  </a:ext>
                </a:extLst>
              </p:cNvPr>
              <p:cNvSpPr>
                <a:spLocks noEditPoints="1"/>
              </p:cNvSpPr>
              <p:nvPr/>
            </p:nvSpPr>
            <p:spPr bwMode="auto">
              <a:xfrm>
                <a:off x="7375" y="804"/>
                <a:ext cx="768" cy="362"/>
              </a:xfrm>
              <a:custGeom>
                <a:avLst/>
                <a:gdLst>
                  <a:gd name="T0" fmla="*/ 615 w 768"/>
                  <a:gd name="T1" fmla="*/ 97 h 362"/>
                  <a:gd name="T2" fmla="*/ 650 w 768"/>
                  <a:gd name="T3" fmla="*/ 227 h 362"/>
                  <a:gd name="T4" fmla="*/ 659 w 768"/>
                  <a:gd name="T5" fmla="*/ 258 h 362"/>
                  <a:gd name="T6" fmla="*/ 662 w 768"/>
                  <a:gd name="T7" fmla="*/ 258 h 362"/>
                  <a:gd name="T8" fmla="*/ 749 w 768"/>
                  <a:gd name="T9" fmla="*/ 236 h 362"/>
                  <a:gd name="T10" fmla="*/ 763 w 768"/>
                  <a:gd name="T11" fmla="*/ 253 h 362"/>
                  <a:gd name="T12" fmla="*/ 754 w 768"/>
                  <a:gd name="T13" fmla="*/ 251 h 362"/>
                  <a:gd name="T14" fmla="*/ 740 w 768"/>
                  <a:gd name="T15" fmla="*/ 310 h 362"/>
                  <a:gd name="T16" fmla="*/ 693 w 768"/>
                  <a:gd name="T17" fmla="*/ 348 h 362"/>
                  <a:gd name="T18" fmla="*/ 657 w 768"/>
                  <a:gd name="T19" fmla="*/ 350 h 362"/>
                  <a:gd name="T20" fmla="*/ 636 w 768"/>
                  <a:gd name="T21" fmla="*/ 324 h 362"/>
                  <a:gd name="T22" fmla="*/ 638 w 768"/>
                  <a:gd name="T23" fmla="*/ 281 h 362"/>
                  <a:gd name="T24" fmla="*/ 619 w 768"/>
                  <a:gd name="T25" fmla="*/ 293 h 362"/>
                  <a:gd name="T26" fmla="*/ 598 w 768"/>
                  <a:gd name="T27" fmla="*/ 300 h 362"/>
                  <a:gd name="T28" fmla="*/ 563 w 768"/>
                  <a:gd name="T29" fmla="*/ 248 h 362"/>
                  <a:gd name="T30" fmla="*/ 600 w 768"/>
                  <a:gd name="T31" fmla="*/ 234 h 362"/>
                  <a:gd name="T32" fmla="*/ 553 w 768"/>
                  <a:gd name="T33" fmla="*/ 213 h 362"/>
                  <a:gd name="T34" fmla="*/ 555 w 768"/>
                  <a:gd name="T35" fmla="*/ 201 h 362"/>
                  <a:gd name="T36" fmla="*/ 537 w 768"/>
                  <a:gd name="T37" fmla="*/ 187 h 362"/>
                  <a:gd name="T38" fmla="*/ 558 w 768"/>
                  <a:gd name="T39" fmla="*/ 165 h 362"/>
                  <a:gd name="T40" fmla="*/ 539 w 768"/>
                  <a:gd name="T41" fmla="*/ 125 h 362"/>
                  <a:gd name="T42" fmla="*/ 589 w 768"/>
                  <a:gd name="T43" fmla="*/ 76 h 362"/>
                  <a:gd name="T44" fmla="*/ 579 w 768"/>
                  <a:gd name="T45" fmla="*/ 57 h 362"/>
                  <a:gd name="T46" fmla="*/ 560 w 768"/>
                  <a:gd name="T47" fmla="*/ 40 h 362"/>
                  <a:gd name="T48" fmla="*/ 551 w 768"/>
                  <a:gd name="T49" fmla="*/ 71 h 362"/>
                  <a:gd name="T50" fmla="*/ 527 w 768"/>
                  <a:gd name="T51" fmla="*/ 76 h 362"/>
                  <a:gd name="T52" fmla="*/ 513 w 768"/>
                  <a:gd name="T53" fmla="*/ 90 h 362"/>
                  <a:gd name="T54" fmla="*/ 511 w 768"/>
                  <a:gd name="T55" fmla="*/ 118 h 362"/>
                  <a:gd name="T56" fmla="*/ 501 w 768"/>
                  <a:gd name="T57" fmla="*/ 142 h 362"/>
                  <a:gd name="T58" fmla="*/ 496 w 768"/>
                  <a:gd name="T59" fmla="*/ 161 h 362"/>
                  <a:gd name="T60" fmla="*/ 508 w 768"/>
                  <a:gd name="T61" fmla="*/ 196 h 362"/>
                  <a:gd name="T62" fmla="*/ 527 w 768"/>
                  <a:gd name="T63" fmla="*/ 269 h 362"/>
                  <a:gd name="T64" fmla="*/ 544 w 768"/>
                  <a:gd name="T65" fmla="*/ 303 h 362"/>
                  <a:gd name="T66" fmla="*/ 499 w 768"/>
                  <a:gd name="T67" fmla="*/ 265 h 362"/>
                  <a:gd name="T68" fmla="*/ 553 w 768"/>
                  <a:gd name="T69" fmla="*/ 322 h 362"/>
                  <a:gd name="T70" fmla="*/ 560 w 768"/>
                  <a:gd name="T71" fmla="*/ 350 h 362"/>
                  <a:gd name="T72" fmla="*/ 475 w 768"/>
                  <a:gd name="T73" fmla="*/ 312 h 362"/>
                  <a:gd name="T74" fmla="*/ 454 w 768"/>
                  <a:gd name="T75" fmla="*/ 314 h 362"/>
                  <a:gd name="T76" fmla="*/ 414 w 768"/>
                  <a:gd name="T77" fmla="*/ 322 h 362"/>
                  <a:gd name="T78" fmla="*/ 430 w 768"/>
                  <a:gd name="T79" fmla="*/ 253 h 362"/>
                  <a:gd name="T80" fmla="*/ 442 w 768"/>
                  <a:gd name="T81" fmla="*/ 213 h 362"/>
                  <a:gd name="T82" fmla="*/ 397 w 768"/>
                  <a:gd name="T83" fmla="*/ 203 h 362"/>
                  <a:gd name="T84" fmla="*/ 338 w 768"/>
                  <a:gd name="T85" fmla="*/ 173 h 362"/>
                  <a:gd name="T86" fmla="*/ 295 w 768"/>
                  <a:gd name="T87" fmla="*/ 144 h 362"/>
                  <a:gd name="T88" fmla="*/ 281 w 768"/>
                  <a:gd name="T89" fmla="*/ 128 h 362"/>
                  <a:gd name="T90" fmla="*/ 267 w 768"/>
                  <a:gd name="T91" fmla="*/ 106 h 362"/>
                  <a:gd name="T92" fmla="*/ 248 w 768"/>
                  <a:gd name="T93" fmla="*/ 97 h 362"/>
                  <a:gd name="T94" fmla="*/ 187 w 768"/>
                  <a:gd name="T95" fmla="*/ 102 h 362"/>
                  <a:gd name="T96" fmla="*/ 165 w 768"/>
                  <a:gd name="T97" fmla="*/ 130 h 362"/>
                  <a:gd name="T98" fmla="*/ 123 w 768"/>
                  <a:gd name="T99" fmla="*/ 128 h 362"/>
                  <a:gd name="T100" fmla="*/ 116 w 768"/>
                  <a:gd name="T101" fmla="*/ 121 h 362"/>
                  <a:gd name="T102" fmla="*/ 78 w 768"/>
                  <a:gd name="T103" fmla="*/ 158 h 362"/>
                  <a:gd name="T104" fmla="*/ 19 w 768"/>
                  <a:gd name="T105" fmla="*/ 227 h 362"/>
                  <a:gd name="T106" fmla="*/ 0 w 768"/>
                  <a:gd name="T107" fmla="*/ 121 h 362"/>
                  <a:gd name="T108" fmla="*/ 147 w 768"/>
                  <a:gd name="T109" fmla="*/ 92 h 362"/>
                  <a:gd name="T110" fmla="*/ 295 w 768"/>
                  <a:gd name="T111" fmla="*/ 64 h 362"/>
                  <a:gd name="T112" fmla="*/ 442 w 768"/>
                  <a:gd name="T113" fmla="*/ 33 h 362"/>
                  <a:gd name="T114" fmla="*/ 586 w 768"/>
                  <a:gd name="T115" fmla="*/ 0 h 362"/>
                  <a:gd name="T116" fmla="*/ 761 w 768"/>
                  <a:gd name="T117" fmla="*/ 281 h 362"/>
                  <a:gd name="T118" fmla="*/ 756 w 768"/>
                  <a:gd name="T119" fmla="*/ 3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8" h="362">
                    <a:moveTo>
                      <a:pt x="586" y="0"/>
                    </a:moveTo>
                    <a:lnTo>
                      <a:pt x="596" y="33"/>
                    </a:lnTo>
                    <a:lnTo>
                      <a:pt x="605" y="66"/>
                    </a:lnTo>
                    <a:lnTo>
                      <a:pt x="615" y="97"/>
                    </a:lnTo>
                    <a:lnTo>
                      <a:pt x="622" y="130"/>
                    </a:lnTo>
                    <a:lnTo>
                      <a:pt x="631" y="161"/>
                    </a:lnTo>
                    <a:lnTo>
                      <a:pt x="641" y="194"/>
                    </a:lnTo>
                    <a:lnTo>
                      <a:pt x="650" y="227"/>
                    </a:lnTo>
                    <a:lnTo>
                      <a:pt x="657" y="258"/>
                    </a:lnTo>
                    <a:lnTo>
                      <a:pt x="659" y="258"/>
                    </a:lnTo>
                    <a:lnTo>
                      <a:pt x="659" y="258"/>
                    </a:lnTo>
                    <a:lnTo>
                      <a:pt x="659" y="258"/>
                    </a:lnTo>
                    <a:lnTo>
                      <a:pt x="659" y="258"/>
                    </a:lnTo>
                    <a:lnTo>
                      <a:pt x="659" y="258"/>
                    </a:lnTo>
                    <a:lnTo>
                      <a:pt x="659" y="258"/>
                    </a:lnTo>
                    <a:lnTo>
                      <a:pt x="662" y="258"/>
                    </a:lnTo>
                    <a:lnTo>
                      <a:pt x="662" y="258"/>
                    </a:lnTo>
                    <a:lnTo>
                      <a:pt x="678" y="253"/>
                    </a:lnTo>
                    <a:lnTo>
                      <a:pt x="714" y="246"/>
                    </a:lnTo>
                    <a:lnTo>
                      <a:pt x="749" y="236"/>
                    </a:lnTo>
                    <a:lnTo>
                      <a:pt x="766" y="234"/>
                    </a:lnTo>
                    <a:lnTo>
                      <a:pt x="768" y="239"/>
                    </a:lnTo>
                    <a:lnTo>
                      <a:pt x="768" y="248"/>
                    </a:lnTo>
                    <a:lnTo>
                      <a:pt x="763" y="253"/>
                    </a:lnTo>
                    <a:lnTo>
                      <a:pt x="763" y="243"/>
                    </a:lnTo>
                    <a:lnTo>
                      <a:pt x="759" y="241"/>
                    </a:lnTo>
                    <a:lnTo>
                      <a:pt x="756" y="246"/>
                    </a:lnTo>
                    <a:lnTo>
                      <a:pt x="754" y="251"/>
                    </a:lnTo>
                    <a:lnTo>
                      <a:pt x="756" y="269"/>
                    </a:lnTo>
                    <a:lnTo>
                      <a:pt x="756" y="279"/>
                    </a:lnTo>
                    <a:lnTo>
                      <a:pt x="747" y="284"/>
                    </a:lnTo>
                    <a:lnTo>
                      <a:pt x="740" y="310"/>
                    </a:lnTo>
                    <a:lnTo>
                      <a:pt x="733" y="324"/>
                    </a:lnTo>
                    <a:lnTo>
                      <a:pt x="733" y="333"/>
                    </a:lnTo>
                    <a:lnTo>
                      <a:pt x="716" y="340"/>
                    </a:lnTo>
                    <a:lnTo>
                      <a:pt x="693" y="348"/>
                    </a:lnTo>
                    <a:lnTo>
                      <a:pt x="690" y="359"/>
                    </a:lnTo>
                    <a:lnTo>
                      <a:pt x="676" y="357"/>
                    </a:lnTo>
                    <a:lnTo>
                      <a:pt x="657" y="362"/>
                    </a:lnTo>
                    <a:lnTo>
                      <a:pt x="657" y="350"/>
                    </a:lnTo>
                    <a:lnTo>
                      <a:pt x="662" y="336"/>
                    </a:lnTo>
                    <a:lnTo>
                      <a:pt x="648" y="329"/>
                    </a:lnTo>
                    <a:lnTo>
                      <a:pt x="643" y="329"/>
                    </a:lnTo>
                    <a:lnTo>
                      <a:pt x="636" y="324"/>
                    </a:lnTo>
                    <a:lnTo>
                      <a:pt x="641" y="314"/>
                    </a:lnTo>
                    <a:lnTo>
                      <a:pt x="643" y="303"/>
                    </a:lnTo>
                    <a:lnTo>
                      <a:pt x="638" y="293"/>
                    </a:lnTo>
                    <a:lnTo>
                      <a:pt x="638" y="281"/>
                    </a:lnTo>
                    <a:lnTo>
                      <a:pt x="633" y="286"/>
                    </a:lnTo>
                    <a:lnTo>
                      <a:pt x="629" y="296"/>
                    </a:lnTo>
                    <a:lnTo>
                      <a:pt x="624" y="300"/>
                    </a:lnTo>
                    <a:lnTo>
                      <a:pt x="619" y="293"/>
                    </a:lnTo>
                    <a:lnTo>
                      <a:pt x="617" y="296"/>
                    </a:lnTo>
                    <a:lnTo>
                      <a:pt x="615" y="303"/>
                    </a:lnTo>
                    <a:lnTo>
                      <a:pt x="610" y="307"/>
                    </a:lnTo>
                    <a:lnTo>
                      <a:pt x="598" y="300"/>
                    </a:lnTo>
                    <a:lnTo>
                      <a:pt x="581" y="296"/>
                    </a:lnTo>
                    <a:lnTo>
                      <a:pt x="570" y="281"/>
                    </a:lnTo>
                    <a:lnTo>
                      <a:pt x="563" y="272"/>
                    </a:lnTo>
                    <a:lnTo>
                      <a:pt x="563" y="248"/>
                    </a:lnTo>
                    <a:lnTo>
                      <a:pt x="572" y="241"/>
                    </a:lnTo>
                    <a:lnTo>
                      <a:pt x="586" y="243"/>
                    </a:lnTo>
                    <a:lnTo>
                      <a:pt x="605" y="239"/>
                    </a:lnTo>
                    <a:lnTo>
                      <a:pt x="600" y="234"/>
                    </a:lnTo>
                    <a:lnTo>
                      <a:pt x="593" y="236"/>
                    </a:lnTo>
                    <a:lnTo>
                      <a:pt x="572" y="222"/>
                    </a:lnTo>
                    <a:lnTo>
                      <a:pt x="563" y="213"/>
                    </a:lnTo>
                    <a:lnTo>
                      <a:pt x="553" y="213"/>
                    </a:lnTo>
                    <a:lnTo>
                      <a:pt x="548" y="225"/>
                    </a:lnTo>
                    <a:lnTo>
                      <a:pt x="544" y="229"/>
                    </a:lnTo>
                    <a:lnTo>
                      <a:pt x="546" y="206"/>
                    </a:lnTo>
                    <a:lnTo>
                      <a:pt x="555" y="201"/>
                    </a:lnTo>
                    <a:lnTo>
                      <a:pt x="565" y="194"/>
                    </a:lnTo>
                    <a:lnTo>
                      <a:pt x="560" y="180"/>
                    </a:lnTo>
                    <a:lnTo>
                      <a:pt x="551" y="177"/>
                    </a:lnTo>
                    <a:lnTo>
                      <a:pt x="537" y="187"/>
                    </a:lnTo>
                    <a:lnTo>
                      <a:pt x="537" y="177"/>
                    </a:lnTo>
                    <a:lnTo>
                      <a:pt x="537" y="165"/>
                    </a:lnTo>
                    <a:lnTo>
                      <a:pt x="546" y="163"/>
                    </a:lnTo>
                    <a:lnTo>
                      <a:pt x="558" y="165"/>
                    </a:lnTo>
                    <a:lnTo>
                      <a:pt x="560" y="144"/>
                    </a:lnTo>
                    <a:lnTo>
                      <a:pt x="560" y="137"/>
                    </a:lnTo>
                    <a:lnTo>
                      <a:pt x="548" y="151"/>
                    </a:lnTo>
                    <a:lnTo>
                      <a:pt x="539" y="125"/>
                    </a:lnTo>
                    <a:lnTo>
                      <a:pt x="548" y="97"/>
                    </a:lnTo>
                    <a:lnTo>
                      <a:pt x="558" y="83"/>
                    </a:lnTo>
                    <a:lnTo>
                      <a:pt x="574" y="80"/>
                    </a:lnTo>
                    <a:lnTo>
                      <a:pt x="589" y="76"/>
                    </a:lnTo>
                    <a:lnTo>
                      <a:pt x="577" y="73"/>
                    </a:lnTo>
                    <a:lnTo>
                      <a:pt x="567" y="73"/>
                    </a:lnTo>
                    <a:lnTo>
                      <a:pt x="572" y="61"/>
                    </a:lnTo>
                    <a:lnTo>
                      <a:pt x="579" y="57"/>
                    </a:lnTo>
                    <a:lnTo>
                      <a:pt x="584" y="47"/>
                    </a:lnTo>
                    <a:lnTo>
                      <a:pt x="567" y="52"/>
                    </a:lnTo>
                    <a:lnTo>
                      <a:pt x="565" y="35"/>
                    </a:lnTo>
                    <a:lnTo>
                      <a:pt x="560" y="40"/>
                    </a:lnTo>
                    <a:lnTo>
                      <a:pt x="551" y="43"/>
                    </a:lnTo>
                    <a:lnTo>
                      <a:pt x="548" y="52"/>
                    </a:lnTo>
                    <a:lnTo>
                      <a:pt x="551" y="64"/>
                    </a:lnTo>
                    <a:lnTo>
                      <a:pt x="551" y="71"/>
                    </a:lnTo>
                    <a:lnTo>
                      <a:pt x="546" y="78"/>
                    </a:lnTo>
                    <a:lnTo>
                      <a:pt x="534" y="85"/>
                    </a:lnTo>
                    <a:lnTo>
                      <a:pt x="532" y="78"/>
                    </a:lnTo>
                    <a:lnTo>
                      <a:pt x="527" y="76"/>
                    </a:lnTo>
                    <a:lnTo>
                      <a:pt x="529" y="92"/>
                    </a:lnTo>
                    <a:lnTo>
                      <a:pt x="527" y="99"/>
                    </a:lnTo>
                    <a:lnTo>
                      <a:pt x="515" y="85"/>
                    </a:lnTo>
                    <a:lnTo>
                      <a:pt x="513" y="90"/>
                    </a:lnTo>
                    <a:lnTo>
                      <a:pt x="515" y="95"/>
                    </a:lnTo>
                    <a:lnTo>
                      <a:pt x="515" y="102"/>
                    </a:lnTo>
                    <a:lnTo>
                      <a:pt x="508" y="109"/>
                    </a:lnTo>
                    <a:lnTo>
                      <a:pt x="511" y="118"/>
                    </a:lnTo>
                    <a:lnTo>
                      <a:pt x="508" y="125"/>
                    </a:lnTo>
                    <a:lnTo>
                      <a:pt x="482" y="121"/>
                    </a:lnTo>
                    <a:lnTo>
                      <a:pt x="482" y="125"/>
                    </a:lnTo>
                    <a:lnTo>
                      <a:pt x="501" y="142"/>
                    </a:lnTo>
                    <a:lnTo>
                      <a:pt x="513" y="147"/>
                    </a:lnTo>
                    <a:lnTo>
                      <a:pt x="515" y="156"/>
                    </a:lnTo>
                    <a:lnTo>
                      <a:pt x="508" y="168"/>
                    </a:lnTo>
                    <a:lnTo>
                      <a:pt x="496" y="161"/>
                    </a:lnTo>
                    <a:lnTo>
                      <a:pt x="494" y="163"/>
                    </a:lnTo>
                    <a:lnTo>
                      <a:pt x="503" y="175"/>
                    </a:lnTo>
                    <a:lnTo>
                      <a:pt x="511" y="184"/>
                    </a:lnTo>
                    <a:lnTo>
                      <a:pt x="508" y="196"/>
                    </a:lnTo>
                    <a:lnTo>
                      <a:pt x="511" y="208"/>
                    </a:lnTo>
                    <a:lnTo>
                      <a:pt x="513" y="217"/>
                    </a:lnTo>
                    <a:lnTo>
                      <a:pt x="513" y="229"/>
                    </a:lnTo>
                    <a:lnTo>
                      <a:pt x="527" y="269"/>
                    </a:lnTo>
                    <a:lnTo>
                      <a:pt x="537" y="281"/>
                    </a:lnTo>
                    <a:lnTo>
                      <a:pt x="546" y="291"/>
                    </a:lnTo>
                    <a:lnTo>
                      <a:pt x="551" y="300"/>
                    </a:lnTo>
                    <a:lnTo>
                      <a:pt x="544" y="303"/>
                    </a:lnTo>
                    <a:lnTo>
                      <a:pt x="532" y="298"/>
                    </a:lnTo>
                    <a:lnTo>
                      <a:pt x="520" y="293"/>
                    </a:lnTo>
                    <a:lnTo>
                      <a:pt x="503" y="274"/>
                    </a:lnTo>
                    <a:lnTo>
                      <a:pt x="499" y="265"/>
                    </a:lnTo>
                    <a:lnTo>
                      <a:pt x="494" y="260"/>
                    </a:lnTo>
                    <a:lnTo>
                      <a:pt x="499" y="274"/>
                    </a:lnTo>
                    <a:lnTo>
                      <a:pt x="508" y="291"/>
                    </a:lnTo>
                    <a:lnTo>
                      <a:pt x="553" y="322"/>
                    </a:lnTo>
                    <a:lnTo>
                      <a:pt x="565" y="333"/>
                    </a:lnTo>
                    <a:lnTo>
                      <a:pt x="572" y="345"/>
                    </a:lnTo>
                    <a:lnTo>
                      <a:pt x="572" y="355"/>
                    </a:lnTo>
                    <a:lnTo>
                      <a:pt x="560" y="350"/>
                    </a:lnTo>
                    <a:lnTo>
                      <a:pt x="551" y="343"/>
                    </a:lnTo>
                    <a:lnTo>
                      <a:pt x="525" y="336"/>
                    </a:lnTo>
                    <a:lnTo>
                      <a:pt x="496" y="336"/>
                    </a:lnTo>
                    <a:lnTo>
                      <a:pt x="475" y="312"/>
                    </a:lnTo>
                    <a:lnTo>
                      <a:pt x="477" y="324"/>
                    </a:lnTo>
                    <a:lnTo>
                      <a:pt x="475" y="333"/>
                    </a:lnTo>
                    <a:lnTo>
                      <a:pt x="463" y="324"/>
                    </a:lnTo>
                    <a:lnTo>
                      <a:pt x="454" y="314"/>
                    </a:lnTo>
                    <a:lnTo>
                      <a:pt x="449" y="305"/>
                    </a:lnTo>
                    <a:lnTo>
                      <a:pt x="437" y="307"/>
                    </a:lnTo>
                    <a:lnTo>
                      <a:pt x="428" y="322"/>
                    </a:lnTo>
                    <a:lnTo>
                      <a:pt x="414" y="322"/>
                    </a:lnTo>
                    <a:lnTo>
                      <a:pt x="409" y="303"/>
                    </a:lnTo>
                    <a:lnTo>
                      <a:pt x="411" y="293"/>
                    </a:lnTo>
                    <a:lnTo>
                      <a:pt x="418" y="267"/>
                    </a:lnTo>
                    <a:lnTo>
                      <a:pt x="430" y="253"/>
                    </a:lnTo>
                    <a:lnTo>
                      <a:pt x="433" y="236"/>
                    </a:lnTo>
                    <a:lnTo>
                      <a:pt x="425" y="215"/>
                    </a:lnTo>
                    <a:lnTo>
                      <a:pt x="430" y="232"/>
                    </a:lnTo>
                    <a:lnTo>
                      <a:pt x="442" y="213"/>
                    </a:lnTo>
                    <a:lnTo>
                      <a:pt x="430" y="201"/>
                    </a:lnTo>
                    <a:lnTo>
                      <a:pt x="418" y="189"/>
                    </a:lnTo>
                    <a:lnTo>
                      <a:pt x="409" y="206"/>
                    </a:lnTo>
                    <a:lnTo>
                      <a:pt x="397" y="203"/>
                    </a:lnTo>
                    <a:lnTo>
                      <a:pt x="376" y="189"/>
                    </a:lnTo>
                    <a:lnTo>
                      <a:pt x="345" y="184"/>
                    </a:lnTo>
                    <a:lnTo>
                      <a:pt x="338" y="180"/>
                    </a:lnTo>
                    <a:lnTo>
                      <a:pt x="338" y="173"/>
                    </a:lnTo>
                    <a:lnTo>
                      <a:pt x="340" y="161"/>
                    </a:lnTo>
                    <a:lnTo>
                      <a:pt x="329" y="154"/>
                    </a:lnTo>
                    <a:lnTo>
                      <a:pt x="305" y="149"/>
                    </a:lnTo>
                    <a:lnTo>
                      <a:pt x="295" y="144"/>
                    </a:lnTo>
                    <a:lnTo>
                      <a:pt x="293" y="142"/>
                    </a:lnTo>
                    <a:lnTo>
                      <a:pt x="291" y="132"/>
                    </a:lnTo>
                    <a:lnTo>
                      <a:pt x="286" y="128"/>
                    </a:lnTo>
                    <a:lnTo>
                      <a:pt x="281" y="128"/>
                    </a:lnTo>
                    <a:lnTo>
                      <a:pt x="279" y="123"/>
                    </a:lnTo>
                    <a:lnTo>
                      <a:pt x="281" y="116"/>
                    </a:lnTo>
                    <a:lnTo>
                      <a:pt x="277" y="111"/>
                    </a:lnTo>
                    <a:lnTo>
                      <a:pt x="267" y="106"/>
                    </a:lnTo>
                    <a:lnTo>
                      <a:pt x="262" y="102"/>
                    </a:lnTo>
                    <a:lnTo>
                      <a:pt x="265" y="97"/>
                    </a:lnTo>
                    <a:lnTo>
                      <a:pt x="260" y="95"/>
                    </a:lnTo>
                    <a:lnTo>
                      <a:pt x="248" y="97"/>
                    </a:lnTo>
                    <a:lnTo>
                      <a:pt x="236" y="95"/>
                    </a:lnTo>
                    <a:lnTo>
                      <a:pt x="222" y="87"/>
                    </a:lnTo>
                    <a:lnTo>
                      <a:pt x="208" y="87"/>
                    </a:lnTo>
                    <a:lnTo>
                      <a:pt x="187" y="102"/>
                    </a:lnTo>
                    <a:lnTo>
                      <a:pt x="175" y="109"/>
                    </a:lnTo>
                    <a:lnTo>
                      <a:pt x="170" y="113"/>
                    </a:lnTo>
                    <a:lnTo>
                      <a:pt x="170" y="125"/>
                    </a:lnTo>
                    <a:lnTo>
                      <a:pt x="165" y="130"/>
                    </a:lnTo>
                    <a:lnTo>
                      <a:pt x="151" y="132"/>
                    </a:lnTo>
                    <a:lnTo>
                      <a:pt x="149" y="132"/>
                    </a:lnTo>
                    <a:lnTo>
                      <a:pt x="135" y="132"/>
                    </a:lnTo>
                    <a:lnTo>
                      <a:pt x="123" y="128"/>
                    </a:lnTo>
                    <a:lnTo>
                      <a:pt x="121" y="125"/>
                    </a:lnTo>
                    <a:lnTo>
                      <a:pt x="121" y="121"/>
                    </a:lnTo>
                    <a:lnTo>
                      <a:pt x="118" y="118"/>
                    </a:lnTo>
                    <a:lnTo>
                      <a:pt x="116" y="121"/>
                    </a:lnTo>
                    <a:lnTo>
                      <a:pt x="113" y="123"/>
                    </a:lnTo>
                    <a:lnTo>
                      <a:pt x="111" y="132"/>
                    </a:lnTo>
                    <a:lnTo>
                      <a:pt x="92" y="161"/>
                    </a:lnTo>
                    <a:lnTo>
                      <a:pt x="78" y="158"/>
                    </a:lnTo>
                    <a:lnTo>
                      <a:pt x="73" y="158"/>
                    </a:lnTo>
                    <a:lnTo>
                      <a:pt x="45" y="201"/>
                    </a:lnTo>
                    <a:lnTo>
                      <a:pt x="35" y="208"/>
                    </a:lnTo>
                    <a:lnTo>
                      <a:pt x="19" y="227"/>
                    </a:lnTo>
                    <a:lnTo>
                      <a:pt x="14" y="201"/>
                    </a:lnTo>
                    <a:lnTo>
                      <a:pt x="9" y="173"/>
                    </a:lnTo>
                    <a:lnTo>
                      <a:pt x="5" y="147"/>
                    </a:lnTo>
                    <a:lnTo>
                      <a:pt x="0" y="121"/>
                    </a:lnTo>
                    <a:lnTo>
                      <a:pt x="38" y="113"/>
                    </a:lnTo>
                    <a:lnTo>
                      <a:pt x="73" y="106"/>
                    </a:lnTo>
                    <a:lnTo>
                      <a:pt x="111" y="99"/>
                    </a:lnTo>
                    <a:lnTo>
                      <a:pt x="147" y="92"/>
                    </a:lnTo>
                    <a:lnTo>
                      <a:pt x="184" y="85"/>
                    </a:lnTo>
                    <a:lnTo>
                      <a:pt x="222" y="78"/>
                    </a:lnTo>
                    <a:lnTo>
                      <a:pt x="258" y="71"/>
                    </a:lnTo>
                    <a:lnTo>
                      <a:pt x="295" y="64"/>
                    </a:lnTo>
                    <a:lnTo>
                      <a:pt x="331" y="57"/>
                    </a:lnTo>
                    <a:lnTo>
                      <a:pt x="369" y="47"/>
                    </a:lnTo>
                    <a:lnTo>
                      <a:pt x="404" y="40"/>
                    </a:lnTo>
                    <a:lnTo>
                      <a:pt x="442" y="33"/>
                    </a:lnTo>
                    <a:lnTo>
                      <a:pt x="477" y="24"/>
                    </a:lnTo>
                    <a:lnTo>
                      <a:pt x="515" y="16"/>
                    </a:lnTo>
                    <a:lnTo>
                      <a:pt x="551" y="9"/>
                    </a:lnTo>
                    <a:lnTo>
                      <a:pt x="586" y="0"/>
                    </a:lnTo>
                    <a:close/>
                    <a:moveTo>
                      <a:pt x="756" y="324"/>
                    </a:moveTo>
                    <a:lnTo>
                      <a:pt x="752" y="326"/>
                    </a:lnTo>
                    <a:lnTo>
                      <a:pt x="754" y="319"/>
                    </a:lnTo>
                    <a:lnTo>
                      <a:pt x="761" y="281"/>
                    </a:lnTo>
                    <a:lnTo>
                      <a:pt x="763" y="267"/>
                    </a:lnTo>
                    <a:lnTo>
                      <a:pt x="763" y="293"/>
                    </a:lnTo>
                    <a:lnTo>
                      <a:pt x="759" y="317"/>
                    </a:lnTo>
                    <a:lnTo>
                      <a:pt x="756" y="32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5" name="Freeform 63">
                <a:extLst>
                  <a:ext uri="{FF2B5EF4-FFF2-40B4-BE49-F238E27FC236}">
                    <a16:creationId xmlns:a16="http://schemas.microsoft.com/office/drawing/2014/main" id="{E157A388-321B-94D4-55B4-6EA963C848AE}"/>
                  </a:ext>
                </a:extLst>
              </p:cNvPr>
              <p:cNvSpPr>
                <a:spLocks noEditPoints="1"/>
              </p:cNvSpPr>
              <p:nvPr/>
            </p:nvSpPr>
            <p:spPr bwMode="auto">
              <a:xfrm>
                <a:off x="8384" y="-1050"/>
                <a:ext cx="615" cy="974"/>
              </a:xfrm>
              <a:custGeom>
                <a:avLst/>
                <a:gdLst>
                  <a:gd name="T0" fmla="*/ 187 w 615"/>
                  <a:gd name="T1" fmla="*/ 57 h 974"/>
                  <a:gd name="T2" fmla="*/ 246 w 615"/>
                  <a:gd name="T3" fmla="*/ 24 h 974"/>
                  <a:gd name="T4" fmla="*/ 277 w 615"/>
                  <a:gd name="T5" fmla="*/ 0 h 974"/>
                  <a:gd name="T6" fmla="*/ 362 w 615"/>
                  <a:gd name="T7" fmla="*/ 64 h 974"/>
                  <a:gd name="T8" fmla="*/ 402 w 615"/>
                  <a:gd name="T9" fmla="*/ 185 h 974"/>
                  <a:gd name="T10" fmla="*/ 433 w 615"/>
                  <a:gd name="T11" fmla="*/ 267 h 974"/>
                  <a:gd name="T12" fmla="*/ 438 w 615"/>
                  <a:gd name="T13" fmla="*/ 284 h 974"/>
                  <a:gd name="T14" fmla="*/ 440 w 615"/>
                  <a:gd name="T15" fmla="*/ 308 h 974"/>
                  <a:gd name="T16" fmla="*/ 459 w 615"/>
                  <a:gd name="T17" fmla="*/ 315 h 974"/>
                  <a:gd name="T18" fmla="*/ 492 w 615"/>
                  <a:gd name="T19" fmla="*/ 317 h 974"/>
                  <a:gd name="T20" fmla="*/ 504 w 615"/>
                  <a:gd name="T21" fmla="*/ 336 h 974"/>
                  <a:gd name="T22" fmla="*/ 511 w 615"/>
                  <a:gd name="T23" fmla="*/ 355 h 974"/>
                  <a:gd name="T24" fmla="*/ 518 w 615"/>
                  <a:gd name="T25" fmla="*/ 383 h 974"/>
                  <a:gd name="T26" fmla="*/ 546 w 615"/>
                  <a:gd name="T27" fmla="*/ 402 h 974"/>
                  <a:gd name="T28" fmla="*/ 561 w 615"/>
                  <a:gd name="T29" fmla="*/ 388 h 974"/>
                  <a:gd name="T30" fmla="*/ 582 w 615"/>
                  <a:gd name="T31" fmla="*/ 405 h 974"/>
                  <a:gd name="T32" fmla="*/ 610 w 615"/>
                  <a:gd name="T33" fmla="*/ 445 h 974"/>
                  <a:gd name="T34" fmla="*/ 570 w 615"/>
                  <a:gd name="T35" fmla="*/ 497 h 974"/>
                  <a:gd name="T36" fmla="*/ 537 w 615"/>
                  <a:gd name="T37" fmla="*/ 537 h 974"/>
                  <a:gd name="T38" fmla="*/ 509 w 615"/>
                  <a:gd name="T39" fmla="*/ 570 h 974"/>
                  <a:gd name="T40" fmla="*/ 492 w 615"/>
                  <a:gd name="T41" fmla="*/ 591 h 974"/>
                  <a:gd name="T42" fmla="*/ 461 w 615"/>
                  <a:gd name="T43" fmla="*/ 570 h 974"/>
                  <a:gd name="T44" fmla="*/ 442 w 615"/>
                  <a:gd name="T45" fmla="*/ 594 h 974"/>
                  <a:gd name="T46" fmla="*/ 423 w 615"/>
                  <a:gd name="T47" fmla="*/ 613 h 974"/>
                  <a:gd name="T48" fmla="*/ 416 w 615"/>
                  <a:gd name="T49" fmla="*/ 631 h 974"/>
                  <a:gd name="T50" fmla="*/ 393 w 615"/>
                  <a:gd name="T51" fmla="*/ 608 h 974"/>
                  <a:gd name="T52" fmla="*/ 381 w 615"/>
                  <a:gd name="T53" fmla="*/ 598 h 974"/>
                  <a:gd name="T54" fmla="*/ 357 w 615"/>
                  <a:gd name="T55" fmla="*/ 622 h 974"/>
                  <a:gd name="T56" fmla="*/ 355 w 615"/>
                  <a:gd name="T57" fmla="*/ 710 h 974"/>
                  <a:gd name="T58" fmla="*/ 315 w 615"/>
                  <a:gd name="T59" fmla="*/ 752 h 974"/>
                  <a:gd name="T60" fmla="*/ 298 w 615"/>
                  <a:gd name="T61" fmla="*/ 759 h 974"/>
                  <a:gd name="T62" fmla="*/ 279 w 615"/>
                  <a:gd name="T63" fmla="*/ 750 h 974"/>
                  <a:gd name="T64" fmla="*/ 267 w 615"/>
                  <a:gd name="T65" fmla="*/ 764 h 974"/>
                  <a:gd name="T66" fmla="*/ 267 w 615"/>
                  <a:gd name="T67" fmla="*/ 790 h 974"/>
                  <a:gd name="T68" fmla="*/ 246 w 615"/>
                  <a:gd name="T69" fmla="*/ 790 h 974"/>
                  <a:gd name="T70" fmla="*/ 213 w 615"/>
                  <a:gd name="T71" fmla="*/ 832 h 974"/>
                  <a:gd name="T72" fmla="*/ 194 w 615"/>
                  <a:gd name="T73" fmla="*/ 908 h 974"/>
                  <a:gd name="T74" fmla="*/ 161 w 615"/>
                  <a:gd name="T75" fmla="*/ 958 h 974"/>
                  <a:gd name="T76" fmla="*/ 121 w 615"/>
                  <a:gd name="T77" fmla="*/ 906 h 974"/>
                  <a:gd name="T78" fmla="*/ 95 w 615"/>
                  <a:gd name="T79" fmla="*/ 823 h 974"/>
                  <a:gd name="T80" fmla="*/ 67 w 615"/>
                  <a:gd name="T81" fmla="*/ 736 h 974"/>
                  <a:gd name="T82" fmla="*/ 36 w 615"/>
                  <a:gd name="T83" fmla="*/ 646 h 974"/>
                  <a:gd name="T84" fmla="*/ 5 w 615"/>
                  <a:gd name="T85" fmla="*/ 556 h 974"/>
                  <a:gd name="T86" fmla="*/ 15 w 615"/>
                  <a:gd name="T87" fmla="*/ 523 h 974"/>
                  <a:gd name="T88" fmla="*/ 33 w 615"/>
                  <a:gd name="T89" fmla="*/ 523 h 974"/>
                  <a:gd name="T90" fmla="*/ 45 w 615"/>
                  <a:gd name="T91" fmla="*/ 499 h 974"/>
                  <a:gd name="T92" fmla="*/ 41 w 615"/>
                  <a:gd name="T93" fmla="*/ 468 h 974"/>
                  <a:gd name="T94" fmla="*/ 67 w 615"/>
                  <a:gd name="T95" fmla="*/ 407 h 974"/>
                  <a:gd name="T96" fmla="*/ 71 w 615"/>
                  <a:gd name="T97" fmla="*/ 364 h 974"/>
                  <a:gd name="T98" fmla="*/ 67 w 615"/>
                  <a:gd name="T99" fmla="*/ 286 h 974"/>
                  <a:gd name="T100" fmla="*/ 81 w 615"/>
                  <a:gd name="T101" fmla="*/ 170 h 974"/>
                  <a:gd name="T102" fmla="*/ 121 w 615"/>
                  <a:gd name="T103" fmla="*/ 47 h 974"/>
                  <a:gd name="T104" fmla="*/ 159 w 615"/>
                  <a:gd name="T105" fmla="*/ 19 h 974"/>
                  <a:gd name="T106" fmla="*/ 468 w 615"/>
                  <a:gd name="T107" fmla="*/ 613 h 974"/>
                  <a:gd name="T108" fmla="*/ 449 w 615"/>
                  <a:gd name="T109" fmla="*/ 627 h 974"/>
                  <a:gd name="T110" fmla="*/ 452 w 615"/>
                  <a:gd name="T111" fmla="*/ 587 h 974"/>
                  <a:gd name="T112" fmla="*/ 421 w 615"/>
                  <a:gd name="T113" fmla="*/ 655 h 974"/>
                  <a:gd name="T114" fmla="*/ 407 w 615"/>
                  <a:gd name="T115" fmla="*/ 646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5" h="974">
                    <a:moveTo>
                      <a:pt x="166" y="45"/>
                    </a:moveTo>
                    <a:lnTo>
                      <a:pt x="168" y="50"/>
                    </a:lnTo>
                    <a:lnTo>
                      <a:pt x="178" y="55"/>
                    </a:lnTo>
                    <a:lnTo>
                      <a:pt x="187" y="57"/>
                    </a:lnTo>
                    <a:lnTo>
                      <a:pt x="194" y="57"/>
                    </a:lnTo>
                    <a:lnTo>
                      <a:pt x="204" y="55"/>
                    </a:lnTo>
                    <a:lnTo>
                      <a:pt x="223" y="38"/>
                    </a:lnTo>
                    <a:lnTo>
                      <a:pt x="246" y="24"/>
                    </a:lnTo>
                    <a:lnTo>
                      <a:pt x="258" y="12"/>
                    </a:lnTo>
                    <a:lnTo>
                      <a:pt x="260" y="5"/>
                    </a:lnTo>
                    <a:lnTo>
                      <a:pt x="265" y="3"/>
                    </a:lnTo>
                    <a:lnTo>
                      <a:pt x="277" y="0"/>
                    </a:lnTo>
                    <a:lnTo>
                      <a:pt x="301" y="10"/>
                    </a:lnTo>
                    <a:lnTo>
                      <a:pt x="329" y="24"/>
                    </a:lnTo>
                    <a:lnTo>
                      <a:pt x="353" y="36"/>
                    </a:lnTo>
                    <a:lnTo>
                      <a:pt x="362" y="64"/>
                    </a:lnTo>
                    <a:lnTo>
                      <a:pt x="374" y="95"/>
                    </a:lnTo>
                    <a:lnTo>
                      <a:pt x="383" y="128"/>
                    </a:lnTo>
                    <a:lnTo>
                      <a:pt x="393" y="152"/>
                    </a:lnTo>
                    <a:lnTo>
                      <a:pt x="402" y="185"/>
                    </a:lnTo>
                    <a:lnTo>
                      <a:pt x="412" y="211"/>
                    </a:lnTo>
                    <a:lnTo>
                      <a:pt x="423" y="244"/>
                    </a:lnTo>
                    <a:lnTo>
                      <a:pt x="428" y="263"/>
                    </a:lnTo>
                    <a:lnTo>
                      <a:pt x="433" y="267"/>
                    </a:lnTo>
                    <a:lnTo>
                      <a:pt x="433" y="274"/>
                    </a:lnTo>
                    <a:lnTo>
                      <a:pt x="435" y="279"/>
                    </a:lnTo>
                    <a:lnTo>
                      <a:pt x="435" y="282"/>
                    </a:lnTo>
                    <a:lnTo>
                      <a:pt x="438" y="284"/>
                    </a:lnTo>
                    <a:lnTo>
                      <a:pt x="440" y="289"/>
                    </a:lnTo>
                    <a:lnTo>
                      <a:pt x="438" y="293"/>
                    </a:lnTo>
                    <a:lnTo>
                      <a:pt x="438" y="300"/>
                    </a:lnTo>
                    <a:lnTo>
                      <a:pt x="440" y="308"/>
                    </a:lnTo>
                    <a:lnTo>
                      <a:pt x="445" y="312"/>
                    </a:lnTo>
                    <a:lnTo>
                      <a:pt x="449" y="315"/>
                    </a:lnTo>
                    <a:lnTo>
                      <a:pt x="454" y="312"/>
                    </a:lnTo>
                    <a:lnTo>
                      <a:pt x="459" y="315"/>
                    </a:lnTo>
                    <a:lnTo>
                      <a:pt x="466" y="319"/>
                    </a:lnTo>
                    <a:lnTo>
                      <a:pt x="478" y="319"/>
                    </a:lnTo>
                    <a:lnTo>
                      <a:pt x="487" y="319"/>
                    </a:lnTo>
                    <a:lnTo>
                      <a:pt x="492" y="317"/>
                    </a:lnTo>
                    <a:lnTo>
                      <a:pt x="501" y="317"/>
                    </a:lnTo>
                    <a:lnTo>
                      <a:pt x="506" y="324"/>
                    </a:lnTo>
                    <a:lnTo>
                      <a:pt x="506" y="331"/>
                    </a:lnTo>
                    <a:lnTo>
                      <a:pt x="504" y="336"/>
                    </a:lnTo>
                    <a:lnTo>
                      <a:pt x="499" y="341"/>
                    </a:lnTo>
                    <a:lnTo>
                      <a:pt x="501" y="345"/>
                    </a:lnTo>
                    <a:lnTo>
                      <a:pt x="506" y="350"/>
                    </a:lnTo>
                    <a:lnTo>
                      <a:pt x="511" y="355"/>
                    </a:lnTo>
                    <a:lnTo>
                      <a:pt x="516" y="362"/>
                    </a:lnTo>
                    <a:lnTo>
                      <a:pt x="518" y="369"/>
                    </a:lnTo>
                    <a:lnTo>
                      <a:pt x="516" y="376"/>
                    </a:lnTo>
                    <a:lnTo>
                      <a:pt x="518" y="383"/>
                    </a:lnTo>
                    <a:lnTo>
                      <a:pt x="523" y="388"/>
                    </a:lnTo>
                    <a:lnTo>
                      <a:pt x="532" y="395"/>
                    </a:lnTo>
                    <a:lnTo>
                      <a:pt x="539" y="400"/>
                    </a:lnTo>
                    <a:lnTo>
                      <a:pt x="546" y="402"/>
                    </a:lnTo>
                    <a:lnTo>
                      <a:pt x="551" y="397"/>
                    </a:lnTo>
                    <a:lnTo>
                      <a:pt x="551" y="393"/>
                    </a:lnTo>
                    <a:lnTo>
                      <a:pt x="553" y="388"/>
                    </a:lnTo>
                    <a:lnTo>
                      <a:pt x="561" y="388"/>
                    </a:lnTo>
                    <a:lnTo>
                      <a:pt x="565" y="390"/>
                    </a:lnTo>
                    <a:lnTo>
                      <a:pt x="572" y="390"/>
                    </a:lnTo>
                    <a:lnTo>
                      <a:pt x="575" y="395"/>
                    </a:lnTo>
                    <a:lnTo>
                      <a:pt x="582" y="405"/>
                    </a:lnTo>
                    <a:lnTo>
                      <a:pt x="591" y="423"/>
                    </a:lnTo>
                    <a:lnTo>
                      <a:pt x="589" y="435"/>
                    </a:lnTo>
                    <a:lnTo>
                      <a:pt x="596" y="447"/>
                    </a:lnTo>
                    <a:lnTo>
                      <a:pt x="610" y="445"/>
                    </a:lnTo>
                    <a:lnTo>
                      <a:pt x="613" y="447"/>
                    </a:lnTo>
                    <a:lnTo>
                      <a:pt x="615" y="452"/>
                    </a:lnTo>
                    <a:lnTo>
                      <a:pt x="596" y="492"/>
                    </a:lnTo>
                    <a:lnTo>
                      <a:pt x="570" y="497"/>
                    </a:lnTo>
                    <a:lnTo>
                      <a:pt x="561" y="509"/>
                    </a:lnTo>
                    <a:lnTo>
                      <a:pt x="546" y="516"/>
                    </a:lnTo>
                    <a:lnTo>
                      <a:pt x="544" y="530"/>
                    </a:lnTo>
                    <a:lnTo>
                      <a:pt x="537" y="537"/>
                    </a:lnTo>
                    <a:lnTo>
                      <a:pt x="527" y="539"/>
                    </a:lnTo>
                    <a:lnTo>
                      <a:pt x="516" y="537"/>
                    </a:lnTo>
                    <a:lnTo>
                      <a:pt x="511" y="542"/>
                    </a:lnTo>
                    <a:lnTo>
                      <a:pt x="509" y="570"/>
                    </a:lnTo>
                    <a:lnTo>
                      <a:pt x="499" y="570"/>
                    </a:lnTo>
                    <a:lnTo>
                      <a:pt x="499" y="579"/>
                    </a:lnTo>
                    <a:lnTo>
                      <a:pt x="497" y="584"/>
                    </a:lnTo>
                    <a:lnTo>
                      <a:pt x="492" y="591"/>
                    </a:lnTo>
                    <a:lnTo>
                      <a:pt x="483" y="582"/>
                    </a:lnTo>
                    <a:lnTo>
                      <a:pt x="475" y="572"/>
                    </a:lnTo>
                    <a:lnTo>
                      <a:pt x="471" y="572"/>
                    </a:lnTo>
                    <a:lnTo>
                      <a:pt x="461" y="570"/>
                    </a:lnTo>
                    <a:lnTo>
                      <a:pt x="457" y="572"/>
                    </a:lnTo>
                    <a:lnTo>
                      <a:pt x="452" y="577"/>
                    </a:lnTo>
                    <a:lnTo>
                      <a:pt x="447" y="584"/>
                    </a:lnTo>
                    <a:lnTo>
                      <a:pt x="442" y="594"/>
                    </a:lnTo>
                    <a:lnTo>
                      <a:pt x="433" y="589"/>
                    </a:lnTo>
                    <a:lnTo>
                      <a:pt x="426" y="584"/>
                    </a:lnTo>
                    <a:lnTo>
                      <a:pt x="426" y="598"/>
                    </a:lnTo>
                    <a:lnTo>
                      <a:pt x="423" y="613"/>
                    </a:lnTo>
                    <a:lnTo>
                      <a:pt x="431" y="627"/>
                    </a:lnTo>
                    <a:lnTo>
                      <a:pt x="431" y="639"/>
                    </a:lnTo>
                    <a:lnTo>
                      <a:pt x="423" y="636"/>
                    </a:lnTo>
                    <a:lnTo>
                      <a:pt x="416" y="631"/>
                    </a:lnTo>
                    <a:lnTo>
                      <a:pt x="397" y="629"/>
                    </a:lnTo>
                    <a:lnTo>
                      <a:pt x="386" y="634"/>
                    </a:lnTo>
                    <a:lnTo>
                      <a:pt x="386" y="624"/>
                    </a:lnTo>
                    <a:lnTo>
                      <a:pt x="393" y="608"/>
                    </a:lnTo>
                    <a:lnTo>
                      <a:pt x="388" y="608"/>
                    </a:lnTo>
                    <a:lnTo>
                      <a:pt x="383" y="610"/>
                    </a:lnTo>
                    <a:lnTo>
                      <a:pt x="381" y="610"/>
                    </a:lnTo>
                    <a:lnTo>
                      <a:pt x="381" y="598"/>
                    </a:lnTo>
                    <a:lnTo>
                      <a:pt x="376" y="584"/>
                    </a:lnTo>
                    <a:lnTo>
                      <a:pt x="374" y="591"/>
                    </a:lnTo>
                    <a:lnTo>
                      <a:pt x="371" y="605"/>
                    </a:lnTo>
                    <a:lnTo>
                      <a:pt x="357" y="622"/>
                    </a:lnTo>
                    <a:lnTo>
                      <a:pt x="362" y="639"/>
                    </a:lnTo>
                    <a:lnTo>
                      <a:pt x="357" y="679"/>
                    </a:lnTo>
                    <a:lnTo>
                      <a:pt x="362" y="695"/>
                    </a:lnTo>
                    <a:lnTo>
                      <a:pt x="355" y="710"/>
                    </a:lnTo>
                    <a:lnTo>
                      <a:pt x="345" y="724"/>
                    </a:lnTo>
                    <a:lnTo>
                      <a:pt x="329" y="726"/>
                    </a:lnTo>
                    <a:lnTo>
                      <a:pt x="317" y="738"/>
                    </a:lnTo>
                    <a:lnTo>
                      <a:pt x="315" y="752"/>
                    </a:lnTo>
                    <a:lnTo>
                      <a:pt x="308" y="754"/>
                    </a:lnTo>
                    <a:lnTo>
                      <a:pt x="301" y="743"/>
                    </a:lnTo>
                    <a:lnTo>
                      <a:pt x="298" y="738"/>
                    </a:lnTo>
                    <a:lnTo>
                      <a:pt x="298" y="759"/>
                    </a:lnTo>
                    <a:lnTo>
                      <a:pt x="293" y="762"/>
                    </a:lnTo>
                    <a:lnTo>
                      <a:pt x="289" y="750"/>
                    </a:lnTo>
                    <a:lnTo>
                      <a:pt x="284" y="740"/>
                    </a:lnTo>
                    <a:lnTo>
                      <a:pt x="279" y="750"/>
                    </a:lnTo>
                    <a:lnTo>
                      <a:pt x="282" y="773"/>
                    </a:lnTo>
                    <a:lnTo>
                      <a:pt x="275" y="773"/>
                    </a:lnTo>
                    <a:lnTo>
                      <a:pt x="272" y="766"/>
                    </a:lnTo>
                    <a:lnTo>
                      <a:pt x="267" y="764"/>
                    </a:lnTo>
                    <a:lnTo>
                      <a:pt x="270" y="773"/>
                    </a:lnTo>
                    <a:lnTo>
                      <a:pt x="275" y="785"/>
                    </a:lnTo>
                    <a:lnTo>
                      <a:pt x="275" y="792"/>
                    </a:lnTo>
                    <a:lnTo>
                      <a:pt x="267" y="790"/>
                    </a:lnTo>
                    <a:lnTo>
                      <a:pt x="263" y="785"/>
                    </a:lnTo>
                    <a:lnTo>
                      <a:pt x="256" y="792"/>
                    </a:lnTo>
                    <a:lnTo>
                      <a:pt x="249" y="797"/>
                    </a:lnTo>
                    <a:lnTo>
                      <a:pt x="246" y="790"/>
                    </a:lnTo>
                    <a:lnTo>
                      <a:pt x="246" y="783"/>
                    </a:lnTo>
                    <a:lnTo>
                      <a:pt x="232" y="790"/>
                    </a:lnTo>
                    <a:lnTo>
                      <a:pt x="220" y="809"/>
                    </a:lnTo>
                    <a:lnTo>
                      <a:pt x="213" y="832"/>
                    </a:lnTo>
                    <a:lnTo>
                      <a:pt x="218" y="835"/>
                    </a:lnTo>
                    <a:lnTo>
                      <a:pt x="225" y="840"/>
                    </a:lnTo>
                    <a:lnTo>
                      <a:pt x="211" y="875"/>
                    </a:lnTo>
                    <a:lnTo>
                      <a:pt x="194" y="908"/>
                    </a:lnTo>
                    <a:lnTo>
                      <a:pt x="189" y="958"/>
                    </a:lnTo>
                    <a:lnTo>
                      <a:pt x="182" y="965"/>
                    </a:lnTo>
                    <a:lnTo>
                      <a:pt x="178" y="974"/>
                    </a:lnTo>
                    <a:lnTo>
                      <a:pt x="161" y="958"/>
                    </a:lnTo>
                    <a:lnTo>
                      <a:pt x="154" y="944"/>
                    </a:lnTo>
                    <a:lnTo>
                      <a:pt x="135" y="929"/>
                    </a:lnTo>
                    <a:lnTo>
                      <a:pt x="128" y="920"/>
                    </a:lnTo>
                    <a:lnTo>
                      <a:pt x="121" y="906"/>
                    </a:lnTo>
                    <a:lnTo>
                      <a:pt x="119" y="889"/>
                    </a:lnTo>
                    <a:lnTo>
                      <a:pt x="111" y="868"/>
                    </a:lnTo>
                    <a:lnTo>
                      <a:pt x="104" y="847"/>
                    </a:lnTo>
                    <a:lnTo>
                      <a:pt x="95" y="823"/>
                    </a:lnTo>
                    <a:lnTo>
                      <a:pt x="88" y="802"/>
                    </a:lnTo>
                    <a:lnTo>
                      <a:pt x="81" y="778"/>
                    </a:lnTo>
                    <a:lnTo>
                      <a:pt x="74" y="757"/>
                    </a:lnTo>
                    <a:lnTo>
                      <a:pt x="67" y="736"/>
                    </a:lnTo>
                    <a:lnTo>
                      <a:pt x="59" y="712"/>
                    </a:lnTo>
                    <a:lnTo>
                      <a:pt x="50" y="691"/>
                    </a:lnTo>
                    <a:lnTo>
                      <a:pt x="43" y="667"/>
                    </a:lnTo>
                    <a:lnTo>
                      <a:pt x="36" y="646"/>
                    </a:lnTo>
                    <a:lnTo>
                      <a:pt x="29" y="624"/>
                    </a:lnTo>
                    <a:lnTo>
                      <a:pt x="22" y="601"/>
                    </a:lnTo>
                    <a:lnTo>
                      <a:pt x="15" y="579"/>
                    </a:lnTo>
                    <a:lnTo>
                      <a:pt x="5" y="556"/>
                    </a:lnTo>
                    <a:lnTo>
                      <a:pt x="0" y="537"/>
                    </a:lnTo>
                    <a:lnTo>
                      <a:pt x="3" y="532"/>
                    </a:lnTo>
                    <a:lnTo>
                      <a:pt x="10" y="525"/>
                    </a:lnTo>
                    <a:lnTo>
                      <a:pt x="15" y="523"/>
                    </a:lnTo>
                    <a:lnTo>
                      <a:pt x="22" y="532"/>
                    </a:lnTo>
                    <a:lnTo>
                      <a:pt x="29" y="537"/>
                    </a:lnTo>
                    <a:lnTo>
                      <a:pt x="33" y="532"/>
                    </a:lnTo>
                    <a:lnTo>
                      <a:pt x="33" y="523"/>
                    </a:lnTo>
                    <a:lnTo>
                      <a:pt x="31" y="513"/>
                    </a:lnTo>
                    <a:lnTo>
                      <a:pt x="33" y="504"/>
                    </a:lnTo>
                    <a:lnTo>
                      <a:pt x="41" y="499"/>
                    </a:lnTo>
                    <a:lnTo>
                      <a:pt x="45" y="499"/>
                    </a:lnTo>
                    <a:lnTo>
                      <a:pt x="48" y="494"/>
                    </a:lnTo>
                    <a:lnTo>
                      <a:pt x="45" y="487"/>
                    </a:lnTo>
                    <a:lnTo>
                      <a:pt x="41" y="480"/>
                    </a:lnTo>
                    <a:lnTo>
                      <a:pt x="41" y="468"/>
                    </a:lnTo>
                    <a:lnTo>
                      <a:pt x="50" y="445"/>
                    </a:lnTo>
                    <a:lnTo>
                      <a:pt x="64" y="428"/>
                    </a:lnTo>
                    <a:lnTo>
                      <a:pt x="69" y="419"/>
                    </a:lnTo>
                    <a:lnTo>
                      <a:pt x="67" y="407"/>
                    </a:lnTo>
                    <a:lnTo>
                      <a:pt x="74" y="390"/>
                    </a:lnTo>
                    <a:lnTo>
                      <a:pt x="76" y="381"/>
                    </a:lnTo>
                    <a:lnTo>
                      <a:pt x="76" y="374"/>
                    </a:lnTo>
                    <a:lnTo>
                      <a:pt x="71" y="364"/>
                    </a:lnTo>
                    <a:lnTo>
                      <a:pt x="67" y="350"/>
                    </a:lnTo>
                    <a:lnTo>
                      <a:pt x="64" y="329"/>
                    </a:lnTo>
                    <a:lnTo>
                      <a:pt x="62" y="308"/>
                    </a:lnTo>
                    <a:lnTo>
                      <a:pt x="67" y="286"/>
                    </a:lnTo>
                    <a:lnTo>
                      <a:pt x="76" y="263"/>
                    </a:lnTo>
                    <a:lnTo>
                      <a:pt x="74" y="234"/>
                    </a:lnTo>
                    <a:lnTo>
                      <a:pt x="69" y="204"/>
                    </a:lnTo>
                    <a:lnTo>
                      <a:pt x="81" y="170"/>
                    </a:lnTo>
                    <a:lnTo>
                      <a:pt x="93" y="135"/>
                    </a:lnTo>
                    <a:lnTo>
                      <a:pt x="100" y="114"/>
                    </a:lnTo>
                    <a:lnTo>
                      <a:pt x="111" y="73"/>
                    </a:lnTo>
                    <a:lnTo>
                      <a:pt x="121" y="47"/>
                    </a:lnTo>
                    <a:lnTo>
                      <a:pt x="126" y="33"/>
                    </a:lnTo>
                    <a:lnTo>
                      <a:pt x="130" y="19"/>
                    </a:lnTo>
                    <a:lnTo>
                      <a:pt x="145" y="19"/>
                    </a:lnTo>
                    <a:lnTo>
                      <a:pt x="159" y="19"/>
                    </a:lnTo>
                    <a:lnTo>
                      <a:pt x="163" y="38"/>
                    </a:lnTo>
                    <a:lnTo>
                      <a:pt x="166" y="45"/>
                    </a:lnTo>
                    <a:close/>
                    <a:moveTo>
                      <a:pt x="475" y="608"/>
                    </a:moveTo>
                    <a:lnTo>
                      <a:pt x="468" y="613"/>
                    </a:lnTo>
                    <a:lnTo>
                      <a:pt x="459" y="615"/>
                    </a:lnTo>
                    <a:lnTo>
                      <a:pt x="461" y="624"/>
                    </a:lnTo>
                    <a:lnTo>
                      <a:pt x="461" y="629"/>
                    </a:lnTo>
                    <a:lnTo>
                      <a:pt x="449" y="627"/>
                    </a:lnTo>
                    <a:lnTo>
                      <a:pt x="445" y="624"/>
                    </a:lnTo>
                    <a:lnTo>
                      <a:pt x="442" y="610"/>
                    </a:lnTo>
                    <a:lnTo>
                      <a:pt x="447" y="594"/>
                    </a:lnTo>
                    <a:lnTo>
                      <a:pt x="452" y="587"/>
                    </a:lnTo>
                    <a:lnTo>
                      <a:pt x="461" y="589"/>
                    </a:lnTo>
                    <a:lnTo>
                      <a:pt x="473" y="601"/>
                    </a:lnTo>
                    <a:lnTo>
                      <a:pt x="475" y="608"/>
                    </a:lnTo>
                    <a:close/>
                    <a:moveTo>
                      <a:pt x="421" y="655"/>
                    </a:moveTo>
                    <a:lnTo>
                      <a:pt x="416" y="660"/>
                    </a:lnTo>
                    <a:lnTo>
                      <a:pt x="409" y="660"/>
                    </a:lnTo>
                    <a:lnTo>
                      <a:pt x="407" y="650"/>
                    </a:lnTo>
                    <a:lnTo>
                      <a:pt x="407" y="646"/>
                    </a:lnTo>
                    <a:lnTo>
                      <a:pt x="409" y="643"/>
                    </a:lnTo>
                    <a:lnTo>
                      <a:pt x="414" y="646"/>
                    </a:lnTo>
                    <a:lnTo>
                      <a:pt x="421" y="655"/>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6" name="Freeform 64">
                <a:extLst>
                  <a:ext uri="{FF2B5EF4-FFF2-40B4-BE49-F238E27FC236}">
                    <a16:creationId xmlns:a16="http://schemas.microsoft.com/office/drawing/2014/main" id="{A99F4B6B-4EFE-F332-7B02-C13CB76CA646}"/>
                  </a:ext>
                </a:extLst>
              </p:cNvPr>
              <p:cNvSpPr>
                <a:spLocks noEditPoints="1"/>
              </p:cNvSpPr>
              <p:nvPr/>
            </p:nvSpPr>
            <p:spPr bwMode="auto">
              <a:xfrm>
                <a:off x="5527" y="-662"/>
                <a:ext cx="1274" cy="1329"/>
              </a:xfrm>
              <a:custGeom>
                <a:avLst/>
                <a:gdLst>
                  <a:gd name="T0" fmla="*/ 160 w 1274"/>
                  <a:gd name="T1" fmla="*/ 66 h 1329"/>
                  <a:gd name="T2" fmla="*/ 238 w 1274"/>
                  <a:gd name="T3" fmla="*/ 19 h 1329"/>
                  <a:gd name="T4" fmla="*/ 278 w 1274"/>
                  <a:gd name="T5" fmla="*/ 246 h 1329"/>
                  <a:gd name="T6" fmla="*/ 278 w 1274"/>
                  <a:gd name="T7" fmla="*/ 222 h 1329"/>
                  <a:gd name="T8" fmla="*/ 364 w 1274"/>
                  <a:gd name="T9" fmla="*/ 142 h 1329"/>
                  <a:gd name="T10" fmla="*/ 888 w 1274"/>
                  <a:gd name="T11" fmla="*/ 293 h 1329"/>
                  <a:gd name="T12" fmla="*/ 928 w 1274"/>
                  <a:gd name="T13" fmla="*/ 355 h 1329"/>
                  <a:gd name="T14" fmla="*/ 952 w 1274"/>
                  <a:gd name="T15" fmla="*/ 397 h 1329"/>
                  <a:gd name="T16" fmla="*/ 855 w 1274"/>
                  <a:gd name="T17" fmla="*/ 390 h 1329"/>
                  <a:gd name="T18" fmla="*/ 808 w 1274"/>
                  <a:gd name="T19" fmla="*/ 411 h 1329"/>
                  <a:gd name="T20" fmla="*/ 671 w 1274"/>
                  <a:gd name="T21" fmla="*/ 437 h 1329"/>
                  <a:gd name="T22" fmla="*/ 583 w 1274"/>
                  <a:gd name="T23" fmla="*/ 489 h 1329"/>
                  <a:gd name="T24" fmla="*/ 579 w 1274"/>
                  <a:gd name="T25" fmla="*/ 475 h 1329"/>
                  <a:gd name="T26" fmla="*/ 524 w 1274"/>
                  <a:gd name="T27" fmla="*/ 504 h 1329"/>
                  <a:gd name="T28" fmla="*/ 494 w 1274"/>
                  <a:gd name="T29" fmla="*/ 511 h 1329"/>
                  <a:gd name="T30" fmla="*/ 423 w 1274"/>
                  <a:gd name="T31" fmla="*/ 627 h 1329"/>
                  <a:gd name="T32" fmla="*/ 392 w 1274"/>
                  <a:gd name="T33" fmla="*/ 582 h 1329"/>
                  <a:gd name="T34" fmla="*/ 347 w 1274"/>
                  <a:gd name="T35" fmla="*/ 494 h 1329"/>
                  <a:gd name="T36" fmla="*/ 217 w 1274"/>
                  <a:gd name="T37" fmla="*/ 447 h 1329"/>
                  <a:gd name="T38" fmla="*/ 44 w 1274"/>
                  <a:gd name="T39" fmla="*/ 407 h 1329"/>
                  <a:gd name="T40" fmla="*/ 0 w 1274"/>
                  <a:gd name="T41" fmla="*/ 355 h 1329"/>
                  <a:gd name="T42" fmla="*/ 186 w 1274"/>
                  <a:gd name="T43" fmla="*/ 255 h 1329"/>
                  <a:gd name="T44" fmla="*/ 252 w 1274"/>
                  <a:gd name="T45" fmla="*/ 220 h 1329"/>
                  <a:gd name="T46" fmla="*/ 281 w 1274"/>
                  <a:gd name="T47" fmla="*/ 291 h 1329"/>
                  <a:gd name="T48" fmla="*/ 394 w 1274"/>
                  <a:gd name="T49" fmla="*/ 272 h 1329"/>
                  <a:gd name="T50" fmla="*/ 494 w 1274"/>
                  <a:gd name="T51" fmla="*/ 326 h 1329"/>
                  <a:gd name="T52" fmla="*/ 583 w 1274"/>
                  <a:gd name="T53" fmla="*/ 307 h 1329"/>
                  <a:gd name="T54" fmla="*/ 780 w 1274"/>
                  <a:gd name="T55" fmla="*/ 243 h 1329"/>
                  <a:gd name="T56" fmla="*/ 813 w 1274"/>
                  <a:gd name="T57" fmla="*/ 307 h 1329"/>
                  <a:gd name="T58" fmla="*/ 919 w 1274"/>
                  <a:gd name="T59" fmla="*/ 317 h 1329"/>
                  <a:gd name="T60" fmla="*/ 914 w 1274"/>
                  <a:gd name="T61" fmla="*/ 286 h 1329"/>
                  <a:gd name="T62" fmla="*/ 921 w 1274"/>
                  <a:gd name="T63" fmla="*/ 329 h 1329"/>
                  <a:gd name="T64" fmla="*/ 969 w 1274"/>
                  <a:gd name="T65" fmla="*/ 390 h 1329"/>
                  <a:gd name="T66" fmla="*/ 992 w 1274"/>
                  <a:gd name="T67" fmla="*/ 362 h 1329"/>
                  <a:gd name="T68" fmla="*/ 898 w 1274"/>
                  <a:gd name="T69" fmla="*/ 449 h 1329"/>
                  <a:gd name="T70" fmla="*/ 910 w 1274"/>
                  <a:gd name="T71" fmla="*/ 466 h 1329"/>
                  <a:gd name="T72" fmla="*/ 1044 w 1274"/>
                  <a:gd name="T73" fmla="*/ 518 h 1329"/>
                  <a:gd name="T74" fmla="*/ 1082 w 1274"/>
                  <a:gd name="T75" fmla="*/ 575 h 1329"/>
                  <a:gd name="T76" fmla="*/ 1089 w 1274"/>
                  <a:gd name="T77" fmla="*/ 660 h 1329"/>
                  <a:gd name="T78" fmla="*/ 1066 w 1274"/>
                  <a:gd name="T79" fmla="*/ 776 h 1329"/>
                  <a:gd name="T80" fmla="*/ 1018 w 1274"/>
                  <a:gd name="T81" fmla="*/ 854 h 1329"/>
                  <a:gd name="T82" fmla="*/ 1094 w 1274"/>
                  <a:gd name="T83" fmla="*/ 849 h 1329"/>
                  <a:gd name="T84" fmla="*/ 1155 w 1274"/>
                  <a:gd name="T85" fmla="*/ 776 h 1329"/>
                  <a:gd name="T86" fmla="*/ 1274 w 1274"/>
                  <a:gd name="T87" fmla="*/ 981 h 1329"/>
                  <a:gd name="T88" fmla="*/ 1186 w 1274"/>
                  <a:gd name="T89" fmla="*/ 1161 h 1329"/>
                  <a:gd name="T90" fmla="*/ 1170 w 1274"/>
                  <a:gd name="T91" fmla="*/ 1229 h 1329"/>
                  <a:gd name="T92" fmla="*/ 895 w 1274"/>
                  <a:gd name="T93" fmla="*/ 1298 h 1329"/>
                  <a:gd name="T94" fmla="*/ 659 w 1274"/>
                  <a:gd name="T95" fmla="*/ 1277 h 1329"/>
                  <a:gd name="T96" fmla="*/ 676 w 1274"/>
                  <a:gd name="T97" fmla="*/ 1029 h 1329"/>
                  <a:gd name="T98" fmla="*/ 621 w 1274"/>
                  <a:gd name="T99" fmla="*/ 842 h 1329"/>
                  <a:gd name="T100" fmla="*/ 650 w 1274"/>
                  <a:gd name="T101" fmla="*/ 697 h 1329"/>
                  <a:gd name="T102" fmla="*/ 711 w 1274"/>
                  <a:gd name="T103" fmla="*/ 629 h 1329"/>
                  <a:gd name="T104" fmla="*/ 739 w 1274"/>
                  <a:gd name="T105" fmla="*/ 636 h 1329"/>
                  <a:gd name="T106" fmla="*/ 751 w 1274"/>
                  <a:gd name="T107" fmla="*/ 629 h 1329"/>
                  <a:gd name="T108" fmla="*/ 770 w 1274"/>
                  <a:gd name="T109" fmla="*/ 608 h 1329"/>
                  <a:gd name="T110" fmla="*/ 824 w 1274"/>
                  <a:gd name="T111" fmla="*/ 527 h 1329"/>
                  <a:gd name="T112" fmla="*/ 815 w 1274"/>
                  <a:gd name="T113" fmla="*/ 454 h 1329"/>
                  <a:gd name="T114" fmla="*/ 728 w 1274"/>
                  <a:gd name="T115" fmla="*/ 466 h 1329"/>
                  <a:gd name="T116" fmla="*/ 666 w 1274"/>
                  <a:gd name="T117" fmla="*/ 605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4" h="1329">
                    <a:moveTo>
                      <a:pt x="189" y="59"/>
                    </a:moveTo>
                    <a:lnTo>
                      <a:pt x="189" y="61"/>
                    </a:lnTo>
                    <a:lnTo>
                      <a:pt x="193" y="61"/>
                    </a:lnTo>
                    <a:lnTo>
                      <a:pt x="193" y="64"/>
                    </a:lnTo>
                    <a:lnTo>
                      <a:pt x="189" y="69"/>
                    </a:lnTo>
                    <a:lnTo>
                      <a:pt x="172" y="76"/>
                    </a:lnTo>
                    <a:lnTo>
                      <a:pt x="163" y="78"/>
                    </a:lnTo>
                    <a:lnTo>
                      <a:pt x="156" y="76"/>
                    </a:lnTo>
                    <a:lnTo>
                      <a:pt x="156" y="71"/>
                    </a:lnTo>
                    <a:lnTo>
                      <a:pt x="160" y="66"/>
                    </a:lnTo>
                    <a:lnTo>
                      <a:pt x="158" y="61"/>
                    </a:lnTo>
                    <a:lnTo>
                      <a:pt x="156" y="61"/>
                    </a:lnTo>
                    <a:lnTo>
                      <a:pt x="156" y="59"/>
                    </a:lnTo>
                    <a:lnTo>
                      <a:pt x="163" y="54"/>
                    </a:lnTo>
                    <a:lnTo>
                      <a:pt x="215" y="19"/>
                    </a:lnTo>
                    <a:lnTo>
                      <a:pt x="238" y="5"/>
                    </a:lnTo>
                    <a:lnTo>
                      <a:pt x="250" y="0"/>
                    </a:lnTo>
                    <a:lnTo>
                      <a:pt x="252" y="2"/>
                    </a:lnTo>
                    <a:lnTo>
                      <a:pt x="238" y="14"/>
                    </a:lnTo>
                    <a:lnTo>
                      <a:pt x="238" y="19"/>
                    </a:lnTo>
                    <a:lnTo>
                      <a:pt x="238" y="24"/>
                    </a:lnTo>
                    <a:lnTo>
                      <a:pt x="234" y="28"/>
                    </a:lnTo>
                    <a:lnTo>
                      <a:pt x="196" y="54"/>
                    </a:lnTo>
                    <a:lnTo>
                      <a:pt x="189" y="59"/>
                    </a:lnTo>
                    <a:close/>
                    <a:moveTo>
                      <a:pt x="307" y="201"/>
                    </a:moveTo>
                    <a:lnTo>
                      <a:pt x="304" y="208"/>
                    </a:lnTo>
                    <a:lnTo>
                      <a:pt x="307" y="213"/>
                    </a:lnTo>
                    <a:lnTo>
                      <a:pt x="290" y="232"/>
                    </a:lnTo>
                    <a:lnTo>
                      <a:pt x="283" y="243"/>
                    </a:lnTo>
                    <a:lnTo>
                      <a:pt x="278" y="246"/>
                    </a:lnTo>
                    <a:lnTo>
                      <a:pt x="274" y="239"/>
                    </a:lnTo>
                    <a:lnTo>
                      <a:pt x="274" y="232"/>
                    </a:lnTo>
                    <a:lnTo>
                      <a:pt x="278" y="227"/>
                    </a:lnTo>
                    <a:lnTo>
                      <a:pt x="281" y="220"/>
                    </a:lnTo>
                    <a:lnTo>
                      <a:pt x="281" y="210"/>
                    </a:lnTo>
                    <a:lnTo>
                      <a:pt x="278" y="208"/>
                    </a:lnTo>
                    <a:lnTo>
                      <a:pt x="274" y="217"/>
                    </a:lnTo>
                    <a:lnTo>
                      <a:pt x="278" y="217"/>
                    </a:lnTo>
                    <a:lnTo>
                      <a:pt x="278" y="220"/>
                    </a:lnTo>
                    <a:lnTo>
                      <a:pt x="278" y="222"/>
                    </a:lnTo>
                    <a:lnTo>
                      <a:pt x="257" y="220"/>
                    </a:lnTo>
                    <a:lnTo>
                      <a:pt x="250" y="213"/>
                    </a:lnTo>
                    <a:lnTo>
                      <a:pt x="250" y="203"/>
                    </a:lnTo>
                    <a:lnTo>
                      <a:pt x="257" y="191"/>
                    </a:lnTo>
                    <a:lnTo>
                      <a:pt x="278" y="165"/>
                    </a:lnTo>
                    <a:lnTo>
                      <a:pt x="288" y="158"/>
                    </a:lnTo>
                    <a:lnTo>
                      <a:pt x="319" y="144"/>
                    </a:lnTo>
                    <a:lnTo>
                      <a:pt x="335" y="139"/>
                    </a:lnTo>
                    <a:lnTo>
                      <a:pt x="352" y="139"/>
                    </a:lnTo>
                    <a:lnTo>
                      <a:pt x="364" y="142"/>
                    </a:lnTo>
                    <a:lnTo>
                      <a:pt x="373" y="147"/>
                    </a:lnTo>
                    <a:lnTo>
                      <a:pt x="366" y="154"/>
                    </a:lnTo>
                    <a:lnTo>
                      <a:pt x="333" y="161"/>
                    </a:lnTo>
                    <a:lnTo>
                      <a:pt x="333" y="161"/>
                    </a:lnTo>
                    <a:lnTo>
                      <a:pt x="338" y="165"/>
                    </a:lnTo>
                    <a:lnTo>
                      <a:pt x="340" y="168"/>
                    </a:lnTo>
                    <a:lnTo>
                      <a:pt x="335" y="175"/>
                    </a:lnTo>
                    <a:lnTo>
                      <a:pt x="307" y="201"/>
                    </a:lnTo>
                    <a:close/>
                    <a:moveTo>
                      <a:pt x="884" y="291"/>
                    </a:moveTo>
                    <a:lnTo>
                      <a:pt x="888" y="293"/>
                    </a:lnTo>
                    <a:lnTo>
                      <a:pt x="891" y="298"/>
                    </a:lnTo>
                    <a:lnTo>
                      <a:pt x="900" y="310"/>
                    </a:lnTo>
                    <a:lnTo>
                      <a:pt x="905" y="317"/>
                    </a:lnTo>
                    <a:lnTo>
                      <a:pt x="910" y="331"/>
                    </a:lnTo>
                    <a:lnTo>
                      <a:pt x="912" y="333"/>
                    </a:lnTo>
                    <a:lnTo>
                      <a:pt x="912" y="343"/>
                    </a:lnTo>
                    <a:lnTo>
                      <a:pt x="907" y="348"/>
                    </a:lnTo>
                    <a:lnTo>
                      <a:pt x="907" y="352"/>
                    </a:lnTo>
                    <a:lnTo>
                      <a:pt x="910" y="355"/>
                    </a:lnTo>
                    <a:lnTo>
                      <a:pt x="928" y="355"/>
                    </a:lnTo>
                    <a:lnTo>
                      <a:pt x="936" y="357"/>
                    </a:lnTo>
                    <a:lnTo>
                      <a:pt x="940" y="362"/>
                    </a:lnTo>
                    <a:lnTo>
                      <a:pt x="938" y="366"/>
                    </a:lnTo>
                    <a:lnTo>
                      <a:pt x="940" y="371"/>
                    </a:lnTo>
                    <a:lnTo>
                      <a:pt x="945" y="378"/>
                    </a:lnTo>
                    <a:lnTo>
                      <a:pt x="959" y="383"/>
                    </a:lnTo>
                    <a:lnTo>
                      <a:pt x="964" y="388"/>
                    </a:lnTo>
                    <a:lnTo>
                      <a:pt x="964" y="392"/>
                    </a:lnTo>
                    <a:lnTo>
                      <a:pt x="959" y="395"/>
                    </a:lnTo>
                    <a:lnTo>
                      <a:pt x="952" y="397"/>
                    </a:lnTo>
                    <a:lnTo>
                      <a:pt x="898" y="397"/>
                    </a:lnTo>
                    <a:lnTo>
                      <a:pt x="884" y="397"/>
                    </a:lnTo>
                    <a:lnTo>
                      <a:pt x="881" y="400"/>
                    </a:lnTo>
                    <a:lnTo>
                      <a:pt x="879" y="402"/>
                    </a:lnTo>
                    <a:lnTo>
                      <a:pt x="876" y="400"/>
                    </a:lnTo>
                    <a:lnTo>
                      <a:pt x="872" y="402"/>
                    </a:lnTo>
                    <a:lnTo>
                      <a:pt x="869" y="400"/>
                    </a:lnTo>
                    <a:lnTo>
                      <a:pt x="867" y="395"/>
                    </a:lnTo>
                    <a:lnTo>
                      <a:pt x="862" y="390"/>
                    </a:lnTo>
                    <a:lnTo>
                      <a:pt x="855" y="390"/>
                    </a:lnTo>
                    <a:lnTo>
                      <a:pt x="848" y="395"/>
                    </a:lnTo>
                    <a:lnTo>
                      <a:pt x="843" y="411"/>
                    </a:lnTo>
                    <a:lnTo>
                      <a:pt x="846" y="416"/>
                    </a:lnTo>
                    <a:lnTo>
                      <a:pt x="846" y="426"/>
                    </a:lnTo>
                    <a:lnTo>
                      <a:pt x="848" y="428"/>
                    </a:lnTo>
                    <a:lnTo>
                      <a:pt x="848" y="430"/>
                    </a:lnTo>
                    <a:lnTo>
                      <a:pt x="846" y="433"/>
                    </a:lnTo>
                    <a:lnTo>
                      <a:pt x="841" y="433"/>
                    </a:lnTo>
                    <a:lnTo>
                      <a:pt x="834" y="430"/>
                    </a:lnTo>
                    <a:lnTo>
                      <a:pt x="808" y="411"/>
                    </a:lnTo>
                    <a:lnTo>
                      <a:pt x="787" y="400"/>
                    </a:lnTo>
                    <a:lnTo>
                      <a:pt x="763" y="395"/>
                    </a:lnTo>
                    <a:lnTo>
                      <a:pt x="744" y="392"/>
                    </a:lnTo>
                    <a:lnTo>
                      <a:pt x="730" y="395"/>
                    </a:lnTo>
                    <a:lnTo>
                      <a:pt x="718" y="402"/>
                    </a:lnTo>
                    <a:lnTo>
                      <a:pt x="711" y="414"/>
                    </a:lnTo>
                    <a:lnTo>
                      <a:pt x="699" y="423"/>
                    </a:lnTo>
                    <a:lnTo>
                      <a:pt x="680" y="428"/>
                    </a:lnTo>
                    <a:lnTo>
                      <a:pt x="671" y="430"/>
                    </a:lnTo>
                    <a:lnTo>
                      <a:pt x="671" y="437"/>
                    </a:lnTo>
                    <a:lnTo>
                      <a:pt x="664" y="437"/>
                    </a:lnTo>
                    <a:lnTo>
                      <a:pt x="650" y="435"/>
                    </a:lnTo>
                    <a:lnTo>
                      <a:pt x="638" y="435"/>
                    </a:lnTo>
                    <a:lnTo>
                      <a:pt x="626" y="437"/>
                    </a:lnTo>
                    <a:lnTo>
                      <a:pt x="616" y="442"/>
                    </a:lnTo>
                    <a:lnTo>
                      <a:pt x="609" y="459"/>
                    </a:lnTo>
                    <a:lnTo>
                      <a:pt x="607" y="466"/>
                    </a:lnTo>
                    <a:lnTo>
                      <a:pt x="602" y="473"/>
                    </a:lnTo>
                    <a:lnTo>
                      <a:pt x="583" y="485"/>
                    </a:lnTo>
                    <a:lnTo>
                      <a:pt x="583" y="489"/>
                    </a:lnTo>
                    <a:lnTo>
                      <a:pt x="574" y="501"/>
                    </a:lnTo>
                    <a:lnTo>
                      <a:pt x="572" y="508"/>
                    </a:lnTo>
                    <a:lnTo>
                      <a:pt x="572" y="515"/>
                    </a:lnTo>
                    <a:lnTo>
                      <a:pt x="569" y="515"/>
                    </a:lnTo>
                    <a:lnTo>
                      <a:pt x="562" y="508"/>
                    </a:lnTo>
                    <a:lnTo>
                      <a:pt x="560" y="499"/>
                    </a:lnTo>
                    <a:lnTo>
                      <a:pt x="567" y="487"/>
                    </a:lnTo>
                    <a:lnTo>
                      <a:pt x="572" y="480"/>
                    </a:lnTo>
                    <a:lnTo>
                      <a:pt x="576" y="480"/>
                    </a:lnTo>
                    <a:lnTo>
                      <a:pt x="579" y="475"/>
                    </a:lnTo>
                    <a:lnTo>
                      <a:pt x="579" y="463"/>
                    </a:lnTo>
                    <a:lnTo>
                      <a:pt x="576" y="459"/>
                    </a:lnTo>
                    <a:lnTo>
                      <a:pt x="567" y="461"/>
                    </a:lnTo>
                    <a:lnTo>
                      <a:pt x="562" y="468"/>
                    </a:lnTo>
                    <a:lnTo>
                      <a:pt x="555" y="468"/>
                    </a:lnTo>
                    <a:lnTo>
                      <a:pt x="548" y="466"/>
                    </a:lnTo>
                    <a:lnTo>
                      <a:pt x="543" y="473"/>
                    </a:lnTo>
                    <a:lnTo>
                      <a:pt x="538" y="487"/>
                    </a:lnTo>
                    <a:lnTo>
                      <a:pt x="531" y="499"/>
                    </a:lnTo>
                    <a:lnTo>
                      <a:pt x="524" y="504"/>
                    </a:lnTo>
                    <a:lnTo>
                      <a:pt x="517" y="499"/>
                    </a:lnTo>
                    <a:lnTo>
                      <a:pt x="515" y="485"/>
                    </a:lnTo>
                    <a:lnTo>
                      <a:pt x="512" y="475"/>
                    </a:lnTo>
                    <a:lnTo>
                      <a:pt x="515" y="461"/>
                    </a:lnTo>
                    <a:lnTo>
                      <a:pt x="512" y="459"/>
                    </a:lnTo>
                    <a:lnTo>
                      <a:pt x="510" y="463"/>
                    </a:lnTo>
                    <a:lnTo>
                      <a:pt x="505" y="475"/>
                    </a:lnTo>
                    <a:lnTo>
                      <a:pt x="501" y="499"/>
                    </a:lnTo>
                    <a:lnTo>
                      <a:pt x="498" y="508"/>
                    </a:lnTo>
                    <a:lnTo>
                      <a:pt x="494" y="511"/>
                    </a:lnTo>
                    <a:lnTo>
                      <a:pt x="484" y="527"/>
                    </a:lnTo>
                    <a:lnTo>
                      <a:pt x="475" y="553"/>
                    </a:lnTo>
                    <a:lnTo>
                      <a:pt x="463" y="582"/>
                    </a:lnTo>
                    <a:lnTo>
                      <a:pt x="449" y="608"/>
                    </a:lnTo>
                    <a:lnTo>
                      <a:pt x="442" y="619"/>
                    </a:lnTo>
                    <a:lnTo>
                      <a:pt x="437" y="622"/>
                    </a:lnTo>
                    <a:lnTo>
                      <a:pt x="437" y="627"/>
                    </a:lnTo>
                    <a:lnTo>
                      <a:pt x="437" y="638"/>
                    </a:lnTo>
                    <a:lnTo>
                      <a:pt x="430" y="636"/>
                    </a:lnTo>
                    <a:lnTo>
                      <a:pt x="423" y="627"/>
                    </a:lnTo>
                    <a:lnTo>
                      <a:pt x="418" y="619"/>
                    </a:lnTo>
                    <a:lnTo>
                      <a:pt x="418" y="610"/>
                    </a:lnTo>
                    <a:lnTo>
                      <a:pt x="425" y="589"/>
                    </a:lnTo>
                    <a:lnTo>
                      <a:pt x="425" y="584"/>
                    </a:lnTo>
                    <a:lnTo>
                      <a:pt x="423" y="584"/>
                    </a:lnTo>
                    <a:lnTo>
                      <a:pt x="418" y="582"/>
                    </a:lnTo>
                    <a:lnTo>
                      <a:pt x="408" y="586"/>
                    </a:lnTo>
                    <a:lnTo>
                      <a:pt x="397" y="586"/>
                    </a:lnTo>
                    <a:lnTo>
                      <a:pt x="394" y="586"/>
                    </a:lnTo>
                    <a:lnTo>
                      <a:pt x="392" y="582"/>
                    </a:lnTo>
                    <a:lnTo>
                      <a:pt x="392" y="577"/>
                    </a:lnTo>
                    <a:lnTo>
                      <a:pt x="392" y="570"/>
                    </a:lnTo>
                    <a:lnTo>
                      <a:pt x="399" y="556"/>
                    </a:lnTo>
                    <a:lnTo>
                      <a:pt x="397" y="544"/>
                    </a:lnTo>
                    <a:lnTo>
                      <a:pt x="399" y="537"/>
                    </a:lnTo>
                    <a:lnTo>
                      <a:pt x="397" y="525"/>
                    </a:lnTo>
                    <a:lnTo>
                      <a:pt x="397" y="518"/>
                    </a:lnTo>
                    <a:lnTo>
                      <a:pt x="390" y="513"/>
                    </a:lnTo>
                    <a:lnTo>
                      <a:pt x="378" y="504"/>
                    </a:lnTo>
                    <a:lnTo>
                      <a:pt x="347" y="494"/>
                    </a:lnTo>
                    <a:lnTo>
                      <a:pt x="349" y="482"/>
                    </a:lnTo>
                    <a:lnTo>
                      <a:pt x="347" y="475"/>
                    </a:lnTo>
                    <a:lnTo>
                      <a:pt x="340" y="468"/>
                    </a:lnTo>
                    <a:lnTo>
                      <a:pt x="309" y="461"/>
                    </a:lnTo>
                    <a:lnTo>
                      <a:pt x="288" y="459"/>
                    </a:lnTo>
                    <a:lnTo>
                      <a:pt x="269" y="459"/>
                    </a:lnTo>
                    <a:lnTo>
                      <a:pt x="255" y="456"/>
                    </a:lnTo>
                    <a:lnTo>
                      <a:pt x="238" y="456"/>
                    </a:lnTo>
                    <a:lnTo>
                      <a:pt x="226" y="452"/>
                    </a:lnTo>
                    <a:lnTo>
                      <a:pt x="217" y="447"/>
                    </a:lnTo>
                    <a:lnTo>
                      <a:pt x="205" y="442"/>
                    </a:lnTo>
                    <a:lnTo>
                      <a:pt x="196" y="437"/>
                    </a:lnTo>
                    <a:lnTo>
                      <a:pt x="177" y="433"/>
                    </a:lnTo>
                    <a:lnTo>
                      <a:pt x="158" y="430"/>
                    </a:lnTo>
                    <a:lnTo>
                      <a:pt x="139" y="426"/>
                    </a:lnTo>
                    <a:lnTo>
                      <a:pt x="120" y="421"/>
                    </a:lnTo>
                    <a:lnTo>
                      <a:pt x="101" y="418"/>
                    </a:lnTo>
                    <a:lnTo>
                      <a:pt x="82" y="414"/>
                    </a:lnTo>
                    <a:lnTo>
                      <a:pt x="63" y="409"/>
                    </a:lnTo>
                    <a:lnTo>
                      <a:pt x="44" y="407"/>
                    </a:lnTo>
                    <a:lnTo>
                      <a:pt x="40" y="397"/>
                    </a:lnTo>
                    <a:lnTo>
                      <a:pt x="35" y="390"/>
                    </a:lnTo>
                    <a:lnTo>
                      <a:pt x="30" y="381"/>
                    </a:lnTo>
                    <a:lnTo>
                      <a:pt x="26" y="371"/>
                    </a:lnTo>
                    <a:lnTo>
                      <a:pt x="18" y="369"/>
                    </a:lnTo>
                    <a:lnTo>
                      <a:pt x="14" y="366"/>
                    </a:lnTo>
                    <a:lnTo>
                      <a:pt x="9" y="362"/>
                    </a:lnTo>
                    <a:lnTo>
                      <a:pt x="2" y="364"/>
                    </a:lnTo>
                    <a:lnTo>
                      <a:pt x="0" y="357"/>
                    </a:lnTo>
                    <a:lnTo>
                      <a:pt x="0" y="355"/>
                    </a:lnTo>
                    <a:lnTo>
                      <a:pt x="9" y="352"/>
                    </a:lnTo>
                    <a:lnTo>
                      <a:pt x="35" y="340"/>
                    </a:lnTo>
                    <a:lnTo>
                      <a:pt x="59" y="326"/>
                    </a:lnTo>
                    <a:lnTo>
                      <a:pt x="78" y="307"/>
                    </a:lnTo>
                    <a:lnTo>
                      <a:pt x="101" y="298"/>
                    </a:lnTo>
                    <a:lnTo>
                      <a:pt x="130" y="291"/>
                    </a:lnTo>
                    <a:lnTo>
                      <a:pt x="148" y="284"/>
                    </a:lnTo>
                    <a:lnTo>
                      <a:pt x="160" y="277"/>
                    </a:lnTo>
                    <a:lnTo>
                      <a:pt x="177" y="260"/>
                    </a:lnTo>
                    <a:lnTo>
                      <a:pt x="186" y="255"/>
                    </a:lnTo>
                    <a:lnTo>
                      <a:pt x="196" y="253"/>
                    </a:lnTo>
                    <a:lnTo>
                      <a:pt x="205" y="246"/>
                    </a:lnTo>
                    <a:lnTo>
                      <a:pt x="210" y="234"/>
                    </a:lnTo>
                    <a:lnTo>
                      <a:pt x="222" y="222"/>
                    </a:lnTo>
                    <a:lnTo>
                      <a:pt x="236" y="208"/>
                    </a:lnTo>
                    <a:lnTo>
                      <a:pt x="245" y="201"/>
                    </a:lnTo>
                    <a:lnTo>
                      <a:pt x="248" y="203"/>
                    </a:lnTo>
                    <a:lnTo>
                      <a:pt x="248" y="208"/>
                    </a:lnTo>
                    <a:lnTo>
                      <a:pt x="248" y="215"/>
                    </a:lnTo>
                    <a:lnTo>
                      <a:pt x="252" y="220"/>
                    </a:lnTo>
                    <a:lnTo>
                      <a:pt x="262" y="225"/>
                    </a:lnTo>
                    <a:lnTo>
                      <a:pt x="267" y="229"/>
                    </a:lnTo>
                    <a:lnTo>
                      <a:pt x="267" y="236"/>
                    </a:lnTo>
                    <a:lnTo>
                      <a:pt x="269" y="241"/>
                    </a:lnTo>
                    <a:lnTo>
                      <a:pt x="276" y="246"/>
                    </a:lnTo>
                    <a:lnTo>
                      <a:pt x="278" y="258"/>
                    </a:lnTo>
                    <a:lnTo>
                      <a:pt x="276" y="274"/>
                    </a:lnTo>
                    <a:lnTo>
                      <a:pt x="276" y="284"/>
                    </a:lnTo>
                    <a:lnTo>
                      <a:pt x="278" y="288"/>
                    </a:lnTo>
                    <a:lnTo>
                      <a:pt x="281" y="291"/>
                    </a:lnTo>
                    <a:lnTo>
                      <a:pt x="286" y="288"/>
                    </a:lnTo>
                    <a:lnTo>
                      <a:pt x="288" y="281"/>
                    </a:lnTo>
                    <a:lnTo>
                      <a:pt x="290" y="279"/>
                    </a:lnTo>
                    <a:lnTo>
                      <a:pt x="290" y="274"/>
                    </a:lnTo>
                    <a:lnTo>
                      <a:pt x="314" y="255"/>
                    </a:lnTo>
                    <a:lnTo>
                      <a:pt x="316" y="255"/>
                    </a:lnTo>
                    <a:lnTo>
                      <a:pt x="326" y="258"/>
                    </a:lnTo>
                    <a:lnTo>
                      <a:pt x="364" y="260"/>
                    </a:lnTo>
                    <a:lnTo>
                      <a:pt x="378" y="265"/>
                    </a:lnTo>
                    <a:lnTo>
                      <a:pt x="394" y="272"/>
                    </a:lnTo>
                    <a:lnTo>
                      <a:pt x="399" y="274"/>
                    </a:lnTo>
                    <a:lnTo>
                      <a:pt x="420" y="305"/>
                    </a:lnTo>
                    <a:lnTo>
                      <a:pt x="430" y="314"/>
                    </a:lnTo>
                    <a:lnTo>
                      <a:pt x="437" y="317"/>
                    </a:lnTo>
                    <a:lnTo>
                      <a:pt x="439" y="322"/>
                    </a:lnTo>
                    <a:lnTo>
                      <a:pt x="442" y="333"/>
                    </a:lnTo>
                    <a:lnTo>
                      <a:pt x="446" y="336"/>
                    </a:lnTo>
                    <a:lnTo>
                      <a:pt x="472" y="336"/>
                    </a:lnTo>
                    <a:lnTo>
                      <a:pt x="486" y="331"/>
                    </a:lnTo>
                    <a:lnTo>
                      <a:pt x="494" y="326"/>
                    </a:lnTo>
                    <a:lnTo>
                      <a:pt x="501" y="329"/>
                    </a:lnTo>
                    <a:lnTo>
                      <a:pt x="512" y="338"/>
                    </a:lnTo>
                    <a:lnTo>
                      <a:pt x="522" y="340"/>
                    </a:lnTo>
                    <a:lnTo>
                      <a:pt x="529" y="333"/>
                    </a:lnTo>
                    <a:lnTo>
                      <a:pt x="538" y="333"/>
                    </a:lnTo>
                    <a:lnTo>
                      <a:pt x="546" y="338"/>
                    </a:lnTo>
                    <a:lnTo>
                      <a:pt x="550" y="340"/>
                    </a:lnTo>
                    <a:lnTo>
                      <a:pt x="553" y="340"/>
                    </a:lnTo>
                    <a:lnTo>
                      <a:pt x="567" y="324"/>
                    </a:lnTo>
                    <a:lnTo>
                      <a:pt x="583" y="307"/>
                    </a:lnTo>
                    <a:lnTo>
                      <a:pt x="607" y="291"/>
                    </a:lnTo>
                    <a:lnTo>
                      <a:pt x="621" y="284"/>
                    </a:lnTo>
                    <a:lnTo>
                      <a:pt x="626" y="284"/>
                    </a:lnTo>
                    <a:lnTo>
                      <a:pt x="647" y="277"/>
                    </a:lnTo>
                    <a:lnTo>
                      <a:pt x="668" y="274"/>
                    </a:lnTo>
                    <a:lnTo>
                      <a:pt x="697" y="274"/>
                    </a:lnTo>
                    <a:lnTo>
                      <a:pt x="720" y="267"/>
                    </a:lnTo>
                    <a:lnTo>
                      <a:pt x="742" y="255"/>
                    </a:lnTo>
                    <a:lnTo>
                      <a:pt x="763" y="248"/>
                    </a:lnTo>
                    <a:lnTo>
                      <a:pt x="780" y="243"/>
                    </a:lnTo>
                    <a:lnTo>
                      <a:pt x="787" y="246"/>
                    </a:lnTo>
                    <a:lnTo>
                      <a:pt x="784" y="253"/>
                    </a:lnTo>
                    <a:lnTo>
                      <a:pt x="784" y="265"/>
                    </a:lnTo>
                    <a:lnTo>
                      <a:pt x="784" y="281"/>
                    </a:lnTo>
                    <a:lnTo>
                      <a:pt x="784" y="291"/>
                    </a:lnTo>
                    <a:lnTo>
                      <a:pt x="782" y="296"/>
                    </a:lnTo>
                    <a:lnTo>
                      <a:pt x="782" y="300"/>
                    </a:lnTo>
                    <a:lnTo>
                      <a:pt x="784" y="303"/>
                    </a:lnTo>
                    <a:lnTo>
                      <a:pt x="803" y="303"/>
                    </a:lnTo>
                    <a:lnTo>
                      <a:pt x="813" y="307"/>
                    </a:lnTo>
                    <a:lnTo>
                      <a:pt x="822" y="305"/>
                    </a:lnTo>
                    <a:lnTo>
                      <a:pt x="834" y="300"/>
                    </a:lnTo>
                    <a:lnTo>
                      <a:pt x="843" y="300"/>
                    </a:lnTo>
                    <a:lnTo>
                      <a:pt x="850" y="307"/>
                    </a:lnTo>
                    <a:lnTo>
                      <a:pt x="860" y="307"/>
                    </a:lnTo>
                    <a:lnTo>
                      <a:pt x="869" y="300"/>
                    </a:lnTo>
                    <a:lnTo>
                      <a:pt x="874" y="296"/>
                    </a:lnTo>
                    <a:lnTo>
                      <a:pt x="879" y="291"/>
                    </a:lnTo>
                    <a:lnTo>
                      <a:pt x="884" y="291"/>
                    </a:lnTo>
                    <a:close/>
                    <a:moveTo>
                      <a:pt x="919" y="317"/>
                    </a:moveTo>
                    <a:lnTo>
                      <a:pt x="919" y="322"/>
                    </a:lnTo>
                    <a:lnTo>
                      <a:pt x="914" y="319"/>
                    </a:lnTo>
                    <a:lnTo>
                      <a:pt x="912" y="317"/>
                    </a:lnTo>
                    <a:lnTo>
                      <a:pt x="907" y="312"/>
                    </a:lnTo>
                    <a:lnTo>
                      <a:pt x="902" y="300"/>
                    </a:lnTo>
                    <a:lnTo>
                      <a:pt x="895" y="293"/>
                    </a:lnTo>
                    <a:lnTo>
                      <a:pt x="902" y="281"/>
                    </a:lnTo>
                    <a:lnTo>
                      <a:pt x="907" y="279"/>
                    </a:lnTo>
                    <a:lnTo>
                      <a:pt x="914" y="281"/>
                    </a:lnTo>
                    <a:lnTo>
                      <a:pt x="914" y="286"/>
                    </a:lnTo>
                    <a:lnTo>
                      <a:pt x="912" y="296"/>
                    </a:lnTo>
                    <a:lnTo>
                      <a:pt x="914" y="307"/>
                    </a:lnTo>
                    <a:lnTo>
                      <a:pt x="919" y="317"/>
                    </a:lnTo>
                    <a:close/>
                    <a:moveTo>
                      <a:pt x="924" y="340"/>
                    </a:moveTo>
                    <a:lnTo>
                      <a:pt x="921" y="340"/>
                    </a:lnTo>
                    <a:lnTo>
                      <a:pt x="914" y="333"/>
                    </a:lnTo>
                    <a:lnTo>
                      <a:pt x="912" y="329"/>
                    </a:lnTo>
                    <a:lnTo>
                      <a:pt x="912" y="326"/>
                    </a:lnTo>
                    <a:lnTo>
                      <a:pt x="914" y="324"/>
                    </a:lnTo>
                    <a:lnTo>
                      <a:pt x="921" y="329"/>
                    </a:lnTo>
                    <a:lnTo>
                      <a:pt x="924" y="331"/>
                    </a:lnTo>
                    <a:lnTo>
                      <a:pt x="924" y="338"/>
                    </a:lnTo>
                    <a:lnTo>
                      <a:pt x="924" y="340"/>
                    </a:lnTo>
                    <a:close/>
                    <a:moveTo>
                      <a:pt x="1021" y="376"/>
                    </a:moveTo>
                    <a:lnTo>
                      <a:pt x="1023" y="381"/>
                    </a:lnTo>
                    <a:lnTo>
                      <a:pt x="1021" y="388"/>
                    </a:lnTo>
                    <a:lnTo>
                      <a:pt x="1011" y="395"/>
                    </a:lnTo>
                    <a:lnTo>
                      <a:pt x="990" y="397"/>
                    </a:lnTo>
                    <a:lnTo>
                      <a:pt x="976" y="395"/>
                    </a:lnTo>
                    <a:lnTo>
                      <a:pt x="969" y="390"/>
                    </a:lnTo>
                    <a:lnTo>
                      <a:pt x="966" y="388"/>
                    </a:lnTo>
                    <a:lnTo>
                      <a:pt x="966" y="383"/>
                    </a:lnTo>
                    <a:lnTo>
                      <a:pt x="971" y="383"/>
                    </a:lnTo>
                    <a:lnTo>
                      <a:pt x="976" y="385"/>
                    </a:lnTo>
                    <a:lnTo>
                      <a:pt x="980" y="383"/>
                    </a:lnTo>
                    <a:lnTo>
                      <a:pt x="990" y="376"/>
                    </a:lnTo>
                    <a:lnTo>
                      <a:pt x="992" y="371"/>
                    </a:lnTo>
                    <a:lnTo>
                      <a:pt x="995" y="369"/>
                    </a:lnTo>
                    <a:lnTo>
                      <a:pt x="990" y="364"/>
                    </a:lnTo>
                    <a:lnTo>
                      <a:pt x="992" y="362"/>
                    </a:lnTo>
                    <a:lnTo>
                      <a:pt x="1004" y="362"/>
                    </a:lnTo>
                    <a:lnTo>
                      <a:pt x="1009" y="364"/>
                    </a:lnTo>
                    <a:lnTo>
                      <a:pt x="1016" y="376"/>
                    </a:lnTo>
                    <a:lnTo>
                      <a:pt x="1021" y="376"/>
                    </a:lnTo>
                    <a:close/>
                    <a:moveTo>
                      <a:pt x="872" y="437"/>
                    </a:moveTo>
                    <a:lnTo>
                      <a:pt x="891" y="437"/>
                    </a:lnTo>
                    <a:lnTo>
                      <a:pt x="893" y="437"/>
                    </a:lnTo>
                    <a:lnTo>
                      <a:pt x="898" y="442"/>
                    </a:lnTo>
                    <a:lnTo>
                      <a:pt x="900" y="447"/>
                    </a:lnTo>
                    <a:lnTo>
                      <a:pt x="898" y="449"/>
                    </a:lnTo>
                    <a:lnTo>
                      <a:pt x="895" y="454"/>
                    </a:lnTo>
                    <a:lnTo>
                      <a:pt x="891" y="454"/>
                    </a:lnTo>
                    <a:lnTo>
                      <a:pt x="884" y="452"/>
                    </a:lnTo>
                    <a:lnTo>
                      <a:pt x="872" y="442"/>
                    </a:lnTo>
                    <a:lnTo>
                      <a:pt x="872" y="437"/>
                    </a:lnTo>
                    <a:close/>
                    <a:moveTo>
                      <a:pt x="843" y="447"/>
                    </a:moveTo>
                    <a:lnTo>
                      <a:pt x="853" y="449"/>
                    </a:lnTo>
                    <a:lnTo>
                      <a:pt x="874" y="461"/>
                    </a:lnTo>
                    <a:lnTo>
                      <a:pt x="893" y="466"/>
                    </a:lnTo>
                    <a:lnTo>
                      <a:pt x="910" y="466"/>
                    </a:lnTo>
                    <a:lnTo>
                      <a:pt x="924" y="468"/>
                    </a:lnTo>
                    <a:lnTo>
                      <a:pt x="931" y="475"/>
                    </a:lnTo>
                    <a:lnTo>
                      <a:pt x="938" y="482"/>
                    </a:lnTo>
                    <a:lnTo>
                      <a:pt x="943" y="489"/>
                    </a:lnTo>
                    <a:lnTo>
                      <a:pt x="952" y="494"/>
                    </a:lnTo>
                    <a:lnTo>
                      <a:pt x="964" y="494"/>
                    </a:lnTo>
                    <a:lnTo>
                      <a:pt x="976" y="496"/>
                    </a:lnTo>
                    <a:lnTo>
                      <a:pt x="983" y="501"/>
                    </a:lnTo>
                    <a:lnTo>
                      <a:pt x="1025" y="511"/>
                    </a:lnTo>
                    <a:lnTo>
                      <a:pt x="1044" y="518"/>
                    </a:lnTo>
                    <a:lnTo>
                      <a:pt x="1054" y="525"/>
                    </a:lnTo>
                    <a:lnTo>
                      <a:pt x="1058" y="530"/>
                    </a:lnTo>
                    <a:lnTo>
                      <a:pt x="1058" y="534"/>
                    </a:lnTo>
                    <a:lnTo>
                      <a:pt x="1061" y="541"/>
                    </a:lnTo>
                    <a:lnTo>
                      <a:pt x="1068" y="551"/>
                    </a:lnTo>
                    <a:lnTo>
                      <a:pt x="1070" y="551"/>
                    </a:lnTo>
                    <a:lnTo>
                      <a:pt x="1073" y="556"/>
                    </a:lnTo>
                    <a:lnTo>
                      <a:pt x="1075" y="565"/>
                    </a:lnTo>
                    <a:lnTo>
                      <a:pt x="1077" y="572"/>
                    </a:lnTo>
                    <a:lnTo>
                      <a:pt x="1082" y="575"/>
                    </a:lnTo>
                    <a:lnTo>
                      <a:pt x="1080" y="577"/>
                    </a:lnTo>
                    <a:lnTo>
                      <a:pt x="1068" y="572"/>
                    </a:lnTo>
                    <a:lnTo>
                      <a:pt x="1061" y="575"/>
                    </a:lnTo>
                    <a:lnTo>
                      <a:pt x="1058" y="584"/>
                    </a:lnTo>
                    <a:lnTo>
                      <a:pt x="1058" y="591"/>
                    </a:lnTo>
                    <a:lnTo>
                      <a:pt x="1061" y="596"/>
                    </a:lnTo>
                    <a:lnTo>
                      <a:pt x="1080" y="612"/>
                    </a:lnTo>
                    <a:lnTo>
                      <a:pt x="1087" y="631"/>
                    </a:lnTo>
                    <a:lnTo>
                      <a:pt x="1092" y="650"/>
                    </a:lnTo>
                    <a:lnTo>
                      <a:pt x="1089" y="660"/>
                    </a:lnTo>
                    <a:lnTo>
                      <a:pt x="1092" y="679"/>
                    </a:lnTo>
                    <a:lnTo>
                      <a:pt x="1094" y="707"/>
                    </a:lnTo>
                    <a:lnTo>
                      <a:pt x="1094" y="716"/>
                    </a:lnTo>
                    <a:lnTo>
                      <a:pt x="1092" y="726"/>
                    </a:lnTo>
                    <a:lnTo>
                      <a:pt x="1077" y="742"/>
                    </a:lnTo>
                    <a:lnTo>
                      <a:pt x="1077" y="740"/>
                    </a:lnTo>
                    <a:lnTo>
                      <a:pt x="1073" y="740"/>
                    </a:lnTo>
                    <a:lnTo>
                      <a:pt x="1070" y="742"/>
                    </a:lnTo>
                    <a:lnTo>
                      <a:pt x="1066" y="754"/>
                    </a:lnTo>
                    <a:lnTo>
                      <a:pt x="1066" y="776"/>
                    </a:lnTo>
                    <a:lnTo>
                      <a:pt x="1061" y="790"/>
                    </a:lnTo>
                    <a:lnTo>
                      <a:pt x="1054" y="792"/>
                    </a:lnTo>
                    <a:lnTo>
                      <a:pt x="1051" y="794"/>
                    </a:lnTo>
                    <a:lnTo>
                      <a:pt x="1051" y="799"/>
                    </a:lnTo>
                    <a:lnTo>
                      <a:pt x="1044" y="804"/>
                    </a:lnTo>
                    <a:lnTo>
                      <a:pt x="1032" y="806"/>
                    </a:lnTo>
                    <a:lnTo>
                      <a:pt x="1023" y="813"/>
                    </a:lnTo>
                    <a:lnTo>
                      <a:pt x="1021" y="835"/>
                    </a:lnTo>
                    <a:lnTo>
                      <a:pt x="1021" y="842"/>
                    </a:lnTo>
                    <a:lnTo>
                      <a:pt x="1018" y="854"/>
                    </a:lnTo>
                    <a:lnTo>
                      <a:pt x="1021" y="863"/>
                    </a:lnTo>
                    <a:lnTo>
                      <a:pt x="1025" y="870"/>
                    </a:lnTo>
                    <a:lnTo>
                      <a:pt x="1037" y="877"/>
                    </a:lnTo>
                    <a:lnTo>
                      <a:pt x="1054" y="882"/>
                    </a:lnTo>
                    <a:lnTo>
                      <a:pt x="1066" y="882"/>
                    </a:lnTo>
                    <a:lnTo>
                      <a:pt x="1073" y="877"/>
                    </a:lnTo>
                    <a:lnTo>
                      <a:pt x="1077" y="863"/>
                    </a:lnTo>
                    <a:lnTo>
                      <a:pt x="1084" y="858"/>
                    </a:lnTo>
                    <a:lnTo>
                      <a:pt x="1092" y="854"/>
                    </a:lnTo>
                    <a:lnTo>
                      <a:pt x="1094" y="849"/>
                    </a:lnTo>
                    <a:lnTo>
                      <a:pt x="1106" y="820"/>
                    </a:lnTo>
                    <a:lnTo>
                      <a:pt x="1106" y="816"/>
                    </a:lnTo>
                    <a:lnTo>
                      <a:pt x="1099" y="813"/>
                    </a:lnTo>
                    <a:lnTo>
                      <a:pt x="1099" y="811"/>
                    </a:lnTo>
                    <a:lnTo>
                      <a:pt x="1106" y="811"/>
                    </a:lnTo>
                    <a:lnTo>
                      <a:pt x="1113" y="806"/>
                    </a:lnTo>
                    <a:lnTo>
                      <a:pt x="1115" y="799"/>
                    </a:lnTo>
                    <a:lnTo>
                      <a:pt x="1125" y="794"/>
                    </a:lnTo>
                    <a:lnTo>
                      <a:pt x="1144" y="785"/>
                    </a:lnTo>
                    <a:lnTo>
                      <a:pt x="1155" y="776"/>
                    </a:lnTo>
                    <a:lnTo>
                      <a:pt x="1160" y="773"/>
                    </a:lnTo>
                    <a:lnTo>
                      <a:pt x="1172" y="776"/>
                    </a:lnTo>
                    <a:lnTo>
                      <a:pt x="1186" y="783"/>
                    </a:lnTo>
                    <a:lnTo>
                      <a:pt x="1200" y="794"/>
                    </a:lnTo>
                    <a:lnTo>
                      <a:pt x="1210" y="811"/>
                    </a:lnTo>
                    <a:lnTo>
                      <a:pt x="1229" y="856"/>
                    </a:lnTo>
                    <a:lnTo>
                      <a:pt x="1250" y="927"/>
                    </a:lnTo>
                    <a:lnTo>
                      <a:pt x="1266" y="967"/>
                    </a:lnTo>
                    <a:lnTo>
                      <a:pt x="1271" y="976"/>
                    </a:lnTo>
                    <a:lnTo>
                      <a:pt x="1274" y="981"/>
                    </a:lnTo>
                    <a:lnTo>
                      <a:pt x="1271" y="1040"/>
                    </a:lnTo>
                    <a:lnTo>
                      <a:pt x="1266" y="1064"/>
                    </a:lnTo>
                    <a:lnTo>
                      <a:pt x="1252" y="1081"/>
                    </a:lnTo>
                    <a:lnTo>
                      <a:pt x="1240" y="1097"/>
                    </a:lnTo>
                    <a:lnTo>
                      <a:pt x="1224" y="1123"/>
                    </a:lnTo>
                    <a:lnTo>
                      <a:pt x="1205" y="1137"/>
                    </a:lnTo>
                    <a:lnTo>
                      <a:pt x="1196" y="1144"/>
                    </a:lnTo>
                    <a:lnTo>
                      <a:pt x="1193" y="1149"/>
                    </a:lnTo>
                    <a:lnTo>
                      <a:pt x="1191" y="1149"/>
                    </a:lnTo>
                    <a:lnTo>
                      <a:pt x="1186" y="1161"/>
                    </a:lnTo>
                    <a:lnTo>
                      <a:pt x="1184" y="1180"/>
                    </a:lnTo>
                    <a:lnTo>
                      <a:pt x="1184" y="1192"/>
                    </a:lnTo>
                    <a:lnTo>
                      <a:pt x="1186" y="1199"/>
                    </a:lnTo>
                    <a:lnTo>
                      <a:pt x="1184" y="1203"/>
                    </a:lnTo>
                    <a:lnTo>
                      <a:pt x="1177" y="1213"/>
                    </a:lnTo>
                    <a:lnTo>
                      <a:pt x="1174" y="1218"/>
                    </a:lnTo>
                    <a:lnTo>
                      <a:pt x="1177" y="1222"/>
                    </a:lnTo>
                    <a:lnTo>
                      <a:pt x="1174" y="1225"/>
                    </a:lnTo>
                    <a:lnTo>
                      <a:pt x="1172" y="1225"/>
                    </a:lnTo>
                    <a:lnTo>
                      <a:pt x="1170" y="1229"/>
                    </a:lnTo>
                    <a:lnTo>
                      <a:pt x="1162" y="1239"/>
                    </a:lnTo>
                    <a:lnTo>
                      <a:pt x="1153" y="1265"/>
                    </a:lnTo>
                    <a:lnTo>
                      <a:pt x="1153" y="1270"/>
                    </a:lnTo>
                    <a:lnTo>
                      <a:pt x="1151" y="1270"/>
                    </a:lnTo>
                    <a:lnTo>
                      <a:pt x="1099" y="1279"/>
                    </a:lnTo>
                    <a:lnTo>
                      <a:pt x="1047" y="1289"/>
                    </a:lnTo>
                    <a:lnTo>
                      <a:pt x="995" y="1296"/>
                    </a:lnTo>
                    <a:lnTo>
                      <a:pt x="943" y="1305"/>
                    </a:lnTo>
                    <a:lnTo>
                      <a:pt x="943" y="1293"/>
                    </a:lnTo>
                    <a:lnTo>
                      <a:pt x="895" y="1298"/>
                    </a:lnTo>
                    <a:lnTo>
                      <a:pt x="848" y="1305"/>
                    </a:lnTo>
                    <a:lnTo>
                      <a:pt x="801" y="1310"/>
                    </a:lnTo>
                    <a:lnTo>
                      <a:pt x="751" y="1315"/>
                    </a:lnTo>
                    <a:lnTo>
                      <a:pt x="704" y="1319"/>
                    </a:lnTo>
                    <a:lnTo>
                      <a:pt x="657" y="1326"/>
                    </a:lnTo>
                    <a:lnTo>
                      <a:pt x="619" y="1329"/>
                    </a:lnTo>
                    <a:lnTo>
                      <a:pt x="628" y="1322"/>
                    </a:lnTo>
                    <a:lnTo>
                      <a:pt x="642" y="1308"/>
                    </a:lnTo>
                    <a:lnTo>
                      <a:pt x="652" y="1293"/>
                    </a:lnTo>
                    <a:lnTo>
                      <a:pt x="659" y="1277"/>
                    </a:lnTo>
                    <a:lnTo>
                      <a:pt x="666" y="1256"/>
                    </a:lnTo>
                    <a:lnTo>
                      <a:pt x="680" y="1225"/>
                    </a:lnTo>
                    <a:lnTo>
                      <a:pt x="687" y="1206"/>
                    </a:lnTo>
                    <a:lnTo>
                      <a:pt x="692" y="1182"/>
                    </a:lnTo>
                    <a:lnTo>
                      <a:pt x="694" y="1159"/>
                    </a:lnTo>
                    <a:lnTo>
                      <a:pt x="697" y="1133"/>
                    </a:lnTo>
                    <a:lnTo>
                      <a:pt x="697" y="1107"/>
                    </a:lnTo>
                    <a:lnTo>
                      <a:pt x="692" y="1081"/>
                    </a:lnTo>
                    <a:lnTo>
                      <a:pt x="685" y="1055"/>
                    </a:lnTo>
                    <a:lnTo>
                      <a:pt x="676" y="1029"/>
                    </a:lnTo>
                    <a:lnTo>
                      <a:pt x="668" y="1014"/>
                    </a:lnTo>
                    <a:lnTo>
                      <a:pt x="666" y="1010"/>
                    </a:lnTo>
                    <a:lnTo>
                      <a:pt x="650" y="976"/>
                    </a:lnTo>
                    <a:lnTo>
                      <a:pt x="628" y="932"/>
                    </a:lnTo>
                    <a:lnTo>
                      <a:pt x="628" y="927"/>
                    </a:lnTo>
                    <a:lnTo>
                      <a:pt x="640" y="896"/>
                    </a:lnTo>
                    <a:lnTo>
                      <a:pt x="640" y="891"/>
                    </a:lnTo>
                    <a:lnTo>
                      <a:pt x="635" y="870"/>
                    </a:lnTo>
                    <a:lnTo>
                      <a:pt x="631" y="858"/>
                    </a:lnTo>
                    <a:lnTo>
                      <a:pt x="621" y="842"/>
                    </a:lnTo>
                    <a:lnTo>
                      <a:pt x="621" y="839"/>
                    </a:lnTo>
                    <a:lnTo>
                      <a:pt x="635" y="818"/>
                    </a:lnTo>
                    <a:lnTo>
                      <a:pt x="642" y="802"/>
                    </a:lnTo>
                    <a:lnTo>
                      <a:pt x="650" y="780"/>
                    </a:lnTo>
                    <a:lnTo>
                      <a:pt x="652" y="759"/>
                    </a:lnTo>
                    <a:lnTo>
                      <a:pt x="652" y="733"/>
                    </a:lnTo>
                    <a:lnTo>
                      <a:pt x="652" y="716"/>
                    </a:lnTo>
                    <a:lnTo>
                      <a:pt x="647" y="709"/>
                    </a:lnTo>
                    <a:lnTo>
                      <a:pt x="647" y="702"/>
                    </a:lnTo>
                    <a:lnTo>
                      <a:pt x="650" y="697"/>
                    </a:lnTo>
                    <a:lnTo>
                      <a:pt x="666" y="690"/>
                    </a:lnTo>
                    <a:lnTo>
                      <a:pt x="671" y="681"/>
                    </a:lnTo>
                    <a:lnTo>
                      <a:pt x="668" y="662"/>
                    </a:lnTo>
                    <a:lnTo>
                      <a:pt x="671" y="655"/>
                    </a:lnTo>
                    <a:lnTo>
                      <a:pt x="678" y="653"/>
                    </a:lnTo>
                    <a:lnTo>
                      <a:pt x="683" y="650"/>
                    </a:lnTo>
                    <a:lnTo>
                      <a:pt x="687" y="641"/>
                    </a:lnTo>
                    <a:lnTo>
                      <a:pt x="692" y="638"/>
                    </a:lnTo>
                    <a:lnTo>
                      <a:pt x="702" y="641"/>
                    </a:lnTo>
                    <a:lnTo>
                      <a:pt x="711" y="629"/>
                    </a:lnTo>
                    <a:lnTo>
                      <a:pt x="723" y="603"/>
                    </a:lnTo>
                    <a:lnTo>
                      <a:pt x="732" y="589"/>
                    </a:lnTo>
                    <a:lnTo>
                      <a:pt x="739" y="584"/>
                    </a:lnTo>
                    <a:lnTo>
                      <a:pt x="739" y="586"/>
                    </a:lnTo>
                    <a:lnTo>
                      <a:pt x="737" y="596"/>
                    </a:lnTo>
                    <a:lnTo>
                      <a:pt x="735" y="603"/>
                    </a:lnTo>
                    <a:lnTo>
                      <a:pt x="739" y="612"/>
                    </a:lnTo>
                    <a:lnTo>
                      <a:pt x="737" y="619"/>
                    </a:lnTo>
                    <a:lnTo>
                      <a:pt x="735" y="631"/>
                    </a:lnTo>
                    <a:lnTo>
                      <a:pt x="739" y="636"/>
                    </a:lnTo>
                    <a:lnTo>
                      <a:pt x="735" y="655"/>
                    </a:lnTo>
                    <a:lnTo>
                      <a:pt x="735" y="664"/>
                    </a:lnTo>
                    <a:lnTo>
                      <a:pt x="739" y="671"/>
                    </a:lnTo>
                    <a:lnTo>
                      <a:pt x="744" y="667"/>
                    </a:lnTo>
                    <a:lnTo>
                      <a:pt x="746" y="655"/>
                    </a:lnTo>
                    <a:lnTo>
                      <a:pt x="749" y="648"/>
                    </a:lnTo>
                    <a:lnTo>
                      <a:pt x="746" y="648"/>
                    </a:lnTo>
                    <a:lnTo>
                      <a:pt x="746" y="643"/>
                    </a:lnTo>
                    <a:lnTo>
                      <a:pt x="749" y="634"/>
                    </a:lnTo>
                    <a:lnTo>
                      <a:pt x="751" y="629"/>
                    </a:lnTo>
                    <a:lnTo>
                      <a:pt x="754" y="629"/>
                    </a:lnTo>
                    <a:lnTo>
                      <a:pt x="756" y="634"/>
                    </a:lnTo>
                    <a:lnTo>
                      <a:pt x="756" y="643"/>
                    </a:lnTo>
                    <a:lnTo>
                      <a:pt x="751" y="667"/>
                    </a:lnTo>
                    <a:lnTo>
                      <a:pt x="749" y="674"/>
                    </a:lnTo>
                    <a:lnTo>
                      <a:pt x="751" y="676"/>
                    </a:lnTo>
                    <a:lnTo>
                      <a:pt x="758" y="660"/>
                    </a:lnTo>
                    <a:lnTo>
                      <a:pt x="765" y="636"/>
                    </a:lnTo>
                    <a:lnTo>
                      <a:pt x="770" y="617"/>
                    </a:lnTo>
                    <a:lnTo>
                      <a:pt x="770" y="608"/>
                    </a:lnTo>
                    <a:lnTo>
                      <a:pt x="765" y="584"/>
                    </a:lnTo>
                    <a:lnTo>
                      <a:pt x="763" y="575"/>
                    </a:lnTo>
                    <a:lnTo>
                      <a:pt x="765" y="567"/>
                    </a:lnTo>
                    <a:lnTo>
                      <a:pt x="772" y="558"/>
                    </a:lnTo>
                    <a:lnTo>
                      <a:pt x="787" y="546"/>
                    </a:lnTo>
                    <a:lnTo>
                      <a:pt x="798" y="541"/>
                    </a:lnTo>
                    <a:lnTo>
                      <a:pt x="813" y="539"/>
                    </a:lnTo>
                    <a:lnTo>
                      <a:pt x="822" y="534"/>
                    </a:lnTo>
                    <a:lnTo>
                      <a:pt x="827" y="530"/>
                    </a:lnTo>
                    <a:lnTo>
                      <a:pt x="824" y="527"/>
                    </a:lnTo>
                    <a:lnTo>
                      <a:pt x="815" y="525"/>
                    </a:lnTo>
                    <a:lnTo>
                      <a:pt x="808" y="520"/>
                    </a:lnTo>
                    <a:lnTo>
                      <a:pt x="801" y="513"/>
                    </a:lnTo>
                    <a:lnTo>
                      <a:pt x="798" y="504"/>
                    </a:lnTo>
                    <a:lnTo>
                      <a:pt x="798" y="492"/>
                    </a:lnTo>
                    <a:lnTo>
                      <a:pt x="803" y="480"/>
                    </a:lnTo>
                    <a:lnTo>
                      <a:pt x="813" y="468"/>
                    </a:lnTo>
                    <a:lnTo>
                      <a:pt x="815" y="461"/>
                    </a:lnTo>
                    <a:lnTo>
                      <a:pt x="810" y="456"/>
                    </a:lnTo>
                    <a:lnTo>
                      <a:pt x="815" y="454"/>
                    </a:lnTo>
                    <a:lnTo>
                      <a:pt x="827" y="454"/>
                    </a:lnTo>
                    <a:lnTo>
                      <a:pt x="836" y="452"/>
                    </a:lnTo>
                    <a:lnTo>
                      <a:pt x="841" y="447"/>
                    </a:lnTo>
                    <a:lnTo>
                      <a:pt x="843" y="447"/>
                    </a:lnTo>
                    <a:close/>
                    <a:moveTo>
                      <a:pt x="730" y="501"/>
                    </a:moveTo>
                    <a:lnTo>
                      <a:pt x="725" y="504"/>
                    </a:lnTo>
                    <a:lnTo>
                      <a:pt x="723" y="501"/>
                    </a:lnTo>
                    <a:lnTo>
                      <a:pt x="720" y="492"/>
                    </a:lnTo>
                    <a:lnTo>
                      <a:pt x="725" y="473"/>
                    </a:lnTo>
                    <a:lnTo>
                      <a:pt x="728" y="466"/>
                    </a:lnTo>
                    <a:lnTo>
                      <a:pt x="737" y="468"/>
                    </a:lnTo>
                    <a:lnTo>
                      <a:pt x="735" y="470"/>
                    </a:lnTo>
                    <a:lnTo>
                      <a:pt x="739" y="487"/>
                    </a:lnTo>
                    <a:lnTo>
                      <a:pt x="737" y="496"/>
                    </a:lnTo>
                    <a:lnTo>
                      <a:pt x="730" y="501"/>
                    </a:lnTo>
                    <a:close/>
                    <a:moveTo>
                      <a:pt x="680" y="615"/>
                    </a:moveTo>
                    <a:lnTo>
                      <a:pt x="678" y="617"/>
                    </a:lnTo>
                    <a:lnTo>
                      <a:pt x="673" y="617"/>
                    </a:lnTo>
                    <a:lnTo>
                      <a:pt x="671" y="615"/>
                    </a:lnTo>
                    <a:lnTo>
                      <a:pt x="666" y="605"/>
                    </a:lnTo>
                    <a:lnTo>
                      <a:pt x="668" y="603"/>
                    </a:lnTo>
                    <a:lnTo>
                      <a:pt x="676" y="605"/>
                    </a:lnTo>
                    <a:lnTo>
                      <a:pt x="678" y="608"/>
                    </a:lnTo>
                    <a:lnTo>
                      <a:pt x="680" y="615"/>
                    </a:lnTo>
                    <a:close/>
                  </a:path>
                </a:pathLst>
              </a:custGeom>
              <a:solidFill>
                <a:schemeClr val="accent1"/>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7" name="Freeform 65">
                <a:extLst>
                  <a:ext uri="{FF2B5EF4-FFF2-40B4-BE49-F238E27FC236}">
                    <a16:creationId xmlns:a16="http://schemas.microsoft.com/office/drawing/2014/main" id="{33F83751-8B9A-4D7A-3A53-07A448C44A61}"/>
                  </a:ext>
                </a:extLst>
              </p:cNvPr>
              <p:cNvSpPr>
                <a:spLocks noEditPoints="1"/>
              </p:cNvSpPr>
              <p:nvPr/>
            </p:nvSpPr>
            <p:spPr bwMode="auto">
              <a:xfrm>
                <a:off x="4536" y="-875"/>
                <a:ext cx="1090" cy="1249"/>
              </a:xfrm>
              <a:custGeom>
                <a:avLst/>
                <a:gdLst>
                  <a:gd name="T0" fmla="*/ 574 w 1090"/>
                  <a:gd name="T1" fmla="*/ 154 h 1249"/>
                  <a:gd name="T2" fmla="*/ 619 w 1090"/>
                  <a:gd name="T3" fmla="*/ 166 h 1249"/>
                  <a:gd name="T4" fmla="*/ 669 w 1090"/>
                  <a:gd name="T5" fmla="*/ 192 h 1249"/>
                  <a:gd name="T6" fmla="*/ 693 w 1090"/>
                  <a:gd name="T7" fmla="*/ 225 h 1249"/>
                  <a:gd name="T8" fmla="*/ 740 w 1090"/>
                  <a:gd name="T9" fmla="*/ 218 h 1249"/>
                  <a:gd name="T10" fmla="*/ 813 w 1090"/>
                  <a:gd name="T11" fmla="*/ 265 h 1249"/>
                  <a:gd name="T12" fmla="*/ 879 w 1090"/>
                  <a:gd name="T13" fmla="*/ 234 h 1249"/>
                  <a:gd name="T14" fmla="*/ 915 w 1090"/>
                  <a:gd name="T15" fmla="*/ 246 h 1249"/>
                  <a:gd name="T16" fmla="*/ 983 w 1090"/>
                  <a:gd name="T17" fmla="*/ 248 h 1249"/>
                  <a:gd name="T18" fmla="*/ 1031 w 1090"/>
                  <a:gd name="T19" fmla="*/ 263 h 1249"/>
                  <a:gd name="T20" fmla="*/ 1090 w 1090"/>
                  <a:gd name="T21" fmla="*/ 263 h 1249"/>
                  <a:gd name="T22" fmla="*/ 1078 w 1090"/>
                  <a:gd name="T23" fmla="*/ 267 h 1249"/>
                  <a:gd name="T24" fmla="*/ 1033 w 1090"/>
                  <a:gd name="T25" fmla="*/ 300 h 1249"/>
                  <a:gd name="T26" fmla="*/ 915 w 1090"/>
                  <a:gd name="T27" fmla="*/ 362 h 1249"/>
                  <a:gd name="T28" fmla="*/ 804 w 1090"/>
                  <a:gd name="T29" fmla="*/ 480 h 1249"/>
                  <a:gd name="T30" fmla="*/ 740 w 1090"/>
                  <a:gd name="T31" fmla="*/ 546 h 1249"/>
                  <a:gd name="T32" fmla="*/ 723 w 1090"/>
                  <a:gd name="T33" fmla="*/ 565 h 1249"/>
                  <a:gd name="T34" fmla="*/ 716 w 1090"/>
                  <a:gd name="T35" fmla="*/ 629 h 1249"/>
                  <a:gd name="T36" fmla="*/ 714 w 1090"/>
                  <a:gd name="T37" fmla="*/ 693 h 1249"/>
                  <a:gd name="T38" fmla="*/ 662 w 1090"/>
                  <a:gd name="T39" fmla="*/ 731 h 1249"/>
                  <a:gd name="T40" fmla="*/ 636 w 1090"/>
                  <a:gd name="T41" fmla="*/ 773 h 1249"/>
                  <a:gd name="T42" fmla="*/ 655 w 1090"/>
                  <a:gd name="T43" fmla="*/ 806 h 1249"/>
                  <a:gd name="T44" fmla="*/ 667 w 1090"/>
                  <a:gd name="T45" fmla="*/ 842 h 1249"/>
                  <a:gd name="T46" fmla="*/ 657 w 1090"/>
                  <a:gd name="T47" fmla="*/ 899 h 1249"/>
                  <a:gd name="T48" fmla="*/ 657 w 1090"/>
                  <a:gd name="T49" fmla="*/ 936 h 1249"/>
                  <a:gd name="T50" fmla="*/ 660 w 1090"/>
                  <a:gd name="T51" fmla="*/ 979 h 1249"/>
                  <a:gd name="T52" fmla="*/ 695 w 1090"/>
                  <a:gd name="T53" fmla="*/ 1005 h 1249"/>
                  <a:gd name="T54" fmla="*/ 730 w 1090"/>
                  <a:gd name="T55" fmla="*/ 1026 h 1249"/>
                  <a:gd name="T56" fmla="*/ 771 w 1090"/>
                  <a:gd name="T57" fmla="*/ 1045 h 1249"/>
                  <a:gd name="T58" fmla="*/ 823 w 1090"/>
                  <a:gd name="T59" fmla="*/ 1100 h 1249"/>
                  <a:gd name="T60" fmla="*/ 886 w 1090"/>
                  <a:gd name="T61" fmla="*/ 1137 h 1249"/>
                  <a:gd name="T62" fmla="*/ 851 w 1090"/>
                  <a:gd name="T63" fmla="*/ 1232 h 1249"/>
                  <a:gd name="T64" fmla="*/ 702 w 1090"/>
                  <a:gd name="T65" fmla="*/ 1239 h 1249"/>
                  <a:gd name="T66" fmla="*/ 553 w 1090"/>
                  <a:gd name="T67" fmla="*/ 1244 h 1249"/>
                  <a:gd name="T68" fmla="*/ 402 w 1090"/>
                  <a:gd name="T69" fmla="*/ 1246 h 1249"/>
                  <a:gd name="T70" fmla="*/ 253 w 1090"/>
                  <a:gd name="T71" fmla="*/ 1249 h 1249"/>
                  <a:gd name="T72" fmla="*/ 102 w 1090"/>
                  <a:gd name="T73" fmla="*/ 1249 h 1249"/>
                  <a:gd name="T74" fmla="*/ 104 w 1090"/>
                  <a:gd name="T75" fmla="*/ 1107 h 1249"/>
                  <a:gd name="T76" fmla="*/ 104 w 1090"/>
                  <a:gd name="T77" fmla="*/ 962 h 1249"/>
                  <a:gd name="T78" fmla="*/ 92 w 1090"/>
                  <a:gd name="T79" fmla="*/ 854 h 1249"/>
                  <a:gd name="T80" fmla="*/ 52 w 1090"/>
                  <a:gd name="T81" fmla="*/ 814 h 1249"/>
                  <a:gd name="T82" fmla="*/ 52 w 1090"/>
                  <a:gd name="T83" fmla="*/ 792 h 1249"/>
                  <a:gd name="T84" fmla="*/ 85 w 1090"/>
                  <a:gd name="T85" fmla="*/ 752 h 1249"/>
                  <a:gd name="T86" fmla="*/ 90 w 1090"/>
                  <a:gd name="T87" fmla="*/ 691 h 1249"/>
                  <a:gd name="T88" fmla="*/ 83 w 1090"/>
                  <a:gd name="T89" fmla="*/ 650 h 1249"/>
                  <a:gd name="T90" fmla="*/ 57 w 1090"/>
                  <a:gd name="T91" fmla="*/ 582 h 1249"/>
                  <a:gd name="T92" fmla="*/ 62 w 1090"/>
                  <a:gd name="T93" fmla="*/ 523 h 1249"/>
                  <a:gd name="T94" fmla="*/ 50 w 1090"/>
                  <a:gd name="T95" fmla="*/ 428 h 1249"/>
                  <a:gd name="T96" fmla="*/ 36 w 1090"/>
                  <a:gd name="T97" fmla="*/ 345 h 1249"/>
                  <a:gd name="T98" fmla="*/ 28 w 1090"/>
                  <a:gd name="T99" fmla="*/ 310 h 1249"/>
                  <a:gd name="T100" fmla="*/ 12 w 1090"/>
                  <a:gd name="T101" fmla="*/ 232 h 1249"/>
                  <a:gd name="T102" fmla="*/ 10 w 1090"/>
                  <a:gd name="T103" fmla="*/ 180 h 1249"/>
                  <a:gd name="T104" fmla="*/ 0 w 1090"/>
                  <a:gd name="T105" fmla="*/ 81 h 1249"/>
                  <a:gd name="T106" fmla="*/ 137 w 1090"/>
                  <a:gd name="T107" fmla="*/ 83 h 1249"/>
                  <a:gd name="T108" fmla="*/ 291 w 1090"/>
                  <a:gd name="T109" fmla="*/ 83 h 1249"/>
                  <a:gd name="T110" fmla="*/ 322 w 1090"/>
                  <a:gd name="T111" fmla="*/ 5 h 1249"/>
                  <a:gd name="T112" fmla="*/ 331 w 1090"/>
                  <a:gd name="T113" fmla="*/ 24 h 1249"/>
                  <a:gd name="T114" fmla="*/ 355 w 1090"/>
                  <a:gd name="T115" fmla="*/ 109 h 1249"/>
                  <a:gd name="T116" fmla="*/ 359 w 1090"/>
                  <a:gd name="T117" fmla="*/ 128 h 1249"/>
                  <a:gd name="T118" fmla="*/ 447 w 1090"/>
                  <a:gd name="T119" fmla="*/ 151 h 1249"/>
                  <a:gd name="T120" fmla="*/ 496 w 1090"/>
                  <a:gd name="T121" fmla="*/ 177 h 1249"/>
                  <a:gd name="T122" fmla="*/ 544 w 1090"/>
                  <a:gd name="T123" fmla="*/ 156 h 1249"/>
                  <a:gd name="T124" fmla="*/ 544 w 1090"/>
                  <a:gd name="T125" fmla="*/ 156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0" h="1249">
                    <a:moveTo>
                      <a:pt x="544" y="156"/>
                    </a:moveTo>
                    <a:lnTo>
                      <a:pt x="560" y="154"/>
                    </a:lnTo>
                    <a:lnTo>
                      <a:pt x="574" y="154"/>
                    </a:lnTo>
                    <a:lnTo>
                      <a:pt x="589" y="156"/>
                    </a:lnTo>
                    <a:lnTo>
                      <a:pt x="598" y="156"/>
                    </a:lnTo>
                    <a:lnTo>
                      <a:pt x="619" y="166"/>
                    </a:lnTo>
                    <a:lnTo>
                      <a:pt x="636" y="173"/>
                    </a:lnTo>
                    <a:lnTo>
                      <a:pt x="657" y="187"/>
                    </a:lnTo>
                    <a:lnTo>
                      <a:pt x="669" y="192"/>
                    </a:lnTo>
                    <a:lnTo>
                      <a:pt x="676" y="206"/>
                    </a:lnTo>
                    <a:lnTo>
                      <a:pt x="683" y="225"/>
                    </a:lnTo>
                    <a:lnTo>
                      <a:pt x="693" y="225"/>
                    </a:lnTo>
                    <a:lnTo>
                      <a:pt x="700" y="213"/>
                    </a:lnTo>
                    <a:lnTo>
                      <a:pt x="716" y="211"/>
                    </a:lnTo>
                    <a:lnTo>
                      <a:pt x="740" y="218"/>
                    </a:lnTo>
                    <a:lnTo>
                      <a:pt x="764" y="239"/>
                    </a:lnTo>
                    <a:lnTo>
                      <a:pt x="794" y="258"/>
                    </a:lnTo>
                    <a:lnTo>
                      <a:pt x="813" y="265"/>
                    </a:lnTo>
                    <a:lnTo>
                      <a:pt x="832" y="265"/>
                    </a:lnTo>
                    <a:lnTo>
                      <a:pt x="856" y="253"/>
                    </a:lnTo>
                    <a:lnTo>
                      <a:pt x="879" y="234"/>
                    </a:lnTo>
                    <a:lnTo>
                      <a:pt x="896" y="230"/>
                    </a:lnTo>
                    <a:lnTo>
                      <a:pt x="908" y="230"/>
                    </a:lnTo>
                    <a:lnTo>
                      <a:pt x="915" y="246"/>
                    </a:lnTo>
                    <a:lnTo>
                      <a:pt x="922" y="251"/>
                    </a:lnTo>
                    <a:lnTo>
                      <a:pt x="941" y="248"/>
                    </a:lnTo>
                    <a:lnTo>
                      <a:pt x="983" y="248"/>
                    </a:lnTo>
                    <a:lnTo>
                      <a:pt x="1014" y="241"/>
                    </a:lnTo>
                    <a:lnTo>
                      <a:pt x="1024" y="251"/>
                    </a:lnTo>
                    <a:lnTo>
                      <a:pt x="1031" y="263"/>
                    </a:lnTo>
                    <a:lnTo>
                      <a:pt x="1045" y="265"/>
                    </a:lnTo>
                    <a:lnTo>
                      <a:pt x="1061" y="260"/>
                    </a:lnTo>
                    <a:lnTo>
                      <a:pt x="1090" y="263"/>
                    </a:lnTo>
                    <a:lnTo>
                      <a:pt x="1087" y="265"/>
                    </a:lnTo>
                    <a:lnTo>
                      <a:pt x="1083" y="263"/>
                    </a:lnTo>
                    <a:lnTo>
                      <a:pt x="1078" y="267"/>
                    </a:lnTo>
                    <a:lnTo>
                      <a:pt x="1071" y="274"/>
                    </a:lnTo>
                    <a:lnTo>
                      <a:pt x="1057" y="286"/>
                    </a:lnTo>
                    <a:lnTo>
                      <a:pt x="1033" y="300"/>
                    </a:lnTo>
                    <a:lnTo>
                      <a:pt x="1005" y="312"/>
                    </a:lnTo>
                    <a:lnTo>
                      <a:pt x="948" y="338"/>
                    </a:lnTo>
                    <a:lnTo>
                      <a:pt x="915" y="362"/>
                    </a:lnTo>
                    <a:lnTo>
                      <a:pt x="898" y="376"/>
                    </a:lnTo>
                    <a:lnTo>
                      <a:pt x="842" y="445"/>
                    </a:lnTo>
                    <a:lnTo>
                      <a:pt x="804" y="480"/>
                    </a:lnTo>
                    <a:lnTo>
                      <a:pt x="747" y="532"/>
                    </a:lnTo>
                    <a:lnTo>
                      <a:pt x="740" y="539"/>
                    </a:lnTo>
                    <a:lnTo>
                      <a:pt x="740" y="546"/>
                    </a:lnTo>
                    <a:lnTo>
                      <a:pt x="738" y="546"/>
                    </a:lnTo>
                    <a:lnTo>
                      <a:pt x="728" y="558"/>
                    </a:lnTo>
                    <a:lnTo>
                      <a:pt x="723" y="565"/>
                    </a:lnTo>
                    <a:lnTo>
                      <a:pt x="714" y="568"/>
                    </a:lnTo>
                    <a:lnTo>
                      <a:pt x="716" y="598"/>
                    </a:lnTo>
                    <a:lnTo>
                      <a:pt x="716" y="629"/>
                    </a:lnTo>
                    <a:lnTo>
                      <a:pt x="719" y="660"/>
                    </a:lnTo>
                    <a:lnTo>
                      <a:pt x="719" y="691"/>
                    </a:lnTo>
                    <a:lnTo>
                      <a:pt x="714" y="693"/>
                    </a:lnTo>
                    <a:lnTo>
                      <a:pt x="709" y="700"/>
                    </a:lnTo>
                    <a:lnTo>
                      <a:pt x="700" y="702"/>
                    </a:lnTo>
                    <a:lnTo>
                      <a:pt x="662" y="731"/>
                    </a:lnTo>
                    <a:lnTo>
                      <a:pt x="655" y="738"/>
                    </a:lnTo>
                    <a:lnTo>
                      <a:pt x="648" y="754"/>
                    </a:lnTo>
                    <a:lnTo>
                      <a:pt x="636" y="773"/>
                    </a:lnTo>
                    <a:lnTo>
                      <a:pt x="634" y="783"/>
                    </a:lnTo>
                    <a:lnTo>
                      <a:pt x="634" y="797"/>
                    </a:lnTo>
                    <a:lnTo>
                      <a:pt x="655" y="806"/>
                    </a:lnTo>
                    <a:lnTo>
                      <a:pt x="662" y="818"/>
                    </a:lnTo>
                    <a:lnTo>
                      <a:pt x="667" y="830"/>
                    </a:lnTo>
                    <a:lnTo>
                      <a:pt x="667" y="842"/>
                    </a:lnTo>
                    <a:lnTo>
                      <a:pt x="657" y="863"/>
                    </a:lnTo>
                    <a:lnTo>
                      <a:pt x="655" y="873"/>
                    </a:lnTo>
                    <a:lnTo>
                      <a:pt x="657" y="899"/>
                    </a:lnTo>
                    <a:lnTo>
                      <a:pt x="652" y="908"/>
                    </a:lnTo>
                    <a:lnTo>
                      <a:pt x="657" y="929"/>
                    </a:lnTo>
                    <a:lnTo>
                      <a:pt x="657" y="936"/>
                    </a:lnTo>
                    <a:lnTo>
                      <a:pt x="655" y="960"/>
                    </a:lnTo>
                    <a:lnTo>
                      <a:pt x="655" y="967"/>
                    </a:lnTo>
                    <a:lnTo>
                      <a:pt x="660" y="979"/>
                    </a:lnTo>
                    <a:lnTo>
                      <a:pt x="660" y="981"/>
                    </a:lnTo>
                    <a:lnTo>
                      <a:pt x="678" y="998"/>
                    </a:lnTo>
                    <a:lnTo>
                      <a:pt x="695" y="1005"/>
                    </a:lnTo>
                    <a:lnTo>
                      <a:pt x="709" y="1007"/>
                    </a:lnTo>
                    <a:lnTo>
                      <a:pt x="721" y="1015"/>
                    </a:lnTo>
                    <a:lnTo>
                      <a:pt x="730" y="1026"/>
                    </a:lnTo>
                    <a:lnTo>
                      <a:pt x="740" y="1033"/>
                    </a:lnTo>
                    <a:lnTo>
                      <a:pt x="754" y="1036"/>
                    </a:lnTo>
                    <a:lnTo>
                      <a:pt x="771" y="1045"/>
                    </a:lnTo>
                    <a:lnTo>
                      <a:pt x="792" y="1069"/>
                    </a:lnTo>
                    <a:lnTo>
                      <a:pt x="804" y="1088"/>
                    </a:lnTo>
                    <a:lnTo>
                      <a:pt x="823" y="1100"/>
                    </a:lnTo>
                    <a:lnTo>
                      <a:pt x="856" y="1114"/>
                    </a:lnTo>
                    <a:lnTo>
                      <a:pt x="875" y="1128"/>
                    </a:lnTo>
                    <a:lnTo>
                      <a:pt x="886" y="1137"/>
                    </a:lnTo>
                    <a:lnTo>
                      <a:pt x="894" y="1166"/>
                    </a:lnTo>
                    <a:lnTo>
                      <a:pt x="903" y="1230"/>
                    </a:lnTo>
                    <a:lnTo>
                      <a:pt x="851" y="1232"/>
                    </a:lnTo>
                    <a:lnTo>
                      <a:pt x="801" y="1234"/>
                    </a:lnTo>
                    <a:lnTo>
                      <a:pt x="752" y="1237"/>
                    </a:lnTo>
                    <a:lnTo>
                      <a:pt x="702" y="1239"/>
                    </a:lnTo>
                    <a:lnTo>
                      <a:pt x="652" y="1239"/>
                    </a:lnTo>
                    <a:lnTo>
                      <a:pt x="603" y="1242"/>
                    </a:lnTo>
                    <a:lnTo>
                      <a:pt x="553" y="1244"/>
                    </a:lnTo>
                    <a:lnTo>
                      <a:pt x="501" y="1244"/>
                    </a:lnTo>
                    <a:lnTo>
                      <a:pt x="452" y="1246"/>
                    </a:lnTo>
                    <a:lnTo>
                      <a:pt x="402" y="1246"/>
                    </a:lnTo>
                    <a:lnTo>
                      <a:pt x="352" y="1246"/>
                    </a:lnTo>
                    <a:lnTo>
                      <a:pt x="303" y="1249"/>
                    </a:lnTo>
                    <a:lnTo>
                      <a:pt x="253" y="1249"/>
                    </a:lnTo>
                    <a:lnTo>
                      <a:pt x="203" y="1249"/>
                    </a:lnTo>
                    <a:lnTo>
                      <a:pt x="154" y="1249"/>
                    </a:lnTo>
                    <a:lnTo>
                      <a:pt x="102" y="1249"/>
                    </a:lnTo>
                    <a:lnTo>
                      <a:pt x="104" y="1201"/>
                    </a:lnTo>
                    <a:lnTo>
                      <a:pt x="104" y="1154"/>
                    </a:lnTo>
                    <a:lnTo>
                      <a:pt x="104" y="1107"/>
                    </a:lnTo>
                    <a:lnTo>
                      <a:pt x="104" y="1059"/>
                    </a:lnTo>
                    <a:lnTo>
                      <a:pt x="104" y="1010"/>
                    </a:lnTo>
                    <a:lnTo>
                      <a:pt x="104" y="962"/>
                    </a:lnTo>
                    <a:lnTo>
                      <a:pt x="104" y="915"/>
                    </a:lnTo>
                    <a:lnTo>
                      <a:pt x="104" y="868"/>
                    </a:lnTo>
                    <a:lnTo>
                      <a:pt x="92" y="854"/>
                    </a:lnTo>
                    <a:lnTo>
                      <a:pt x="69" y="840"/>
                    </a:lnTo>
                    <a:lnTo>
                      <a:pt x="62" y="832"/>
                    </a:lnTo>
                    <a:lnTo>
                      <a:pt x="52" y="814"/>
                    </a:lnTo>
                    <a:lnTo>
                      <a:pt x="47" y="804"/>
                    </a:lnTo>
                    <a:lnTo>
                      <a:pt x="45" y="799"/>
                    </a:lnTo>
                    <a:lnTo>
                      <a:pt x="52" y="792"/>
                    </a:lnTo>
                    <a:lnTo>
                      <a:pt x="73" y="771"/>
                    </a:lnTo>
                    <a:lnTo>
                      <a:pt x="80" y="762"/>
                    </a:lnTo>
                    <a:lnTo>
                      <a:pt x="85" y="752"/>
                    </a:lnTo>
                    <a:lnTo>
                      <a:pt x="90" y="731"/>
                    </a:lnTo>
                    <a:lnTo>
                      <a:pt x="88" y="714"/>
                    </a:lnTo>
                    <a:lnTo>
                      <a:pt x="90" y="691"/>
                    </a:lnTo>
                    <a:lnTo>
                      <a:pt x="85" y="672"/>
                    </a:lnTo>
                    <a:lnTo>
                      <a:pt x="85" y="662"/>
                    </a:lnTo>
                    <a:lnTo>
                      <a:pt x="83" y="650"/>
                    </a:lnTo>
                    <a:lnTo>
                      <a:pt x="66" y="620"/>
                    </a:lnTo>
                    <a:lnTo>
                      <a:pt x="62" y="594"/>
                    </a:lnTo>
                    <a:lnTo>
                      <a:pt x="57" y="582"/>
                    </a:lnTo>
                    <a:lnTo>
                      <a:pt x="57" y="549"/>
                    </a:lnTo>
                    <a:lnTo>
                      <a:pt x="57" y="542"/>
                    </a:lnTo>
                    <a:lnTo>
                      <a:pt x="62" y="523"/>
                    </a:lnTo>
                    <a:lnTo>
                      <a:pt x="54" y="513"/>
                    </a:lnTo>
                    <a:lnTo>
                      <a:pt x="52" y="504"/>
                    </a:lnTo>
                    <a:lnTo>
                      <a:pt x="50" y="428"/>
                    </a:lnTo>
                    <a:lnTo>
                      <a:pt x="47" y="416"/>
                    </a:lnTo>
                    <a:lnTo>
                      <a:pt x="50" y="381"/>
                    </a:lnTo>
                    <a:lnTo>
                      <a:pt x="36" y="345"/>
                    </a:lnTo>
                    <a:lnTo>
                      <a:pt x="31" y="331"/>
                    </a:lnTo>
                    <a:lnTo>
                      <a:pt x="28" y="317"/>
                    </a:lnTo>
                    <a:lnTo>
                      <a:pt x="28" y="310"/>
                    </a:lnTo>
                    <a:lnTo>
                      <a:pt x="19" y="284"/>
                    </a:lnTo>
                    <a:lnTo>
                      <a:pt x="12" y="256"/>
                    </a:lnTo>
                    <a:lnTo>
                      <a:pt x="12" y="232"/>
                    </a:lnTo>
                    <a:lnTo>
                      <a:pt x="12" y="215"/>
                    </a:lnTo>
                    <a:lnTo>
                      <a:pt x="12" y="201"/>
                    </a:lnTo>
                    <a:lnTo>
                      <a:pt x="10" y="180"/>
                    </a:lnTo>
                    <a:lnTo>
                      <a:pt x="12" y="166"/>
                    </a:lnTo>
                    <a:lnTo>
                      <a:pt x="12" y="149"/>
                    </a:lnTo>
                    <a:lnTo>
                      <a:pt x="0" y="81"/>
                    </a:lnTo>
                    <a:lnTo>
                      <a:pt x="17" y="81"/>
                    </a:lnTo>
                    <a:lnTo>
                      <a:pt x="78" y="83"/>
                    </a:lnTo>
                    <a:lnTo>
                      <a:pt x="137" y="83"/>
                    </a:lnTo>
                    <a:lnTo>
                      <a:pt x="196" y="83"/>
                    </a:lnTo>
                    <a:lnTo>
                      <a:pt x="258" y="83"/>
                    </a:lnTo>
                    <a:lnTo>
                      <a:pt x="291" y="83"/>
                    </a:lnTo>
                    <a:lnTo>
                      <a:pt x="291" y="36"/>
                    </a:lnTo>
                    <a:lnTo>
                      <a:pt x="291" y="0"/>
                    </a:lnTo>
                    <a:lnTo>
                      <a:pt x="322" y="5"/>
                    </a:lnTo>
                    <a:lnTo>
                      <a:pt x="331" y="12"/>
                    </a:lnTo>
                    <a:lnTo>
                      <a:pt x="333" y="14"/>
                    </a:lnTo>
                    <a:lnTo>
                      <a:pt x="331" y="24"/>
                    </a:lnTo>
                    <a:lnTo>
                      <a:pt x="336" y="55"/>
                    </a:lnTo>
                    <a:lnTo>
                      <a:pt x="340" y="78"/>
                    </a:lnTo>
                    <a:lnTo>
                      <a:pt x="355" y="109"/>
                    </a:lnTo>
                    <a:lnTo>
                      <a:pt x="355" y="109"/>
                    </a:lnTo>
                    <a:lnTo>
                      <a:pt x="355" y="121"/>
                    </a:lnTo>
                    <a:lnTo>
                      <a:pt x="359" y="128"/>
                    </a:lnTo>
                    <a:lnTo>
                      <a:pt x="366" y="135"/>
                    </a:lnTo>
                    <a:lnTo>
                      <a:pt x="397" y="142"/>
                    </a:lnTo>
                    <a:lnTo>
                      <a:pt x="447" y="151"/>
                    </a:lnTo>
                    <a:lnTo>
                      <a:pt x="478" y="161"/>
                    </a:lnTo>
                    <a:lnTo>
                      <a:pt x="485" y="173"/>
                    </a:lnTo>
                    <a:lnTo>
                      <a:pt x="496" y="177"/>
                    </a:lnTo>
                    <a:lnTo>
                      <a:pt x="518" y="175"/>
                    </a:lnTo>
                    <a:lnTo>
                      <a:pt x="532" y="170"/>
                    </a:lnTo>
                    <a:lnTo>
                      <a:pt x="544" y="156"/>
                    </a:lnTo>
                    <a:close/>
                    <a:moveTo>
                      <a:pt x="544" y="156"/>
                    </a:moveTo>
                    <a:lnTo>
                      <a:pt x="544" y="159"/>
                    </a:lnTo>
                    <a:lnTo>
                      <a:pt x="544" y="156"/>
                    </a:lnTo>
                    <a:lnTo>
                      <a:pt x="544" y="15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8" name="Freeform 66">
                <a:extLst>
                  <a:ext uri="{FF2B5EF4-FFF2-40B4-BE49-F238E27FC236}">
                    <a16:creationId xmlns:a16="http://schemas.microsoft.com/office/drawing/2014/main" id="{13DD0803-547B-6C4A-84BE-6C6BFC413B6F}"/>
                  </a:ext>
                </a:extLst>
              </p:cNvPr>
              <p:cNvSpPr>
                <a:spLocks/>
              </p:cNvSpPr>
              <p:nvPr/>
            </p:nvSpPr>
            <p:spPr bwMode="auto">
              <a:xfrm>
                <a:off x="4746" y="962"/>
                <a:ext cx="1123" cy="960"/>
              </a:xfrm>
              <a:custGeom>
                <a:avLst/>
                <a:gdLst>
                  <a:gd name="T0" fmla="*/ 688 w 1123"/>
                  <a:gd name="T1" fmla="*/ 109 h 960"/>
                  <a:gd name="T2" fmla="*/ 712 w 1123"/>
                  <a:gd name="T3" fmla="*/ 182 h 960"/>
                  <a:gd name="T4" fmla="*/ 823 w 1123"/>
                  <a:gd name="T5" fmla="*/ 296 h 960"/>
                  <a:gd name="T6" fmla="*/ 868 w 1123"/>
                  <a:gd name="T7" fmla="*/ 341 h 960"/>
                  <a:gd name="T8" fmla="*/ 922 w 1123"/>
                  <a:gd name="T9" fmla="*/ 357 h 960"/>
                  <a:gd name="T10" fmla="*/ 927 w 1123"/>
                  <a:gd name="T11" fmla="*/ 364 h 960"/>
                  <a:gd name="T12" fmla="*/ 894 w 1123"/>
                  <a:gd name="T13" fmla="*/ 476 h 960"/>
                  <a:gd name="T14" fmla="*/ 929 w 1123"/>
                  <a:gd name="T15" fmla="*/ 523 h 960"/>
                  <a:gd name="T16" fmla="*/ 991 w 1123"/>
                  <a:gd name="T17" fmla="*/ 558 h 960"/>
                  <a:gd name="T18" fmla="*/ 1045 w 1123"/>
                  <a:gd name="T19" fmla="*/ 620 h 960"/>
                  <a:gd name="T20" fmla="*/ 1057 w 1123"/>
                  <a:gd name="T21" fmla="*/ 662 h 960"/>
                  <a:gd name="T22" fmla="*/ 1069 w 1123"/>
                  <a:gd name="T23" fmla="*/ 717 h 960"/>
                  <a:gd name="T24" fmla="*/ 1093 w 1123"/>
                  <a:gd name="T25" fmla="*/ 733 h 960"/>
                  <a:gd name="T26" fmla="*/ 1090 w 1123"/>
                  <a:gd name="T27" fmla="*/ 726 h 960"/>
                  <a:gd name="T28" fmla="*/ 1095 w 1123"/>
                  <a:gd name="T29" fmla="*/ 719 h 960"/>
                  <a:gd name="T30" fmla="*/ 1121 w 1123"/>
                  <a:gd name="T31" fmla="*/ 752 h 960"/>
                  <a:gd name="T32" fmla="*/ 1114 w 1123"/>
                  <a:gd name="T33" fmla="*/ 814 h 960"/>
                  <a:gd name="T34" fmla="*/ 1093 w 1123"/>
                  <a:gd name="T35" fmla="*/ 818 h 960"/>
                  <a:gd name="T36" fmla="*/ 1074 w 1123"/>
                  <a:gd name="T37" fmla="*/ 844 h 960"/>
                  <a:gd name="T38" fmla="*/ 1067 w 1123"/>
                  <a:gd name="T39" fmla="*/ 844 h 960"/>
                  <a:gd name="T40" fmla="*/ 1059 w 1123"/>
                  <a:gd name="T41" fmla="*/ 833 h 960"/>
                  <a:gd name="T42" fmla="*/ 1055 w 1123"/>
                  <a:gd name="T43" fmla="*/ 837 h 960"/>
                  <a:gd name="T44" fmla="*/ 1059 w 1123"/>
                  <a:gd name="T45" fmla="*/ 861 h 960"/>
                  <a:gd name="T46" fmla="*/ 1048 w 1123"/>
                  <a:gd name="T47" fmla="*/ 882 h 960"/>
                  <a:gd name="T48" fmla="*/ 1052 w 1123"/>
                  <a:gd name="T49" fmla="*/ 897 h 960"/>
                  <a:gd name="T50" fmla="*/ 1038 w 1123"/>
                  <a:gd name="T51" fmla="*/ 906 h 960"/>
                  <a:gd name="T52" fmla="*/ 1038 w 1123"/>
                  <a:gd name="T53" fmla="*/ 946 h 960"/>
                  <a:gd name="T54" fmla="*/ 979 w 1123"/>
                  <a:gd name="T55" fmla="*/ 956 h 960"/>
                  <a:gd name="T56" fmla="*/ 934 w 1123"/>
                  <a:gd name="T57" fmla="*/ 937 h 960"/>
                  <a:gd name="T58" fmla="*/ 958 w 1123"/>
                  <a:gd name="T59" fmla="*/ 911 h 960"/>
                  <a:gd name="T60" fmla="*/ 970 w 1123"/>
                  <a:gd name="T61" fmla="*/ 878 h 960"/>
                  <a:gd name="T62" fmla="*/ 906 w 1123"/>
                  <a:gd name="T63" fmla="*/ 854 h 960"/>
                  <a:gd name="T64" fmla="*/ 764 w 1123"/>
                  <a:gd name="T65" fmla="*/ 863 h 960"/>
                  <a:gd name="T66" fmla="*/ 622 w 1123"/>
                  <a:gd name="T67" fmla="*/ 870 h 960"/>
                  <a:gd name="T68" fmla="*/ 480 w 1123"/>
                  <a:gd name="T69" fmla="*/ 875 h 960"/>
                  <a:gd name="T70" fmla="*/ 338 w 1123"/>
                  <a:gd name="T71" fmla="*/ 880 h 960"/>
                  <a:gd name="T72" fmla="*/ 197 w 1123"/>
                  <a:gd name="T73" fmla="*/ 882 h 960"/>
                  <a:gd name="T74" fmla="*/ 197 w 1123"/>
                  <a:gd name="T75" fmla="*/ 802 h 960"/>
                  <a:gd name="T76" fmla="*/ 194 w 1123"/>
                  <a:gd name="T77" fmla="*/ 722 h 960"/>
                  <a:gd name="T78" fmla="*/ 192 w 1123"/>
                  <a:gd name="T79" fmla="*/ 639 h 960"/>
                  <a:gd name="T80" fmla="*/ 192 w 1123"/>
                  <a:gd name="T81" fmla="*/ 558 h 960"/>
                  <a:gd name="T82" fmla="*/ 190 w 1123"/>
                  <a:gd name="T83" fmla="*/ 476 h 960"/>
                  <a:gd name="T84" fmla="*/ 190 w 1123"/>
                  <a:gd name="T85" fmla="*/ 393 h 960"/>
                  <a:gd name="T86" fmla="*/ 187 w 1123"/>
                  <a:gd name="T87" fmla="*/ 331 h 960"/>
                  <a:gd name="T88" fmla="*/ 145 w 1123"/>
                  <a:gd name="T89" fmla="*/ 284 h 960"/>
                  <a:gd name="T90" fmla="*/ 112 w 1123"/>
                  <a:gd name="T91" fmla="*/ 232 h 960"/>
                  <a:gd name="T92" fmla="*/ 140 w 1123"/>
                  <a:gd name="T93" fmla="*/ 201 h 960"/>
                  <a:gd name="T94" fmla="*/ 126 w 1123"/>
                  <a:gd name="T95" fmla="*/ 171 h 960"/>
                  <a:gd name="T96" fmla="*/ 67 w 1123"/>
                  <a:gd name="T97" fmla="*/ 147 h 960"/>
                  <a:gd name="T98" fmla="*/ 48 w 1123"/>
                  <a:gd name="T99" fmla="*/ 107 h 960"/>
                  <a:gd name="T100" fmla="*/ 17 w 1123"/>
                  <a:gd name="T101" fmla="*/ 71 h 960"/>
                  <a:gd name="T102" fmla="*/ 0 w 1123"/>
                  <a:gd name="T103" fmla="*/ 22 h 960"/>
                  <a:gd name="T104" fmla="*/ 121 w 1123"/>
                  <a:gd name="T105" fmla="*/ 19 h 960"/>
                  <a:gd name="T106" fmla="*/ 242 w 1123"/>
                  <a:gd name="T107" fmla="*/ 17 h 960"/>
                  <a:gd name="T108" fmla="*/ 362 w 1123"/>
                  <a:gd name="T109" fmla="*/ 12 h 960"/>
                  <a:gd name="T110" fmla="*/ 485 w 1123"/>
                  <a:gd name="T111" fmla="*/ 7 h 960"/>
                  <a:gd name="T112" fmla="*/ 606 w 1123"/>
                  <a:gd name="T113" fmla="*/ 3 h 960"/>
                  <a:gd name="T114" fmla="*/ 662 w 1123"/>
                  <a:gd name="T115" fmla="*/ 19 h 960"/>
                  <a:gd name="T116" fmla="*/ 679 w 1123"/>
                  <a:gd name="T117" fmla="*/ 41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3" h="960">
                    <a:moveTo>
                      <a:pt x="695" y="50"/>
                    </a:moveTo>
                    <a:lnTo>
                      <a:pt x="686" y="83"/>
                    </a:lnTo>
                    <a:lnTo>
                      <a:pt x="688" y="109"/>
                    </a:lnTo>
                    <a:lnTo>
                      <a:pt x="695" y="142"/>
                    </a:lnTo>
                    <a:lnTo>
                      <a:pt x="702" y="166"/>
                    </a:lnTo>
                    <a:lnTo>
                      <a:pt x="712" y="182"/>
                    </a:lnTo>
                    <a:lnTo>
                      <a:pt x="740" y="211"/>
                    </a:lnTo>
                    <a:lnTo>
                      <a:pt x="790" y="253"/>
                    </a:lnTo>
                    <a:lnTo>
                      <a:pt x="823" y="296"/>
                    </a:lnTo>
                    <a:lnTo>
                      <a:pt x="837" y="336"/>
                    </a:lnTo>
                    <a:lnTo>
                      <a:pt x="851" y="350"/>
                    </a:lnTo>
                    <a:lnTo>
                      <a:pt x="868" y="341"/>
                    </a:lnTo>
                    <a:lnTo>
                      <a:pt x="889" y="343"/>
                    </a:lnTo>
                    <a:lnTo>
                      <a:pt x="911" y="350"/>
                    </a:lnTo>
                    <a:lnTo>
                      <a:pt x="922" y="357"/>
                    </a:lnTo>
                    <a:lnTo>
                      <a:pt x="925" y="360"/>
                    </a:lnTo>
                    <a:lnTo>
                      <a:pt x="927" y="362"/>
                    </a:lnTo>
                    <a:lnTo>
                      <a:pt x="927" y="364"/>
                    </a:lnTo>
                    <a:lnTo>
                      <a:pt x="925" y="374"/>
                    </a:lnTo>
                    <a:lnTo>
                      <a:pt x="901" y="443"/>
                    </a:lnTo>
                    <a:lnTo>
                      <a:pt x="894" y="476"/>
                    </a:lnTo>
                    <a:lnTo>
                      <a:pt x="894" y="485"/>
                    </a:lnTo>
                    <a:lnTo>
                      <a:pt x="908" y="502"/>
                    </a:lnTo>
                    <a:lnTo>
                      <a:pt x="929" y="523"/>
                    </a:lnTo>
                    <a:lnTo>
                      <a:pt x="948" y="537"/>
                    </a:lnTo>
                    <a:lnTo>
                      <a:pt x="965" y="542"/>
                    </a:lnTo>
                    <a:lnTo>
                      <a:pt x="991" y="558"/>
                    </a:lnTo>
                    <a:lnTo>
                      <a:pt x="1026" y="584"/>
                    </a:lnTo>
                    <a:lnTo>
                      <a:pt x="1043" y="606"/>
                    </a:lnTo>
                    <a:lnTo>
                      <a:pt x="1045" y="620"/>
                    </a:lnTo>
                    <a:lnTo>
                      <a:pt x="1050" y="634"/>
                    </a:lnTo>
                    <a:lnTo>
                      <a:pt x="1057" y="648"/>
                    </a:lnTo>
                    <a:lnTo>
                      <a:pt x="1057" y="662"/>
                    </a:lnTo>
                    <a:lnTo>
                      <a:pt x="1052" y="677"/>
                    </a:lnTo>
                    <a:lnTo>
                      <a:pt x="1057" y="696"/>
                    </a:lnTo>
                    <a:lnTo>
                      <a:pt x="1069" y="717"/>
                    </a:lnTo>
                    <a:lnTo>
                      <a:pt x="1081" y="731"/>
                    </a:lnTo>
                    <a:lnTo>
                      <a:pt x="1090" y="733"/>
                    </a:lnTo>
                    <a:lnTo>
                      <a:pt x="1093" y="733"/>
                    </a:lnTo>
                    <a:lnTo>
                      <a:pt x="1093" y="731"/>
                    </a:lnTo>
                    <a:lnTo>
                      <a:pt x="1090" y="729"/>
                    </a:lnTo>
                    <a:lnTo>
                      <a:pt x="1090" y="726"/>
                    </a:lnTo>
                    <a:lnTo>
                      <a:pt x="1090" y="722"/>
                    </a:lnTo>
                    <a:lnTo>
                      <a:pt x="1093" y="722"/>
                    </a:lnTo>
                    <a:lnTo>
                      <a:pt x="1095" y="719"/>
                    </a:lnTo>
                    <a:lnTo>
                      <a:pt x="1102" y="724"/>
                    </a:lnTo>
                    <a:lnTo>
                      <a:pt x="1116" y="736"/>
                    </a:lnTo>
                    <a:lnTo>
                      <a:pt x="1121" y="752"/>
                    </a:lnTo>
                    <a:lnTo>
                      <a:pt x="1123" y="774"/>
                    </a:lnTo>
                    <a:lnTo>
                      <a:pt x="1119" y="795"/>
                    </a:lnTo>
                    <a:lnTo>
                      <a:pt x="1114" y="814"/>
                    </a:lnTo>
                    <a:lnTo>
                      <a:pt x="1104" y="821"/>
                    </a:lnTo>
                    <a:lnTo>
                      <a:pt x="1100" y="821"/>
                    </a:lnTo>
                    <a:lnTo>
                      <a:pt x="1093" y="818"/>
                    </a:lnTo>
                    <a:lnTo>
                      <a:pt x="1088" y="818"/>
                    </a:lnTo>
                    <a:lnTo>
                      <a:pt x="1081" y="826"/>
                    </a:lnTo>
                    <a:lnTo>
                      <a:pt x="1074" y="844"/>
                    </a:lnTo>
                    <a:lnTo>
                      <a:pt x="1074" y="844"/>
                    </a:lnTo>
                    <a:lnTo>
                      <a:pt x="1069" y="847"/>
                    </a:lnTo>
                    <a:lnTo>
                      <a:pt x="1067" y="844"/>
                    </a:lnTo>
                    <a:lnTo>
                      <a:pt x="1067" y="844"/>
                    </a:lnTo>
                    <a:lnTo>
                      <a:pt x="1064" y="837"/>
                    </a:lnTo>
                    <a:lnTo>
                      <a:pt x="1059" y="833"/>
                    </a:lnTo>
                    <a:lnTo>
                      <a:pt x="1057" y="833"/>
                    </a:lnTo>
                    <a:lnTo>
                      <a:pt x="1055" y="833"/>
                    </a:lnTo>
                    <a:lnTo>
                      <a:pt x="1055" y="837"/>
                    </a:lnTo>
                    <a:lnTo>
                      <a:pt x="1055" y="842"/>
                    </a:lnTo>
                    <a:lnTo>
                      <a:pt x="1055" y="844"/>
                    </a:lnTo>
                    <a:lnTo>
                      <a:pt x="1059" y="861"/>
                    </a:lnTo>
                    <a:lnTo>
                      <a:pt x="1057" y="870"/>
                    </a:lnTo>
                    <a:lnTo>
                      <a:pt x="1050" y="878"/>
                    </a:lnTo>
                    <a:lnTo>
                      <a:pt x="1048" y="882"/>
                    </a:lnTo>
                    <a:lnTo>
                      <a:pt x="1055" y="889"/>
                    </a:lnTo>
                    <a:lnTo>
                      <a:pt x="1055" y="894"/>
                    </a:lnTo>
                    <a:lnTo>
                      <a:pt x="1052" y="897"/>
                    </a:lnTo>
                    <a:lnTo>
                      <a:pt x="1048" y="897"/>
                    </a:lnTo>
                    <a:lnTo>
                      <a:pt x="1043" y="899"/>
                    </a:lnTo>
                    <a:lnTo>
                      <a:pt x="1038" y="906"/>
                    </a:lnTo>
                    <a:lnTo>
                      <a:pt x="1048" y="915"/>
                    </a:lnTo>
                    <a:lnTo>
                      <a:pt x="1045" y="930"/>
                    </a:lnTo>
                    <a:lnTo>
                      <a:pt x="1038" y="946"/>
                    </a:lnTo>
                    <a:lnTo>
                      <a:pt x="1038" y="951"/>
                    </a:lnTo>
                    <a:lnTo>
                      <a:pt x="1005" y="953"/>
                    </a:lnTo>
                    <a:lnTo>
                      <a:pt x="979" y="956"/>
                    </a:lnTo>
                    <a:lnTo>
                      <a:pt x="951" y="958"/>
                    </a:lnTo>
                    <a:lnTo>
                      <a:pt x="922" y="960"/>
                    </a:lnTo>
                    <a:lnTo>
                      <a:pt x="934" y="937"/>
                    </a:lnTo>
                    <a:lnTo>
                      <a:pt x="941" y="930"/>
                    </a:lnTo>
                    <a:lnTo>
                      <a:pt x="948" y="920"/>
                    </a:lnTo>
                    <a:lnTo>
                      <a:pt x="958" y="911"/>
                    </a:lnTo>
                    <a:lnTo>
                      <a:pt x="970" y="894"/>
                    </a:lnTo>
                    <a:lnTo>
                      <a:pt x="972" y="885"/>
                    </a:lnTo>
                    <a:lnTo>
                      <a:pt x="970" y="878"/>
                    </a:lnTo>
                    <a:lnTo>
                      <a:pt x="960" y="868"/>
                    </a:lnTo>
                    <a:lnTo>
                      <a:pt x="953" y="852"/>
                    </a:lnTo>
                    <a:lnTo>
                      <a:pt x="906" y="854"/>
                    </a:lnTo>
                    <a:lnTo>
                      <a:pt x="859" y="859"/>
                    </a:lnTo>
                    <a:lnTo>
                      <a:pt x="811" y="861"/>
                    </a:lnTo>
                    <a:lnTo>
                      <a:pt x="764" y="863"/>
                    </a:lnTo>
                    <a:lnTo>
                      <a:pt x="717" y="866"/>
                    </a:lnTo>
                    <a:lnTo>
                      <a:pt x="669" y="868"/>
                    </a:lnTo>
                    <a:lnTo>
                      <a:pt x="622" y="870"/>
                    </a:lnTo>
                    <a:lnTo>
                      <a:pt x="575" y="870"/>
                    </a:lnTo>
                    <a:lnTo>
                      <a:pt x="528" y="873"/>
                    </a:lnTo>
                    <a:lnTo>
                      <a:pt x="480" y="875"/>
                    </a:lnTo>
                    <a:lnTo>
                      <a:pt x="433" y="875"/>
                    </a:lnTo>
                    <a:lnTo>
                      <a:pt x="386" y="878"/>
                    </a:lnTo>
                    <a:lnTo>
                      <a:pt x="338" y="880"/>
                    </a:lnTo>
                    <a:lnTo>
                      <a:pt x="291" y="880"/>
                    </a:lnTo>
                    <a:lnTo>
                      <a:pt x="244" y="880"/>
                    </a:lnTo>
                    <a:lnTo>
                      <a:pt x="197" y="882"/>
                    </a:lnTo>
                    <a:lnTo>
                      <a:pt x="197" y="856"/>
                    </a:lnTo>
                    <a:lnTo>
                      <a:pt x="197" y="830"/>
                    </a:lnTo>
                    <a:lnTo>
                      <a:pt x="197" y="802"/>
                    </a:lnTo>
                    <a:lnTo>
                      <a:pt x="194" y="776"/>
                    </a:lnTo>
                    <a:lnTo>
                      <a:pt x="194" y="750"/>
                    </a:lnTo>
                    <a:lnTo>
                      <a:pt x="194" y="722"/>
                    </a:lnTo>
                    <a:lnTo>
                      <a:pt x="194" y="696"/>
                    </a:lnTo>
                    <a:lnTo>
                      <a:pt x="194" y="667"/>
                    </a:lnTo>
                    <a:lnTo>
                      <a:pt x="192" y="639"/>
                    </a:lnTo>
                    <a:lnTo>
                      <a:pt x="192" y="613"/>
                    </a:lnTo>
                    <a:lnTo>
                      <a:pt x="192" y="584"/>
                    </a:lnTo>
                    <a:lnTo>
                      <a:pt x="192" y="558"/>
                    </a:lnTo>
                    <a:lnTo>
                      <a:pt x="192" y="530"/>
                    </a:lnTo>
                    <a:lnTo>
                      <a:pt x="190" y="502"/>
                    </a:lnTo>
                    <a:lnTo>
                      <a:pt x="190" y="476"/>
                    </a:lnTo>
                    <a:lnTo>
                      <a:pt x="190" y="447"/>
                    </a:lnTo>
                    <a:lnTo>
                      <a:pt x="190" y="421"/>
                    </a:lnTo>
                    <a:lnTo>
                      <a:pt x="190" y="393"/>
                    </a:lnTo>
                    <a:lnTo>
                      <a:pt x="187" y="367"/>
                    </a:lnTo>
                    <a:lnTo>
                      <a:pt x="187" y="338"/>
                    </a:lnTo>
                    <a:lnTo>
                      <a:pt x="187" y="331"/>
                    </a:lnTo>
                    <a:lnTo>
                      <a:pt x="161" y="317"/>
                    </a:lnTo>
                    <a:lnTo>
                      <a:pt x="149" y="303"/>
                    </a:lnTo>
                    <a:lnTo>
                      <a:pt x="145" y="284"/>
                    </a:lnTo>
                    <a:lnTo>
                      <a:pt x="133" y="268"/>
                    </a:lnTo>
                    <a:lnTo>
                      <a:pt x="116" y="251"/>
                    </a:lnTo>
                    <a:lnTo>
                      <a:pt x="112" y="232"/>
                    </a:lnTo>
                    <a:lnTo>
                      <a:pt x="123" y="211"/>
                    </a:lnTo>
                    <a:lnTo>
                      <a:pt x="133" y="201"/>
                    </a:lnTo>
                    <a:lnTo>
                      <a:pt x="140" y="201"/>
                    </a:lnTo>
                    <a:lnTo>
                      <a:pt x="142" y="192"/>
                    </a:lnTo>
                    <a:lnTo>
                      <a:pt x="135" y="175"/>
                    </a:lnTo>
                    <a:lnTo>
                      <a:pt x="126" y="171"/>
                    </a:lnTo>
                    <a:lnTo>
                      <a:pt x="116" y="175"/>
                    </a:lnTo>
                    <a:lnTo>
                      <a:pt x="104" y="175"/>
                    </a:lnTo>
                    <a:lnTo>
                      <a:pt x="67" y="147"/>
                    </a:lnTo>
                    <a:lnTo>
                      <a:pt x="64" y="145"/>
                    </a:lnTo>
                    <a:lnTo>
                      <a:pt x="52" y="128"/>
                    </a:lnTo>
                    <a:lnTo>
                      <a:pt x="48" y="107"/>
                    </a:lnTo>
                    <a:lnTo>
                      <a:pt x="38" y="93"/>
                    </a:lnTo>
                    <a:lnTo>
                      <a:pt x="26" y="85"/>
                    </a:lnTo>
                    <a:lnTo>
                      <a:pt x="17" y="71"/>
                    </a:lnTo>
                    <a:lnTo>
                      <a:pt x="12" y="50"/>
                    </a:lnTo>
                    <a:lnTo>
                      <a:pt x="3" y="29"/>
                    </a:lnTo>
                    <a:lnTo>
                      <a:pt x="0" y="22"/>
                    </a:lnTo>
                    <a:lnTo>
                      <a:pt x="41" y="22"/>
                    </a:lnTo>
                    <a:lnTo>
                      <a:pt x="81" y="19"/>
                    </a:lnTo>
                    <a:lnTo>
                      <a:pt x="121" y="19"/>
                    </a:lnTo>
                    <a:lnTo>
                      <a:pt x="161" y="19"/>
                    </a:lnTo>
                    <a:lnTo>
                      <a:pt x="201" y="17"/>
                    </a:lnTo>
                    <a:lnTo>
                      <a:pt x="242" y="17"/>
                    </a:lnTo>
                    <a:lnTo>
                      <a:pt x="282" y="17"/>
                    </a:lnTo>
                    <a:lnTo>
                      <a:pt x="322" y="15"/>
                    </a:lnTo>
                    <a:lnTo>
                      <a:pt x="362" y="12"/>
                    </a:lnTo>
                    <a:lnTo>
                      <a:pt x="405" y="12"/>
                    </a:lnTo>
                    <a:lnTo>
                      <a:pt x="445" y="10"/>
                    </a:lnTo>
                    <a:lnTo>
                      <a:pt x="485" y="7"/>
                    </a:lnTo>
                    <a:lnTo>
                      <a:pt x="525" y="7"/>
                    </a:lnTo>
                    <a:lnTo>
                      <a:pt x="565" y="5"/>
                    </a:lnTo>
                    <a:lnTo>
                      <a:pt x="606" y="3"/>
                    </a:lnTo>
                    <a:lnTo>
                      <a:pt x="646" y="0"/>
                    </a:lnTo>
                    <a:lnTo>
                      <a:pt x="655" y="15"/>
                    </a:lnTo>
                    <a:lnTo>
                      <a:pt x="662" y="19"/>
                    </a:lnTo>
                    <a:lnTo>
                      <a:pt x="665" y="24"/>
                    </a:lnTo>
                    <a:lnTo>
                      <a:pt x="676" y="31"/>
                    </a:lnTo>
                    <a:lnTo>
                      <a:pt x="679" y="41"/>
                    </a:lnTo>
                    <a:lnTo>
                      <a:pt x="695" y="5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29" name="Freeform 67">
                <a:extLst>
                  <a:ext uri="{FF2B5EF4-FFF2-40B4-BE49-F238E27FC236}">
                    <a16:creationId xmlns:a16="http://schemas.microsoft.com/office/drawing/2014/main" id="{0F89754E-A4E3-8703-5570-E5B93383E009}"/>
                  </a:ext>
                </a:extLst>
              </p:cNvPr>
              <p:cNvSpPr>
                <a:spLocks noEditPoints="1"/>
              </p:cNvSpPr>
              <p:nvPr/>
            </p:nvSpPr>
            <p:spPr bwMode="auto">
              <a:xfrm>
                <a:off x="5501" y="2104"/>
                <a:ext cx="605" cy="1031"/>
              </a:xfrm>
              <a:custGeom>
                <a:avLst/>
                <a:gdLst>
                  <a:gd name="T0" fmla="*/ 579 w 605"/>
                  <a:gd name="T1" fmla="*/ 17 h 1031"/>
                  <a:gd name="T2" fmla="*/ 576 w 605"/>
                  <a:gd name="T3" fmla="*/ 69 h 1031"/>
                  <a:gd name="T4" fmla="*/ 574 w 605"/>
                  <a:gd name="T5" fmla="*/ 187 h 1031"/>
                  <a:gd name="T6" fmla="*/ 572 w 605"/>
                  <a:gd name="T7" fmla="*/ 305 h 1031"/>
                  <a:gd name="T8" fmla="*/ 567 w 605"/>
                  <a:gd name="T9" fmla="*/ 421 h 1031"/>
                  <a:gd name="T10" fmla="*/ 564 w 605"/>
                  <a:gd name="T11" fmla="*/ 540 h 1031"/>
                  <a:gd name="T12" fmla="*/ 562 w 605"/>
                  <a:gd name="T13" fmla="*/ 658 h 1031"/>
                  <a:gd name="T14" fmla="*/ 576 w 605"/>
                  <a:gd name="T15" fmla="*/ 776 h 1031"/>
                  <a:gd name="T16" fmla="*/ 593 w 605"/>
                  <a:gd name="T17" fmla="*/ 894 h 1031"/>
                  <a:gd name="T18" fmla="*/ 550 w 605"/>
                  <a:gd name="T19" fmla="*/ 984 h 1031"/>
                  <a:gd name="T20" fmla="*/ 510 w 605"/>
                  <a:gd name="T21" fmla="*/ 975 h 1031"/>
                  <a:gd name="T22" fmla="*/ 446 w 605"/>
                  <a:gd name="T23" fmla="*/ 996 h 1031"/>
                  <a:gd name="T24" fmla="*/ 401 w 605"/>
                  <a:gd name="T25" fmla="*/ 1031 h 1031"/>
                  <a:gd name="T26" fmla="*/ 387 w 605"/>
                  <a:gd name="T27" fmla="*/ 1024 h 1031"/>
                  <a:gd name="T28" fmla="*/ 366 w 605"/>
                  <a:gd name="T29" fmla="*/ 975 h 1031"/>
                  <a:gd name="T30" fmla="*/ 340 w 605"/>
                  <a:gd name="T31" fmla="*/ 946 h 1031"/>
                  <a:gd name="T32" fmla="*/ 335 w 605"/>
                  <a:gd name="T33" fmla="*/ 920 h 1031"/>
                  <a:gd name="T34" fmla="*/ 307 w 605"/>
                  <a:gd name="T35" fmla="*/ 866 h 1031"/>
                  <a:gd name="T36" fmla="*/ 174 w 605"/>
                  <a:gd name="T37" fmla="*/ 873 h 1031"/>
                  <a:gd name="T38" fmla="*/ 42 w 605"/>
                  <a:gd name="T39" fmla="*/ 880 h 1031"/>
                  <a:gd name="T40" fmla="*/ 7 w 605"/>
                  <a:gd name="T41" fmla="*/ 868 h 1031"/>
                  <a:gd name="T42" fmla="*/ 4 w 605"/>
                  <a:gd name="T43" fmla="*/ 823 h 1031"/>
                  <a:gd name="T44" fmla="*/ 18 w 605"/>
                  <a:gd name="T45" fmla="*/ 788 h 1031"/>
                  <a:gd name="T46" fmla="*/ 37 w 605"/>
                  <a:gd name="T47" fmla="*/ 745 h 1031"/>
                  <a:gd name="T48" fmla="*/ 80 w 605"/>
                  <a:gd name="T49" fmla="*/ 672 h 1031"/>
                  <a:gd name="T50" fmla="*/ 92 w 605"/>
                  <a:gd name="T51" fmla="*/ 639 h 1031"/>
                  <a:gd name="T52" fmla="*/ 113 w 605"/>
                  <a:gd name="T53" fmla="*/ 615 h 1031"/>
                  <a:gd name="T54" fmla="*/ 113 w 605"/>
                  <a:gd name="T55" fmla="*/ 594 h 1031"/>
                  <a:gd name="T56" fmla="*/ 82 w 605"/>
                  <a:gd name="T57" fmla="*/ 563 h 1031"/>
                  <a:gd name="T58" fmla="*/ 73 w 605"/>
                  <a:gd name="T59" fmla="*/ 535 h 1031"/>
                  <a:gd name="T60" fmla="*/ 82 w 605"/>
                  <a:gd name="T61" fmla="*/ 514 h 1031"/>
                  <a:gd name="T62" fmla="*/ 80 w 605"/>
                  <a:gd name="T63" fmla="*/ 480 h 1031"/>
                  <a:gd name="T64" fmla="*/ 68 w 605"/>
                  <a:gd name="T65" fmla="*/ 452 h 1031"/>
                  <a:gd name="T66" fmla="*/ 73 w 605"/>
                  <a:gd name="T67" fmla="*/ 405 h 1031"/>
                  <a:gd name="T68" fmla="*/ 66 w 605"/>
                  <a:gd name="T69" fmla="*/ 362 h 1031"/>
                  <a:gd name="T70" fmla="*/ 54 w 605"/>
                  <a:gd name="T71" fmla="*/ 341 h 1031"/>
                  <a:gd name="T72" fmla="*/ 59 w 605"/>
                  <a:gd name="T73" fmla="*/ 320 h 1031"/>
                  <a:gd name="T74" fmla="*/ 70 w 605"/>
                  <a:gd name="T75" fmla="*/ 294 h 1031"/>
                  <a:gd name="T76" fmla="*/ 80 w 605"/>
                  <a:gd name="T77" fmla="*/ 265 h 1031"/>
                  <a:gd name="T78" fmla="*/ 75 w 605"/>
                  <a:gd name="T79" fmla="*/ 246 h 1031"/>
                  <a:gd name="T80" fmla="*/ 99 w 605"/>
                  <a:gd name="T81" fmla="*/ 232 h 1031"/>
                  <a:gd name="T82" fmla="*/ 99 w 605"/>
                  <a:gd name="T83" fmla="*/ 204 h 1031"/>
                  <a:gd name="T84" fmla="*/ 122 w 605"/>
                  <a:gd name="T85" fmla="*/ 166 h 1031"/>
                  <a:gd name="T86" fmla="*/ 151 w 605"/>
                  <a:gd name="T87" fmla="*/ 133 h 1031"/>
                  <a:gd name="T88" fmla="*/ 163 w 605"/>
                  <a:gd name="T89" fmla="*/ 83 h 1031"/>
                  <a:gd name="T90" fmla="*/ 177 w 605"/>
                  <a:gd name="T91" fmla="*/ 60 h 1031"/>
                  <a:gd name="T92" fmla="*/ 196 w 605"/>
                  <a:gd name="T93" fmla="*/ 31 h 1031"/>
                  <a:gd name="T94" fmla="*/ 286 w 605"/>
                  <a:gd name="T95" fmla="*/ 19 h 1031"/>
                  <a:gd name="T96" fmla="*/ 423 w 605"/>
                  <a:gd name="T97" fmla="*/ 10 h 1031"/>
                  <a:gd name="T98" fmla="*/ 562 w 605"/>
                  <a:gd name="T99" fmla="*/ 0 h 1031"/>
                  <a:gd name="T100" fmla="*/ 560 w 605"/>
                  <a:gd name="T101" fmla="*/ 1012 h 1031"/>
                  <a:gd name="T102" fmla="*/ 574 w 605"/>
                  <a:gd name="T103" fmla="*/ 1010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5" h="1031">
                    <a:moveTo>
                      <a:pt x="562" y="0"/>
                    </a:moveTo>
                    <a:lnTo>
                      <a:pt x="579" y="12"/>
                    </a:lnTo>
                    <a:lnTo>
                      <a:pt x="579" y="17"/>
                    </a:lnTo>
                    <a:lnTo>
                      <a:pt x="579" y="19"/>
                    </a:lnTo>
                    <a:lnTo>
                      <a:pt x="576" y="31"/>
                    </a:lnTo>
                    <a:lnTo>
                      <a:pt x="576" y="69"/>
                    </a:lnTo>
                    <a:lnTo>
                      <a:pt x="576" y="109"/>
                    </a:lnTo>
                    <a:lnTo>
                      <a:pt x="574" y="147"/>
                    </a:lnTo>
                    <a:lnTo>
                      <a:pt x="574" y="187"/>
                    </a:lnTo>
                    <a:lnTo>
                      <a:pt x="574" y="225"/>
                    </a:lnTo>
                    <a:lnTo>
                      <a:pt x="572" y="265"/>
                    </a:lnTo>
                    <a:lnTo>
                      <a:pt x="572" y="305"/>
                    </a:lnTo>
                    <a:lnTo>
                      <a:pt x="569" y="343"/>
                    </a:lnTo>
                    <a:lnTo>
                      <a:pt x="569" y="383"/>
                    </a:lnTo>
                    <a:lnTo>
                      <a:pt x="567" y="421"/>
                    </a:lnTo>
                    <a:lnTo>
                      <a:pt x="567" y="461"/>
                    </a:lnTo>
                    <a:lnTo>
                      <a:pt x="567" y="499"/>
                    </a:lnTo>
                    <a:lnTo>
                      <a:pt x="564" y="540"/>
                    </a:lnTo>
                    <a:lnTo>
                      <a:pt x="564" y="580"/>
                    </a:lnTo>
                    <a:lnTo>
                      <a:pt x="562" y="618"/>
                    </a:lnTo>
                    <a:lnTo>
                      <a:pt x="562" y="658"/>
                    </a:lnTo>
                    <a:lnTo>
                      <a:pt x="567" y="698"/>
                    </a:lnTo>
                    <a:lnTo>
                      <a:pt x="572" y="736"/>
                    </a:lnTo>
                    <a:lnTo>
                      <a:pt x="576" y="776"/>
                    </a:lnTo>
                    <a:lnTo>
                      <a:pt x="581" y="816"/>
                    </a:lnTo>
                    <a:lnTo>
                      <a:pt x="588" y="854"/>
                    </a:lnTo>
                    <a:lnTo>
                      <a:pt x="593" y="894"/>
                    </a:lnTo>
                    <a:lnTo>
                      <a:pt x="598" y="934"/>
                    </a:lnTo>
                    <a:lnTo>
                      <a:pt x="605" y="977"/>
                    </a:lnTo>
                    <a:lnTo>
                      <a:pt x="550" y="984"/>
                    </a:lnTo>
                    <a:lnTo>
                      <a:pt x="527" y="977"/>
                    </a:lnTo>
                    <a:lnTo>
                      <a:pt x="517" y="975"/>
                    </a:lnTo>
                    <a:lnTo>
                      <a:pt x="510" y="975"/>
                    </a:lnTo>
                    <a:lnTo>
                      <a:pt x="484" y="986"/>
                    </a:lnTo>
                    <a:lnTo>
                      <a:pt x="453" y="998"/>
                    </a:lnTo>
                    <a:lnTo>
                      <a:pt x="446" y="996"/>
                    </a:lnTo>
                    <a:lnTo>
                      <a:pt x="434" y="996"/>
                    </a:lnTo>
                    <a:lnTo>
                      <a:pt x="416" y="1024"/>
                    </a:lnTo>
                    <a:lnTo>
                      <a:pt x="401" y="1031"/>
                    </a:lnTo>
                    <a:lnTo>
                      <a:pt x="397" y="1029"/>
                    </a:lnTo>
                    <a:lnTo>
                      <a:pt x="392" y="1029"/>
                    </a:lnTo>
                    <a:lnTo>
                      <a:pt x="387" y="1024"/>
                    </a:lnTo>
                    <a:lnTo>
                      <a:pt x="380" y="1010"/>
                    </a:lnTo>
                    <a:lnTo>
                      <a:pt x="378" y="998"/>
                    </a:lnTo>
                    <a:lnTo>
                      <a:pt x="366" y="975"/>
                    </a:lnTo>
                    <a:lnTo>
                      <a:pt x="356" y="963"/>
                    </a:lnTo>
                    <a:lnTo>
                      <a:pt x="345" y="956"/>
                    </a:lnTo>
                    <a:lnTo>
                      <a:pt x="340" y="946"/>
                    </a:lnTo>
                    <a:lnTo>
                      <a:pt x="340" y="939"/>
                    </a:lnTo>
                    <a:lnTo>
                      <a:pt x="335" y="930"/>
                    </a:lnTo>
                    <a:lnTo>
                      <a:pt x="335" y="920"/>
                    </a:lnTo>
                    <a:lnTo>
                      <a:pt x="347" y="887"/>
                    </a:lnTo>
                    <a:lnTo>
                      <a:pt x="349" y="863"/>
                    </a:lnTo>
                    <a:lnTo>
                      <a:pt x="307" y="866"/>
                    </a:lnTo>
                    <a:lnTo>
                      <a:pt x="262" y="868"/>
                    </a:lnTo>
                    <a:lnTo>
                      <a:pt x="219" y="871"/>
                    </a:lnTo>
                    <a:lnTo>
                      <a:pt x="174" y="873"/>
                    </a:lnTo>
                    <a:lnTo>
                      <a:pt x="132" y="875"/>
                    </a:lnTo>
                    <a:lnTo>
                      <a:pt x="87" y="878"/>
                    </a:lnTo>
                    <a:lnTo>
                      <a:pt x="42" y="880"/>
                    </a:lnTo>
                    <a:lnTo>
                      <a:pt x="0" y="882"/>
                    </a:lnTo>
                    <a:lnTo>
                      <a:pt x="0" y="878"/>
                    </a:lnTo>
                    <a:lnTo>
                      <a:pt x="7" y="868"/>
                    </a:lnTo>
                    <a:lnTo>
                      <a:pt x="9" y="859"/>
                    </a:lnTo>
                    <a:lnTo>
                      <a:pt x="2" y="837"/>
                    </a:lnTo>
                    <a:lnTo>
                      <a:pt x="4" y="823"/>
                    </a:lnTo>
                    <a:lnTo>
                      <a:pt x="14" y="821"/>
                    </a:lnTo>
                    <a:lnTo>
                      <a:pt x="18" y="809"/>
                    </a:lnTo>
                    <a:lnTo>
                      <a:pt x="18" y="788"/>
                    </a:lnTo>
                    <a:lnTo>
                      <a:pt x="21" y="771"/>
                    </a:lnTo>
                    <a:lnTo>
                      <a:pt x="30" y="764"/>
                    </a:lnTo>
                    <a:lnTo>
                      <a:pt x="37" y="745"/>
                    </a:lnTo>
                    <a:lnTo>
                      <a:pt x="42" y="717"/>
                    </a:lnTo>
                    <a:lnTo>
                      <a:pt x="56" y="693"/>
                    </a:lnTo>
                    <a:lnTo>
                      <a:pt x="80" y="672"/>
                    </a:lnTo>
                    <a:lnTo>
                      <a:pt x="89" y="658"/>
                    </a:lnTo>
                    <a:lnTo>
                      <a:pt x="89" y="644"/>
                    </a:lnTo>
                    <a:lnTo>
                      <a:pt x="92" y="639"/>
                    </a:lnTo>
                    <a:lnTo>
                      <a:pt x="96" y="634"/>
                    </a:lnTo>
                    <a:lnTo>
                      <a:pt x="104" y="627"/>
                    </a:lnTo>
                    <a:lnTo>
                      <a:pt x="113" y="615"/>
                    </a:lnTo>
                    <a:lnTo>
                      <a:pt x="115" y="606"/>
                    </a:lnTo>
                    <a:lnTo>
                      <a:pt x="115" y="601"/>
                    </a:lnTo>
                    <a:lnTo>
                      <a:pt x="113" y="594"/>
                    </a:lnTo>
                    <a:lnTo>
                      <a:pt x="106" y="584"/>
                    </a:lnTo>
                    <a:lnTo>
                      <a:pt x="92" y="577"/>
                    </a:lnTo>
                    <a:lnTo>
                      <a:pt x="82" y="563"/>
                    </a:lnTo>
                    <a:lnTo>
                      <a:pt x="82" y="551"/>
                    </a:lnTo>
                    <a:lnTo>
                      <a:pt x="80" y="542"/>
                    </a:lnTo>
                    <a:lnTo>
                      <a:pt x="73" y="535"/>
                    </a:lnTo>
                    <a:lnTo>
                      <a:pt x="75" y="528"/>
                    </a:lnTo>
                    <a:lnTo>
                      <a:pt x="82" y="521"/>
                    </a:lnTo>
                    <a:lnTo>
                      <a:pt x="82" y="514"/>
                    </a:lnTo>
                    <a:lnTo>
                      <a:pt x="75" y="506"/>
                    </a:lnTo>
                    <a:lnTo>
                      <a:pt x="75" y="497"/>
                    </a:lnTo>
                    <a:lnTo>
                      <a:pt x="80" y="480"/>
                    </a:lnTo>
                    <a:lnTo>
                      <a:pt x="80" y="469"/>
                    </a:lnTo>
                    <a:lnTo>
                      <a:pt x="70" y="464"/>
                    </a:lnTo>
                    <a:lnTo>
                      <a:pt x="68" y="452"/>
                    </a:lnTo>
                    <a:lnTo>
                      <a:pt x="68" y="447"/>
                    </a:lnTo>
                    <a:lnTo>
                      <a:pt x="75" y="409"/>
                    </a:lnTo>
                    <a:lnTo>
                      <a:pt x="73" y="405"/>
                    </a:lnTo>
                    <a:lnTo>
                      <a:pt x="63" y="393"/>
                    </a:lnTo>
                    <a:lnTo>
                      <a:pt x="61" y="381"/>
                    </a:lnTo>
                    <a:lnTo>
                      <a:pt x="66" y="362"/>
                    </a:lnTo>
                    <a:lnTo>
                      <a:pt x="63" y="350"/>
                    </a:lnTo>
                    <a:lnTo>
                      <a:pt x="56" y="346"/>
                    </a:lnTo>
                    <a:lnTo>
                      <a:pt x="54" y="341"/>
                    </a:lnTo>
                    <a:lnTo>
                      <a:pt x="52" y="334"/>
                    </a:lnTo>
                    <a:lnTo>
                      <a:pt x="59" y="327"/>
                    </a:lnTo>
                    <a:lnTo>
                      <a:pt x="59" y="320"/>
                    </a:lnTo>
                    <a:lnTo>
                      <a:pt x="52" y="315"/>
                    </a:lnTo>
                    <a:lnTo>
                      <a:pt x="56" y="305"/>
                    </a:lnTo>
                    <a:lnTo>
                      <a:pt x="70" y="294"/>
                    </a:lnTo>
                    <a:lnTo>
                      <a:pt x="73" y="287"/>
                    </a:lnTo>
                    <a:lnTo>
                      <a:pt x="78" y="279"/>
                    </a:lnTo>
                    <a:lnTo>
                      <a:pt x="80" y="265"/>
                    </a:lnTo>
                    <a:lnTo>
                      <a:pt x="78" y="256"/>
                    </a:lnTo>
                    <a:lnTo>
                      <a:pt x="73" y="249"/>
                    </a:lnTo>
                    <a:lnTo>
                      <a:pt x="75" y="246"/>
                    </a:lnTo>
                    <a:lnTo>
                      <a:pt x="78" y="244"/>
                    </a:lnTo>
                    <a:lnTo>
                      <a:pt x="94" y="237"/>
                    </a:lnTo>
                    <a:lnTo>
                      <a:pt x="99" y="232"/>
                    </a:lnTo>
                    <a:lnTo>
                      <a:pt x="99" y="227"/>
                    </a:lnTo>
                    <a:lnTo>
                      <a:pt x="94" y="216"/>
                    </a:lnTo>
                    <a:lnTo>
                      <a:pt x="99" y="204"/>
                    </a:lnTo>
                    <a:lnTo>
                      <a:pt x="113" y="190"/>
                    </a:lnTo>
                    <a:lnTo>
                      <a:pt x="122" y="175"/>
                    </a:lnTo>
                    <a:lnTo>
                      <a:pt x="122" y="166"/>
                    </a:lnTo>
                    <a:lnTo>
                      <a:pt x="130" y="159"/>
                    </a:lnTo>
                    <a:lnTo>
                      <a:pt x="144" y="152"/>
                    </a:lnTo>
                    <a:lnTo>
                      <a:pt x="151" y="133"/>
                    </a:lnTo>
                    <a:lnTo>
                      <a:pt x="153" y="100"/>
                    </a:lnTo>
                    <a:lnTo>
                      <a:pt x="156" y="86"/>
                    </a:lnTo>
                    <a:lnTo>
                      <a:pt x="163" y="83"/>
                    </a:lnTo>
                    <a:lnTo>
                      <a:pt x="167" y="78"/>
                    </a:lnTo>
                    <a:lnTo>
                      <a:pt x="167" y="69"/>
                    </a:lnTo>
                    <a:lnTo>
                      <a:pt x="177" y="60"/>
                    </a:lnTo>
                    <a:lnTo>
                      <a:pt x="191" y="48"/>
                    </a:lnTo>
                    <a:lnTo>
                      <a:pt x="198" y="38"/>
                    </a:lnTo>
                    <a:lnTo>
                      <a:pt x="196" y="31"/>
                    </a:lnTo>
                    <a:lnTo>
                      <a:pt x="196" y="26"/>
                    </a:lnTo>
                    <a:lnTo>
                      <a:pt x="238" y="24"/>
                    </a:lnTo>
                    <a:lnTo>
                      <a:pt x="286" y="19"/>
                    </a:lnTo>
                    <a:lnTo>
                      <a:pt x="330" y="17"/>
                    </a:lnTo>
                    <a:lnTo>
                      <a:pt x="378" y="15"/>
                    </a:lnTo>
                    <a:lnTo>
                      <a:pt x="423" y="10"/>
                    </a:lnTo>
                    <a:lnTo>
                      <a:pt x="468" y="8"/>
                    </a:lnTo>
                    <a:lnTo>
                      <a:pt x="515" y="3"/>
                    </a:lnTo>
                    <a:lnTo>
                      <a:pt x="562" y="0"/>
                    </a:lnTo>
                    <a:close/>
                    <a:moveTo>
                      <a:pt x="579" y="1012"/>
                    </a:moveTo>
                    <a:lnTo>
                      <a:pt x="576" y="1015"/>
                    </a:lnTo>
                    <a:lnTo>
                      <a:pt x="560" y="1012"/>
                    </a:lnTo>
                    <a:lnTo>
                      <a:pt x="548" y="1008"/>
                    </a:lnTo>
                    <a:lnTo>
                      <a:pt x="546" y="1005"/>
                    </a:lnTo>
                    <a:lnTo>
                      <a:pt x="574" y="1010"/>
                    </a:lnTo>
                    <a:lnTo>
                      <a:pt x="579" y="101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0" name="Freeform 68">
                <a:extLst>
                  <a:ext uri="{FF2B5EF4-FFF2-40B4-BE49-F238E27FC236}">
                    <a16:creationId xmlns:a16="http://schemas.microsoft.com/office/drawing/2014/main" id="{3D4140E4-B7D7-5321-4F76-A038653F33F4}"/>
                  </a:ext>
                </a:extLst>
              </p:cNvPr>
              <p:cNvSpPr>
                <a:spLocks/>
              </p:cNvSpPr>
              <p:nvPr/>
            </p:nvSpPr>
            <p:spPr bwMode="auto">
              <a:xfrm>
                <a:off x="1863" y="-1102"/>
                <a:ext cx="1716" cy="1104"/>
              </a:xfrm>
              <a:custGeom>
                <a:avLst/>
                <a:gdLst>
                  <a:gd name="T0" fmla="*/ 1650 w 1716"/>
                  <a:gd name="T1" fmla="*/ 1052 h 1104"/>
                  <a:gd name="T2" fmla="*/ 1645 w 1716"/>
                  <a:gd name="T3" fmla="*/ 1104 h 1104"/>
                  <a:gd name="T4" fmla="*/ 1642 w 1716"/>
                  <a:gd name="T5" fmla="*/ 1104 h 1104"/>
                  <a:gd name="T6" fmla="*/ 1543 w 1716"/>
                  <a:gd name="T7" fmla="*/ 1095 h 1104"/>
                  <a:gd name="T8" fmla="*/ 1411 w 1716"/>
                  <a:gd name="T9" fmla="*/ 1083 h 1104"/>
                  <a:gd name="T10" fmla="*/ 1281 w 1716"/>
                  <a:gd name="T11" fmla="*/ 1069 h 1104"/>
                  <a:gd name="T12" fmla="*/ 1151 w 1716"/>
                  <a:gd name="T13" fmla="*/ 1052 h 1104"/>
                  <a:gd name="T14" fmla="*/ 1021 w 1716"/>
                  <a:gd name="T15" fmla="*/ 1036 h 1104"/>
                  <a:gd name="T16" fmla="*/ 888 w 1716"/>
                  <a:gd name="T17" fmla="*/ 1017 h 1104"/>
                  <a:gd name="T18" fmla="*/ 758 w 1716"/>
                  <a:gd name="T19" fmla="*/ 998 h 1104"/>
                  <a:gd name="T20" fmla="*/ 628 w 1716"/>
                  <a:gd name="T21" fmla="*/ 977 h 1104"/>
                  <a:gd name="T22" fmla="*/ 583 w 1716"/>
                  <a:gd name="T23" fmla="*/ 1050 h 1104"/>
                  <a:gd name="T24" fmla="*/ 560 w 1716"/>
                  <a:gd name="T25" fmla="*/ 1052 h 1104"/>
                  <a:gd name="T26" fmla="*/ 541 w 1716"/>
                  <a:gd name="T27" fmla="*/ 1017 h 1104"/>
                  <a:gd name="T28" fmla="*/ 517 w 1716"/>
                  <a:gd name="T29" fmla="*/ 1038 h 1104"/>
                  <a:gd name="T30" fmla="*/ 515 w 1716"/>
                  <a:gd name="T31" fmla="*/ 1055 h 1104"/>
                  <a:gd name="T32" fmla="*/ 430 w 1716"/>
                  <a:gd name="T33" fmla="*/ 1041 h 1104"/>
                  <a:gd name="T34" fmla="*/ 383 w 1716"/>
                  <a:gd name="T35" fmla="*/ 1045 h 1104"/>
                  <a:gd name="T36" fmla="*/ 331 w 1716"/>
                  <a:gd name="T37" fmla="*/ 1033 h 1104"/>
                  <a:gd name="T38" fmla="*/ 312 w 1716"/>
                  <a:gd name="T39" fmla="*/ 1050 h 1104"/>
                  <a:gd name="T40" fmla="*/ 288 w 1716"/>
                  <a:gd name="T41" fmla="*/ 1029 h 1104"/>
                  <a:gd name="T42" fmla="*/ 283 w 1716"/>
                  <a:gd name="T43" fmla="*/ 977 h 1104"/>
                  <a:gd name="T44" fmla="*/ 255 w 1716"/>
                  <a:gd name="T45" fmla="*/ 953 h 1104"/>
                  <a:gd name="T46" fmla="*/ 236 w 1716"/>
                  <a:gd name="T47" fmla="*/ 922 h 1104"/>
                  <a:gd name="T48" fmla="*/ 238 w 1716"/>
                  <a:gd name="T49" fmla="*/ 882 h 1104"/>
                  <a:gd name="T50" fmla="*/ 219 w 1716"/>
                  <a:gd name="T51" fmla="*/ 821 h 1104"/>
                  <a:gd name="T52" fmla="*/ 217 w 1716"/>
                  <a:gd name="T53" fmla="*/ 776 h 1104"/>
                  <a:gd name="T54" fmla="*/ 198 w 1716"/>
                  <a:gd name="T55" fmla="*/ 752 h 1104"/>
                  <a:gd name="T56" fmla="*/ 189 w 1716"/>
                  <a:gd name="T57" fmla="*/ 754 h 1104"/>
                  <a:gd name="T58" fmla="*/ 139 w 1716"/>
                  <a:gd name="T59" fmla="*/ 780 h 1104"/>
                  <a:gd name="T60" fmla="*/ 108 w 1716"/>
                  <a:gd name="T61" fmla="*/ 757 h 1104"/>
                  <a:gd name="T62" fmla="*/ 118 w 1716"/>
                  <a:gd name="T63" fmla="*/ 714 h 1104"/>
                  <a:gd name="T64" fmla="*/ 141 w 1716"/>
                  <a:gd name="T65" fmla="*/ 695 h 1104"/>
                  <a:gd name="T66" fmla="*/ 141 w 1716"/>
                  <a:gd name="T67" fmla="*/ 648 h 1104"/>
                  <a:gd name="T68" fmla="*/ 158 w 1716"/>
                  <a:gd name="T69" fmla="*/ 601 h 1104"/>
                  <a:gd name="T70" fmla="*/ 182 w 1716"/>
                  <a:gd name="T71" fmla="*/ 549 h 1104"/>
                  <a:gd name="T72" fmla="*/ 177 w 1716"/>
                  <a:gd name="T73" fmla="*/ 535 h 1104"/>
                  <a:gd name="T74" fmla="*/ 141 w 1716"/>
                  <a:gd name="T75" fmla="*/ 525 h 1104"/>
                  <a:gd name="T76" fmla="*/ 127 w 1716"/>
                  <a:gd name="T77" fmla="*/ 509 h 1104"/>
                  <a:gd name="T78" fmla="*/ 113 w 1716"/>
                  <a:gd name="T79" fmla="*/ 483 h 1104"/>
                  <a:gd name="T80" fmla="*/ 71 w 1716"/>
                  <a:gd name="T81" fmla="*/ 388 h 1104"/>
                  <a:gd name="T82" fmla="*/ 23 w 1716"/>
                  <a:gd name="T83" fmla="*/ 334 h 1104"/>
                  <a:gd name="T84" fmla="*/ 28 w 1716"/>
                  <a:gd name="T85" fmla="*/ 329 h 1104"/>
                  <a:gd name="T86" fmla="*/ 33 w 1716"/>
                  <a:gd name="T87" fmla="*/ 282 h 1104"/>
                  <a:gd name="T88" fmla="*/ 11 w 1716"/>
                  <a:gd name="T89" fmla="*/ 230 h 1104"/>
                  <a:gd name="T90" fmla="*/ 35 w 1716"/>
                  <a:gd name="T91" fmla="*/ 50 h 1104"/>
                  <a:gd name="T92" fmla="*/ 189 w 1716"/>
                  <a:gd name="T93" fmla="*/ 31 h 1104"/>
                  <a:gd name="T94" fmla="*/ 366 w 1716"/>
                  <a:gd name="T95" fmla="*/ 66 h 1104"/>
                  <a:gd name="T96" fmla="*/ 602 w 1716"/>
                  <a:gd name="T97" fmla="*/ 111 h 1104"/>
                  <a:gd name="T98" fmla="*/ 839 w 1716"/>
                  <a:gd name="T99" fmla="*/ 151 h 1104"/>
                  <a:gd name="T100" fmla="*/ 1016 w 1716"/>
                  <a:gd name="T101" fmla="*/ 177 h 1104"/>
                  <a:gd name="T102" fmla="*/ 1255 w 1716"/>
                  <a:gd name="T103" fmla="*/ 211 h 1104"/>
                  <a:gd name="T104" fmla="*/ 1494 w 1716"/>
                  <a:gd name="T105" fmla="*/ 237 h 1104"/>
                  <a:gd name="T106" fmla="*/ 1716 w 1716"/>
                  <a:gd name="T107" fmla="*/ 260 h 1104"/>
                  <a:gd name="T108" fmla="*/ 1702 w 1716"/>
                  <a:gd name="T109" fmla="*/ 421 h 1104"/>
                  <a:gd name="T110" fmla="*/ 1690 w 1716"/>
                  <a:gd name="T111" fmla="*/ 584 h 1104"/>
                  <a:gd name="T112" fmla="*/ 1676 w 1716"/>
                  <a:gd name="T113" fmla="*/ 745 h 1104"/>
                  <a:gd name="T114" fmla="*/ 1661 w 1716"/>
                  <a:gd name="T115" fmla="*/ 906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6" h="1104">
                    <a:moveTo>
                      <a:pt x="1661" y="906"/>
                    </a:moveTo>
                    <a:lnTo>
                      <a:pt x="1659" y="955"/>
                    </a:lnTo>
                    <a:lnTo>
                      <a:pt x="1654" y="1005"/>
                    </a:lnTo>
                    <a:lnTo>
                      <a:pt x="1650" y="1052"/>
                    </a:lnTo>
                    <a:lnTo>
                      <a:pt x="1645" y="1102"/>
                    </a:lnTo>
                    <a:lnTo>
                      <a:pt x="1645" y="1102"/>
                    </a:lnTo>
                    <a:lnTo>
                      <a:pt x="1645" y="1104"/>
                    </a:lnTo>
                    <a:lnTo>
                      <a:pt x="1645" y="1104"/>
                    </a:lnTo>
                    <a:lnTo>
                      <a:pt x="1645" y="1104"/>
                    </a:lnTo>
                    <a:lnTo>
                      <a:pt x="1645" y="1104"/>
                    </a:lnTo>
                    <a:lnTo>
                      <a:pt x="1642" y="1104"/>
                    </a:lnTo>
                    <a:lnTo>
                      <a:pt x="1642" y="1104"/>
                    </a:lnTo>
                    <a:lnTo>
                      <a:pt x="1640" y="1104"/>
                    </a:lnTo>
                    <a:lnTo>
                      <a:pt x="1607" y="1102"/>
                    </a:lnTo>
                    <a:lnTo>
                      <a:pt x="1576" y="1100"/>
                    </a:lnTo>
                    <a:lnTo>
                      <a:pt x="1543" y="1095"/>
                    </a:lnTo>
                    <a:lnTo>
                      <a:pt x="1510" y="1093"/>
                    </a:lnTo>
                    <a:lnTo>
                      <a:pt x="1477" y="1090"/>
                    </a:lnTo>
                    <a:lnTo>
                      <a:pt x="1444" y="1085"/>
                    </a:lnTo>
                    <a:lnTo>
                      <a:pt x="1411" y="1083"/>
                    </a:lnTo>
                    <a:lnTo>
                      <a:pt x="1380" y="1078"/>
                    </a:lnTo>
                    <a:lnTo>
                      <a:pt x="1347" y="1076"/>
                    </a:lnTo>
                    <a:lnTo>
                      <a:pt x="1314" y="1071"/>
                    </a:lnTo>
                    <a:lnTo>
                      <a:pt x="1281" y="1069"/>
                    </a:lnTo>
                    <a:lnTo>
                      <a:pt x="1248" y="1064"/>
                    </a:lnTo>
                    <a:lnTo>
                      <a:pt x="1215" y="1059"/>
                    </a:lnTo>
                    <a:lnTo>
                      <a:pt x="1184" y="1057"/>
                    </a:lnTo>
                    <a:lnTo>
                      <a:pt x="1151" y="1052"/>
                    </a:lnTo>
                    <a:lnTo>
                      <a:pt x="1118" y="1048"/>
                    </a:lnTo>
                    <a:lnTo>
                      <a:pt x="1085" y="1043"/>
                    </a:lnTo>
                    <a:lnTo>
                      <a:pt x="1052" y="1041"/>
                    </a:lnTo>
                    <a:lnTo>
                      <a:pt x="1021" y="1036"/>
                    </a:lnTo>
                    <a:lnTo>
                      <a:pt x="988" y="1031"/>
                    </a:lnTo>
                    <a:lnTo>
                      <a:pt x="955" y="1026"/>
                    </a:lnTo>
                    <a:lnTo>
                      <a:pt x="922" y="1022"/>
                    </a:lnTo>
                    <a:lnTo>
                      <a:pt x="888" y="1017"/>
                    </a:lnTo>
                    <a:lnTo>
                      <a:pt x="858" y="1012"/>
                    </a:lnTo>
                    <a:lnTo>
                      <a:pt x="825" y="1007"/>
                    </a:lnTo>
                    <a:lnTo>
                      <a:pt x="791" y="1003"/>
                    </a:lnTo>
                    <a:lnTo>
                      <a:pt x="758" y="998"/>
                    </a:lnTo>
                    <a:lnTo>
                      <a:pt x="728" y="993"/>
                    </a:lnTo>
                    <a:lnTo>
                      <a:pt x="695" y="986"/>
                    </a:lnTo>
                    <a:lnTo>
                      <a:pt x="661" y="981"/>
                    </a:lnTo>
                    <a:lnTo>
                      <a:pt x="628" y="977"/>
                    </a:lnTo>
                    <a:lnTo>
                      <a:pt x="598" y="972"/>
                    </a:lnTo>
                    <a:lnTo>
                      <a:pt x="593" y="998"/>
                    </a:lnTo>
                    <a:lnTo>
                      <a:pt x="588" y="1024"/>
                    </a:lnTo>
                    <a:lnTo>
                      <a:pt x="583" y="1050"/>
                    </a:lnTo>
                    <a:lnTo>
                      <a:pt x="579" y="1076"/>
                    </a:lnTo>
                    <a:lnTo>
                      <a:pt x="572" y="1069"/>
                    </a:lnTo>
                    <a:lnTo>
                      <a:pt x="565" y="1062"/>
                    </a:lnTo>
                    <a:lnTo>
                      <a:pt x="560" y="1052"/>
                    </a:lnTo>
                    <a:lnTo>
                      <a:pt x="555" y="1031"/>
                    </a:lnTo>
                    <a:lnTo>
                      <a:pt x="550" y="1024"/>
                    </a:lnTo>
                    <a:lnTo>
                      <a:pt x="546" y="1017"/>
                    </a:lnTo>
                    <a:lnTo>
                      <a:pt x="541" y="1017"/>
                    </a:lnTo>
                    <a:lnTo>
                      <a:pt x="534" y="1017"/>
                    </a:lnTo>
                    <a:lnTo>
                      <a:pt x="529" y="1022"/>
                    </a:lnTo>
                    <a:lnTo>
                      <a:pt x="524" y="1029"/>
                    </a:lnTo>
                    <a:lnTo>
                      <a:pt x="517" y="1038"/>
                    </a:lnTo>
                    <a:lnTo>
                      <a:pt x="517" y="1048"/>
                    </a:lnTo>
                    <a:lnTo>
                      <a:pt x="520" y="1052"/>
                    </a:lnTo>
                    <a:lnTo>
                      <a:pt x="517" y="1055"/>
                    </a:lnTo>
                    <a:lnTo>
                      <a:pt x="515" y="1055"/>
                    </a:lnTo>
                    <a:lnTo>
                      <a:pt x="491" y="1048"/>
                    </a:lnTo>
                    <a:lnTo>
                      <a:pt x="470" y="1048"/>
                    </a:lnTo>
                    <a:lnTo>
                      <a:pt x="456" y="1043"/>
                    </a:lnTo>
                    <a:lnTo>
                      <a:pt x="430" y="1041"/>
                    </a:lnTo>
                    <a:lnTo>
                      <a:pt x="406" y="1033"/>
                    </a:lnTo>
                    <a:lnTo>
                      <a:pt x="397" y="1033"/>
                    </a:lnTo>
                    <a:lnTo>
                      <a:pt x="392" y="1036"/>
                    </a:lnTo>
                    <a:lnTo>
                      <a:pt x="383" y="1045"/>
                    </a:lnTo>
                    <a:lnTo>
                      <a:pt x="380" y="1048"/>
                    </a:lnTo>
                    <a:lnTo>
                      <a:pt x="378" y="1048"/>
                    </a:lnTo>
                    <a:lnTo>
                      <a:pt x="342" y="1033"/>
                    </a:lnTo>
                    <a:lnTo>
                      <a:pt x="331" y="1033"/>
                    </a:lnTo>
                    <a:lnTo>
                      <a:pt x="319" y="1038"/>
                    </a:lnTo>
                    <a:lnTo>
                      <a:pt x="316" y="1043"/>
                    </a:lnTo>
                    <a:lnTo>
                      <a:pt x="314" y="1050"/>
                    </a:lnTo>
                    <a:lnTo>
                      <a:pt x="312" y="1050"/>
                    </a:lnTo>
                    <a:lnTo>
                      <a:pt x="307" y="1050"/>
                    </a:lnTo>
                    <a:lnTo>
                      <a:pt x="300" y="1043"/>
                    </a:lnTo>
                    <a:lnTo>
                      <a:pt x="293" y="1033"/>
                    </a:lnTo>
                    <a:lnTo>
                      <a:pt x="288" y="1029"/>
                    </a:lnTo>
                    <a:lnTo>
                      <a:pt x="290" y="1017"/>
                    </a:lnTo>
                    <a:lnTo>
                      <a:pt x="286" y="1000"/>
                    </a:lnTo>
                    <a:lnTo>
                      <a:pt x="286" y="989"/>
                    </a:lnTo>
                    <a:lnTo>
                      <a:pt x="283" y="977"/>
                    </a:lnTo>
                    <a:lnTo>
                      <a:pt x="279" y="965"/>
                    </a:lnTo>
                    <a:lnTo>
                      <a:pt x="274" y="958"/>
                    </a:lnTo>
                    <a:lnTo>
                      <a:pt x="267" y="953"/>
                    </a:lnTo>
                    <a:lnTo>
                      <a:pt x="255" y="953"/>
                    </a:lnTo>
                    <a:lnTo>
                      <a:pt x="253" y="951"/>
                    </a:lnTo>
                    <a:lnTo>
                      <a:pt x="241" y="934"/>
                    </a:lnTo>
                    <a:lnTo>
                      <a:pt x="238" y="927"/>
                    </a:lnTo>
                    <a:lnTo>
                      <a:pt x="236" y="922"/>
                    </a:lnTo>
                    <a:lnTo>
                      <a:pt x="245" y="908"/>
                    </a:lnTo>
                    <a:lnTo>
                      <a:pt x="245" y="901"/>
                    </a:lnTo>
                    <a:lnTo>
                      <a:pt x="243" y="892"/>
                    </a:lnTo>
                    <a:lnTo>
                      <a:pt x="238" y="882"/>
                    </a:lnTo>
                    <a:lnTo>
                      <a:pt x="234" y="875"/>
                    </a:lnTo>
                    <a:lnTo>
                      <a:pt x="229" y="858"/>
                    </a:lnTo>
                    <a:lnTo>
                      <a:pt x="219" y="837"/>
                    </a:lnTo>
                    <a:lnTo>
                      <a:pt x="219" y="821"/>
                    </a:lnTo>
                    <a:lnTo>
                      <a:pt x="215" y="806"/>
                    </a:lnTo>
                    <a:lnTo>
                      <a:pt x="217" y="795"/>
                    </a:lnTo>
                    <a:lnTo>
                      <a:pt x="215" y="785"/>
                    </a:lnTo>
                    <a:lnTo>
                      <a:pt x="217" y="776"/>
                    </a:lnTo>
                    <a:lnTo>
                      <a:pt x="215" y="773"/>
                    </a:lnTo>
                    <a:lnTo>
                      <a:pt x="215" y="771"/>
                    </a:lnTo>
                    <a:lnTo>
                      <a:pt x="208" y="764"/>
                    </a:lnTo>
                    <a:lnTo>
                      <a:pt x="198" y="752"/>
                    </a:lnTo>
                    <a:lnTo>
                      <a:pt x="193" y="747"/>
                    </a:lnTo>
                    <a:lnTo>
                      <a:pt x="191" y="747"/>
                    </a:lnTo>
                    <a:lnTo>
                      <a:pt x="191" y="750"/>
                    </a:lnTo>
                    <a:lnTo>
                      <a:pt x="189" y="754"/>
                    </a:lnTo>
                    <a:lnTo>
                      <a:pt x="170" y="769"/>
                    </a:lnTo>
                    <a:lnTo>
                      <a:pt x="153" y="773"/>
                    </a:lnTo>
                    <a:lnTo>
                      <a:pt x="146" y="778"/>
                    </a:lnTo>
                    <a:lnTo>
                      <a:pt x="139" y="780"/>
                    </a:lnTo>
                    <a:lnTo>
                      <a:pt x="134" y="780"/>
                    </a:lnTo>
                    <a:lnTo>
                      <a:pt x="132" y="778"/>
                    </a:lnTo>
                    <a:lnTo>
                      <a:pt x="120" y="764"/>
                    </a:lnTo>
                    <a:lnTo>
                      <a:pt x="108" y="757"/>
                    </a:lnTo>
                    <a:lnTo>
                      <a:pt x="108" y="754"/>
                    </a:lnTo>
                    <a:lnTo>
                      <a:pt x="111" y="745"/>
                    </a:lnTo>
                    <a:lnTo>
                      <a:pt x="118" y="736"/>
                    </a:lnTo>
                    <a:lnTo>
                      <a:pt x="118" y="714"/>
                    </a:lnTo>
                    <a:lnTo>
                      <a:pt x="120" y="707"/>
                    </a:lnTo>
                    <a:lnTo>
                      <a:pt x="125" y="702"/>
                    </a:lnTo>
                    <a:lnTo>
                      <a:pt x="139" y="698"/>
                    </a:lnTo>
                    <a:lnTo>
                      <a:pt x="141" y="695"/>
                    </a:lnTo>
                    <a:lnTo>
                      <a:pt x="141" y="676"/>
                    </a:lnTo>
                    <a:lnTo>
                      <a:pt x="137" y="667"/>
                    </a:lnTo>
                    <a:lnTo>
                      <a:pt x="137" y="662"/>
                    </a:lnTo>
                    <a:lnTo>
                      <a:pt x="141" y="648"/>
                    </a:lnTo>
                    <a:lnTo>
                      <a:pt x="139" y="636"/>
                    </a:lnTo>
                    <a:lnTo>
                      <a:pt x="149" y="629"/>
                    </a:lnTo>
                    <a:lnTo>
                      <a:pt x="151" y="615"/>
                    </a:lnTo>
                    <a:lnTo>
                      <a:pt x="158" y="601"/>
                    </a:lnTo>
                    <a:lnTo>
                      <a:pt x="167" y="579"/>
                    </a:lnTo>
                    <a:lnTo>
                      <a:pt x="170" y="568"/>
                    </a:lnTo>
                    <a:lnTo>
                      <a:pt x="177" y="558"/>
                    </a:lnTo>
                    <a:lnTo>
                      <a:pt x="182" y="549"/>
                    </a:lnTo>
                    <a:lnTo>
                      <a:pt x="182" y="542"/>
                    </a:lnTo>
                    <a:lnTo>
                      <a:pt x="182" y="537"/>
                    </a:lnTo>
                    <a:lnTo>
                      <a:pt x="182" y="535"/>
                    </a:lnTo>
                    <a:lnTo>
                      <a:pt x="177" y="535"/>
                    </a:lnTo>
                    <a:lnTo>
                      <a:pt x="156" y="535"/>
                    </a:lnTo>
                    <a:lnTo>
                      <a:pt x="151" y="532"/>
                    </a:lnTo>
                    <a:lnTo>
                      <a:pt x="144" y="530"/>
                    </a:lnTo>
                    <a:lnTo>
                      <a:pt x="141" y="525"/>
                    </a:lnTo>
                    <a:lnTo>
                      <a:pt x="144" y="516"/>
                    </a:lnTo>
                    <a:lnTo>
                      <a:pt x="139" y="509"/>
                    </a:lnTo>
                    <a:lnTo>
                      <a:pt x="137" y="509"/>
                    </a:lnTo>
                    <a:lnTo>
                      <a:pt x="127" y="509"/>
                    </a:lnTo>
                    <a:lnTo>
                      <a:pt x="127" y="509"/>
                    </a:lnTo>
                    <a:lnTo>
                      <a:pt x="125" y="506"/>
                    </a:lnTo>
                    <a:lnTo>
                      <a:pt x="123" y="499"/>
                    </a:lnTo>
                    <a:lnTo>
                      <a:pt x="113" y="483"/>
                    </a:lnTo>
                    <a:lnTo>
                      <a:pt x="108" y="464"/>
                    </a:lnTo>
                    <a:lnTo>
                      <a:pt x="97" y="447"/>
                    </a:lnTo>
                    <a:lnTo>
                      <a:pt x="89" y="426"/>
                    </a:lnTo>
                    <a:lnTo>
                      <a:pt x="71" y="388"/>
                    </a:lnTo>
                    <a:lnTo>
                      <a:pt x="66" y="381"/>
                    </a:lnTo>
                    <a:lnTo>
                      <a:pt x="47" y="367"/>
                    </a:lnTo>
                    <a:lnTo>
                      <a:pt x="35" y="348"/>
                    </a:lnTo>
                    <a:lnTo>
                      <a:pt x="23" y="334"/>
                    </a:lnTo>
                    <a:lnTo>
                      <a:pt x="21" y="331"/>
                    </a:lnTo>
                    <a:lnTo>
                      <a:pt x="21" y="331"/>
                    </a:lnTo>
                    <a:lnTo>
                      <a:pt x="23" y="329"/>
                    </a:lnTo>
                    <a:lnTo>
                      <a:pt x="28" y="329"/>
                    </a:lnTo>
                    <a:lnTo>
                      <a:pt x="30" y="322"/>
                    </a:lnTo>
                    <a:lnTo>
                      <a:pt x="28" y="310"/>
                    </a:lnTo>
                    <a:lnTo>
                      <a:pt x="33" y="298"/>
                    </a:lnTo>
                    <a:lnTo>
                      <a:pt x="33" y="282"/>
                    </a:lnTo>
                    <a:lnTo>
                      <a:pt x="30" y="277"/>
                    </a:lnTo>
                    <a:lnTo>
                      <a:pt x="23" y="260"/>
                    </a:lnTo>
                    <a:lnTo>
                      <a:pt x="19" y="244"/>
                    </a:lnTo>
                    <a:lnTo>
                      <a:pt x="11" y="230"/>
                    </a:lnTo>
                    <a:lnTo>
                      <a:pt x="0" y="206"/>
                    </a:lnTo>
                    <a:lnTo>
                      <a:pt x="11" y="154"/>
                    </a:lnTo>
                    <a:lnTo>
                      <a:pt x="23" y="102"/>
                    </a:lnTo>
                    <a:lnTo>
                      <a:pt x="35" y="50"/>
                    </a:lnTo>
                    <a:lnTo>
                      <a:pt x="47" y="0"/>
                    </a:lnTo>
                    <a:lnTo>
                      <a:pt x="73" y="5"/>
                    </a:lnTo>
                    <a:lnTo>
                      <a:pt x="132" y="17"/>
                    </a:lnTo>
                    <a:lnTo>
                      <a:pt x="189" y="31"/>
                    </a:lnTo>
                    <a:lnTo>
                      <a:pt x="248" y="43"/>
                    </a:lnTo>
                    <a:lnTo>
                      <a:pt x="307" y="55"/>
                    </a:lnTo>
                    <a:lnTo>
                      <a:pt x="321" y="57"/>
                    </a:lnTo>
                    <a:lnTo>
                      <a:pt x="366" y="66"/>
                    </a:lnTo>
                    <a:lnTo>
                      <a:pt x="425" y="78"/>
                    </a:lnTo>
                    <a:lnTo>
                      <a:pt x="484" y="90"/>
                    </a:lnTo>
                    <a:lnTo>
                      <a:pt x="543" y="99"/>
                    </a:lnTo>
                    <a:lnTo>
                      <a:pt x="602" y="111"/>
                    </a:lnTo>
                    <a:lnTo>
                      <a:pt x="661" y="121"/>
                    </a:lnTo>
                    <a:lnTo>
                      <a:pt x="721" y="130"/>
                    </a:lnTo>
                    <a:lnTo>
                      <a:pt x="780" y="142"/>
                    </a:lnTo>
                    <a:lnTo>
                      <a:pt x="839" y="151"/>
                    </a:lnTo>
                    <a:lnTo>
                      <a:pt x="884" y="159"/>
                    </a:lnTo>
                    <a:lnTo>
                      <a:pt x="898" y="161"/>
                    </a:lnTo>
                    <a:lnTo>
                      <a:pt x="957" y="168"/>
                    </a:lnTo>
                    <a:lnTo>
                      <a:pt x="1016" y="177"/>
                    </a:lnTo>
                    <a:lnTo>
                      <a:pt x="1075" y="187"/>
                    </a:lnTo>
                    <a:lnTo>
                      <a:pt x="1134" y="194"/>
                    </a:lnTo>
                    <a:lnTo>
                      <a:pt x="1196" y="201"/>
                    </a:lnTo>
                    <a:lnTo>
                      <a:pt x="1255" y="211"/>
                    </a:lnTo>
                    <a:lnTo>
                      <a:pt x="1314" y="218"/>
                    </a:lnTo>
                    <a:lnTo>
                      <a:pt x="1373" y="225"/>
                    </a:lnTo>
                    <a:lnTo>
                      <a:pt x="1432" y="232"/>
                    </a:lnTo>
                    <a:lnTo>
                      <a:pt x="1494" y="237"/>
                    </a:lnTo>
                    <a:lnTo>
                      <a:pt x="1553" y="244"/>
                    </a:lnTo>
                    <a:lnTo>
                      <a:pt x="1612" y="248"/>
                    </a:lnTo>
                    <a:lnTo>
                      <a:pt x="1671" y="256"/>
                    </a:lnTo>
                    <a:lnTo>
                      <a:pt x="1716" y="260"/>
                    </a:lnTo>
                    <a:lnTo>
                      <a:pt x="1713" y="300"/>
                    </a:lnTo>
                    <a:lnTo>
                      <a:pt x="1709" y="341"/>
                    </a:lnTo>
                    <a:lnTo>
                      <a:pt x="1706" y="381"/>
                    </a:lnTo>
                    <a:lnTo>
                      <a:pt x="1702" y="421"/>
                    </a:lnTo>
                    <a:lnTo>
                      <a:pt x="1699" y="461"/>
                    </a:lnTo>
                    <a:lnTo>
                      <a:pt x="1697" y="501"/>
                    </a:lnTo>
                    <a:lnTo>
                      <a:pt x="1692" y="544"/>
                    </a:lnTo>
                    <a:lnTo>
                      <a:pt x="1690" y="584"/>
                    </a:lnTo>
                    <a:lnTo>
                      <a:pt x="1685" y="624"/>
                    </a:lnTo>
                    <a:lnTo>
                      <a:pt x="1683" y="665"/>
                    </a:lnTo>
                    <a:lnTo>
                      <a:pt x="1678" y="705"/>
                    </a:lnTo>
                    <a:lnTo>
                      <a:pt x="1676" y="745"/>
                    </a:lnTo>
                    <a:lnTo>
                      <a:pt x="1673" y="785"/>
                    </a:lnTo>
                    <a:lnTo>
                      <a:pt x="1668" y="825"/>
                    </a:lnTo>
                    <a:lnTo>
                      <a:pt x="1666" y="866"/>
                    </a:lnTo>
                    <a:lnTo>
                      <a:pt x="1661" y="906"/>
                    </a:lnTo>
                    <a:close/>
                  </a:path>
                </a:pathLst>
              </a:custGeom>
              <a:solidFill>
                <a:schemeClr val="accent1"/>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1" name="Freeform 69">
                <a:extLst>
                  <a:ext uri="{FF2B5EF4-FFF2-40B4-BE49-F238E27FC236}">
                    <a16:creationId xmlns:a16="http://schemas.microsoft.com/office/drawing/2014/main" id="{56DE7EAB-2205-246B-3029-0BBCF098658D}"/>
                  </a:ext>
                </a:extLst>
              </p:cNvPr>
              <p:cNvSpPr>
                <a:spLocks noEditPoints="1"/>
              </p:cNvSpPr>
              <p:nvPr/>
            </p:nvSpPr>
            <p:spPr bwMode="auto">
              <a:xfrm>
                <a:off x="6725" y="1459"/>
                <a:ext cx="1489" cy="645"/>
              </a:xfrm>
              <a:custGeom>
                <a:avLst/>
                <a:gdLst>
                  <a:gd name="T0" fmla="*/ 1383 w 1489"/>
                  <a:gd name="T1" fmla="*/ 57 h 645"/>
                  <a:gd name="T2" fmla="*/ 1335 w 1489"/>
                  <a:gd name="T3" fmla="*/ 66 h 645"/>
                  <a:gd name="T4" fmla="*/ 1331 w 1489"/>
                  <a:gd name="T5" fmla="*/ 102 h 645"/>
                  <a:gd name="T6" fmla="*/ 1279 w 1489"/>
                  <a:gd name="T7" fmla="*/ 135 h 645"/>
                  <a:gd name="T8" fmla="*/ 1253 w 1489"/>
                  <a:gd name="T9" fmla="*/ 137 h 645"/>
                  <a:gd name="T10" fmla="*/ 1331 w 1489"/>
                  <a:gd name="T11" fmla="*/ 135 h 645"/>
                  <a:gd name="T12" fmla="*/ 1373 w 1489"/>
                  <a:gd name="T13" fmla="*/ 184 h 645"/>
                  <a:gd name="T14" fmla="*/ 1406 w 1489"/>
                  <a:gd name="T15" fmla="*/ 120 h 645"/>
                  <a:gd name="T16" fmla="*/ 1402 w 1489"/>
                  <a:gd name="T17" fmla="*/ 217 h 645"/>
                  <a:gd name="T18" fmla="*/ 1326 w 1489"/>
                  <a:gd name="T19" fmla="*/ 255 h 645"/>
                  <a:gd name="T20" fmla="*/ 1293 w 1489"/>
                  <a:gd name="T21" fmla="*/ 236 h 645"/>
                  <a:gd name="T22" fmla="*/ 1234 w 1489"/>
                  <a:gd name="T23" fmla="*/ 265 h 645"/>
                  <a:gd name="T24" fmla="*/ 1309 w 1489"/>
                  <a:gd name="T25" fmla="*/ 314 h 645"/>
                  <a:gd name="T26" fmla="*/ 1231 w 1489"/>
                  <a:gd name="T27" fmla="*/ 331 h 645"/>
                  <a:gd name="T28" fmla="*/ 1361 w 1489"/>
                  <a:gd name="T29" fmla="*/ 350 h 645"/>
                  <a:gd name="T30" fmla="*/ 1309 w 1489"/>
                  <a:gd name="T31" fmla="*/ 411 h 645"/>
                  <a:gd name="T32" fmla="*/ 1224 w 1489"/>
                  <a:gd name="T33" fmla="*/ 449 h 645"/>
                  <a:gd name="T34" fmla="*/ 1198 w 1489"/>
                  <a:gd name="T35" fmla="*/ 459 h 645"/>
                  <a:gd name="T36" fmla="*/ 1161 w 1489"/>
                  <a:gd name="T37" fmla="*/ 522 h 645"/>
                  <a:gd name="T38" fmla="*/ 1135 w 1489"/>
                  <a:gd name="T39" fmla="*/ 600 h 645"/>
                  <a:gd name="T40" fmla="*/ 1057 w 1489"/>
                  <a:gd name="T41" fmla="*/ 631 h 645"/>
                  <a:gd name="T42" fmla="*/ 917 w 1489"/>
                  <a:gd name="T43" fmla="*/ 567 h 645"/>
                  <a:gd name="T44" fmla="*/ 782 w 1489"/>
                  <a:gd name="T45" fmla="*/ 494 h 645"/>
                  <a:gd name="T46" fmla="*/ 662 w 1489"/>
                  <a:gd name="T47" fmla="*/ 511 h 645"/>
                  <a:gd name="T48" fmla="*/ 589 w 1489"/>
                  <a:gd name="T49" fmla="*/ 473 h 645"/>
                  <a:gd name="T50" fmla="*/ 555 w 1489"/>
                  <a:gd name="T51" fmla="*/ 461 h 645"/>
                  <a:gd name="T52" fmla="*/ 440 w 1489"/>
                  <a:gd name="T53" fmla="*/ 470 h 645"/>
                  <a:gd name="T54" fmla="*/ 326 w 1489"/>
                  <a:gd name="T55" fmla="*/ 482 h 645"/>
                  <a:gd name="T56" fmla="*/ 236 w 1489"/>
                  <a:gd name="T57" fmla="*/ 532 h 645"/>
                  <a:gd name="T58" fmla="*/ 52 w 1489"/>
                  <a:gd name="T59" fmla="*/ 567 h 645"/>
                  <a:gd name="T60" fmla="*/ 26 w 1489"/>
                  <a:gd name="T61" fmla="*/ 513 h 645"/>
                  <a:gd name="T62" fmla="*/ 87 w 1489"/>
                  <a:gd name="T63" fmla="*/ 442 h 645"/>
                  <a:gd name="T64" fmla="*/ 210 w 1489"/>
                  <a:gd name="T65" fmla="*/ 366 h 645"/>
                  <a:gd name="T66" fmla="*/ 239 w 1489"/>
                  <a:gd name="T67" fmla="*/ 326 h 645"/>
                  <a:gd name="T68" fmla="*/ 267 w 1489"/>
                  <a:gd name="T69" fmla="*/ 326 h 645"/>
                  <a:gd name="T70" fmla="*/ 300 w 1489"/>
                  <a:gd name="T71" fmla="*/ 298 h 645"/>
                  <a:gd name="T72" fmla="*/ 371 w 1489"/>
                  <a:gd name="T73" fmla="*/ 241 h 645"/>
                  <a:gd name="T74" fmla="*/ 399 w 1489"/>
                  <a:gd name="T75" fmla="*/ 201 h 645"/>
                  <a:gd name="T76" fmla="*/ 529 w 1489"/>
                  <a:gd name="T77" fmla="*/ 156 h 645"/>
                  <a:gd name="T78" fmla="*/ 832 w 1489"/>
                  <a:gd name="T79" fmla="*/ 106 h 645"/>
                  <a:gd name="T80" fmla="*/ 1132 w 1489"/>
                  <a:gd name="T81" fmla="*/ 50 h 645"/>
                  <a:gd name="T82" fmla="*/ 1366 w 1489"/>
                  <a:gd name="T83" fmla="*/ 0 h 645"/>
                  <a:gd name="T84" fmla="*/ 1449 w 1489"/>
                  <a:gd name="T85" fmla="*/ 128 h 645"/>
                  <a:gd name="T86" fmla="*/ 1439 w 1489"/>
                  <a:gd name="T87" fmla="*/ 137 h 645"/>
                  <a:gd name="T88" fmla="*/ 1484 w 1489"/>
                  <a:gd name="T89" fmla="*/ 255 h 645"/>
                  <a:gd name="T90" fmla="*/ 1480 w 1489"/>
                  <a:gd name="T91" fmla="*/ 184 h 645"/>
                  <a:gd name="T92" fmla="*/ 1489 w 1489"/>
                  <a:gd name="T93" fmla="*/ 210 h 645"/>
                  <a:gd name="T94" fmla="*/ 1416 w 1489"/>
                  <a:gd name="T95" fmla="*/ 298 h 645"/>
                  <a:gd name="T96" fmla="*/ 1357 w 1489"/>
                  <a:gd name="T97" fmla="*/ 390 h 645"/>
                  <a:gd name="T98" fmla="*/ 1343 w 1489"/>
                  <a:gd name="T99" fmla="*/ 414 h 645"/>
                  <a:gd name="T100" fmla="*/ 1328 w 1489"/>
                  <a:gd name="T101" fmla="*/ 409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9" h="645">
                    <a:moveTo>
                      <a:pt x="1354" y="2"/>
                    </a:moveTo>
                    <a:lnTo>
                      <a:pt x="1352" y="19"/>
                    </a:lnTo>
                    <a:lnTo>
                      <a:pt x="1357" y="28"/>
                    </a:lnTo>
                    <a:lnTo>
                      <a:pt x="1369" y="35"/>
                    </a:lnTo>
                    <a:lnTo>
                      <a:pt x="1383" y="57"/>
                    </a:lnTo>
                    <a:lnTo>
                      <a:pt x="1399" y="87"/>
                    </a:lnTo>
                    <a:lnTo>
                      <a:pt x="1385" y="78"/>
                    </a:lnTo>
                    <a:lnTo>
                      <a:pt x="1373" y="73"/>
                    </a:lnTo>
                    <a:lnTo>
                      <a:pt x="1354" y="71"/>
                    </a:lnTo>
                    <a:lnTo>
                      <a:pt x="1335" y="66"/>
                    </a:lnTo>
                    <a:lnTo>
                      <a:pt x="1340" y="78"/>
                    </a:lnTo>
                    <a:lnTo>
                      <a:pt x="1343" y="92"/>
                    </a:lnTo>
                    <a:lnTo>
                      <a:pt x="1328" y="92"/>
                    </a:lnTo>
                    <a:lnTo>
                      <a:pt x="1321" y="87"/>
                    </a:lnTo>
                    <a:lnTo>
                      <a:pt x="1331" y="102"/>
                    </a:lnTo>
                    <a:lnTo>
                      <a:pt x="1314" y="102"/>
                    </a:lnTo>
                    <a:lnTo>
                      <a:pt x="1305" y="104"/>
                    </a:lnTo>
                    <a:lnTo>
                      <a:pt x="1300" y="118"/>
                    </a:lnTo>
                    <a:lnTo>
                      <a:pt x="1293" y="130"/>
                    </a:lnTo>
                    <a:lnTo>
                      <a:pt x="1279" y="135"/>
                    </a:lnTo>
                    <a:lnTo>
                      <a:pt x="1257" y="128"/>
                    </a:lnTo>
                    <a:lnTo>
                      <a:pt x="1248" y="113"/>
                    </a:lnTo>
                    <a:lnTo>
                      <a:pt x="1241" y="97"/>
                    </a:lnTo>
                    <a:lnTo>
                      <a:pt x="1243" y="118"/>
                    </a:lnTo>
                    <a:lnTo>
                      <a:pt x="1253" y="137"/>
                    </a:lnTo>
                    <a:lnTo>
                      <a:pt x="1255" y="154"/>
                    </a:lnTo>
                    <a:lnTo>
                      <a:pt x="1274" y="151"/>
                    </a:lnTo>
                    <a:lnTo>
                      <a:pt x="1291" y="144"/>
                    </a:lnTo>
                    <a:lnTo>
                      <a:pt x="1317" y="139"/>
                    </a:lnTo>
                    <a:lnTo>
                      <a:pt x="1331" y="135"/>
                    </a:lnTo>
                    <a:lnTo>
                      <a:pt x="1340" y="128"/>
                    </a:lnTo>
                    <a:lnTo>
                      <a:pt x="1364" y="125"/>
                    </a:lnTo>
                    <a:lnTo>
                      <a:pt x="1369" y="144"/>
                    </a:lnTo>
                    <a:lnTo>
                      <a:pt x="1371" y="163"/>
                    </a:lnTo>
                    <a:lnTo>
                      <a:pt x="1373" y="184"/>
                    </a:lnTo>
                    <a:lnTo>
                      <a:pt x="1380" y="182"/>
                    </a:lnTo>
                    <a:lnTo>
                      <a:pt x="1387" y="175"/>
                    </a:lnTo>
                    <a:lnTo>
                      <a:pt x="1383" y="137"/>
                    </a:lnTo>
                    <a:lnTo>
                      <a:pt x="1399" y="120"/>
                    </a:lnTo>
                    <a:lnTo>
                      <a:pt x="1406" y="120"/>
                    </a:lnTo>
                    <a:lnTo>
                      <a:pt x="1416" y="130"/>
                    </a:lnTo>
                    <a:lnTo>
                      <a:pt x="1421" y="139"/>
                    </a:lnTo>
                    <a:lnTo>
                      <a:pt x="1428" y="156"/>
                    </a:lnTo>
                    <a:lnTo>
                      <a:pt x="1428" y="182"/>
                    </a:lnTo>
                    <a:lnTo>
                      <a:pt x="1402" y="217"/>
                    </a:lnTo>
                    <a:lnTo>
                      <a:pt x="1385" y="248"/>
                    </a:lnTo>
                    <a:lnTo>
                      <a:pt x="1373" y="258"/>
                    </a:lnTo>
                    <a:lnTo>
                      <a:pt x="1357" y="258"/>
                    </a:lnTo>
                    <a:lnTo>
                      <a:pt x="1335" y="255"/>
                    </a:lnTo>
                    <a:lnTo>
                      <a:pt x="1326" y="255"/>
                    </a:lnTo>
                    <a:lnTo>
                      <a:pt x="1319" y="260"/>
                    </a:lnTo>
                    <a:lnTo>
                      <a:pt x="1314" y="253"/>
                    </a:lnTo>
                    <a:lnTo>
                      <a:pt x="1307" y="239"/>
                    </a:lnTo>
                    <a:lnTo>
                      <a:pt x="1298" y="234"/>
                    </a:lnTo>
                    <a:lnTo>
                      <a:pt x="1293" y="236"/>
                    </a:lnTo>
                    <a:lnTo>
                      <a:pt x="1293" y="253"/>
                    </a:lnTo>
                    <a:lnTo>
                      <a:pt x="1276" y="262"/>
                    </a:lnTo>
                    <a:lnTo>
                      <a:pt x="1250" y="260"/>
                    </a:lnTo>
                    <a:lnTo>
                      <a:pt x="1220" y="253"/>
                    </a:lnTo>
                    <a:lnTo>
                      <a:pt x="1234" y="265"/>
                    </a:lnTo>
                    <a:lnTo>
                      <a:pt x="1305" y="277"/>
                    </a:lnTo>
                    <a:lnTo>
                      <a:pt x="1312" y="281"/>
                    </a:lnTo>
                    <a:lnTo>
                      <a:pt x="1321" y="286"/>
                    </a:lnTo>
                    <a:lnTo>
                      <a:pt x="1314" y="300"/>
                    </a:lnTo>
                    <a:lnTo>
                      <a:pt x="1309" y="314"/>
                    </a:lnTo>
                    <a:lnTo>
                      <a:pt x="1312" y="324"/>
                    </a:lnTo>
                    <a:lnTo>
                      <a:pt x="1309" y="331"/>
                    </a:lnTo>
                    <a:lnTo>
                      <a:pt x="1288" y="355"/>
                    </a:lnTo>
                    <a:lnTo>
                      <a:pt x="1274" y="355"/>
                    </a:lnTo>
                    <a:lnTo>
                      <a:pt x="1231" y="331"/>
                    </a:lnTo>
                    <a:lnTo>
                      <a:pt x="1253" y="355"/>
                    </a:lnTo>
                    <a:lnTo>
                      <a:pt x="1269" y="362"/>
                    </a:lnTo>
                    <a:lnTo>
                      <a:pt x="1295" y="362"/>
                    </a:lnTo>
                    <a:lnTo>
                      <a:pt x="1343" y="343"/>
                    </a:lnTo>
                    <a:lnTo>
                      <a:pt x="1361" y="350"/>
                    </a:lnTo>
                    <a:lnTo>
                      <a:pt x="1352" y="371"/>
                    </a:lnTo>
                    <a:lnTo>
                      <a:pt x="1343" y="388"/>
                    </a:lnTo>
                    <a:lnTo>
                      <a:pt x="1326" y="392"/>
                    </a:lnTo>
                    <a:lnTo>
                      <a:pt x="1312" y="400"/>
                    </a:lnTo>
                    <a:lnTo>
                      <a:pt x="1309" y="411"/>
                    </a:lnTo>
                    <a:lnTo>
                      <a:pt x="1298" y="414"/>
                    </a:lnTo>
                    <a:lnTo>
                      <a:pt x="1281" y="418"/>
                    </a:lnTo>
                    <a:lnTo>
                      <a:pt x="1255" y="423"/>
                    </a:lnTo>
                    <a:lnTo>
                      <a:pt x="1241" y="426"/>
                    </a:lnTo>
                    <a:lnTo>
                      <a:pt x="1224" y="449"/>
                    </a:lnTo>
                    <a:lnTo>
                      <a:pt x="1217" y="452"/>
                    </a:lnTo>
                    <a:lnTo>
                      <a:pt x="1205" y="452"/>
                    </a:lnTo>
                    <a:lnTo>
                      <a:pt x="1198" y="437"/>
                    </a:lnTo>
                    <a:lnTo>
                      <a:pt x="1191" y="430"/>
                    </a:lnTo>
                    <a:lnTo>
                      <a:pt x="1198" y="459"/>
                    </a:lnTo>
                    <a:lnTo>
                      <a:pt x="1201" y="466"/>
                    </a:lnTo>
                    <a:lnTo>
                      <a:pt x="1205" y="470"/>
                    </a:lnTo>
                    <a:lnTo>
                      <a:pt x="1187" y="492"/>
                    </a:lnTo>
                    <a:lnTo>
                      <a:pt x="1168" y="515"/>
                    </a:lnTo>
                    <a:lnTo>
                      <a:pt x="1161" y="522"/>
                    </a:lnTo>
                    <a:lnTo>
                      <a:pt x="1153" y="534"/>
                    </a:lnTo>
                    <a:lnTo>
                      <a:pt x="1139" y="565"/>
                    </a:lnTo>
                    <a:lnTo>
                      <a:pt x="1139" y="586"/>
                    </a:lnTo>
                    <a:lnTo>
                      <a:pt x="1137" y="612"/>
                    </a:lnTo>
                    <a:lnTo>
                      <a:pt x="1135" y="600"/>
                    </a:lnTo>
                    <a:lnTo>
                      <a:pt x="1132" y="584"/>
                    </a:lnTo>
                    <a:lnTo>
                      <a:pt x="1123" y="565"/>
                    </a:lnTo>
                    <a:lnTo>
                      <a:pt x="1127" y="603"/>
                    </a:lnTo>
                    <a:lnTo>
                      <a:pt x="1123" y="619"/>
                    </a:lnTo>
                    <a:lnTo>
                      <a:pt x="1057" y="631"/>
                    </a:lnTo>
                    <a:lnTo>
                      <a:pt x="1031" y="645"/>
                    </a:lnTo>
                    <a:lnTo>
                      <a:pt x="1000" y="626"/>
                    </a:lnTo>
                    <a:lnTo>
                      <a:pt x="974" y="608"/>
                    </a:lnTo>
                    <a:lnTo>
                      <a:pt x="945" y="589"/>
                    </a:lnTo>
                    <a:lnTo>
                      <a:pt x="917" y="567"/>
                    </a:lnTo>
                    <a:lnTo>
                      <a:pt x="889" y="548"/>
                    </a:lnTo>
                    <a:lnTo>
                      <a:pt x="863" y="530"/>
                    </a:lnTo>
                    <a:lnTo>
                      <a:pt x="834" y="511"/>
                    </a:lnTo>
                    <a:lnTo>
                      <a:pt x="808" y="492"/>
                    </a:lnTo>
                    <a:lnTo>
                      <a:pt x="782" y="494"/>
                    </a:lnTo>
                    <a:lnTo>
                      <a:pt x="759" y="499"/>
                    </a:lnTo>
                    <a:lnTo>
                      <a:pt x="735" y="501"/>
                    </a:lnTo>
                    <a:lnTo>
                      <a:pt x="709" y="504"/>
                    </a:lnTo>
                    <a:lnTo>
                      <a:pt x="685" y="508"/>
                    </a:lnTo>
                    <a:lnTo>
                      <a:pt x="662" y="511"/>
                    </a:lnTo>
                    <a:lnTo>
                      <a:pt x="638" y="515"/>
                    </a:lnTo>
                    <a:lnTo>
                      <a:pt x="612" y="518"/>
                    </a:lnTo>
                    <a:lnTo>
                      <a:pt x="610" y="501"/>
                    </a:lnTo>
                    <a:lnTo>
                      <a:pt x="607" y="489"/>
                    </a:lnTo>
                    <a:lnTo>
                      <a:pt x="589" y="473"/>
                    </a:lnTo>
                    <a:lnTo>
                      <a:pt x="577" y="463"/>
                    </a:lnTo>
                    <a:lnTo>
                      <a:pt x="560" y="475"/>
                    </a:lnTo>
                    <a:lnTo>
                      <a:pt x="558" y="470"/>
                    </a:lnTo>
                    <a:lnTo>
                      <a:pt x="558" y="463"/>
                    </a:lnTo>
                    <a:lnTo>
                      <a:pt x="555" y="461"/>
                    </a:lnTo>
                    <a:lnTo>
                      <a:pt x="551" y="459"/>
                    </a:lnTo>
                    <a:lnTo>
                      <a:pt x="522" y="461"/>
                    </a:lnTo>
                    <a:lnTo>
                      <a:pt x="496" y="466"/>
                    </a:lnTo>
                    <a:lnTo>
                      <a:pt x="468" y="468"/>
                    </a:lnTo>
                    <a:lnTo>
                      <a:pt x="440" y="470"/>
                    </a:lnTo>
                    <a:lnTo>
                      <a:pt x="414" y="475"/>
                    </a:lnTo>
                    <a:lnTo>
                      <a:pt x="385" y="478"/>
                    </a:lnTo>
                    <a:lnTo>
                      <a:pt x="359" y="480"/>
                    </a:lnTo>
                    <a:lnTo>
                      <a:pt x="331" y="482"/>
                    </a:lnTo>
                    <a:lnTo>
                      <a:pt x="326" y="482"/>
                    </a:lnTo>
                    <a:lnTo>
                      <a:pt x="314" y="492"/>
                    </a:lnTo>
                    <a:lnTo>
                      <a:pt x="284" y="506"/>
                    </a:lnTo>
                    <a:lnTo>
                      <a:pt x="269" y="518"/>
                    </a:lnTo>
                    <a:lnTo>
                      <a:pt x="262" y="518"/>
                    </a:lnTo>
                    <a:lnTo>
                      <a:pt x="236" y="532"/>
                    </a:lnTo>
                    <a:lnTo>
                      <a:pt x="210" y="544"/>
                    </a:lnTo>
                    <a:lnTo>
                      <a:pt x="208" y="544"/>
                    </a:lnTo>
                    <a:lnTo>
                      <a:pt x="156" y="553"/>
                    </a:lnTo>
                    <a:lnTo>
                      <a:pt x="104" y="560"/>
                    </a:lnTo>
                    <a:lnTo>
                      <a:pt x="52" y="567"/>
                    </a:lnTo>
                    <a:lnTo>
                      <a:pt x="0" y="574"/>
                    </a:lnTo>
                    <a:lnTo>
                      <a:pt x="2" y="530"/>
                    </a:lnTo>
                    <a:lnTo>
                      <a:pt x="5" y="520"/>
                    </a:lnTo>
                    <a:lnTo>
                      <a:pt x="9" y="515"/>
                    </a:lnTo>
                    <a:lnTo>
                      <a:pt x="26" y="513"/>
                    </a:lnTo>
                    <a:lnTo>
                      <a:pt x="38" y="508"/>
                    </a:lnTo>
                    <a:lnTo>
                      <a:pt x="45" y="480"/>
                    </a:lnTo>
                    <a:lnTo>
                      <a:pt x="64" y="454"/>
                    </a:lnTo>
                    <a:lnTo>
                      <a:pt x="73" y="449"/>
                    </a:lnTo>
                    <a:lnTo>
                      <a:pt x="87" y="442"/>
                    </a:lnTo>
                    <a:lnTo>
                      <a:pt x="123" y="433"/>
                    </a:lnTo>
                    <a:lnTo>
                      <a:pt x="158" y="407"/>
                    </a:lnTo>
                    <a:lnTo>
                      <a:pt x="184" y="383"/>
                    </a:lnTo>
                    <a:lnTo>
                      <a:pt x="206" y="373"/>
                    </a:lnTo>
                    <a:lnTo>
                      <a:pt x="210" y="366"/>
                    </a:lnTo>
                    <a:lnTo>
                      <a:pt x="215" y="357"/>
                    </a:lnTo>
                    <a:lnTo>
                      <a:pt x="215" y="343"/>
                    </a:lnTo>
                    <a:lnTo>
                      <a:pt x="217" y="340"/>
                    </a:lnTo>
                    <a:lnTo>
                      <a:pt x="232" y="340"/>
                    </a:lnTo>
                    <a:lnTo>
                      <a:pt x="239" y="326"/>
                    </a:lnTo>
                    <a:lnTo>
                      <a:pt x="248" y="319"/>
                    </a:lnTo>
                    <a:lnTo>
                      <a:pt x="255" y="314"/>
                    </a:lnTo>
                    <a:lnTo>
                      <a:pt x="262" y="314"/>
                    </a:lnTo>
                    <a:lnTo>
                      <a:pt x="265" y="317"/>
                    </a:lnTo>
                    <a:lnTo>
                      <a:pt x="267" y="326"/>
                    </a:lnTo>
                    <a:lnTo>
                      <a:pt x="269" y="329"/>
                    </a:lnTo>
                    <a:lnTo>
                      <a:pt x="274" y="329"/>
                    </a:lnTo>
                    <a:lnTo>
                      <a:pt x="279" y="326"/>
                    </a:lnTo>
                    <a:lnTo>
                      <a:pt x="286" y="319"/>
                    </a:lnTo>
                    <a:lnTo>
                      <a:pt x="300" y="298"/>
                    </a:lnTo>
                    <a:lnTo>
                      <a:pt x="312" y="288"/>
                    </a:lnTo>
                    <a:lnTo>
                      <a:pt x="331" y="281"/>
                    </a:lnTo>
                    <a:lnTo>
                      <a:pt x="345" y="288"/>
                    </a:lnTo>
                    <a:lnTo>
                      <a:pt x="355" y="284"/>
                    </a:lnTo>
                    <a:lnTo>
                      <a:pt x="371" y="241"/>
                    </a:lnTo>
                    <a:lnTo>
                      <a:pt x="381" y="234"/>
                    </a:lnTo>
                    <a:lnTo>
                      <a:pt x="388" y="229"/>
                    </a:lnTo>
                    <a:lnTo>
                      <a:pt x="399" y="227"/>
                    </a:lnTo>
                    <a:lnTo>
                      <a:pt x="397" y="217"/>
                    </a:lnTo>
                    <a:lnTo>
                      <a:pt x="399" y="201"/>
                    </a:lnTo>
                    <a:lnTo>
                      <a:pt x="399" y="189"/>
                    </a:lnTo>
                    <a:lnTo>
                      <a:pt x="404" y="173"/>
                    </a:lnTo>
                    <a:lnTo>
                      <a:pt x="407" y="175"/>
                    </a:lnTo>
                    <a:lnTo>
                      <a:pt x="468" y="165"/>
                    </a:lnTo>
                    <a:lnTo>
                      <a:pt x="529" y="156"/>
                    </a:lnTo>
                    <a:lnTo>
                      <a:pt x="589" y="147"/>
                    </a:lnTo>
                    <a:lnTo>
                      <a:pt x="650" y="137"/>
                    </a:lnTo>
                    <a:lnTo>
                      <a:pt x="709" y="125"/>
                    </a:lnTo>
                    <a:lnTo>
                      <a:pt x="771" y="116"/>
                    </a:lnTo>
                    <a:lnTo>
                      <a:pt x="832" y="106"/>
                    </a:lnTo>
                    <a:lnTo>
                      <a:pt x="891" y="94"/>
                    </a:lnTo>
                    <a:lnTo>
                      <a:pt x="953" y="83"/>
                    </a:lnTo>
                    <a:lnTo>
                      <a:pt x="1012" y="71"/>
                    </a:lnTo>
                    <a:lnTo>
                      <a:pt x="1073" y="61"/>
                    </a:lnTo>
                    <a:lnTo>
                      <a:pt x="1132" y="50"/>
                    </a:lnTo>
                    <a:lnTo>
                      <a:pt x="1194" y="35"/>
                    </a:lnTo>
                    <a:lnTo>
                      <a:pt x="1253" y="24"/>
                    </a:lnTo>
                    <a:lnTo>
                      <a:pt x="1312" y="12"/>
                    </a:lnTo>
                    <a:lnTo>
                      <a:pt x="1354" y="2"/>
                    </a:lnTo>
                    <a:close/>
                    <a:moveTo>
                      <a:pt x="1366" y="0"/>
                    </a:moveTo>
                    <a:lnTo>
                      <a:pt x="1371" y="0"/>
                    </a:lnTo>
                    <a:lnTo>
                      <a:pt x="1404" y="61"/>
                    </a:lnTo>
                    <a:lnTo>
                      <a:pt x="1454" y="125"/>
                    </a:lnTo>
                    <a:lnTo>
                      <a:pt x="1461" y="137"/>
                    </a:lnTo>
                    <a:lnTo>
                      <a:pt x="1449" y="128"/>
                    </a:lnTo>
                    <a:lnTo>
                      <a:pt x="1413" y="85"/>
                    </a:lnTo>
                    <a:lnTo>
                      <a:pt x="1392" y="54"/>
                    </a:lnTo>
                    <a:lnTo>
                      <a:pt x="1366" y="0"/>
                    </a:lnTo>
                    <a:close/>
                    <a:moveTo>
                      <a:pt x="1442" y="132"/>
                    </a:moveTo>
                    <a:lnTo>
                      <a:pt x="1439" y="137"/>
                    </a:lnTo>
                    <a:lnTo>
                      <a:pt x="1423" y="118"/>
                    </a:lnTo>
                    <a:lnTo>
                      <a:pt x="1437" y="123"/>
                    </a:lnTo>
                    <a:lnTo>
                      <a:pt x="1439" y="128"/>
                    </a:lnTo>
                    <a:lnTo>
                      <a:pt x="1442" y="132"/>
                    </a:lnTo>
                    <a:close/>
                    <a:moveTo>
                      <a:pt x="1484" y="255"/>
                    </a:moveTo>
                    <a:lnTo>
                      <a:pt x="1463" y="267"/>
                    </a:lnTo>
                    <a:lnTo>
                      <a:pt x="1461" y="265"/>
                    </a:lnTo>
                    <a:lnTo>
                      <a:pt x="1484" y="248"/>
                    </a:lnTo>
                    <a:lnTo>
                      <a:pt x="1484" y="206"/>
                    </a:lnTo>
                    <a:lnTo>
                      <a:pt x="1480" y="184"/>
                    </a:lnTo>
                    <a:lnTo>
                      <a:pt x="1468" y="154"/>
                    </a:lnTo>
                    <a:lnTo>
                      <a:pt x="1468" y="147"/>
                    </a:lnTo>
                    <a:lnTo>
                      <a:pt x="1475" y="156"/>
                    </a:lnTo>
                    <a:lnTo>
                      <a:pt x="1484" y="187"/>
                    </a:lnTo>
                    <a:lnTo>
                      <a:pt x="1489" y="210"/>
                    </a:lnTo>
                    <a:lnTo>
                      <a:pt x="1489" y="246"/>
                    </a:lnTo>
                    <a:lnTo>
                      <a:pt x="1484" y="255"/>
                    </a:lnTo>
                    <a:close/>
                    <a:moveTo>
                      <a:pt x="1447" y="274"/>
                    </a:moveTo>
                    <a:lnTo>
                      <a:pt x="1421" y="298"/>
                    </a:lnTo>
                    <a:lnTo>
                      <a:pt x="1416" y="298"/>
                    </a:lnTo>
                    <a:lnTo>
                      <a:pt x="1435" y="281"/>
                    </a:lnTo>
                    <a:lnTo>
                      <a:pt x="1447" y="274"/>
                    </a:lnTo>
                    <a:close/>
                    <a:moveTo>
                      <a:pt x="1350" y="416"/>
                    </a:moveTo>
                    <a:lnTo>
                      <a:pt x="1347" y="418"/>
                    </a:lnTo>
                    <a:lnTo>
                      <a:pt x="1357" y="390"/>
                    </a:lnTo>
                    <a:lnTo>
                      <a:pt x="1380" y="350"/>
                    </a:lnTo>
                    <a:lnTo>
                      <a:pt x="1387" y="343"/>
                    </a:lnTo>
                    <a:lnTo>
                      <a:pt x="1369" y="376"/>
                    </a:lnTo>
                    <a:lnTo>
                      <a:pt x="1350" y="416"/>
                    </a:lnTo>
                    <a:close/>
                    <a:moveTo>
                      <a:pt x="1343" y="414"/>
                    </a:moveTo>
                    <a:lnTo>
                      <a:pt x="1338" y="416"/>
                    </a:lnTo>
                    <a:lnTo>
                      <a:pt x="1331" y="414"/>
                    </a:lnTo>
                    <a:lnTo>
                      <a:pt x="1321" y="411"/>
                    </a:lnTo>
                    <a:lnTo>
                      <a:pt x="1319" y="409"/>
                    </a:lnTo>
                    <a:lnTo>
                      <a:pt x="1328" y="409"/>
                    </a:lnTo>
                    <a:lnTo>
                      <a:pt x="1343" y="41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2" name="Freeform 70">
                <a:extLst>
                  <a:ext uri="{FF2B5EF4-FFF2-40B4-BE49-F238E27FC236}">
                    <a16:creationId xmlns:a16="http://schemas.microsoft.com/office/drawing/2014/main" id="{FDF690E0-7E9D-D6F6-B5FE-71598D5CBE32}"/>
                  </a:ext>
                </a:extLst>
              </p:cNvPr>
              <p:cNvSpPr>
                <a:spLocks/>
              </p:cNvSpPr>
              <p:nvPr/>
            </p:nvSpPr>
            <p:spPr bwMode="auto">
              <a:xfrm>
                <a:off x="3524" y="-842"/>
                <a:ext cx="1102" cy="698"/>
              </a:xfrm>
              <a:custGeom>
                <a:avLst/>
                <a:gdLst>
                  <a:gd name="T0" fmla="*/ 1066 w 1102"/>
                  <a:gd name="T1" fmla="*/ 698 h 698"/>
                  <a:gd name="T2" fmla="*/ 998 w 1102"/>
                  <a:gd name="T3" fmla="*/ 698 h 698"/>
                  <a:gd name="T4" fmla="*/ 929 w 1102"/>
                  <a:gd name="T5" fmla="*/ 695 h 698"/>
                  <a:gd name="T6" fmla="*/ 861 w 1102"/>
                  <a:gd name="T7" fmla="*/ 695 h 698"/>
                  <a:gd name="T8" fmla="*/ 792 w 1102"/>
                  <a:gd name="T9" fmla="*/ 693 h 698"/>
                  <a:gd name="T10" fmla="*/ 724 w 1102"/>
                  <a:gd name="T11" fmla="*/ 691 h 698"/>
                  <a:gd name="T12" fmla="*/ 655 w 1102"/>
                  <a:gd name="T13" fmla="*/ 688 h 698"/>
                  <a:gd name="T14" fmla="*/ 587 w 1102"/>
                  <a:gd name="T15" fmla="*/ 686 h 698"/>
                  <a:gd name="T16" fmla="*/ 516 w 1102"/>
                  <a:gd name="T17" fmla="*/ 681 h 698"/>
                  <a:gd name="T18" fmla="*/ 447 w 1102"/>
                  <a:gd name="T19" fmla="*/ 679 h 698"/>
                  <a:gd name="T20" fmla="*/ 379 w 1102"/>
                  <a:gd name="T21" fmla="*/ 674 h 698"/>
                  <a:gd name="T22" fmla="*/ 310 w 1102"/>
                  <a:gd name="T23" fmla="*/ 669 h 698"/>
                  <a:gd name="T24" fmla="*/ 241 w 1102"/>
                  <a:gd name="T25" fmla="*/ 665 h 698"/>
                  <a:gd name="T26" fmla="*/ 173 w 1102"/>
                  <a:gd name="T27" fmla="*/ 660 h 698"/>
                  <a:gd name="T28" fmla="*/ 104 w 1102"/>
                  <a:gd name="T29" fmla="*/ 655 h 698"/>
                  <a:gd name="T30" fmla="*/ 36 w 1102"/>
                  <a:gd name="T31" fmla="*/ 648 h 698"/>
                  <a:gd name="T32" fmla="*/ 5 w 1102"/>
                  <a:gd name="T33" fmla="*/ 606 h 698"/>
                  <a:gd name="T34" fmla="*/ 12 w 1102"/>
                  <a:gd name="T35" fmla="*/ 525 h 698"/>
                  <a:gd name="T36" fmla="*/ 17 w 1102"/>
                  <a:gd name="T37" fmla="*/ 445 h 698"/>
                  <a:gd name="T38" fmla="*/ 24 w 1102"/>
                  <a:gd name="T39" fmla="*/ 364 h 698"/>
                  <a:gd name="T40" fmla="*/ 31 w 1102"/>
                  <a:gd name="T41" fmla="*/ 284 h 698"/>
                  <a:gd name="T42" fmla="*/ 38 w 1102"/>
                  <a:gd name="T43" fmla="*/ 201 h 698"/>
                  <a:gd name="T44" fmla="*/ 45 w 1102"/>
                  <a:gd name="T45" fmla="*/ 121 h 698"/>
                  <a:gd name="T46" fmla="*/ 52 w 1102"/>
                  <a:gd name="T47" fmla="*/ 40 h 698"/>
                  <a:gd name="T48" fmla="*/ 71 w 1102"/>
                  <a:gd name="T49" fmla="*/ 0 h 698"/>
                  <a:gd name="T50" fmla="*/ 189 w 1102"/>
                  <a:gd name="T51" fmla="*/ 10 h 698"/>
                  <a:gd name="T52" fmla="*/ 310 w 1102"/>
                  <a:gd name="T53" fmla="*/ 19 h 698"/>
                  <a:gd name="T54" fmla="*/ 431 w 1102"/>
                  <a:gd name="T55" fmla="*/ 26 h 698"/>
                  <a:gd name="T56" fmla="*/ 549 w 1102"/>
                  <a:gd name="T57" fmla="*/ 33 h 698"/>
                  <a:gd name="T58" fmla="*/ 669 w 1102"/>
                  <a:gd name="T59" fmla="*/ 38 h 698"/>
                  <a:gd name="T60" fmla="*/ 790 w 1102"/>
                  <a:gd name="T61" fmla="*/ 43 h 698"/>
                  <a:gd name="T62" fmla="*/ 908 w 1102"/>
                  <a:gd name="T63" fmla="*/ 45 h 698"/>
                  <a:gd name="T64" fmla="*/ 1012 w 1102"/>
                  <a:gd name="T65" fmla="*/ 48 h 698"/>
                  <a:gd name="T66" fmla="*/ 1024 w 1102"/>
                  <a:gd name="T67" fmla="*/ 133 h 698"/>
                  <a:gd name="T68" fmla="*/ 1024 w 1102"/>
                  <a:gd name="T69" fmla="*/ 166 h 698"/>
                  <a:gd name="T70" fmla="*/ 1024 w 1102"/>
                  <a:gd name="T71" fmla="*/ 199 h 698"/>
                  <a:gd name="T72" fmla="*/ 1031 w 1102"/>
                  <a:gd name="T73" fmla="*/ 251 h 698"/>
                  <a:gd name="T74" fmla="*/ 1040 w 1102"/>
                  <a:gd name="T75" fmla="*/ 284 h 698"/>
                  <a:gd name="T76" fmla="*/ 1048 w 1102"/>
                  <a:gd name="T77" fmla="*/ 312 h 698"/>
                  <a:gd name="T78" fmla="*/ 1059 w 1102"/>
                  <a:gd name="T79" fmla="*/ 383 h 698"/>
                  <a:gd name="T80" fmla="*/ 1064 w 1102"/>
                  <a:gd name="T81" fmla="*/ 468 h 698"/>
                  <a:gd name="T82" fmla="*/ 1071 w 1102"/>
                  <a:gd name="T83" fmla="*/ 490 h 698"/>
                  <a:gd name="T84" fmla="*/ 1069 w 1102"/>
                  <a:gd name="T85" fmla="*/ 516 h 698"/>
                  <a:gd name="T86" fmla="*/ 1074 w 1102"/>
                  <a:gd name="T87" fmla="*/ 561 h 698"/>
                  <a:gd name="T88" fmla="*/ 1092 w 1102"/>
                  <a:gd name="T89" fmla="*/ 617 h 698"/>
                  <a:gd name="T90" fmla="*/ 1097 w 1102"/>
                  <a:gd name="T91" fmla="*/ 639 h 698"/>
                  <a:gd name="T92" fmla="*/ 1100 w 1102"/>
                  <a:gd name="T93" fmla="*/ 681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2" h="698">
                    <a:moveTo>
                      <a:pt x="1102" y="698"/>
                    </a:moveTo>
                    <a:lnTo>
                      <a:pt x="1066" y="698"/>
                    </a:lnTo>
                    <a:lnTo>
                      <a:pt x="1033" y="698"/>
                    </a:lnTo>
                    <a:lnTo>
                      <a:pt x="998" y="698"/>
                    </a:lnTo>
                    <a:lnTo>
                      <a:pt x="965" y="698"/>
                    </a:lnTo>
                    <a:lnTo>
                      <a:pt x="929" y="695"/>
                    </a:lnTo>
                    <a:lnTo>
                      <a:pt x="896" y="695"/>
                    </a:lnTo>
                    <a:lnTo>
                      <a:pt x="861" y="695"/>
                    </a:lnTo>
                    <a:lnTo>
                      <a:pt x="825" y="693"/>
                    </a:lnTo>
                    <a:lnTo>
                      <a:pt x="792" y="693"/>
                    </a:lnTo>
                    <a:lnTo>
                      <a:pt x="757" y="691"/>
                    </a:lnTo>
                    <a:lnTo>
                      <a:pt x="724" y="691"/>
                    </a:lnTo>
                    <a:lnTo>
                      <a:pt x="688" y="688"/>
                    </a:lnTo>
                    <a:lnTo>
                      <a:pt x="655" y="688"/>
                    </a:lnTo>
                    <a:lnTo>
                      <a:pt x="620" y="686"/>
                    </a:lnTo>
                    <a:lnTo>
                      <a:pt x="587" y="686"/>
                    </a:lnTo>
                    <a:lnTo>
                      <a:pt x="551" y="684"/>
                    </a:lnTo>
                    <a:lnTo>
                      <a:pt x="516" y="681"/>
                    </a:lnTo>
                    <a:lnTo>
                      <a:pt x="483" y="681"/>
                    </a:lnTo>
                    <a:lnTo>
                      <a:pt x="447" y="679"/>
                    </a:lnTo>
                    <a:lnTo>
                      <a:pt x="414" y="676"/>
                    </a:lnTo>
                    <a:lnTo>
                      <a:pt x="379" y="674"/>
                    </a:lnTo>
                    <a:lnTo>
                      <a:pt x="345" y="672"/>
                    </a:lnTo>
                    <a:lnTo>
                      <a:pt x="310" y="669"/>
                    </a:lnTo>
                    <a:lnTo>
                      <a:pt x="277" y="667"/>
                    </a:lnTo>
                    <a:lnTo>
                      <a:pt x="241" y="665"/>
                    </a:lnTo>
                    <a:lnTo>
                      <a:pt x="208" y="662"/>
                    </a:lnTo>
                    <a:lnTo>
                      <a:pt x="173" y="660"/>
                    </a:lnTo>
                    <a:lnTo>
                      <a:pt x="137" y="658"/>
                    </a:lnTo>
                    <a:lnTo>
                      <a:pt x="104" y="655"/>
                    </a:lnTo>
                    <a:lnTo>
                      <a:pt x="69" y="653"/>
                    </a:lnTo>
                    <a:lnTo>
                      <a:pt x="36" y="648"/>
                    </a:lnTo>
                    <a:lnTo>
                      <a:pt x="0" y="646"/>
                    </a:lnTo>
                    <a:lnTo>
                      <a:pt x="5" y="606"/>
                    </a:lnTo>
                    <a:lnTo>
                      <a:pt x="7" y="565"/>
                    </a:lnTo>
                    <a:lnTo>
                      <a:pt x="12" y="525"/>
                    </a:lnTo>
                    <a:lnTo>
                      <a:pt x="15" y="485"/>
                    </a:lnTo>
                    <a:lnTo>
                      <a:pt x="17" y="445"/>
                    </a:lnTo>
                    <a:lnTo>
                      <a:pt x="22" y="405"/>
                    </a:lnTo>
                    <a:lnTo>
                      <a:pt x="24" y="364"/>
                    </a:lnTo>
                    <a:lnTo>
                      <a:pt x="29" y="324"/>
                    </a:lnTo>
                    <a:lnTo>
                      <a:pt x="31" y="284"/>
                    </a:lnTo>
                    <a:lnTo>
                      <a:pt x="36" y="241"/>
                    </a:lnTo>
                    <a:lnTo>
                      <a:pt x="38" y="201"/>
                    </a:lnTo>
                    <a:lnTo>
                      <a:pt x="41" y="161"/>
                    </a:lnTo>
                    <a:lnTo>
                      <a:pt x="45" y="121"/>
                    </a:lnTo>
                    <a:lnTo>
                      <a:pt x="48" y="81"/>
                    </a:lnTo>
                    <a:lnTo>
                      <a:pt x="52" y="40"/>
                    </a:lnTo>
                    <a:lnTo>
                      <a:pt x="55" y="0"/>
                    </a:lnTo>
                    <a:lnTo>
                      <a:pt x="71" y="0"/>
                    </a:lnTo>
                    <a:lnTo>
                      <a:pt x="130" y="5"/>
                    </a:lnTo>
                    <a:lnTo>
                      <a:pt x="189" y="10"/>
                    </a:lnTo>
                    <a:lnTo>
                      <a:pt x="251" y="14"/>
                    </a:lnTo>
                    <a:lnTo>
                      <a:pt x="310" y="19"/>
                    </a:lnTo>
                    <a:lnTo>
                      <a:pt x="369" y="24"/>
                    </a:lnTo>
                    <a:lnTo>
                      <a:pt x="431" y="26"/>
                    </a:lnTo>
                    <a:lnTo>
                      <a:pt x="490" y="31"/>
                    </a:lnTo>
                    <a:lnTo>
                      <a:pt x="549" y="33"/>
                    </a:lnTo>
                    <a:lnTo>
                      <a:pt x="610" y="36"/>
                    </a:lnTo>
                    <a:lnTo>
                      <a:pt x="669" y="38"/>
                    </a:lnTo>
                    <a:lnTo>
                      <a:pt x="728" y="40"/>
                    </a:lnTo>
                    <a:lnTo>
                      <a:pt x="790" y="43"/>
                    </a:lnTo>
                    <a:lnTo>
                      <a:pt x="849" y="45"/>
                    </a:lnTo>
                    <a:lnTo>
                      <a:pt x="908" y="45"/>
                    </a:lnTo>
                    <a:lnTo>
                      <a:pt x="970" y="48"/>
                    </a:lnTo>
                    <a:lnTo>
                      <a:pt x="1012" y="48"/>
                    </a:lnTo>
                    <a:lnTo>
                      <a:pt x="1024" y="114"/>
                    </a:lnTo>
                    <a:lnTo>
                      <a:pt x="1024" y="133"/>
                    </a:lnTo>
                    <a:lnTo>
                      <a:pt x="1022" y="147"/>
                    </a:lnTo>
                    <a:lnTo>
                      <a:pt x="1024" y="166"/>
                    </a:lnTo>
                    <a:lnTo>
                      <a:pt x="1022" y="180"/>
                    </a:lnTo>
                    <a:lnTo>
                      <a:pt x="1024" y="199"/>
                    </a:lnTo>
                    <a:lnTo>
                      <a:pt x="1024" y="223"/>
                    </a:lnTo>
                    <a:lnTo>
                      <a:pt x="1031" y="251"/>
                    </a:lnTo>
                    <a:lnTo>
                      <a:pt x="1040" y="277"/>
                    </a:lnTo>
                    <a:lnTo>
                      <a:pt x="1040" y="284"/>
                    </a:lnTo>
                    <a:lnTo>
                      <a:pt x="1043" y="298"/>
                    </a:lnTo>
                    <a:lnTo>
                      <a:pt x="1048" y="312"/>
                    </a:lnTo>
                    <a:lnTo>
                      <a:pt x="1062" y="348"/>
                    </a:lnTo>
                    <a:lnTo>
                      <a:pt x="1059" y="383"/>
                    </a:lnTo>
                    <a:lnTo>
                      <a:pt x="1062" y="395"/>
                    </a:lnTo>
                    <a:lnTo>
                      <a:pt x="1064" y="468"/>
                    </a:lnTo>
                    <a:lnTo>
                      <a:pt x="1064" y="480"/>
                    </a:lnTo>
                    <a:lnTo>
                      <a:pt x="1071" y="490"/>
                    </a:lnTo>
                    <a:lnTo>
                      <a:pt x="1069" y="509"/>
                    </a:lnTo>
                    <a:lnTo>
                      <a:pt x="1069" y="516"/>
                    </a:lnTo>
                    <a:lnTo>
                      <a:pt x="1069" y="549"/>
                    </a:lnTo>
                    <a:lnTo>
                      <a:pt x="1074" y="561"/>
                    </a:lnTo>
                    <a:lnTo>
                      <a:pt x="1076" y="587"/>
                    </a:lnTo>
                    <a:lnTo>
                      <a:pt x="1092" y="617"/>
                    </a:lnTo>
                    <a:lnTo>
                      <a:pt x="1097" y="629"/>
                    </a:lnTo>
                    <a:lnTo>
                      <a:pt x="1097" y="639"/>
                    </a:lnTo>
                    <a:lnTo>
                      <a:pt x="1102" y="658"/>
                    </a:lnTo>
                    <a:lnTo>
                      <a:pt x="1100" y="681"/>
                    </a:lnTo>
                    <a:lnTo>
                      <a:pt x="1102" y="698"/>
                    </a:lnTo>
                    <a:close/>
                  </a:path>
                </a:pathLst>
              </a:custGeom>
              <a:solidFill>
                <a:schemeClr val="accent1"/>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3" name="Freeform 71">
                <a:extLst>
                  <a:ext uri="{FF2B5EF4-FFF2-40B4-BE49-F238E27FC236}">
                    <a16:creationId xmlns:a16="http://schemas.microsoft.com/office/drawing/2014/main" id="{7981211D-A21B-C1C2-5A98-3EC0912EB6DA}"/>
                  </a:ext>
                </a:extLst>
              </p:cNvPr>
              <p:cNvSpPr>
                <a:spLocks/>
              </p:cNvSpPr>
              <p:nvPr/>
            </p:nvSpPr>
            <p:spPr bwMode="auto">
              <a:xfrm>
                <a:off x="3432" y="423"/>
                <a:ext cx="1381" cy="686"/>
              </a:xfrm>
              <a:custGeom>
                <a:avLst/>
                <a:gdLst>
                  <a:gd name="T0" fmla="*/ 1206 w 1381"/>
                  <a:gd name="T1" fmla="*/ 159 h 686"/>
                  <a:gd name="T2" fmla="*/ 1220 w 1381"/>
                  <a:gd name="T3" fmla="*/ 211 h 686"/>
                  <a:gd name="T4" fmla="*/ 1244 w 1381"/>
                  <a:gd name="T5" fmla="*/ 258 h 686"/>
                  <a:gd name="T6" fmla="*/ 1253 w 1381"/>
                  <a:gd name="T7" fmla="*/ 284 h 686"/>
                  <a:gd name="T8" fmla="*/ 1262 w 1381"/>
                  <a:gd name="T9" fmla="*/ 303 h 686"/>
                  <a:gd name="T10" fmla="*/ 1265 w 1381"/>
                  <a:gd name="T11" fmla="*/ 348 h 686"/>
                  <a:gd name="T12" fmla="*/ 1274 w 1381"/>
                  <a:gd name="T13" fmla="*/ 364 h 686"/>
                  <a:gd name="T14" fmla="*/ 1277 w 1381"/>
                  <a:gd name="T15" fmla="*/ 374 h 686"/>
                  <a:gd name="T16" fmla="*/ 1286 w 1381"/>
                  <a:gd name="T17" fmla="*/ 379 h 686"/>
                  <a:gd name="T18" fmla="*/ 1284 w 1381"/>
                  <a:gd name="T19" fmla="*/ 400 h 686"/>
                  <a:gd name="T20" fmla="*/ 1293 w 1381"/>
                  <a:gd name="T21" fmla="*/ 409 h 686"/>
                  <a:gd name="T22" fmla="*/ 1291 w 1381"/>
                  <a:gd name="T23" fmla="*/ 426 h 686"/>
                  <a:gd name="T24" fmla="*/ 1298 w 1381"/>
                  <a:gd name="T25" fmla="*/ 438 h 686"/>
                  <a:gd name="T26" fmla="*/ 1303 w 1381"/>
                  <a:gd name="T27" fmla="*/ 499 h 686"/>
                  <a:gd name="T28" fmla="*/ 1298 w 1381"/>
                  <a:gd name="T29" fmla="*/ 530 h 686"/>
                  <a:gd name="T30" fmla="*/ 1314 w 1381"/>
                  <a:gd name="T31" fmla="*/ 561 h 686"/>
                  <a:gd name="T32" fmla="*/ 1326 w 1381"/>
                  <a:gd name="T33" fmla="*/ 589 h 686"/>
                  <a:gd name="T34" fmla="*/ 1340 w 1381"/>
                  <a:gd name="T35" fmla="*/ 624 h 686"/>
                  <a:gd name="T36" fmla="*/ 1362 w 1381"/>
                  <a:gd name="T37" fmla="*/ 646 h 686"/>
                  <a:gd name="T38" fmla="*/ 1378 w 1381"/>
                  <a:gd name="T39" fmla="*/ 684 h 686"/>
                  <a:gd name="T40" fmla="*/ 1352 w 1381"/>
                  <a:gd name="T41" fmla="*/ 686 h 686"/>
                  <a:gd name="T42" fmla="*/ 1286 w 1381"/>
                  <a:gd name="T43" fmla="*/ 686 h 686"/>
                  <a:gd name="T44" fmla="*/ 1218 w 1381"/>
                  <a:gd name="T45" fmla="*/ 686 h 686"/>
                  <a:gd name="T46" fmla="*/ 1149 w 1381"/>
                  <a:gd name="T47" fmla="*/ 686 h 686"/>
                  <a:gd name="T48" fmla="*/ 1083 w 1381"/>
                  <a:gd name="T49" fmla="*/ 686 h 686"/>
                  <a:gd name="T50" fmla="*/ 1014 w 1381"/>
                  <a:gd name="T51" fmla="*/ 684 h 686"/>
                  <a:gd name="T52" fmla="*/ 946 w 1381"/>
                  <a:gd name="T53" fmla="*/ 684 h 686"/>
                  <a:gd name="T54" fmla="*/ 880 w 1381"/>
                  <a:gd name="T55" fmla="*/ 681 h 686"/>
                  <a:gd name="T56" fmla="*/ 811 w 1381"/>
                  <a:gd name="T57" fmla="*/ 679 h 686"/>
                  <a:gd name="T58" fmla="*/ 742 w 1381"/>
                  <a:gd name="T59" fmla="*/ 677 h 686"/>
                  <a:gd name="T60" fmla="*/ 676 w 1381"/>
                  <a:gd name="T61" fmla="*/ 674 h 686"/>
                  <a:gd name="T62" fmla="*/ 608 w 1381"/>
                  <a:gd name="T63" fmla="*/ 672 h 686"/>
                  <a:gd name="T64" fmla="*/ 539 w 1381"/>
                  <a:gd name="T65" fmla="*/ 669 h 686"/>
                  <a:gd name="T66" fmla="*/ 473 w 1381"/>
                  <a:gd name="T67" fmla="*/ 665 h 686"/>
                  <a:gd name="T68" fmla="*/ 404 w 1381"/>
                  <a:gd name="T69" fmla="*/ 660 h 686"/>
                  <a:gd name="T70" fmla="*/ 336 w 1381"/>
                  <a:gd name="T71" fmla="*/ 658 h 686"/>
                  <a:gd name="T72" fmla="*/ 305 w 1381"/>
                  <a:gd name="T73" fmla="*/ 629 h 686"/>
                  <a:gd name="T74" fmla="*/ 307 w 1381"/>
                  <a:gd name="T75" fmla="*/ 575 h 686"/>
                  <a:gd name="T76" fmla="*/ 312 w 1381"/>
                  <a:gd name="T77" fmla="*/ 523 h 686"/>
                  <a:gd name="T78" fmla="*/ 315 w 1381"/>
                  <a:gd name="T79" fmla="*/ 471 h 686"/>
                  <a:gd name="T80" fmla="*/ 277 w 1381"/>
                  <a:gd name="T81" fmla="*/ 442 h 686"/>
                  <a:gd name="T82" fmla="*/ 199 w 1381"/>
                  <a:gd name="T83" fmla="*/ 435 h 686"/>
                  <a:gd name="T84" fmla="*/ 118 w 1381"/>
                  <a:gd name="T85" fmla="*/ 431 h 686"/>
                  <a:gd name="T86" fmla="*/ 40 w 1381"/>
                  <a:gd name="T87" fmla="*/ 424 h 686"/>
                  <a:gd name="T88" fmla="*/ 5 w 1381"/>
                  <a:gd name="T89" fmla="*/ 367 h 686"/>
                  <a:gd name="T90" fmla="*/ 14 w 1381"/>
                  <a:gd name="T91" fmla="*/ 263 h 686"/>
                  <a:gd name="T92" fmla="*/ 21 w 1381"/>
                  <a:gd name="T93" fmla="*/ 159 h 686"/>
                  <a:gd name="T94" fmla="*/ 31 w 1381"/>
                  <a:gd name="T95" fmla="*/ 52 h 686"/>
                  <a:gd name="T96" fmla="*/ 90 w 1381"/>
                  <a:gd name="T97" fmla="*/ 5 h 686"/>
                  <a:gd name="T98" fmla="*/ 196 w 1381"/>
                  <a:gd name="T99" fmla="*/ 14 h 686"/>
                  <a:gd name="T100" fmla="*/ 303 w 1381"/>
                  <a:gd name="T101" fmla="*/ 22 h 686"/>
                  <a:gd name="T102" fmla="*/ 409 w 1381"/>
                  <a:gd name="T103" fmla="*/ 29 h 686"/>
                  <a:gd name="T104" fmla="*/ 515 w 1381"/>
                  <a:gd name="T105" fmla="*/ 36 h 686"/>
                  <a:gd name="T106" fmla="*/ 624 w 1381"/>
                  <a:gd name="T107" fmla="*/ 40 h 686"/>
                  <a:gd name="T108" fmla="*/ 731 w 1381"/>
                  <a:gd name="T109" fmla="*/ 45 h 686"/>
                  <a:gd name="T110" fmla="*/ 837 w 1381"/>
                  <a:gd name="T111" fmla="*/ 48 h 686"/>
                  <a:gd name="T112" fmla="*/ 943 w 1381"/>
                  <a:gd name="T113" fmla="*/ 83 h 686"/>
                  <a:gd name="T114" fmla="*/ 984 w 1381"/>
                  <a:gd name="T115" fmla="*/ 85 h 686"/>
                  <a:gd name="T116" fmla="*/ 1057 w 1381"/>
                  <a:gd name="T117" fmla="*/ 78 h 686"/>
                  <a:gd name="T118" fmla="*/ 1095 w 1381"/>
                  <a:gd name="T119" fmla="*/ 95 h 686"/>
                  <a:gd name="T120" fmla="*/ 1151 w 1381"/>
                  <a:gd name="T121" fmla="*/ 118 h 686"/>
                  <a:gd name="T122" fmla="*/ 1177 w 1381"/>
                  <a:gd name="T123" fmla="*/ 147 h 686"/>
                  <a:gd name="T124" fmla="*/ 1201 w 1381"/>
                  <a:gd name="T125" fmla="*/ 159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1" h="686">
                    <a:moveTo>
                      <a:pt x="1201" y="159"/>
                    </a:moveTo>
                    <a:lnTo>
                      <a:pt x="1206" y="159"/>
                    </a:lnTo>
                    <a:lnTo>
                      <a:pt x="1215" y="178"/>
                    </a:lnTo>
                    <a:lnTo>
                      <a:pt x="1220" y="211"/>
                    </a:lnTo>
                    <a:lnTo>
                      <a:pt x="1229" y="239"/>
                    </a:lnTo>
                    <a:lnTo>
                      <a:pt x="1244" y="258"/>
                    </a:lnTo>
                    <a:lnTo>
                      <a:pt x="1253" y="275"/>
                    </a:lnTo>
                    <a:lnTo>
                      <a:pt x="1253" y="284"/>
                    </a:lnTo>
                    <a:lnTo>
                      <a:pt x="1255" y="293"/>
                    </a:lnTo>
                    <a:lnTo>
                      <a:pt x="1262" y="303"/>
                    </a:lnTo>
                    <a:lnTo>
                      <a:pt x="1265" y="322"/>
                    </a:lnTo>
                    <a:lnTo>
                      <a:pt x="1265" y="348"/>
                    </a:lnTo>
                    <a:lnTo>
                      <a:pt x="1267" y="362"/>
                    </a:lnTo>
                    <a:lnTo>
                      <a:pt x="1274" y="364"/>
                    </a:lnTo>
                    <a:lnTo>
                      <a:pt x="1277" y="367"/>
                    </a:lnTo>
                    <a:lnTo>
                      <a:pt x="1277" y="374"/>
                    </a:lnTo>
                    <a:lnTo>
                      <a:pt x="1279" y="376"/>
                    </a:lnTo>
                    <a:lnTo>
                      <a:pt x="1286" y="379"/>
                    </a:lnTo>
                    <a:lnTo>
                      <a:pt x="1286" y="388"/>
                    </a:lnTo>
                    <a:lnTo>
                      <a:pt x="1284" y="400"/>
                    </a:lnTo>
                    <a:lnTo>
                      <a:pt x="1286" y="407"/>
                    </a:lnTo>
                    <a:lnTo>
                      <a:pt x="1293" y="409"/>
                    </a:lnTo>
                    <a:lnTo>
                      <a:pt x="1296" y="416"/>
                    </a:lnTo>
                    <a:lnTo>
                      <a:pt x="1291" y="426"/>
                    </a:lnTo>
                    <a:lnTo>
                      <a:pt x="1291" y="433"/>
                    </a:lnTo>
                    <a:lnTo>
                      <a:pt x="1298" y="438"/>
                    </a:lnTo>
                    <a:lnTo>
                      <a:pt x="1300" y="459"/>
                    </a:lnTo>
                    <a:lnTo>
                      <a:pt x="1303" y="499"/>
                    </a:lnTo>
                    <a:lnTo>
                      <a:pt x="1303" y="523"/>
                    </a:lnTo>
                    <a:lnTo>
                      <a:pt x="1298" y="530"/>
                    </a:lnTo>
                    <a:lnTo>
                      <a:pt x="1305" y="544"/>
                    </a:lnTo>
                    <a:lnTo>
                      <a:pt x="1314" y="561"/>
                    </a:lnTo>
                    <a:lnTo>
                      <a:pt x="1317" y="568"/>
                    </a:lnTo>
                    <a:lnTo>
                      <a:pt x="1326" y="589"/>
                    </a:lnTo>
                    <a:lnTo>
                      <a:pt x="1331" y="610"/>
                    </a:lnTo>
                    <a:lnTo>
                      <a:pt x="1340" y="624"/>
                    </a:lnTo>
                    <a:lnTo>
                      <a:pt x="1352" y="632"/>
                    </a:lnTo>
                    <a:lnTo>
                      <a:pt x="1362" y="646"/>
                    </a:lnTo>
                    <a:lnTo>
                      <a:pt x="1366" y="667"/>
                    </a:lnTo>
                    <a:lnTo>
                      <a:pt x="1378" y="684"/>
                    </a:lnTo>
                    <a:lnTo>
                      <a:pt x="1381" y="686"/>
                    </a:lnTo>
                    <a:lnTo>
                      <a:pt x="1352" y="686"/>
                    </a:lnTo>
                    <a:lnTo>
                      <a:pt x="1319" y="686"/>
                    </a:lnTo>
                    <a:lnTo>
                      <a:pt x="1286" y="686"/>
                    </a:lnTo>
                    <a:lnTo>
                      <a:pt x="1251" y="686"/>
                    </a:lnTo>
                    <a:lnTo>
                      <a:pt x="1218" y="686"/>
                    </a:lnTo>
                    <a:lnTo>
                      <a:pt x="1184" y="686"/>
                    </a:lnTo>
                    <a:lnTo>
                      <a:pt x="1149" y="686"/>
                    </a:lnTo>
                    <a:lnTo>
                      <a:pt x="1116" y="686"/>
                    </a:lnTo>
                    <a:lnTo>
                      <a:pt x="1083" y="686"/>
                    </a:lnTo>
                    <a:lnTo>
                      <a:pt x="1047" y="686"/>
                    </a:lnTo>
                    <a:lnTo>
                      <a:pt x="1014" y="684"/>
                    </a:lnTo>
                    <a:lnTo>
                      <a:pt x="981" y="684"/>
                    </a:lnTo>
                    <a:lnTo>
                      <a:pt x="946" y="684"/>
                    </a:lnTo>
                    <a:lnTo>
                      <a:pt x="913" y="681"/>
                    </a:lnTo>
                    <a:lnTo>
                      <a:pt x="880" y="681"/>
                    </a:lnTo>
                    <a:lnTo>
                      <a:pt x="844" y="681"/>
                    </a:lnTo>
                    <a:lnTo>
                      <a:pt x="811" y="679"/>
                    </a:lnTo>
                    <a:lnTo>
                      <a:pt x="778" y="679"/>
                    </a:lnTo>
                    <a:lnTo>
                      <a:pt x="742" y="677"/>
                    </a:lnTo>
                    <a:lnTo>
                      <a:pt x="709" y="677"/>
                    </a:lnTo>
                    <a:lnTo>
                      <a:pt x="676" y="674"/>
                    </a:lnTo>
                    <a:lnTo>
                      <a:pt x="641" y="674"/>
                    </a:lnTo>
                    <a:lnTo>
                      <a:pt x="608" y="672"/>
                    </a:lnTo>
                    <a:lnTo>
                      <a:pt x="575" y="669"/>
                    </a:lnTo>
                    <a:lnTo>
                      <a:pt x="539" y="669"/>
                    </a:lnTo>
                    <a:lnTo>
                      <a:pt x="506" y="667"/>
                    </a:lnTo>
                    <a:lnTo>
                      <a:pt x="473" y="665"/>
                    </a:lnTo>
                    <a:lnTo>
                      <a:pt x="437" y="662"/>
                    </a:lnTo>
                    <a:lnTo>
                      <a:pt x="404" y="660"/>
                    </a:lnTo>
                    <a:lnTo>
                      <a:pt x="371" y="660"/>
                    </a:lnTo>
                    <a:lnTo>
                      <a:pt x="336" y="658"/>
                    </a:lnTo>
                    <a:lnTo>
                      <a:pt x="303" y="655"/>
                    </a:lnTo>
                    <a:lnTo>
                      <a:pt x="305" y="629"/>
                    </a:lnTo>
                    <a:lnTo>
                      <a:pt x="307" y="603"/>
                    </a:lnTo>
                    <a:lnTo>
                      <a:pt x="307" y="575"/>
                    </a:lnTo>
                    <a:lnTo>
                      <a:pt x="310" y="549"/>
                    </a:lnTo>
                    <a:lnTo>
                      <a:pt x="312" y="523"/>
                    </a:lnTo>
                    <a:lnTo>
                      <a:pt x="315" y="497"/>
                    </a:lnTo>
                    <a:lnTo>
                      <a:pt x="315" y="471"/>
                    </a:lnTo>
                    <a:lnTo>
                      <a:pt x="317" y="445"/>
                    </a:lnTo>
                    <a:lnTo>
                      <a:pt x="277" y="442"/>
                    </a:lnTo>
                    <a:lnTo>
                      <a:pt x="237" y="440"/>
                    </a:lnTo>
                    <a:lnTo>
                      <a:pt x="199" y="435"/>
                    </a:lnTo>
                    <a:lnTo>
                      <a:pt x="159" y="433"/>
                    </a:lnTo>
                    <a:lnTo>
                      <a:pt x="118" y="431"/>
                    </a:lnTo>
                    <a:lnTo>
                      <a:pt x="78" y="426"/>
                    </a:lnTo>
                    <a:lnTo>
                      <a:pt x="40" y="424"/>
                    </a:lnTo>
                    <a:lnTo>
                      <a:pt x="0" y="421"/>
                    </a:lnTo>
                    <a:lnTo>
                      <a:pt x="5" y="367"/>
                    </a:lnTo>
                    <a:lnTo>
                      <a:pt x="10" y="315"/>
                    </a:lnTo>
                    <a:lnTo>
                      <a:pt x="14" y="263"/>
                    </a:lnTo>
                    <a:lnTo>
                      <a:pt x="17" y="211"/>
                    </a:lnTo>
                    <a:lnTo>
                      <a:pt x="21" y="159"/>
                    </a:lnTo>
                    <a:lnTo>
                      <a:pt x="26" y="104"/>
                    </a:lnTo>
                    <a:lnTo>
                      <a:pt x="31" y="52"/>
                    </a:lnTo>
                    <a:lnTo>
                      <a:pt x="36" y="0"/>
                    </a:lnTo>
                    <a:lnTo>
                      <a:pt x="90" y="5"/>
                    </a:lnTo>
                    <a:lnTo>
                      <a:pt x="142" y="10"/>
                    </a:lnTo>
                    <a:lnTo>
                      <a:pt x="196" y="14"/>
                    </a:lnTo>
                    <a:lnTo>
                      <a:pt x="248" y="17"/>
                    </a:lnTo>
                    <a:lnTo>
                      <a:pt x="303" y="22"/>
                    </a:lnTo>
                    <a:lnTo>
                      <a:pt x="357" y="26"/>
                    </a:lnTo>
                    <a:lnTo>
                      <a:pt x="409" y="29"/>
                    </a:lnTo>
                    <a:lnTo>
                      <a:pt x="463" y="31"/>
                    </a:lnTo>
                    <a:lnTo>
                      <a:pt x="515" y="36"/>
                    </a:lnTo>
                    <a:lnTo>
                      <a:pt x="570" y="38"/>
                    </a:lnTo>
                    <a:lnTo>
                      <a:pt x="624" y="40"/>
                    </a:lnTo>
                    <a:lnTo>
                      <a:pt x="676" y="43"/>
                    </a:lnTo>
                    <a:lnTo>
                      <a:pt x="731" y="45"/>
                    </a:lnTo>
                    <a:lnTo>
                      <a:pt x="785" y="48"/>
                    </a:lnTo>
                    <a:lnTo>
                      <a:pt x="837" y="48"/>
                    </a:lnTo>
                    <a:lnTo>
                      <a:pt x="898" y="50"/>
                    </a:lnTo>
                    <a:lnTo>
                      <a:pt x="943" y="83"/>
                    </a:lnTo>
                    <a:lnTo>
                      <a:pt x="972" y="92"/>
                    </a:lnTo>
                    <a:lnTo>
                      <a:pt x="984" y="85"/>
                    </a:lnTo>
                    <a:lnTo>
                      <a:pt x="1012" y="81"/>
                    </a:lnTo>
                    <a:lnTo>
                      <a:pt x="1057" y="78"/>
                    </a:lnTo>
                    <a:lnTo>
                      <a:pt x="1085" y="83"/>
                    </a:lnTo>
                    <a:lnTo>
                      <a:pt x="1095" y="95"/>
                    </a:lnTo>
                    <a:lnTo>
                      <a:pt x="1118" y="104"/>
                    </a:lnTo>
                    <a:lnTo>
                      <a:pt x="1151" y="118"/>
                    </a:lnTo>
                    <a:lnTo>
                      <a:pt x="1170" y="133"/>
                    </a:lnTo>
                    <a:lnTo>
                      <a:pt x="1177" y="147"/>
                    </a:lnTo>
                    <a:lnTo>
                      <a:pt x="1189" y="156"/>
                    </a:lnTo>
                    <a:lnTo>
                      <a:pt x="1201" y="15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4" name="Freeform 72">
                <a:extLst>
                  <a:ext uri="{FF2B5EF4-FFF2-40B4-BE49-F238E27FC236}">
                    <a16:creationId xmlns:a16="http://schemas.microsoft.com/office/drawing/2014/main" id="{8C88C2EB-BA5F-12C2-2C3B-3C36433A062B}"/>
                  </a:ext>
                </a:extLst>
              </p:cNvPr>
              <p:cNvSpPr>
                <a:spLocks/>
              </p:cNvSpPr>
              <p:nvPr/>
            </p:nvSpPr>
            <p:spPr bwMode="auto">
              <a:xfrm>
                <a:off x="8292" y="-513"/>
                <a:ext cx="272" cy="577"/>
              </a:xfrm>
              <a:custGeom>
                <a:avLst/>
                <a:gdLst>
                  <a:gd name="T0" fmla="*/ 272 w 272"/>
                  <a:gd name="T1" fmla="*/ 466 h 577"/>
                  <a:gd name="T2" fmla="*/ 253 w 272"/>
                  <a:gd name="T3" fmla="*/ 485 h 577"/>
                  <a:gd name="T4" fmla="*/ 234 w 272"/>
                  <a:gd name="T5" fmla="*/ 501 h 577"/>
                  <a:gd name="T6" fmla="*/ 215 w 272"/>
                  <a:gd name="T7" fmla="*/ 527 h 577"/>
                  <a:gd name="T8" fmla="*/ 182 w 272"/>
                  <a:gd name="T9" fmla="*/ 541 h 577"/>
                  <a:gd name="T10" fmla="*/ 137 w 272"/>
                  <a:gd name="T11" fmla="*/ 553 h 577"/>
                  <a:gd name="T12" fmla="*/ 95 w 272"/>
                  <a:gd name="T13" fmla="*/ 563 h 577"/>
                  <a:gd name="T14" fmla="*/ 52 w 272"/>
                  <a:gd name="T15" fmla="*/ 572 h 577"/>
                  <a:gd name="T16" fmla="*/ 26 w 272"/>
                  <a:gd name="T17" fmla="*/ 572 h 577"/>
                  <a:gd name="T18" fmla="*/ 12 w 272"/>
                  <a:gd name="T19" fmla="*/ 556 h 577"/>
                  <a:gd name="T20" fmla="*/ 10 w 272"/>
                  <a:gd name="T21" fmla="*/ 532 h 577"/>
                  <a:gd name="T22" fmla="*/ 14 w 272"/>
                  <a:gd name="T23" fmla="*/ 515 h 577"/>
                  <a:gd name="T24" fmla="*/ 7 w 272"/>
                  <a:gd name="T25" fmla="*/ 452 h 577"/>
                  <a:gd name="T26" fmla="*/ 0 w 272"/>
                  <a:gd name="T27" fmla="*/ 400 h 577"/>
                  <a:gd name="T28" fmla="*/ 3 w 272"/>
                  <a:gd name="T29" fmla="*/ 371 h 577"/>
                  <a:gd name="T30" fmla="*/ 12 w 272"/>
                  <a:gd name="T31" fmla="*/ 331 h 577"/>
                  <a:gd name="T32" fmla="*/ 14 w 272"/>
                  <a:gd name="T33" fmla="*/ 303 h 577"/>
                  <a:gd name="T34" fmla="*/ 10 w 272"/>
                  <a:gd name="T35" fmla="*/ 241 h 577"/>
                  <a:gd name="T36" fmla="*/ 31 w 272"/>
                  <a:gd name="T37" fmla="*/ 222 h 577"/>
                  <a:gd name="T38" fmla="*/ 52 w 272"/>
                  <a:gd name="T39" fmla="*/ 196 h 577"/>
                  <a:gd name="T40" fmla="*/ 59 w 272"/>
                  <a:gd name="T41" fmla="*/ 180 h 577"/>
                  <a:gd name="T42" fmla="*/ 62 w 272"/>
                  <a:gd name="T43" fmla="*/ 165 h 577"/>
                  <a:gd name="T44" fmla="*/ 47 w 272"/>
                  <a:gd name="T45" fmla="*/ 137 h 577"/>
                  <a:gd name="T46" fmla="*/ 52 w 272"/>
                  <a:gd name="T47" fmla="*/ 94 h 577"/>
                  <a:gd name="T48" fmla="*/ 45 w 272"/>
                  <a:gd name="T49" fmla="*/ 76 h 577"/>
                  <a:gd name="T50" fmla="*/ 57 w 272"/>
                  <a:gd name="T51" fmla="*/ 9 h 577"/>
                  <a:gd name="T52" fmla="*/ 85 w 272"/>
                  <a:gd name="T53" fmla="*/ 9 h 577"/>
                  <a:gd name="T54" fmla="*/ 97 w 272"/>
                  <a:gd name="T55" fmla="*/ 19 h 577"/>
                  <a:gd name="T56" fmla="*/ 114 w 272"/>
                  <a:gd name="T57" fmla="*/ 64 h 577"/>
                  <a:gd name="T58" fmla="*/ 128 w 272"/>
                  <a:gd name="T59" fmla="*/ 109 h 577"/>
                  <a:gd name="T60" fmla="*/ 142 w 272"/>
                  <a:gd name="T61" fmla="*/ 154 h 577"/>
                  <a:gd name="T62" fmla="*/ 159 w 272"/>
                  <a:gd name="T63" fmla="*/ 199 h 577"/>
                  <a:gd name="T64" fmla="*/ 173 w 272"/>
                  <a:gd name="T65" fmla="*/ 241 h 577"/>
                  <a:gd name="T66" fmla="*/ 187 w 272"/>
                  <a:gd name="T67" fmla="*/ 286 h 577"/>
                  <a:gd name="T68" fmla="*/ 203 w 272"/>
                  <a:gd name="T69" fmla="*/ 331 h 577"/>
                  <a:gd name="T70" fmla="*/ 213 w 272"/>
                  <a:gd name="T71" fmla="*/ 369 h 577"/>
                  <a:gd name="T72" fmla="*/ 227 w 272"/>
                  <a:gd name="T73" fmla="*/ 392 h 577"/>
                  <a:gd name="T74" fmla="*/ 253 w 272"/>
                  <a:gd name="T75" fmla="*/ 42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2" h="577">
                    <a:moveTo>
                      <a:pt x="272" y="437"/>
                    </a:moveTo>
                    <a:lnTo>
                      <a:pt x="272" y="466"/>
                    </a:lnTo>
                    <a:lnTo>
                      <a:pt x="272" y="480"/>
                    </a:lnTo>
                    <a:lnTo>
                      <a:pt x="253" y="485"/>
                    </a:lnTo>
                    <a:lnTo>
                      <a:pt x="246" y="487"/>
                    </a:lnTo>
                    <a:lnTo>
                      <a:pt x="234" y="501"/>
                    </a:lnTo>
                    <a:lnTo>
                      <a:pt x="225" y="508"/>
                    </a:lnTo>
                    <a:lnTo>
                      <a:pt x="215" y="527"/>
                    </a:lnTo>
                    <a:lnTo>
                      <a:pt x="203" y="537"/>
                    </a:lnTo>
                    <a:lnTo>
                      <a:pt x="182" y="541"/>
                    </a:lnTo>
                    <a:lnTo>
                      <a:pt x="161" y="548"/>
                    </a:lnTo>
                    <a:lnTo>
                      <a:pt x="137" y="553"/>
                    </a:lnTo>
                    <a:lnTo>
                      <a:pt x="116" y="558"/>
                    </a:lnTo>
                    <a:lnTo>
                      <a:pt x="95" y="563"/>
                    </a:lnTo>
                    <a:lnTo>
                      <a:pt x="73" y="567"/>
                    </a:lnTo>
                    <a:lnTo>
                      <a:pt x="52" y="572"/>
                    </a:lnTo>
                    <a:lnTo>
                      <a:pt x="31" y="577"/>
                    </a:lnTo>
                    <a:lnTo>
                      <a:pt x="26" y="572"/>
                    </a:lnTo>
                    <a:lnTo>
                      <a:pt x="14" y="560"/>
                    </a:lnTo>
                    <a:lnTo>
                      <a:pt x="12" y="556"/>
                    </a:lnTo>
                    <a:lnTo>
                      <a:pt x="10" y="548"/>
                    </a:lnTo>
                    <a:lnTo>
                      <a:pt x="10" y="532"/>
                    </a:lnTo>
                    <a:lnTo>
                      <a:pt x="12" y="525"/>
                    </a:lnTo>
                    <a:lnTo>
                      <a:pt x="14" y="515"/>
                    </a:lnTo>
                    <a:lnTo>
                      <a:pt x="7" y="475"/>
                    </a:lnTo>
                    <a:lnTo>
                      <a:pt x="7" y="452"/>
                    </a:lnTo>
                    <a:lnTo>
                      <a:pt x="0" y="411"/>
                    </a:lnTo>
                    <a:lnTo>
                      <a:pt x="0" y="400"/>
                    </a:lnTo>
                    <a:lnTo>
                      <a:pt x="3" y="390"/>
                    </a:lnTo>
                    <a:lnTo>
                      <a:pt x="3" y="371"/>
                    </a:lnTo>
                    <a:lnTo>
                      <a:pt x="10" y="352"/>
                    </a:lnTo>
                    <a:lnTo>
                      <a:pt x="12" y="331"/>
                    </a:lnTo>
                    <a:lnTo>
                      <a:pt x="17" y="312"/>
                    </a:lnTo>
                    <a:lnTo>
                      <a:pt x="14" y="303"/>
                    </a:lnTo>
                    <a:lnTo>
                      <a:pt x="14" y="279"/>
                    </a:lnTo>
                    <a:lnTo>
                      <a:pt x="10" y="241"/>
                    </a:lnTo>
                    <a:lnTo>
                      <a:pt x="12" y="234"/>
                    </a:lnTo>
                    <a:lnTo>
                      <a:pt x="31" y="222"/>
                    </a:lnTo>
                    <a:lnTo>
                      <a:pt x="36" y="217"/>
                    </a:lnTo>
                    <a:lnTo>
                      <a:pt x="52" y="196"/>
                    </a:lnTo>
                    <a:lnTo>
                      <a:pt x="57" y="187"/>
                    </a:lnTo>
                    <a:lnTo>
                      <a:pt x="59" y="180"/>
                    </a:lnTo>
                    <a:lnTo>
                      <a:pt x="59" y="168"/>
                    </a:lnTo>
                    <a:lnTo>
                      <a:pt x="62" y="165"/>
                    </a:lnTo>
                    <a:lnTo>
                      <a:pt x="59" y="158"/>
                    </a:lnTo>
                    <a:lnTo>
                      <a:pt x="47" y="137"/>
                    </a:lnTo>
                    <a:lnTo>
                      <a:pt x="43" y="128"/>
                    </a:lnTo>
                    <a:lnTo>
                      <a:pt x="52" y="94"/>
                    </a:lnTo>
                    <a:lnTo>
                      <a:pt x="45" y="80"/>
                    </a:lnTo>
                    <a:lnTo>
                      <a:pt x="45" y="76"/>
                    </a:lnTo>
                    <a:lnTo>
                      <a:pt x="47" y="33"/>
                    </a:lnTo>
                    <a:lnTo>
                      <a:pt x="57" y="9"/>
                    </a:lnTo>
                    <a:lnTo>
                      <a:pt x="76" y="12"/>
                    </a:lnTo>
                    <a:lnTo>
                      <a:pt x="85" y="9"/>
                    </a:lnTo>
                    <a:lnTo>
                      <a:pt x="92" y="0"/>
                    </a:lnTo>
                    <a:lnTo>
                      <a:pt x="97" y="19"/>
                    </a:lnTo>
                    <a:lnTo>
                      <a:pt x="107" y="42"/>
                    </a:lnTo>
                    <a:lnTo>
                      <a:pt x="114" y="64"/>
                    </a:lnTo>
                    <a:lnTo>
                      <a:pt x="121" y="87"/>
                    </a:lnTo>
                    <a:lnTo>
                      <a:pt x="128" y="109"/>
                    </a:lnTo>
                    <a:lnTo>
                      <a:pt x="135" y="130"/>
                    </a:lnTo>
                    <a:lnTo>
                      <a:pt x="142" y="154"/>
                    </a:lnTo>
                    <a:lnTo>
                      <a:pt x="151" y="175"/>
                    </a:lnTo>
                    <a:lnTo>
                      <a:pt x="159" y="199"/>
                    </a:lnTo>
                    <a:lnTo>
                      <a:pt x="166" y="220"/>
                    </a:lnTo>
                    <a:lnTo>
                      <a:pt x="173" y="241"/>
                    </a:lnTo>
                    <a:lnTo>
                      <a:pt x="180" y="265"/>
                    </a:lnTo>
                    <a:lnTo>
                      <a:pt x="187" y="286"/>
                    </a:lnTo>
                    <a:lnTo>
                      <a:pt x="196" y="310"/>
                    </a:lnTo>
                    <a:lnTo>
                      <a:pt x="203" y="331"/>
                    </a:lnTo>
                    <a:lnTo>
                      <a:pt x="211" y="352"/>
                    </a:lnTo>
                    <a:lnTo>
                      <a:pt x="213" y="369"/>
                    </a:lnTo>
                    <a:lnTo>
                      <a:pt x="220" y="383"/>
                    </a:lnTo>
                    <a:lnTo>
                      <a:pt x="227" y="392"/>
                    </a:lnTo>
                    <a:lnTo>
                      <a:pt x="246" y="407"/>
                    </a:lnTo>
                    <a:lnTo>
                      <a:pt x="253" y="421"/>
                    </a:lnTo>
                    <a:lnTo>
                      <a:pt x="272" y="43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5" name="Freeform 73">
                <a:extLst>
                  <a:ext uri="{FF2B5EF4-FFF2-40B4-BE49-F238E27FC236}">
                    <a16:creationId xmlns:a16="http://schemas.microsoft.com/office/drawing/2014/main" id="{E7CDF731-23FD-219E-D29E-FA74CC809C8C}"/>
                  </a:ext>
                </a:extLst>
              </p:cNvPr>
              <p:cNvSpPr>
                <a:spLocks noEditPoints="1"/>
              </p:cNvSpPr>
              <p:nvPr/>
            </p:nvSpPr>
            <p:spPr bwMode="auto">
              <a:xfrm>
                <a:off x="8006" y="430"/>
                <a:ext cx="222" cy="504"/>
              </a:xfrm>
              <a:custGeom>
                <a:avLst/>
                <a:gdLst>
                  <a:gd name="T0" fmla="*/ 189 w 222"/>
                  <a:gd name="T1" fmla="*/ 62 h 504"/>
                  <a:gd name="T2" fmla="*/ 177 w 222"/>
                  <a:gd name="T3" fmla="*/ 107 h 504"/>
                  <a:gd name="T4" fmla="*/ 166 w 222"/>
                  <a:gd name="T5" fmla="*/ 121 h 504"/>
                  <a:gd name="T6" fmla="*/ 158 w 222"/>
                  <a:gd name="T7" fmla="*/ 135 h 504"/>
                  <a:gd name="T8" fmla="*/ 163 w 222"/>
                  <a:gd name="T9" fmla="*/ 168 h 504"/>
                  <a:gd name="T10" fmla="*/ 201 w 222"/>
                  <a:gd name="T11" fmla="*/ 159 h 504"/>
                  <a:gd name="T12" fmla="*/ 213 w 222"/>
                  <a:gd name="T13" fmla="*/ 182 h 504"/>
                  <a:gd name="T14" fmla="*/ 215 w 222"/>
                  <a:gd name="T15" fmla="*/ 216 h 504"/>
                  <a:gd name="T16" fmla="*/ 220 w 222"/>
                  <a:gd name="T17" fmla="*/ 270 h 504"/>
                  <a:gd name="T18" fmla="*/ 220 w 222"/>
                  <a:gd name="T19" fmla="*/ 289 h 504"/>
                  <a:gd name="T20" fmla="*/ 210 w 222"/>
                  <a:gd name="T21" fmla="*/ 260 h 504"/>
                  <a:gd name="T22" fmla="*/ 210 w 222"/>
                  <a:gd name="T23" fmla="*/ 315 h 504"/>
                  <a:gd name="T24" fmla="*/ 194 w 222"/>
                  <a:gd name="T25" fmla="*/ 360 h 504"/>
                  <a:gd name="T26" fmla="*/ 187 w 222"/>
                  <a:gd name="T27" fmla="*/ 372 h 504"/>
                  <a:gd name="T28" fmla="*/ 187 w 222"/>
                  <a:gd name="T29" fmla="*/ 393 h 504"/>
                  <a:gd name="T30" fmla="*/ 175 w 222"/>
                  <a:gd name="T31" fmla="*/ 405 h 504"/>
                  <a:gd name="T32" fmla="*/ 163 w 222"/>
                  <a:gd name="T33" fmla="*/ 419 h 504"/>
                  <a:gd name="T34" fmla="*/ 161 w 222"/>
                  <a:gd name="T35" fmla="*/ 438 h 504"/>
                  <a:gd name="T36" fmla="*/ 130 w 222"/>
                  <a:gd name="T37" fmla="*/ 504 h 504"/>
                  <a:gd name="T38" fmla="*/ 125 w 222"/>
                  <a:gd name="T39" fmla="*/ 480 h 504"/>
                  <a:gd name="T40" fmla="*/ 109 w 222"/>
                  <a:gd name="T41" fmla="*/ 454 h 504"/>
                  <a:gd name="T42" fmla="*/ 83 w 222"/>
                  <a:gd name="T43" fmla="*/ 457 h 504"/>
                  <a:gd name="T44" fmla="*/ 43 w 222"/>
                  <a:gd name="T45" fmla="*/ 438 h 504"/>
                  <a:gd name="T46" fmla="*/ 7 w 222"/>
                  <a:gd name="T47" fmla="*/ 405 h 504"/>
                  <a:gd name="T48" fmla="*/ 5 w 222"/>
                  <a:gd name="T49" fmla="*/ 364 h 504"/>
                  <a:gd name="T50" fmla="*/ 19 w 222"/>
                  <a:gd name="T51" fmla="*/ 336 h 504"/>
                  <a:gd name="T52" fmla="*/ 54 w 222"/>
                  <a:gd name="T53" fmla="*/ 308 h 504"/>
                  <a:gd name="T54" fmla="*/ 62 w 222"/>
                  <a:gd name="T55" fmla="*/ 286 h 504"/>
                  <a:gd name="T56" fmla="*/ 102 w 222"/>
                  <a:gd name="T57" fmla="*/ 249 h 504"/>
                  <a:gd name="T58" fmla="*/ 40 w 222"/>
                  <a:gd name="T59" fmla="*/ 204 h 504"/>
                  <a:gd name="T60" fmla="*/ 12 w 222"/>
                  <a:gd name="T61" fmla="*/ 178 h 504"/>
                  <a:gd name="T62" fmla="*/ 2 w 222"/>
                  <a:gd name="T63" fmla="*/ 156 h 504"/>
                  <a:gd name="T64" fmla="*/ 2 w 222"/>
                  <a:gd name="T65" fmla="*/ 137 h 504"/>
                  <a:gd name="T66" fmla="*/ 14 w 222"/>
                  <a:gd name="T67" fmla="*/ 116 h 504"/>
                  <a:gd name="T68" fmla="*/ 0 w 222"/>
                  <a:gd name="T69" fmla="*/ 95 h 504"/>
                  <a:gd name="T70" fmla="*/ 12 w 222"/>
                  <a:gd name="T71" fmla="*/ 76 h 504"/>
                  <a:gd name="T72" fmla="*/ 31 w 222"/>
                  <a:gd name="T73" fmla="*/ 24 h 504"/>
                  <a:gd name="T74" fmla="*/ 38 w 222"/>
                  <a:gd name="T75" fmla="*/ 10 h 504"/>
                  <a:gd name="T76" fmla="*/ 64 w 222"/>
                  <a:gd name="T77" fmla="*/ 7 h 504"/>
                  <a:gd name="T78" fmla="*/ 99 w 222"/>
                  <a:gd name="T79" fmla="*/ 17 h 504"/>
                  <a:gd name="T80" fmla="*/ 135 w 222"/>
                  <a:gd name="T81" fmla="*/ 29 h 504"/>
                  <a:gd name="T82" fmla="*/ 170 w 222"/>
                  <a:gd name="T83" fmla="*/ 41 h 504"/>
                  <a:gd name="T84" fmla="*/ 220 w 222"/>
                  <a:gd name="T85" fmla="*/ 322 h 504"/>
                  <a:gd name="T86" fmla="*/ 206 w 222"/>
                  <a:gd name="T87" fmla="*/ 350 h 504"/>
                  <a:gd name="T88" fmla="*/ 220 w 222"/>
                  <a:gd name="T89" fmla="*/ 322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 h="504">
                    <a:moveTo>
                      <a:pt x="187" y="45"/>
                    </a:moveTo>
                    <a:lnTo>
                      <a:pt x="189" y="62"/>
                    </a:lnTo>
                    <a:lnTo>
                      <a:pt x="182" y="97"/>
                    </a:lnTo>
                    <a:lnTo>
                      <a:pt x="177" y="107"/>
                    </a:lnTo>
                    <a:lnTo>
                      <a:pt x="170" y="116"/>
                    </a:lnTo>
                    <a:lnTo>
                      <a:pt x="166" y="121"/>
                    </a:lnTo>
                    <a:lnTo>
                      <a:pt x="163" y="126"/>
                    </a:lnTo>
                    <a:lnTo>
                      <a:pt x="158" y="135"/>
                    </a:lnTo>
                    <a:lnTo>
                      <a:pt x="156" y="154"/>
                    </a:lnTo>
                    <a:lnTo>
                      <a:pt x="163" y="168"/>
                    </a:lnTo>
                    <a:lnTo>
                      <a:pt x="194" y="166"/>
                    </a:lnTo>
                    <a:lnTo>
                      <a:pt x="201" y="159"/>
                    </a:lnTo>
                    <a:lnTo>
                      <a:pt x="208" y="168"/>
                    </a:lnTo>
                    <a:lnTo>
                      <a:pt x="213" y="182"/>
                    </a:lnTo>
                    <a:lnTo>
                      <a:pt x="215" y="199"/>
                    </a:lnTo>
                    <a:lnTo>
                      <a:pt x="215" y="216"/>
                    </a:lnTo>
                    <a:lnTo>
                      <a:pt x="215" y="237"/>
                    </a:lnTo>
                    <a:lnTo>
                      <a:pt x="220" y="270"/>
                    </a:lnTo>
                    <a:lnTo>
                      <a:pt x="222" y="298"/>
                    </a:lnTo>
                    <a:lnTo>
                      <a:pt x="220" y="289"/>
                    </a:lnTo>
                    <a:lnTo>
                      <a:pt x="215" y="256"/>
                    </a:lnTo>
                    <a:lnTo>
                      <a:pt x="210" y="260"/>
                    </a:lnTo>
                    <a:lnTo>
                      <a:pt x="208" y="268"/>
                    </a:lnTo>
                    <a:lnTo>
                      <a:pt x="210" y="315"/>
                    </a:lnTo>
                    <a:lnTo>
                      <a:pt x="203" y="341"/>
                    </a:lnTo>
                    <a:lnTo>
                      <a:pt x="194" y="360"/>
                    </a:lnTo>
                    <a:lnTo>
                      <a:pt x="182" y="360"/>
                    </a:lnTo>
                    <a:lnTo>
                      <a:pt x="187" y="372"/>
                    </a:lnTo>
                    <a:lnTo>
                      <a:pt x="187" y="379"/>
                    </a:lnTo>
                    <a:lnTo>
                      <a:pt x="187" y="393"/>
                    </a:lnTo>
                    <a:lnTo>
                      <a:pt x="182" y="405"/>
                    </a:lnTo>
                    <a:lnTo>
                      <a:pt x="175" y="405"/>
                    </a:lnTo>
                    <a:lnTo>
                      <a:pt x="166" y="414"/>
                    </a:lnTo>
                    <a:lnTo>
                      <a:pt x="163" y="419"/>
                    </a:lnTo>
                    <a:lnTo>
                      <a:pt x="166" y="428"/>
                    </a:lnTo>
                    <a:lnTo>
                      <a:pt x="161" y="438"/>
                    </a:lnTo>
                    <a:lnTo>
                      <a:pt x="147" y="485"/>
                    </a:lnTo>
                    <a:lnTo>
                      <a:pt x="130" y="504"/>
                    </a:lnTo>
                    <a:lnTo>
                      <a:pt x="125" y="502"/>
                    </a:lnTo>
                    <a:lnTo>
                      <a:pt x="125" y="480"/>
                    </a:lnTo>
                    <a:lnTo>
                      <a:pt x="123" y="461"/>
                    </a:lnTo>
                    <a:lnTo>
                      <a:pt x="109" y="454"/>
                    </a:lnTo>
                    <a:lnTo>
                      <a:pt x="97" y="452"/>
                    </a:lnTo>
                    <a:lnTo>
                      <a:pt x="83" y="457"/>
                    </a:lnTo>
                    <a:lnTo>
                      <a:pt x="64" y="445"/>
                    </a:lnTo>
                    <a:lnTo>
                      <a:pt x="43" y="438"/>
                    </a:lnTo>
                    <a:lnTo>
                      <a:pt x="7" y="414"/>
                    </a:lnTo>
                    <a:lnTo>
                      <a:pt x="7" y="405"/>
                    </a:lnTo>
                    <a:lnTo>
                      <a:pt x="2" y="390"/>
                    </a:lnTo>
                    <a:lnTo>
                      <a:pt x="5" y="364"/>
                    </a:lnTo>
                    <a:lnTo>
                      <a:pt x="10" y="348"/>
                    </a:lnTo>
                    <a:lnTo>
                      <a:pt x="19" y="336"/>
                    </a:lnTo>
                    <a:lnTo>
                      <a:pt x="47" y="322"/>
                    </a:lnTo>
                    <a:lnTo>
                      <a:pt x="54" y="308"/>
                    </a:lnTo>
                    <a:lnTo>
                      <a:pt x="54" y="296"/>
                    </a:lnTo>
                    <a:lnTo>
                      <a:pt x="62" y="286"/>
                    </a:lnTo>
                    <a:lnTo>
                      <a:pt x="76" y="270"/>
                    </a:lnTo>
                    <a:lnTo>
                      <a:pt x="102" y="249"/>
                    </a:lnTo>
                    <a:lnTo>
                      <a:pt x="50" y="206"/>
                    </a:lnTo>
                    <a:lnTo>
                      <a:pt x="40" y="204"/>
                    </a:lnTo>
                    <a:lnTo>
                      <a:pt x="26" y="182"/>
                    </a:lnTo>
                    <a:lnTo>
                      <a:pt x="12" y="178"/>
                    </a:lnTo>
                    <a:lnTo>
                      <a:pt x="7" y="175"/>
                    </a:lnTo>
                    <a:lnTo>
                      <a:pt x="2" y="156"/>
                    </a:lnTo>
                    <a:lnTo>
                      <a:pt x="2" y="145"/>
                    </a:lnTo>
                    <a:lnTo>
                      <a:pt x="2" y="137"/>
                    </a:lnTo>
                    <a:lnTo>
                      <a:pt x="10" y="130"/>
                    </a:lnTo>
                    <a:lnTo>
                      <a:pt x="14" y="116"/>
                    </a:lnTo>
                    <a:lnTo>
                      <a:pt x="12" y="111"/>
                    </a:lnTo>
                    <a:lnTo>
                      <a:pt x="0" y="95"/>
                    </a:lnTo>
                    <a:lnTo>
                      <a:pt x="0" y="90"/>
                    </a:lnTo>
                    <a:lnTo>
                      <a:pt x="12" y="76"/>
                    </a:lnTo>
                    <a:lnTo>
                      <a:pt x="24" y="50"/>
                    </a:lnTo>
                    <a:lnTo>
                      <a:pt x="31" y="24"/>
                    </a:lnTo>
                    <a:lnTo>
                      <a:pt x="33" y="17"/>
                    </a:lnTo>
                    <a:lnTo>
                      <a:pt x="38" y="10"/>
                    </a:lnTo>
                    <a:lnTo>
                      <a:pt x="47" y="0"/>
                    </a:lnTo>
                    <a:lnTo>
                      <a:pt x="64" y="7"/>
                    </a:lnTo>
                    <a:lnTo>
                      <a:pt x="83" y="12"/>
                    </a:lnTo>
                    <a:lnTo>
                      <a:pt x="99" y="17"/>
                    </a:lnTo>
                    <a:lnTo>
                      <a:pt x="118" y="24"/>
                    </a:lnTo>
                    <a:lnTo>
                      <a:pt x="135" y="29"/>
                    </a:lnTo>
                    <a:lnTo>
                      <a:pt x="154" y="33"/>
                    </a:lnTo>
                    <a:lnTo>
                      <a:pt x="170" y="41"/>
                    </a:lnTo>
                    <a:lnTo>
                      <a:pt x="187" y="45"/>
                    </a:lnTo>
                    <a:close/>
                    <a:moveTo>
                      <a:pt x="220" y="322"/>
                    </a:moveTo>
                    <a:lnTo>
                      <a:pt x="208" y="357"/>
                    </a:lnTo>
                    <a:lnTo>
                      <a:pt x="206" y="350"/>
                    </a:lnTo>
                    <a:lnTo>
                      <a:pt x="220" y="308"/>
                    </a:lnTo>
                    <a:lnTo>
                      <a:pt x="220" y="32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6" name="Freeform 74">
                <a:extLst>
                  <a:ext uri="{FF2B5EF4-FFF2-40B4-BE49-F238E27FC236}">
                    <a16:creationId xmlns:a16="http://schemas.microsoft.com/office/drawing/2014/main" id="{A8264144-B821-6C2A-28EB-F12046CF62FA}"/>
                  </a:ext>
                </a:extLst>
              </p:cNvPr>
              <p:cNvSpPr>
                <a:spLocks/>
              </p:cNvSpPr>
              <p:nvPr/>
            </p:nvSpPr>
            <p:spPr bwMode="auto">
              <a:xfrm>
                <a:off x="2345" y="1582"/>
                <a:ext cx="1184" cy="1206"/>
              </a:xfrm>
              <a:custGeom>
                <a:avLst/>
                <a:gdLst>
                  <a:gd name="T0" fmla="*/ 1170 w 1184"/>
                  <a:gd name="T1" fmla="*/ 217 h 1206"/>
                  <a:gd name="T2" fmla="*/ 1160 w 1184"/>
                  <a:gd name="T3" fmla="*/ 336 h 1206"/>
                  <a:gd name="T4" fmla="*/ 1149 w 1184"/>
                  <a:gd name="T5" fmla="*/ 454 h 1206"/>
                  <a:gd name="T6" fmla="*/ 1139 w 1184"/>
                  <a:gd name="T7" fmla="*/ 572 h 1206"/>
                  <a:gd name="T8" fmla="*/ 1130 w 1184"/>
                  <a:gd name="T9" fmla="*/ 690 h 1206"/>
                  <a:gd name="T10" fmla="*/ 1120 w 1184"/>
                  <a:gd name="T11" fmla="*/ 806 h 1206"/>
                  <a:gd name="T12" fmla="*/ 1111 w 1184"/>
                  <a:gd name="T13" fmla="*/ 924 h 1206"/>
                  <a:gd name="T14" fmla="*/ 1101 w 1184"/>
                  <a:gd name="T15" fmla="*/ 1045 h 1206"/>
                  <a:gd name="T16" fmla="*/ 1092 w 1184"/>
                  <a:gd name="T17" fmla="*/ 1163 h 1206"/>
                  <a:gd name="T18" fmla="*/ 1012 w 1184"/>
                  <a:gd name="T19" fmla="*/ 1156 h 1206"/>
                  <a:gd name="T20" fmla="*/ 931 w 1184"/>
                  <a:gd name="T21" fmla="*/ 1149 h 1206"/>
                  <a:gd name="T22" fmla="*/ 848 w 1184"/>
                  <a:gd name="T23" fmla="*/ 1142 h 1206"/>
                  <a:gd name="T24" fmla="*/ 768 w 1184"/>
                  <a:gd name="T25" fmla="*/ 1135 h 1206"/>
                  <a:gd name="T26" fmla="*/ 688 w 1184"/>
                  <a:gd name="T27" fmla="*/ 1125 h 1206"/>
                  <a:gd name="T28" fmla="*/ 607 w 1184"/>
                  <a:gd name="T29" fmla="*/ 1118 h 1206"/>
                  <a:gd name="T30" fmla="*/ 527 w 1184"/>
                  <a:gd name="T31" fmla="*/ 1109 h 1206"/>
                  <a:gd name="T32" fmla="*/ 447 w 1184"/>
                  <a:gd name="T33" fmla="*/ 1099 h 1206"/>
                  <a:gd name="T34" fmla="*/ 458 w 1184"/>
                  <a:gd name="T35" fmla="*/ 1140 h 1206"/>
                  <a:gd name="T36" fmla="*/ 480 w 1184"/>
                  <a:gd name="T37" fmla="*/ 1154 h 1206"/>
                  <a:gd name="T38" fmla="*/ 440 w 1184"/>
                  <a:gd name="T39" fmla="*/ 1147 h 1206"/>
                  <a:gd name="T40" fmla="*/ 359 w 1184"/>
                  <a:gd name="T41" fmla="*/ 1137 h 1206"/>
                  <a:gd name="T42" fmla="*/ 281 w 1184"/>
                  <a:gd name="T43" fmla="*/ 1128 h 1206"/>
                  <a:gd name="T44" fmla="*/ 203 w 1184"/>
                  <a:gd name="T45" fmla="*/ 1116 h 1206"/>
                  <a:gd name="T46" fmla="*/ 161 w 1184"/>
                  <a:gd name="T47" fmla="*/ 1135 h 1206"/>
                  <a:gd name="T48" fmla="*/ 153 w 1184"/>
                  <a:gd name="T49" fmla="*/ 1182 h 1206"/>
                  <a:gd name="T50" fmla="*/ 87 w 1184"/>
                  <a:gd name="T51" fmla="*/ 1196 h 1206"/>
                  <a:gd name="T52" fmla="*/ 0 w 1184"/>
                  <a:gd name="T53" fmla="*/ 1184 h 1206"/>
                  <a:gd name="T54" fmla="*/ 21 w 1184"/>
                  <a:gd name="T55" fmla="*/ 1036 h 1206"/>
                  <a:gd name="T56" fmla="*/ 42 w 1184"/>
                  <a:gd name="T57" fmla="*/ 887 h 1206"/>
                  <a:gd name="T58" fmla="*/ 64 w 1184"/>
                  <a:gd name="T59" fmla="*/ 740 h 1206"/>
                  <a:gd name="T60" fmla="*/ 85 w 1184"/>
                  <a:gd name="T61" fmla="*/ 591 h 1206"/>
                  <a:gd name="T62" fmla="*/ 106 w 1184"/>
                  <a:gd name="T63" fmla="*/ 444 h 1206"/>
                  <a:gd name="T64" fmla="*/ 127 w 1184"/>
                  <a:gd name="T65" fmla="*/ 295 h 1206"/>
                  <a:gd name="T66" fmla="*/ 151 w 1184"/>
                  <a:gd name="T67" fmla="*/ 149 h 1206"/>
                  <a:gd name="T68" fmla="*/ 172 w 1184"/>
                  <a:gd name="T69" fmla="*/ 0 h 1206"/>
                  <a:gd name="T70" fmla="*/ 298 w 1184"/>
                  <a:gd name="T71" fmla="*/ 19 h 1206"/>
                  <a:gd name="T72" fmla="*/ 423 w 1184"/>
                  <a:gd name="T73" fmla="*/ 35 h 1206"/>
                  <a:gd name="T74" fmla="*/ 551 w 1184"/>
                  <a:gd name="T75" fmla="*/ 52 h 1206"/>
                  <a:gd name="T76" fmla="*/ 676 w 1184"/>
                  <a:gd name="T77" fmla="*/ 66 h 1206"/>
                  <a:gd name="T78" fmla="*/ 804 w 1184"/>
                  <a:gd name="T79" fmla="*/ 78 h 1206"/>
                  <a:gd name="T80" fmla="*/ 931 w 1184"/>
                  <a:gd name="T81" fmla="*/ 92 h 1206"/>
                  <a:gd name="T82" fmla="*/ 1056 w 1184"/>
                  <a:gd name="T83" fmla="*/ 102 h 1206"/>
                  <a:gd name="T84" fmla="*/ 1184 w 1184"/>
                  <a:gd name="T85" fmla="*/ 113 h 1206"/>
                  <a:gd name="T86" fmla="*/ 1179 w 1184"/>
                  <a:gd name="T87" fmla="*/ 165 h 1206"/>
                  <a:gd name="T88" fmla="*/ 1177 w 1184"/>
                  <a:gd name="T89" fmla="*/ 217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84" h="1206">
                    <a:moveTo>
                      <a:pt x="1177" y="217"/>
                    </a:moveTo>
                    <a:lnTo>
                      <a:pt x="1170" y="217"/>
                    </a:lnTo>
                    <a:lnTo>
                      <a:pt x="1165" y="277"/>
                    </a:lnTo>
                    <a:lnTo>
                      <a:pt x="1160" y="336"/>
                    </a:lnTo>
                    <a:lnTo>
                      <a:pt x="1156" y="395"/>
                    </a:lnTo>
                    <a:lnTo>
                      <a:pt x="1149" y="454"/>
                    </a:lnTo>
                    <a:lnTo>
                      <a:pt x="1144" y="513"/>
                    </a:lnTo>
                    <a:lnTo>
                      <a:pt x="1139" y="572"/>
                    </a:lnTo>
                    <a:lnTo>
                      <a:pt x="1134" y="631"/>
                    </a:lnTo>
                    <a:lnTo>
                      <a:pt x="1130" y="690"/>
                    </a:lnTo>
                    <a:lnTo>
                      <a:pt x="1125" y="747"/>
                    </a:lnTo>
                    <a:lnTo>
                      <a:pt x="1120" y="806"/>
                    </a:lnTo>
                    <a:lnTo>
                      <a:pt x="1116" y="865"/>
                    </a:lnTo>
                    <a:lnTo>
                      <a:pt x="1111" y="924"/>
                    </a:lnTo>
                    <a:lnTo>
                      <a:pt x="1106" y="983"/>
                    </a:lnTo>
                    <a:lnTo>
                      <a:pt x="1101" y="1045"/>
                    </a:lnTo>
                    <a:lnTo>
                      <a:pt x="1097" y="1104"/>
                    </a:lnTo>
                    <a:lnTo>
                      <a:pt x="1092" y="1163"/>
                    </a:lnTo>
                    <a:lnTo>
                      <a:pt x="1052" y="1158"/>
                    </a:lnTo>
                    <a:lnTo>
                      <a:pt x="1012" y="1156"/>
                    </a:lnTo>
                    <a:lnTo>
                      <a:pt x="971" y="1151"/>
                    </a:lnTo>
                    <a:lnTo>
                      <a:pt x="931" y="1149"/>
                    </a:lnTo>
                    <a:lnTo>
                      <a:pt x="889" y="1144"/>
                    </a:lnTo>
                    <a:lnTo>
                      <a:pt x="848" y="1142"/>
                    </a:lnTo>
                    <a:lnTo>
                      <a:pt x="808" y="1137"/>
                    </a:lnTo>
                    <a:lnTo>
                      <a:pt x="768" y="1135"/>
                    </a:lnTo>
                    <a:lnTo>
                      <a:pt x="728" y="1130"/>
                    </a:lnTo>
                    <a:lnTo>
                      <a:pt x="688" y="1125"/>
                    </a:lnTo>
                    <a:lnTo>
                      <a:pt x="648" y="1123"/>
                    </a:lnTo>
                    <a:lnTo>
                      <a:pt x="607" y="1118"/>
                    </a:lnTo>
                    <a:lnTo>
                      <a:pt x="567" y="1114"/>
                    </a:lnTo>
                    <a:lnTo>
                      <a:pt x="527" y="1109"/>
                    </a:lnTo>
                    <a:lnTo>
                      <a:pt x="487" y="1104"/>
                    </a:lnTo>
                    <a:lnTo>
                      <a:pt x="447" y="1099"/>
                    </a:lnTo>
                    <a:lnTo>
                      <a:pt x="447" y="1099"/>
                    </a:lnTo>
                    <a:lnTo>
                      <a:pt x="458" y="1140"/>
                    </a:lnTo>
                    <a:lnTo>
                      <a:pt x="458" y="1140"/>
                    </a:lnTo>
                    <a:lnTo>
                      <a:pt x="480" y="1154"/>
                    </a:lnTo>
                    <a:lnTo>
                      <a:pt x="477" y="1151"/>
                    </a:lnTo>
                    <a:lnTo>
                      <a:pt x="440" y="1147"/>
                    </a:lnTo>
                    <a:lnTo>
                      <a:pt x="399" y="1142"/>
                    </a:lnTo>
                    <a:lnTo>
                      <a:pt x="359" y="1137"/>
                    </a:lnTo>
                    <a:lnTo>
                      <a:pt x="321" y="1132"/>
                    </a:lnTo>
                    <a:lnTo>
                      <a:pt x="281" y="1128"/>
                    </a:lnTo>
                    <a:lnTo>
                      <a:pt x="241" y="1123"/>
                    </a:lnTo>
                    <a:lnTo>
                      <a:pt x="203" y="1116"/>
                    </a:lnTo>
                    <a:lnTo>
                      <a:pt x="163" y="1111"/>
                    </a:lnTo>
                    <a:lnTo>
                      <a:pt x="161" y="1135"/>
                    </a:lnTo>
                    <a:lnTo>
                      <a:pt x="156" y="1158"/>
                    </a:lnTo>
                    <a:lnTo>
                      <a:pt x="153" y="1182"/>
                    </a:lnTo>
                    <a:lnTo>
                      <a:pt x="151" y="1206"/>
                    </a:lnTo>
                    <a:lnTo>
                      <a:pt x="87" y="1196"/>
                    </a:lnTo>
                    <a:lnTo>
                      <a:pt x="23" y="1187"/>
                    </a:lnTo>
                    <a:lnTo>
                      <a:pt x="0" y="1184"/>
                    </a:lnTo>
                    <a:lnTo>
                      <a:pt x="12" y="1111"/>
                    </a:lnTo>
                    <a:lnTo>
                      <a:pt x="21" y="1036"/>
                    </a:lnTo>
                    <a:lnTo>
                      <a:pt x="33" y="962"/>
                    </a:lnTo>
                    <a:lnTo>
                      <a:pt x="42" y="887"/>
                    </a:lnTo>
                    <a:lnTo>
                      <a:pt x="54" y="813"/>
                    </a:lnTo>
                    <a:lnTo>
                      <a:pt x="64" y="740"/>
                    </a:lnTo>
                    <a:lnTo>
                      <a:pt x="75" y="667"/>
                    </a:lnTo>
                    <a:lnTo>
                      <a:pt x="85" y="591"/>
                    </a:lnTo>
                    <a:lnTo>
                      <a:pt x="97" y="518"/>
                    </a:lnTo>
                    <a:lnTo>
                      <a:pt x="106" y="444"/>
                    </a:lnTo>
                    <a:lnTo>
                      <a:pt x="118" y="369"/>
                    </a:lnTo>
                    <a:lnTo>
                      <a:pt x="127" y="295"/>
                    </a:lnTo>
                    <a:lnTo>
                      <a:pt x="139" y="222"/>
                    </a:lnTo>
                    <a:lnTo>
                      <a:pt x="151" y="149"/>
                    </a:lnTo>
                    <a:lnTo>
                      <a:pt x="161" y="76"/>
                    </a:lnTo>
                    <a:lnTo>
                      <a:pt x="172" y="0"/>
                    </a:lnTo>
                    <a:lnTo>
                      <a:pt x="234" y="9"/>
                    </a:lnTo>
                    <a:lnTo>
                      <a:pt x="298" y="19"/>
                    </a:lnTo>
                    <a:lnTo>
                      <a:pt x="362" y="26"/>
                    </a:lnTo>
                    <a:lnTo>
                      <a:pt x="423" y="35"/>
                    </a:lnTo>
                    <a:lnTo>
                      <a:pt x="487" y="42"/>
                    </a:lnTo>
                    <a:lnTo>
                      <a:pt x="551" y="52"/>
                    </a:lnTo>
                    <a:lnTo>
                      <a:pt x="614" y="59"/>
                    </a:lnTo>
                    <a:lnTo>
                      <a:pt x="676" y="66"/>
                    </a:lnTo>
                    <a:lnTo>
                      <a:pt x="740" y="73"/>
                    </a:lnTo>
                    <a:lnTo>
                      <a:pt x="804" y="78"/>
                    </a:lnTo>
                    <a:lnTo>
                      <a:pt x="867" y="85"/>
                    </a:lnTo>
                    <a:lnTo>
                      <a:pt x="931" y="92"/>
                    </a:lnTo>
                    <a:lnTo>
                      <a:pt x="993" y="97"/>
                    </a:lnTo>
                    <a:lnTo>
                      <a:pt x="1056" y="102"/>
                    </a:lnTo>
                    <a:lnTo>
                      <a:pt x="1120" y="109"/>
                    </a:lnTo>
                    <a:lnTo>
                      <a:pt x="1184" y="113"/>
                    </a:lnTo>
                    <a:lnTo>
                      <a:pt x="1182" y="139"/>
                    </a:lnTo>
                    <a:lnTo>
                      <a:pt x="1179" y="165"/>
                    </a:lnTo>
                    <a:lnTo>
                      <a:pt x="1177" y="191"/>
                    </a:lnTo>
                    <a:lnTo>
                      <a:pt x="1177" y="21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7" name="Freeform 75">
                <a:extLst>
                  <a:ext uri="{FF2B5EF4-FFF2-40B4-BE49-F238E27FC236}">
                    <a16:creationId xmlns:a16="http://schemas.microsoft.com/office/drawing/2014/main" id="{E0CE2481-17DE-9FBF-FBA7-7DC435506384}"/>
                  </a:ext>
                </a:extLst>
              </p:cNvPr>
              <p:cNvSpPr>
                <a:spLocks/>
              </p:cNvSpPr>
              <p:nvPr/>
            </p:nvSpPr>
            <p:spPr bwMode="auto">
              <a:xfrm>
                <a:off x="818" y="194"/>
                <a:ext cx="1075" cy="1641"/>
              </a:xfrm>
              <a:custGeom>
                <a:avLst/>
                <a:gdLst>
                  <a:gd name="T0" fmla="*/ 853 w 1075"/>
                  <a:gd name="T1" fmla="*/ 1326 h 1641"/>
                  <a:gd name="T2" fmla="*/ 832 w 1075"/>
                  <a:gd name="T3" fmla="*/ 1414 h 1641"/>
                  <a:gd name="T4" fmla="*/ 804 w 1075"/>
                  <a:gd name="T5" fmla="*/ 1440 h 1641"/>
                  <a:gd name="T6" fmla="*/ 789 w 1075"/>
                  <a:gd name="T7" fmla="*/ 1430 h 1641"/>
                  <a:gd name="T8" fmla="*/ 773 w 1075"/>
                  <a:gd name="T9" fmla="*/ 1409 h 1641"/>
                  <a:gd name="T10" fmla="*/ 742 w 1075"/>
                  <a:gd name="T11" fmla="*/ 1402 h 1641"/>
                  <a:gd name="T12" fmla="*/ 718 w 1075"/>
                  <a:gd name="T13" fmla="*/ 1412 h 1641"/>
                  <a:gd name="T14" fmla="*/ 711 w 1075"/>
                  <a:gd name="T15" fmla="*/ 1430 h 1641"/>
                  <a:gd name="T16" fmla="*/ 711 w 1075"/>
                  <a:gd name="T17" fmla="*/ 1468 h 1641"/>
                  <a:gd name="T18" fmla="*/ 711 w 1075"/>
                  <a:gd name="T19" fmla="*/ 1497 h 1641"/>
                  <a:gd name="T20" fmla="*/ 704 w 1075"/>
                  <a:gd name="T21" fmla="*/ 1525 h 1641"/>
                  <a:gd name="T22" fmla="*/ 707 w 1075"/>
                  <a:gd name="T23" fmla="*/ 1565 h 1641"/>
                  <a:gd name="T24" fmla="*/ 688 w 1075"/>
                  <a:gd name="T25" fmla="*/ 1641 h 1641"/>
                  <a:gd name="T26" fmla="*/ 617 w 1075"/>
                  <a:gd name="T27" fmla="*/ 1537 h 1641"/>
                  <a:gd name="T28" fmla="*/ 551 w 1075"/>
                  <a:gd name="T29" fmla="*/ 1438 h 1641"/>
                  <a:gd name="T30" fmla="*/ 484 w 1075"/>
                  <a:gd name="T31" fmla="*/ 1336 h 1641"/>
                  <a:gd name="T32" fmla="*/ 418 w 1075"/>
                  <a:gd name="T33" fmla="*/ 1237 h 1641"/>
                  <a:gd name="T34" fmla="*/ 371 w 1075"/>
                  <a:gd name="T35" fmla="*/ 1166 h 1641"/>
                  <a:gd name="T36" fmla="*/ 324 w 1075"/>
                  <a:gd name="T37" fmla="*/ 1095 h 1641"/>
                  <a:gd name="T38" fmla="*/ 279 w 1075"/>
                  <a:gd name="T39" fmla="*/ 1024 h 1641"/>
                  <a:gd name="T40" fmla="*/ 231 w 1075"/>
                  <a:gd name="T41" fmla="*/ 953 h 1641"/>
                  <a:gd name="T42" fmla="*/ 172 w 1075"/>
                  <a:gd name="T43" fmla="*/ 868 h 1641"/>
                  <a:gd name="T44" fmla="*/ 116 w 1075"/>
                  <a:gd name="T45" fmla="*/ 783 h 1641"/>
                  <a:gd name="T46" fmla="*/ 57 w 1075"/>
                  <a:gd name="T47" fmla="*/ 695 h 1641"/>
                  <a:gd name="T48" fmla="*/ 0 w 1075"/>
                  <a:gd name="T49" fmla="*/ 610 h 1641"/>
                  <a:gd name="T50" fmla="*/ 21 w 1075"/>
                  <a:gd name="T51" fmla="*/ 534 h 1641"/>
                  <a:gd name="T52" fmla="*/ 42 w 1075"/>
                  <a:gd name="T53" fmla="*/ 456 h 1641"/>
                  <a:gd name="T54" fmla="*/ 61 w 1075"/>
                  <a:gd name="T55" fmla="*/ 381 h 1641"/>
                  <a:gd name="T56" fmla="*/ 83 w 1075"/>
                  <a:gd name="T57" fmla="*/ 305 h 1641"/>
                  <a:gd name="T58" fmla="*/ 104 w 1075"/>
                  <a:gd name="T59" fmla="*/ 229 h 1641"/>
                  <a:gd name="T60" fmla="*/ 125 w 1075"/>
                  <a:gd name="T61" fmla="*/ 154 h 1641"/>
                  <a:gd name="T62" fmla="*/ 144 w 1075"/>
                  <a:gd name="T63" fmla="*/ 76 h 1641"/>
                  <a:gd name="T64" fmla="*/ 165 w 1075"/>
                  <a:gd name="T65" fmla="*/ 0 h 1641"/>
                  <a:gd name="T66" fmla="*/ 279 w 1075"/>
                  <a:gd name="T67" fmla="*/ 31 h 1641"/>
                  <a:gd name="T68" fmla="*/ 392 w 1075"/>
                  <a:gd name="T69" fmla="*/ 59 h 1641"/>
                  <a:gd name="T70" fmla="*/ 506 w 1075"/>
                  <a:gd name="T71" fmla="*/ 87 h 1641"/>
                  <a:gd name="T72" fmla="*/ 619 w 1075"/>
                  <a:gd name="T73" fmla="*/ 116 h 1641"/>
                  <a:gd name="T74" fmla="*/ 733 w 1075"/>
                  <a:gd name="T75" fmla="*/ 142 h 1641"/>
                  <a:gd name="T76" fmla="*/ 848 w 1075"/>
                  <a:gd name="T77" fmla="*/ 168 h 1641"/>
                  <a:gd name="T78" fmla="*/ 962 w 1075"/>
                  <a:gd name="T79" fmla="*/ 191 h 1641"/>
                  <a:gd name="T80" fmla="*/ 1075 w 1075"/>
                  <a:gd name="T81" fmla="*/ 215 h 1641"/>
                  <a:gd name="T82" fmla="*/ 1064 w 1075"/>
                  <a:gd name="T83" fmla="*/ 279 h 1641"/>
                  <a:gd name="T84" fmla="*/ 1049 w 1075"/>
                  <a:gd name="T85" fmla="*/ 343 h 1641"/>
                  <a:gd name="T86" fmla="*/ 1038 w 1075"/>
                  <a:gd name="T87" fmla="*/ 409 h 1641"/>
                  <a:gd name="T88" fmla="*/ 1023 w 1075"/>
                  <a:gd name="T89" fmla="*/ 473 h 1641"/>
                  <a:gd name="T90" fmla="*/ 1012 w 1075"/>
                  <a:gd name="T91" fmla="*/ 537 h 1641"/>
                  <a:gd name="T92" fmla="*/ 997 w 1075"/>
                  <a:gd name="T93" fmla="*/ 600 h 1641"/>
                  <a:gd name="T94" fmla="*/ 986 w 1075"/>
                  <a:gd name="T95" fmla="*/ 667 h 1641"/>
                  <a:gd name="T96" fmla="*/ 971 w 1075"/>
                  <a:gd name="T97" fmla="*/ 731 h 1641"/>
                  <a:gd name="T98" fmla="*/ 960 w 1075"/>
                  <a:gd name="T99" fmla="*/ 794 h 1641"/>
                  <a:gd name="T100" fmla="*/ 945 w 1075"/>
                  <a:gd name="T101" fmla="*/ 858 h 1641"/>
                  <a:gd name="T102" fmla="*/ 934 w 1075"/>
                  <a:gd name="T103" fmla="*/ 922 h 1641"/>
                  <a:gd name="T104" fmla="*/ 922 w 1075"/>
                  <a:gd name="T105" fmla="*/ 988 h 1641"/>
                  <a:gd name="T106" fmla="*/ 908 w 1075"/>
                  <a:gd name="T107" fmla="*/ 1052 h 1641"/>
                  <a:gd name="T108" fmla="*/ 896 w 1075"/>
                  <a:gd name="T109" fmla="*/ 1116 h 1641"/>
                  <a:gd name="T110" fmla="*/ 882 w 1075"/>
                  <a:gd name="T111" fmla="*/ 1180 h 1641"/>
                  <a:gd name="T112" fmla="*/ 870 w 1075"/>
                  <a:gd name="T113" fmla="*/ 1244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5" h="1641">
                    <a:moveTo>
                      <a:pt x="870" y="1244"/>
                    </a:moveTo>
                    <a:lnTo>
                      <a:pt x="853" y="1326"/>
                    </a:lnTo>
                    <a:lnTo>
                      <a:pt x="834" y="1414"/>
                    </a:lnTo>
                    <a:lnTo>
                      <a:pt x="832" y="1414"/>
                    </a:lnTo>
                    <a:lnTo>
                      <a:pt x="818" y="1433"/>
                    </a:lnTo>
                    <a:lnTo>
                      <a:pt x="804" y="1440"/>
                    </a:lnTo>
                    <a:lnTo>
                      <a:pt x="796" y="1440"/>
                    </a:lnTo>
                    <a:lnTo>
                      <a:pt x="789" y="1430"/>
                    </a:lnTo>
                    <a:lnTo>
                      <a:pt x="785" y="1419"/>
                    </a:lnTo>
                    <a:lnTo>
                      <a:pt x="773" y="1409"/>
                    </a:lnTo>
                    <a:lnTo>
                      <a:pt x="756" y="1404"/>
                    </a:lnTo>
                    <a:lnTo>
                      <a:pt x="742" y="1402"/>
                    </a:lnTo>
                    <a:lnTo>
                      <a:pt x="728" y="1404"/>
                    </a:lnTo>
                    <a:lnTo>
                      <a:pt x="718" y="1412"/>
                    </a:lnTo>
                    <a:lnTo>
                      <a:pt x="711" y="1426"/>
                    </a:lnTo>
                    <a:lnTo>
                      <a:pt x="711" y="1430"/>
                    </a:lnTo>
                    <a:lnTo>
                      <a:pt x="716" y="1447"/>
                    </a:lnTo>
                    <a:lnTo>
                      <a:pt x="711" y="1468"/>
                    </a:lnTo>
                    <a:lnTo>
                      <a:pt x="709" y="1485"/>
                    </a:lnTo>
                    <a:lnTo>
                      <a:pt x="711" y="1497"/>
                    </a:lnTo>
                    <a:lnTo>
                      <a:pt x="711" y="1506"/>
                    </a:lnTo>
                    <a:lnTo>
                      <a:pt x="704" y="1525"/>
                    </a:lnTo>
                    <a:lnTo>
                      <a:pt x="702" y="1539"/>
                    </a:lnTo>
                    <a:lnTo>
                      <a:pt x="707" y="1565"/>
                    </a:lnTo>
                    <a:lnTo>
                      <a:pt x="690" y="1638"/>
                    </a:lnTo>
                    <a:lnTo>
                      <a:pt x="688" y="1641"/>
                    </a:lnTo>
                    <a:lnTo>
                      <a:pt x="652" y="1586"/>
                    </a:lnTo>
                    <a:lnTo>
                      <a:pt x="617" y="1537"/>
                    </a:lnTo>
                    <a:lnTo>
                      <a:pt x="584" y="1487"/>
                    </a:lnTo>
                    <a:lnTo>
                      <a:pt x="551" y="1438"/>
                    </a:lnTo>
                    <a:lnTo>
                      <a:pt x="518" y="1388"/>
                    </a:lnTo>
                    <a:lnTo>
                      <a:pt x="484" y="1336"/>
                    </a:lnTo>
                    <a:lnTo>
                      <a:pt x="451" y="1286"/>
                    </a:lnTo>
                    <a:lnTo>
                      <a:pt x="418" y="1237"/>
                    </a:lnTo>
                    <a:lnTo>
                      <a:pt x="395" y="1201"/>
                    </a:lnTo>
                    <a:lnTo>
                      <a:pt x="371" y="1166"/>
                    </a:lnTo>
                    <a:lnTo>
                      <a:pt x="347" y="1130"/>
                    </a:lnTo>
                    <a:lnTo>
                      <a:pt x="324" y="1095"/>
                    </a:lnTo>
                    <a:lnTo>
                      <a:pt x="300" y="1059"/>
                    </a:lnTo>
                    <a:lnTo>
                      <a:pt x="279" y="1024"/>
                    </a:lnTo>
                    <a:lnTo>
                      <a:pt x="255" y="988"/>
                    </a:lnTo>
                    <a:lnTo>
                      <a:pt x="231" y="953"/>
                    </a:lnTo>
                    <a:lnTo>
                      <a:pt x="203" y="910"/>
                    </a:lnTo>
                    <a:lnTo>
                      <a:pt x="172" y="868"/>
                    </a:lnTo>
                    <a:lnTo>
                      <a:pt x="144" y="825"/>
                    </a:lnTo>
                    <a:lnTo>
                      <a:pt x="116" y="783"/>
                    </a:lnTo>
                    <a:lnTo>
                      <a:pt x="85" y="738"/>
                    </a:lnTo>
                    <a:lnTo>
                      <a:pt x="57" y="695"/>
                    </a:lnTo>
                    <a:lnTo>
                      <a:pt x="28" y="653"/>
                    </a:lnTo>
                    <a:lnTo>
                      <a:pt x="0" y="610"/>
                    </a:lnTo>
                    <a:lnTo>
                      <a:pt x="12" y="572"/>
                    </a:lnTo>
                    <a:lnTo>
                      <a:pt x="21" y="534"/>
                    </a:lnTo>
                    <a:lnTo>
                      <a:pt x="31" y="494"/>
                    </a:lnTo>
                    <a:lnTo>
                      <a:pt x="42" y="456"/>
                    </a:lnTo>
                    <a:lnTo>
                      <a:pt x="52" y="418"/>
                    </a:lnTo>
                    <a:lnTo>
                      <a:pt x="61" y="381"/>
                    </a:lnTo>
                    <a:lnTo>
                      <a:pt x="73" y="343"/>
                    </a:lnTo>
                    <a:lnTo>
                      <a:pt x="83" y="305"/>
                    </a:lnTo>
                    <a:lnTo>
                      <a:pt x="94" y="267"/>
                    </a:lnTo>
                    <a:lnTo>
                      <a:pt x="104" y="229"/>
                    </a:lnTo>
                    <a:lnTo>
                      <a:pt x="113" y="191"/>
                    </a:lnTo>
                    <a:lnTo>
                      <a:pt x="125" y="154"/>
                    </a:lnTo>
                    <a:lnTo>
                      <a:pt x="135" y="113"/>
                    </a:lnTo>
                    <a:lnTo>
                      <a:pt x="144" y="76"/>
                    </a:lnTo>
                    <a:lnTo>
                      <a:pt x="156" y="38"/>
                    </a:lnTo>
                    <a:lnTo>
                      <a:pt x="165" y="0"/>
                    </a:lnTo>
                    <a:lnTo>
                      <a:pt x="222" y="16"/>
                    </a:lnTo>
                    <a:lnTo>
                      <a:pt x="279" y="31"/>
                    </a:lnTo>
                    <a:lnTo>
                      <a:pt x="335" y="45"/>
                    </a:lnTo>
                    <a:lnTo>
                      <a:pt x="392" y="59"/>
                    </a:lnTo>
                    <a:lnTo>
                      <a:pt x="449" y="73"/>
                    </a:lnTo>
                    <a:lnTo>
                      <a:pt x="506" y="87"/>
                    </a:lnTo>
                    <a:lnTo>
                      <a:pt x="562" y="102"/>
                    </a:lnTo>
                    <a:lnTo>
                      <a:pt x="619" y="116"/>
                    </a:lnTo>
                    <a:lnTo>
                      <a:pt x="676" y="128"/>
                    </a:lnTo>
                    <a:lnTo>
                      <a:pt x="733" y="142"/>
                    </a:lnTo>
                    <a:lnTo>
                      <a:pt x="789" y="154"/>
                    </a:lnTo>
                    <a:lnTo>
                      <a:pt x="848" y="168"/>
                    </a:lnTo>
                    <a:lnTo>
                      <a:pt x="905" y="180"/>
                    </a:lnTo>
                    <a:lnTo>
                      <a:pt x="962" y="191"/>
                    </a:lnTo>
                    <a:lnTo>
                      <a:pt x="1019" y="203"/>
                    </a:lnTo>
                    <a:lnTo>
                      <a:pt x="1075" y="215"/>
                    </a:lnTo>
                    <a:lnTo>
                      <a:pt x="1068" y="246"/>
                    </a:lnTo>
                    <a:lnTo>
                      <a:pt x="1064" y="279"/>
                    </a:lnTo>
                    <a:lnTo>
                      <a:pt x="1056" y="312"/>
                    </a:lnTo>
                    <a:lnTo>
                      <a:pt x="1049" y="343"/>
                    </a:lnTo>
                    <a:lnTo>
                      <a:pt x="1045" y="376"/>
                    </a:lnTo>
                    <a:lnTo>
                      <a:pt x="1038" y="409"/>
                    </a:lnTo>
                    <a:lnTo>
                      <a:pt x="1030" y="440"/>
                    </a:lnTo>
                    <a:lnTo>
                      <a:pt x="1023" y="473"/>
                    </a:lnTo>
                    <a:lnTo>
                      <a:pt x="1019" y="504"/>
                    </a:lnTo>
                    <a:lnTo>
                      <a:pt x="1012" y="537"/>
                    </a:lnTo>
                    <a:lnTo>
                      <a:pt x="1004" y="570"/>
                    </a:lnTo>
                    <a:lnTo>
                      <a:pt x="997" y="600"/>
                    </a:lnTo>
                    <a:lnTo>
                      <a:pt x="993" y="634"/>
                    </a:lnTo>
                    <a:lnTo>
                      <a:pt x="986" y="667"/>
                    </a:lnTo>
                    <a:lnTo>
                      <a:pt x="978" y="697"/>
                    </a:lnTo>
                    <a:lnTo>
                      <a:pt x="971" y="731"/>
                    </a:lnTo>
                    <a:lnTo>
                      <a:pt x="967" y="761"/>
                    </a:lnTo>
                    <a:lnTo>
                      <a:pt x="960" y="794"/>
                    </a:lnTo>
                    <a:lnTo>
                      <a:pt x="952" y="827"/>
                    </a:lnTo>
                    <a:lnTo>
                      <a:pt x="945" y="858"/>
                    </a:lnTo>
                    <a:lnTo>
                      <a:pt x="941" y="891"/>
                    </a:lnTo>
                    <a:lnTo>
                      <a:pt x="934" y="922"/>
                    </a:lnTo>
                    <a:lnTo>
                      <a:pt x="926" y="955"/>
                    </a:lnTo>
                    <a:lnTo>
                      <a:pt x="922" y="988"/>
                    </a:lnTo>
                    <a:lnTo>
                      <a:pt x="915" y="1019"/>
                    </a:lnTo>
                    <a:lnTo>
                      <a:pt x="908" y="1052"/>
                    </a:lnTo>
                    <a:lnTo>
                      <a:pt x="900" y="1083"/>
                    </a:lnTo>
                    <a:lnTo>
                      <a:pt x="896" y="1116"/>
                    </a:lnTo>
                    <a:lnTo>
                      <a:pt x="889" y="1149"/>
                    </a:lnTo>
                    <a:lnTo>
                      <a:pt x="882" y="1180"/>
                    </a:lnTo>
                    <a:lnTo>
                      <a:pt x="874" y="1213"/>
                    </a:lnTo>
                    <a:lnTo>
                      <a:pt x="870" y="124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8" name="Freeform 76">
                <a:extLst>
                  <a:ext uri="{FF2B5EF4-FFF2-40B4-BE49-F238E27FC236}">
                    <a16:creationId xmlns:a16="http://schemas.microsoft.com/office/drawing/2014/main" id="{B4AE5CC6-64B6-2D4F-1F67-E99C546DB1DE}"/>
                  </a:ext>
                </a:extLst>
              </p:cNvPr>
              <p:cNvSpPr>
                <a:spLocks noEditPoints="1"/>
              </p:cNvSpPr>
              <p:nvPr/>
            </p:nvSpPr>
            <p:spPr bwMode="auto">
              <a:xfrm>
                <a:off x="7233" y="-466"/>
                <a:ext cx="1267" cy="1050"/>
              </a:xfrm>
              <a:custGeom>
                <a:avLst/>
                <a:gdLst>
                  <a:gd name="T0" fmla="*/ 969 w 1267"/>
                  <a:gd name="T1" fmla="*/ 556 h 1050"/>
                  <a:gd name="T2" fmla="*/ 969 w 1267"/>
                  <a:gd name="T3" fmla="*/ 648 h 1050"/>
                  <a:gd name="T4" fmla="*/ 976 w 1267"/>
                  <a:gd name="T5" fmla="*/ 728 h 1050"/>
                  <a:gd name="T6" fmla="*/ 995 w 1267"/>
                  <a:gd name="T7" fmla="*/ 825 h 1050"/>
                  <a:gd name="T8" fmla="*/ 1009 w 1267"/>
                  <a:gd name="T9" fmla="*/ 885 h 1050"/>
                  <a:gd name="T10" fmla="*/ 1005 w 1267"/>
                  <a:gd name="T11" fmla="*/ 929 h 1050"/>
                  <a:gd name="T12" fmla="*/ 967 w 1267"/>
                  <a:gd name="T13" fmla="*/ 986 h 1050"/>
                  <a:gd name="T14" fmla="*/ 955 w 1267"/>
                  <a:gd name="T15" fmla="*/ 903 h 1050"/>
                  <a:gd name="T16" fmla="*/ 960 w 1267"/>
                  <a:gd name="T17" fmla="*/ 941 h 1050"/>
                  <a:gd name="T18" fmla="*/ 872 w 1267"/>
                  <a:gd name="T19" fmla="*/ 913 h 1050"/>
                  <a:gd name="T20" fmla="*/ 809 w 1267"/>
                  <a:gd name="T21" fmla="*/ 885 h 1050"/>
                  <a:gd name="T22" fmla="*/ 749 w 1267"/>
                  <a:gd name="T23" fmla="*/ 847 h 1050"/>
                  <a:gd name="T24" fmla="*/ 731 w 1267"/>
                  <a:gd name="T25" fmla="*/ 809 h 1050"/>
                  <a:gd name="T26" fmla="*/ 648 w 1267"/>
                  <a:gd name="T27" fmla="*/ 797 h 1050"/>
                  <a:gd name="T28" fmla="*/ 541 w 1267"/>
                  <a:gd name="T29" fmla="*/ 821 h 1050"/>
                  <a:gd name="T30" fmla="*/ 435 w 1267"/>
                  <a:gd name="T31" fmla="*/ 844 h 1050"/>
                  <a:gd name="T32" fmla="*/ 331 w 1267"/>
                  <a:gd name="T33" fmla="*/ 866 h 1050"/>
                  <a:gd name="T34" fmla="*/ 225 w 1267"/>
                  <a:gd name="T35" fmla="*/ 887 h 1050"/>
                  <a:gd name="T36" fmla="*/ 118 w 1267"/>
                  <a:gd name="T37" fmla="*/ 908 h 1050"/>
                  <a:gd name="T38" fmla="*/ 12 w 1267"/>
                  <a:gd name="T39" fmla="*/ 927 h 1050"/>
                  <a:gd name="T40" fmla="*/ 36 w 1267"/>
                  <a:gd name="T41" fmla="*/ 840 h 1050"/>
                  <a:gd name="T42" fmla="*/ 92 w 1267"/>
                  <a:gd name="T43" fmla="*/ 766 h 1050"/>
                  <a:gd name="T44" fmla="*/ 111 w 1267"/>
                  <a:gd name="T45" fmla="*/ 719 h 1050"/>
                  <a:gd name="T46" fmla="*/ 102 w 1267"/>
                  <a:gd name="T47" fmla="*/ 681 h 1050"/>
                  <a:gd name="T48" fmla="*/ 123 w 1267"/>
                  <a:gd name="T49" fmla="*/ 615 h 1050"/>
                  <a:gd name="T50" fmla="*/ 286 w 1267"/>
                  <a:gd name="T51" fmla="*/ 601 h 1050"/>
                  <a:gd name="T52" fmla="*/ 385 w 1267"/>
                  <a:gd name="T53" fmla="*/ 580 h 1050"/>
                  <a:gd name="T54" fmla="*/ 416 w 1267"/>
                  <a:gd name="T55" fmla="*/ 558 h 1050"/>
                  <a:gd name="T56" fmla="*/ 449 w 1267"/>
                  <a:gd name="T57" fmla="*/ 516 h 1050"/>
                  <a:gd name="T58" fmla="*/ 487 w 1267"/>
                  <a:gd name="T59" fmla="*/ 490 h 1050"/>
                  <a:gd name="T60" fmla="*/ 482 w 1267"/>
                  <a:gd name="T61" fmla="*/ 473 h 1050"/>
                  <a:gd name="T62" fmla="*/ 461 w 1267"/>
                  <a:gd name="T63" fmla="*/ 435 h 1050"/>
                  <a:gd name="T64" fmla="*/ 480 w 1267"/>
                  <a:gd name="T65" fmla="*/ 419 h 1050"/>
                  <a:gd name="T66" fmla="*/ 473 w 1267"/>
                  <a:gd name="T67" fmla="*/ 407 h 1050"/>
                  <a:gd name="T68" fmla="*/ 466 w 1267"/>
                  <a:gd name="T69" fmla="*/ 388 h 1050"/>
                  <a:gd name="T70" fmla="*/ 454 w 1267"/>
                  <a:gd name="T71" fmla="*/ 369 h 1050"/>
                  <a:gd name="T72" fmla="*/ 506 w 1267"/>
                  <a:gd name="T73" fmla="*/ 291 h 1050"/>
                  <a:gd name="T74" fmla="*/ 619 w 1267"/>
                  <a:gd name="T75" fmla="*/ 154 h 1050"/>
                  <a:gd name="T76" fmla="*/ 742 w 1267"/>
                  <a:gd name="T77" fmla="*/ 123 h 1050"/>
                  <a:gd name="T78" fmla="*/ 851 w 1267"/>
                  <a:gd name="T79" fmla="*/ 147 h 1050"/>
                  <a:gd name="T80" fmla="*/ 882 w 1267"/>
                  <a:gd name="T81" fmla="*/ 256 h 1050"/>
                  <a:gd name="T82" fmla="*/ 894 w 1267"/>
                  <a:gd name="T83" fmla="*/ 331 h 1050"/>
                  <a:gd name="T84" fmla="*/ 905 w 1267"/>
                  <a:gd name="T85" fmla="*/ 393 h 1050"/>
                  <a:gd name="T86" fmla="*/ 929 w 1267"/>
                  <a:gd name="T87" fmla="*/ 393 h 1050"/>
                  <a:gd name="T88" fmla="*/ 955 w 1267"/>
                  <a:gd name="T89" fmla="*/ 501 h 1050"/>
                  <a:gd name="T90" fmla="*/ 468 w 1267"/>
                  <a:gd name="T91" fmla="*/ 345 h 1050"/>
                  <a:gd name="T92" fmla="*/ 473 w 1267"/>
                  <a:gd name="T93" fmla="*/ 338 h 1050"/>
                  <a:gd name="T94" fmla="*/ 456 w 1267"/>
                  <a:gd name="T95" fmla="*/ 407 h 1050"/>
                  <a:gd name="T96" fmla="*/ 99 w 1267"/>
                  <a:gd name="T97" fmla="*/ 693 h 1050"/>
                  <a:gd name="T98" fmla="*/ 85 w 1267"/>
                  <a:gd name="T99" fmla="*/ 688 h 1050"/>
                  <a:gd name="T100" fmla="*/ 1177 w 1267"/>
                  <a:gd name="T101" fmla="*/ 887 h 1050"/>
                  <a:gd name="T102" fmla="*/ 1210 w 1267"/>
                  <a:gd name="T103" fmla="*/ 870 h 1050"/>
                  <a:gd name="T104" fmla="*/ 1267 w 1267"/>
                  <a:gd name="T105" fmla="*/ 847 h 1050"/>
                  <a:gd name="T106" fmla="*/ 1149 w 1267"/>
                  <a:gd name="T107" fmla="*/ 939 h 1050"/>
                  <a:gd name="T108" fmla="*/ 1002 w 1267"/>
                  <a:gd name="T109" fmla="*/ 1017 h 1050"/>
                  <a:gd name="T110" fmla="*/ 983 w 1267"/>
                  <a:gd name="T111" fmla="*/ 1010 h 1050"/>
                  <a:gd name="T112" fmla="*/ 965 w 1267"/>
                  <a:gd name="T113" fmla="*/ 998 h 1050"/>
                  <a:gd name="T114" fmla="*/ 1007 w 1267"/>
                  <a:gd name="T115" fmla="*/ 953 h 1050"/>
                  <a:gd name="T116" fmla="*/ 1040 w 1267"/>
                  <a:gd name="T117" fmla="*/ 932 h 1050"/>
                  <a:gd name="T118" fmla="*/ 1097 w 1267"/>
                  <a:gd name="T119" fmla="*/ 913 h 1050"/>
                  <a:gd name="T120" fmla="*/ 1203 w 1267"/>
                  <a:gd name="T121" fmla="*/ 844 h 1050"/>
                  <a:gd name="T122" fmla="*/ 936 w 1267"/>
                  <a:gd name="T123" fmla="*/ 1029 h 1050"/>
                  <a:gd name="T124" fmla="*/ 948 w 1267"/>
                  <a:gd name="T125" fmla="*/ 1043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7" h="1050">
                    <a:moveTo>
                      <a:pt x="154" y="0"/>
                    </a:moveTo>
                    <a:lnTo>
                      <a:pt x="154" y="0"/>
                    </a:lnTo>
                    <a:lnTo>
                      <a:pt x="154" y="0"/>
                    </a:lnTo>
                    <a:lnTo>
                      <a:pt x="154" y="0"/>
                    </a:lnTo>
                    <a:close/>
                    <a:moveTo>
                      <a:pt x="969" y="556"/>
                    </a:moveTo>
                    <a:lnTo>
                      <a:pt x="969" y="575"/>
                    </a:lnTo>
                    <a:lnTo>
                      <a:pt x="969" y="594"/>
                    </a:lnTo>
                    <a:lnTo>
                      <a:pt x="969" y="613"/>
                    </a:lnTo>
                    <a:lnTo>
                      <a:pt x="969" y="629"/>
                    </a:lnTo>
                    <a:lnTo>
                      <a:pt x="969" y="648"/>
                    </a:lnTo>
                    <a:lnTo>
                      <a:pt x="967" y="667"/>
                    </a:lnTo>
                    <a:lnTo>
                      <a:pt x="967" y="686"/>
                    </a:lnTo>
                    <a:lnTo>
                      <a:pt x="967" y="705"/>
                    </a:lnTo>
                    <a:lnTo>
                      <a:pt x="972" y="707"/>
                    </a:lnTo>
                    <a:lnTo>
                      <a:pt x="976" y="728"/>
                    </a:lnTo>
                    <a:lnTo>
                      <a:pt x="979" y="747"/>
                    </a:lnTo>
                    <a:lnTo>
                      <a:pt x="983" y="766"/>
                    </a:lnTo>
                    <a:lnTo>
                      <a:pt x="986" y="785"/>
                    </a:lnTo>
                    <a:lnTo>
                      <a:pt x="991" y="807"/>
                    </a:lnTo>
                    <a:lnTo>
                      <a:pt x="995" y="825"/>
                    </a:lnTo>
                    <a:lnTo>
                      <a:pt x="998" y="844"/>
                    </a:lnTo>
                    <a:lnTo>
                      <a:pt x="1002" y="866"/>
                    </a:lnTo>
                    <a:lnTo>
                      <a:pt x="1009" y="873"/>
                    </a:lnTo>
                    <a:lnTo>
                      <a:pt x="1014" y="877"/>
                    </a:lnTo>
                    <a:lnTo>
                      <a:pt x="1009" y="885"/>
                    </a:lnTo>
                    <a:lnTo>
                      <a:pt x="1002" y="892"/>
                    </a:lnTo>
                    <a:lnTo>
                      <a:pt x="995" y="901"/>
                    </a:lnTo>
                    <a:lnTo>
                      <a:pt x="983" y="911"/>
                    </a:lnTo>
                    <a:lnTo>
                      <a:pt x="993" y="920"/>
                    </a:lnTo>
                    <a:lnTo>
                      <a:pt x="1005" y="929"/>
                    </a:lnTo>
                    <a:lnTo>
                      <a:pt x="1000" y="937"/>
                    </a:lnTo>
                    <a:lnTo>
                      <a:pt x="986" y="960"/>
                    </a:lnTo>
                    <a:lnTo>
                      <a:pt x="979" y="972"/>
                    </a:lnTo>
                    <a:lnTo>
                      <a:pt x="969" y="977"/>
                    </a:lnTo>
                    <a:lnTo>
                      <a:pt x="967" y="986"/>
                    </a:lnTo>
                    <a:lnTo>
                      <a:pt x="962" y="993"/>
                    </a:lnTo>
                    <a:lnTo>
                      <a:pt x="962" y="974"/>
                    </a:lnTo>
                    <a:lnTo>
                      <a:pt x="965" y="958"/>
                    </a:lnTo>
                    <a:lnTo>
                      <a:pt x="965" y="927"/>
                    </a:lnTo>
                    <a:lnTo>
                      <a:pt x="955" y="903"/>
                    </a:lnTo>
                    <a:lnTo>
                      <a:pt x="948" y="896"/>
                    </a:lnTo>
                    <a:lnTo>
                      <a:pt x="939" y="892"/>
                    </a:lnTo>
                    <a:lnTo>
                      <a:pt x="953" y="913"/>
                    </a:lnTo>
                    <a:lnTo>
                      <a:pt x="960" y="941"/>
                    </a:lnTo>
                    <a:lnTo>
                      <a:pt x="960" y="941"/>
                    </a:lnTo>
                    <a:lnTo>
                      <a:pt x="943" y="937"/>
                    </a:lnTo>
                    <a:lnTo>
                      <a:pt x="927" y="929"/>
                    </a:lnTo>
                    <a:lnTo>
                      <a:pt x="908" y="925"/>
                    </a:lnTo>
                    <a:lnTo>
                      <a:pt x="891" y="920"/>
                    </a:lnTo>
                    <a:lnTo>
                      <a:pt x="872" y="913"/>
                    </a:lnTo>
                    <a:lnTo>
                      <a:pt x="856" y="908"/>
                    </a:lnTo>
                    <a:lnTo>
                      <a:pt x="839" y="901"/>
                    </a:lnTo>
                    <a:lnTo>
                      <a:pt x="820" y="896"/>
                    </a:lnTo>
                    <a:lnTo>
                      <a:pt x="816" y="889"/>
                    </a:lnTo>
                    <a:lnTo>
                      <a:pt x="809" y="885"/>
                    </a:lnTo>
                    <a:lnTo>
                      <a:pt x="778" y="882"/>
                    </a:lnTo>
                    <a:lnTo>
                      <a:pt x="771" y="875"/>
                    </a:lnTo>
                    <a:lnTo>
                      <a:pt x="761" y="868"/>
                    </a:lnTo>
                    <a:lnTo>
                      <a:pt x="754" y="859"/>
                    </a:lnTo>
                    <a:lnTo>
                      <a:pt x="749" y="847"/>
                    </a:lnTo>
                    <a:lnTo>
                      <a:pt x="747" y="837"/>
                    </a:lnTo>
                    <a:lnTo>
                      <a:pt x="747" y="825"/>
                    </a:lnTo>
                    <a:lnTo>
                      <a:pt x="738" y="821"/>
                    </a:lnTo>
                    <a:lnTo>
                      <a:pt x="738" y="814"/>
                    </a:lnTo>
                    <a:lnTo>
                      <a:pt x="731" y="809"/>
                    </a:lnTo>
                    <a:lnTo>
                      <a:pt x="712" y="807"/>
                    </a:lnTo>
                    <a:lnTo>
                      <a:pt x="705" y="797"/>
                    </a:lnTo>
                    <a:lnTo>
                      <a:pt x="690" y="788"/>
                    </a:lnTo>
                    <a:lnTo>
                      <a:pt x="669" y="792"/>
                    </a:lnTo>
                    <a:lnTo>
                      <a:pt x="648" y="797"/>
                    </a:lnTo>
                    <a:lnTo>
                      <a:pt x="627" y="802"/>
                    </a:lnTo>
                    <a:lnTo>
                      <a:pt x="605" y="807"/>
                    </a:lnTo>
                    <a:lnTo>
                      <a:pt x="584" y="811"/>
                    </a:lnTo>
                    <a:lnTo>
                      <a:pt x="563" y="816"/>
                    </a:lnTo>
                    <a:lnTo>
                      <a:pt x="541" y="821"/>
                    </a:lnTo>
                    <a:lnTo>
                      <a:pt x="520" y="825"/>
                    </a:lnTo>
                    <a:lnTo>
                      <a:pt x="499" y="830"/>
                    </a:lnTo>
                    <a:lnTo>
                      <a:pt x="478" y="835"/>
                    </a:lnTo>
                    <a:lnTo>
                      <a:pt x="456" y="840"/>
                    </a:lnTo>
                    <a:lnTo>
                      <a:pt x="435" y="844"/>
                    </a:lnTo>
                    <a:lnTo>
                      <a:pt x="414" y="849"/>
                    </a:lnTo>
                    <a:lnTo>
                      <a:pt x="393" y="854"/>
                    </a:lnTo>
                    <a:lnTo>
                      <a:pt x="374" y="859"/>
                    </a:lnTo>
                    <a:lnTo>
                      <a:pt x="352" y="861"/>
                    </a:lnTo>
                    <a:lnTo>
                      <a:pt x="331" y="866"/>
                    </a:lnTo>
                    <a:lnTo>
                      <a:pt x="310" y="870"/>
                    </a:lnTo>
                    <a:lnTo>
                      <a:pt x="289" y="875"/>
                    </a:lnTo>
                    <a:lnTo>
                      <a:pt x="267" y="880"/>
                    </a:lnTo>
                    <a:lnTo>
                      <a:pt x="246" y="882"/>
                    </a:lnTo>
                    <a:lnTo>
                      <a:pt x="225" y="887"/>
                    </a:lnTo>
                    <a:lnTo>
                      <a:pt x="203" y="892"/>
                    </a:lnTo>
                    <a:lnTo>
                      <a:pt x="182" y="896"/>
                    </a:lnTo>
                    <a:lnTo>
                      <a:pt x="161" y="899"/>
                    </a:lnTo>
                    <a:lnTo>
                      <a:pt x="140" y="903"/>
                    </a:lnTo>
                    <a:lnTo>
                      <a:pt x="118" y="908"/>
                    </a:lnTo>
                    <a:lnTo>
                      <a:pt x="97" y="913"/>
                    </a:lnTo>
                    <a:lnTo>
                      <a:pt x="76" y="915"/>
                    </a:lnTo>
                    <a:lnTo>
                      <a:pt x="55" y="920"/>
                    </a:lnTo>
                    <a:lnTo>
                      <a:pt x="33" y="922"/>
                    </a:lnTo>
                    <a:lnTo>
                      <a:pt x="12" y="927"/>
                    </a:lnTo>
                    <a:lnTo>
                      <a:pt x="7" y="899"/>
                    </a:lnTo>
                    <a:lnTo>
                      <a:pt x="0" y="873"/>
                    </a:lnTo>
                    <a:lnTo>
                      <a:pt x="0" y="870"/>
                    </a:lnTo>
                    <a:lnTo>
                      <a:pt x="10" y="863"/>
                    </a:lnTo>
                    <a:lnTo>
                      <a:pt x="36" y="840"/>
                    </a:lnTo>
                    <a:lnTo>
                      <a:pt x="47" y="823"/>
                    </a:lnTo>
                    <a:lnTo>
                      <a:pt x="62" y="809"/>
                    </a:lnTo>
                    <a:lnTo>
                      <a:pt x="76" y="797"/>
                    </a:lnTo>
                    <a:lnTo>
                      <a:pt x="85" y="783"/>
                    </a:lnTo>
                    <a:lnTo>
                      <a:pt x="92" y="766"/>
                    </a:lnTo>
                    <a:lnTo>
                      <a:pt x="102" y="754"/>
                    </a:lnTo>
                    <a:lnTo>
                      <a:pt x="111" y="745"/>
                    </a:lnTo>
                    <a:lnTo>
                      <a:pt x="116" y="738"/>
                    </a:lnTo>
                    <a:lnTo>
                      <a:pt x="116" y="728"/>
                    </a:lnTo>
                    <a:lnTo>
                      <a:pt x="111" y="719"/>
                    </a:lnTo>
                    <a:lnTo>
                      <a:pt x="104" y="707"/>
                    </a:lnTo>
                    <a:lnTo>
                      <a:pt x="102" y="698"/>
                    </a:lnTo>
                    <a:lnTo>
                      <a:pt x="104" y="688"/>
                    </a:lnTo>
                    <a:lnTo>
                      <a:pt x="104" y="684"/>
                    </a:lnTo>
                    <a:lnTo>
                      <a:pt x="102" y="681"/>
                    </a:lnTo>
                    <a:lnTo>
                      <a:pt x="76" y="679"/>
                    </a:lnTo>
                    <a:lnTo>
                      <a:pt x="71" y="643"/>
                    </a:lnTo>
                    <a:lnTo>
                      <a:pt x="69" y="641"/>
                    </a:lnTo>
                    <a:lnTo>
                      <a:pt x="71" y="641"/>
                    </a:lnTo>
                    <a:lnTo>
                      <a:pt x="123" y="615"/>
                    </a:lnTo>
                    <a:lnTo>
                      <a:pt x="156" y="603"/>
                    </a:lnTo>
                    <a:lnTo>
                      <a:pt x="199" y="594"/>
                    </a:lnTo>
                    <a:lnTo>
                      <a:pt x="251" y="591"/>
                    </a:lnTo>
                    <a:lnTo>
                      <a:pt x="272" y="594"/>
                    </a:lnTo>
                    <a:lnTo>
                      <a:pt x="286" y="601"/>
                    </a:lnTo>
                    <a:lnTo>
                      <a:pt x="303" y="598"/>
                    </a:lnTo>
                    <a:lnTo>
                      <a:pt x="317" y="591"/>
                    </a:lnTo>
                    <a:lnTo>
                      <a:pt x="341" y="587"/>
                    </a:lnTo>
                    <a:lnTo>
                      <a:pt x="369" y="582"/>
                    </a:lnTo>
                    <a:lnTo>
                      <a:pt x="385" y="580"/>
                    </a:lnTo>
                    <a:lnTo>
                      <a:pt x="388" y="582"/>
                    </a:lnTo>
                    <a:lnTo>
                      <a:pt x="390" y="582"/>
                    </a:lnTo>
                    <a:lnTo>
                      <a:pt x="390" y="577"/>
                    </a:lnTo>
                    <a:lnTo>
                      <a:pt x="397" y="570"/>
                    </a:lnTo>
                    <a:lnTo>
                      <a:pt x="416" y="558"/>
                    </a:lnTo>
                    <a:lnTo>
                      <a:pt x="421" y="558"/>
                    </a:lnTo>
                    <a:lnTo>
                      <a:pt x="423" y="553"/>
                    </a:lnTo>
                    <a:lnTo>
                      <a:pt x="428" y="544"/>
                    </a:lnTo>
                    <a:lnTo>
                      <a:pt x="437" y="530"/>
                    </a:lnTo>
                    <a:lnTo>
                      <a:pt x="449" y="516"/>
                    </a:lnTo>
                    <a:lnTo>
                      <a:pt x="463" y="509"/>
                    </a:lnTo>
                    <a:lnTo>
                      <a:pt x="475" y="504"/>
                    </a:lnTo>
                    <a:lnTo>
                      <a:pt x="485" y="499"/>
                    </a:lnTo>
                    <a:lnTo>
                      <a:pt x="487" y="494"/>
                    </a:lnTo>
                    <a:lnTo>
                      <a:pt x="487" y="490"/>
                    </a:lnTo>
                    <a:lnTo>
                      <a:pt x="485" y="485"/>
                    </a:lnTo>
                    <a:lnTo>
                      <a:pt x="485" y="480"/>
                    </a:lnTo>
                    <a:lnTo>
                      <a:pt x="485" y="478"/>
                    </a:lnTo>
                    <a:lnTo>
                      <a:pt x="485" y="478"/>
                    </a:lnTo>
                    <a:lnTo>
                      <a:pt x="482" y="473"/>
                    </a:lnTo>
                    <a:lnTo>
                      <a:pt x="478" y="457"/>
                    </a:lnTo>
                    <a:lnTo>
                      <a:pt x="473" y="449"/>
                    </a:lnTo>
                    <a:lnTo>
                      <a:pt x="468" y="442"/>
                    </a:lnTo>
                    <a:lnTo>
                      <a:pt x="463" y="440"/>
                    </a:lnTo>
                    <a:lnTo>
                      <a:pt x="461" y="435"/>
                    </a:lnTo>
                    <a:lnTo>
                      <a:pt x="468" y="428"/>
                    </a:lnTo>
                    <a:lnTo>
                      <a:pt x="468" y="433"/>
                    </a:lnTo>
                    <a:lnTo>
                      <a:pt x="471" y="435"/>
                    </a:lnTo>
                    <a:lnTo>
                      <a:pt x="475" y="431"/>
                    </a:lnTo>
                    <a:lnTo>
                      <a:pt x="480" y="419"/>
                    </a:lnTo>
                    <a:lnTo>
                      <a:pt x="480" y="414"/>
                    </a:lnTo>
                    <a:lnTo>
                      <a:pt x="485" y="409"/>
                    </a:lnTo>
                    <a:lnTo>
                      <a:pt x="487" y="402"/>
                    </a:lnTo>
                    <a:lnTo>
                      <a:pt x="482" y="402"/>
                    </a:lnTo>
                    <a:lnTo>
                      <a:pt x="473" y="407"/>
                    </a:lnTo>
                    <a:lnTo>
                      <a:pt x="471" y="405"/>
                    </a:lnTo>
                    <a:lnTo>
                      <a:pt x="473" y="395"/>
                    </a:lnTo>
                    <a:lnTo>
                      <a:pt x="471" y="390"/>
                    </a:lnTo>
                    <a:lnTo>
                      <a:pt x="468" y="388"/>
                    </a:lnTo>
                    <a:lnTo>
                      <a:pt x="466" y="388"/>
                    </a:lnTo>
                    <a:lnTo>
                      <a:pt x="454" y="400"/>
                    </a:lnTo>
                    <a:lnTo>
                      <a:pt x="452" y="400"/>
                    </a:lnTo>
                    <a:lnTo>
                      <a:pt x="449" y="397"/>
                    </a:lnTo>
                    <a:lnTo>
                      <a:pt x="442" y="388"/>
                    </a:lnTo>
                    <a:lnTo>
                      <a:pt x="454" y="369"/>
                    </a:lnTo>
                    <a:lnTo>
                      <a:pt x="506" y="312"/>
                    </a:lnTo>
                    <a:lnTo>
                      <a:pt x="511" y="303"/>
                    </a:lnTo>
                    <a:lnTo>
                      <a:pt x="511" y="298"/>
                    </a:lnTo>
                    <a:lnTo>
                      <a:pt x="508" y="291"/>
                    </a:lnTo>
                    <a:lnTo>
                      <a:pt x="506" y="291"/>
                    </a:lnTo>
                    <a:lnTo>
                      <a:pt x="506" y="289"/>
                    </a:lnTo>
                    <a:lnTo>
                      <a:pt x="551" y="220"/>
                    </a:lnTo>
                    <a:lnTo>
                      <a:pt x="577" y="187"/>
                    </a:lnTo>
                    <a:lnTo>
                      <a:pt x="601" y="166"/>
                    </a:lnTo>
                    <a:lnTo>
                      <a:pt x="619" y="154"/>
                    </a:lnTo>
                    <a:lnTo>
                      <a:pt x="634" y="152"/>
                    </a:lnTo>
                    <a:lnTo>
                      <a:pt x="641" y="149"/>
                    </a:lnTo>
                    <a:lnTo>
                      <a:pt x="648" y="147"/>
                    </a:lnTo>
                    <a:lnTo>
                      <a:pt x="681" y="137"/>
                    </a:lnTo>
                    <a:lnTo>
                      <a:pt x="742" y="123"/>
                    </a:lnTo>
                    <a:lnTo>
                      <a:pt x="804" y="109"/>
                    </a:lnTo>
                    <a:lnTo>
                      <a:pt x="839" y="100"/>
                    </a:lnTo>
                    <a:lnTo>
                      <a:pt x="844" y="114"/>
                    </a:lnTo>
                    <a:lnTo>
                      <a:pt x="844" y="130"/>
                    </a:lnTo>
                    <a:lnTo>
                      <a:pt x="851" y="147"/>
                    </a:lnTo>
                    <a:lnTo>
                      <a:pt x="856" y="185"/>
                    </a:lnTo>
                    <a:lnTo>
                      <a:pt x="872" y="211"/>
                    </a:lnTo>
                    <a:lnTo>
                      <a:pt x="877" y="230"/>
                    </a:lnTo>
                    <a:lnTo>
                      <a:pt x="882" y="248"/>
                    </a:lnTo>
                    <a:lnTo>
                      <a:pt x="882" y="256"/>
                    </a:lnTo>
                    <a:lnTo>
                      <a:pt x="877" y="267"/>
                    </a:lnTo>
                    <a:lnTo>
                      <a:pt x="875" y="282"/>
                    </a:lnTo>
                    <a:lnTo>
                      <a:pt x="877" y="293"/>
                    </a:lnTo>
                    <a:lnTo>
                      <a:pt x="877" y="300"/>
                    </a:lnTo>
                    <a:lnTo>
                      <a:pt x="894" y="331"/>
                    </a:lnTo>
                    <a:lnTo>
                      <a:pt x="898" y="345"/>
                    </a:lnTo>
                    <a:lnTo>
                      <a:pt x="901" y="355"/>
                    </a:lnTo>
                    <a:lnTo>
                      <a:pt x="901" y="383"/>
                    </a:lnTo>
                    <a:lnTo>
                      <a:pt x="903" y="393"/>
                    </a:lnTo>
                    <a:lnTo>
                      <a:pt x="905" y="393"/>
                    </a:lnTo>
                    <a:lnTo>
                      <a:pt x="908" y="393"/>
                    </a:lnTo>
                    <a:lnTo>
                      <a:pt x="910" y="383"/>
                    </a:lnTo>
                    <a:lnTo>
                      <a:pt x="913" y="381"/>
                    </a:lnTo>
                    <a:lnTo>
                      <a:pt x="917" y="383"/>
                    </a:lnTo>
                    <a:lnTo>
                      <a:pt x="929" y="393"/>
                    </a:lnTo>
                    <a:lnTo>
                      <a:pt x="936" y="416"/>
                    </a:lnTo>
                    <a:lnTo>
                      <a:pt x="939" y="433"/>
                    </a:lnTo>
                    <a:lnTo>
                      <a:pt x="943" y="452"/>
                    </a:lnTo>
                    <a:lnTo>
                      <a:pt x="950" y="480"/>
                    </a:lnTo>
                    <a:lnTo>
                      <a:pt x="955" y="501"/>
                    </a:lnTo>
                    <a:lnTo>
                      <a:pt x="960" y="520"/>
                    </a:lnTo>
                    <a:lnTo>
                      <a:pt x="962" y="535"/>
                    </a:lnTo>
                    <a:lnTo>
                      <a:pt x="965" y="544"/>
                    </a:lnTo>
                    <a:lnTo>
                      <a:pt x="969" y="556"/>
                    </a:lnTo>
                    <a:close/>
                    <a:moveTo>
                      <a:pt x="468" y="345"/>
                    </a:moveTo>
                    <a:lnTo>
                      <a:pt x="466" y="348"/>
                    </a:lnTo>
                    <a:lnTo>
                      <a:pt x="463" y="345"/>
                    </a:lnTo>
                    <a:lnTo>
                      <a:pt x="463" y="343"/>
                    </a:lnTo>
                    <a:lnTo>
                      <a:pt x="466" y="341"/>
                    </a:lnTo>
                    <a:lnTo>
                      <a:pt x="473" y="338"/>
                    </a:lnTo>
                    <a:lnTo>
                      <a:pt x="473" y="341"/>
                    </a:lnTo>
                    <a:lnTo>
                      <a:pt x="468" y="345"/>
                    </a:lnTo>
                    <a:close/>
                    <a:moveTo>
                      <a:pt x="459" y="409"/>
                    </a:moveTo>
                    <a:lnTo>
                      <a:pt x="459" y="412"/>
                    </a:lnTo>
                    <a:lnTo>
                      <a:pt x="456" y="407"/>
                    </a:lnTo>
                    <a:lnTo>
                      <a:pt x="459" y="405"/>
                    </a:lnTo>
                    <a:lnTo>
                      <a:pt x="463" y="402"/>
                    </a:lnTo>
                    <a:lnTo>
                      <a:pt x="463" y="405"/>
                    </a:lnTo>
                    <a:lnTo>
                      <a:pt x="459" y="409"/>
                    </a:lnTo>
                    <a:close/>
                    <a:moveTo>
                      <a:pt x="99" y="693"/>
                    </a:moveTo>
                    <a:lnTo>
                      <a:pt x="97" y="700"/>
                    </a:lnTo>
                    <a:lnTo>
                      <a:pt x="92" y="700"/>
                    </a:lnTo>
                    <a:lnTo>
                      <a:pt x="88" y="700"/>
                    </a:lnTo>
                    <a:lnTo>
                      <a:pt x="85" y="695"/>
                    </a:lnTo>
                    <a:lnTo>
                      <a:pt x="85" y="688"/>
                    </a:lnTo>
                    <a:lnTo>
                      <a:pt x="90" y="686"/>
                    </a:lnTo>
                    <a:lnTo>
                      <a:pt x="99" y="686"/>
                    </a:lnTo>
                    <a:lnTo>
                      <a:pt x="102" y="688"/>
                    </a:lnTo>
                    <a:lnTo>
                      <a:pt x="99" y="693"/>
                    </a:lnTo>
                    <a:close/>
                    <a:moveTo>
                      <a:pt x="1177" y="887"/>
                    </a:moveTo>
                    <a:lnTo>
                      <a:pt x="1170" y="903"/>
                    </a:lnTo>
                    <a:lnTo>
                      <a:pt x="1180" y="901"/>
                    </a:lnTo>
                    <a:lnTo>
                      <a:pt x="1187" y="896"/>
                    </a:lnTo>
                    <a:lnTo>
                      <a:pt x="1194" y="887"/>
                    </a:lnTo>
                    <a:lnTo>
                      <a:pt x="1210" y="870"/>
                    </a:lnTo>
                    <a:lnTo>
                      <a:pt x="1225" y="861"/>
                    </a:lnTo>
                    <a:lnTo>
                      <a:pt x="1229" y="859"/>
                    </a:lnTo>
                    <a:lnTo>
                      <a:pt x="1239" y="866"/>
                    </a:lnTo>
                    <a:lnTo>
                      <a:pt x="1253" y="854"/>
                    </a:lnTo>
                    <a:lnTo>
                      <a:pt x="1267" y="847"/>
                    </a:lnTo>
                    <a:lnTo>
                      <a:pt x="1208" y="899"/>
                    </a:lnTo>
                    <a:lnTo>
                      <a:pt x="1196" y="906"/>
                    </a:lnTo>
                    <a:lnTo>
                      <a:pt x="1180" y="922"/>
                    </a:lnTo>
                    <a:lnTo>
                      <a:pt x="1161" y="934"/>
                    </a:lnTo>
                    <a:lnTo>
                      <a:pt x="1149" y="939"/>
                    </a:lnTo>
                    <a:lnTo>
                      <a:pt x="1090" y="981"/>
                    </a:lnTo>
                    <a:lnTo>
                      <a:pt x="1083" y="984"/>
                    </a:lnTo>
                    <a:lnTo>
                      <a:pt x="1078" y="984"/>
                    </a:lnTo>
                    <a:lnTo>
                      <a:pt x="1026" y="1010"/>
                    </a:lnTo>
                    <a:lnTo>
                      <a:pt x="1002" y="1017"/>
                    </a:lnTo>
                    <a:lnTo>
                      <a:pt x="983" y="1026"/>
                    </a:lnTo>
                    <a:lnTo>
                      <a:pt x="995" y="1012"/>
                    </a:lnTo>
                    <a:lnTo>
                      <a:pt x="995" y="1010"/>
                    </a:lnTo>
                    <a:lnTo>
                      <a:pt x="991" y="1007"/>
                    </a:lnTo>
                    <a:lnTo>
                      <a:pt x="983" y="1010"/>
                    </a:lnTo>
                    <a:lnTo>
                      <a:pt x="976" y="1022"/>
                    </a:lnTo>
                    <a:lnTo>
                      <a:pt x="965" y="1029"/>
                    </a:lnTo>
                    <a:lnTo>
                      <a:pt x="960" y="1019"/>
                    </a:lnTo>
                    <a:lnTo>
                      <a:pt x="962" y="1007"/>
                    </a:lnTo>
                    <a:lnTo>
                      <a:pt x="965" y="998"/>
                    </a:lnTo>
                    <a:lnTo>
                      <a:pt x="976" y="981"/>
                    </a:lnTo>
                    <a:lnTo>
                      <a:pt x="993" y="967"/>
                    </a:lnTo>
                    <a:lnTo>
                      <a:pt x="1000" y="958"/>
                    </a:lnTo>
                    <a:lnTo>
                      <a:pt x="1007" y="963"/>
                    </a:lnTo>
                    <a:lnTo>
                      <a:pt x="1007" y="953"/>
                    </a:lnTo>
                    <a:lnTo>
                      <a:pt x="1012" y="948"/>
                    </a:lnTo>
                    <a:lnTo>
                      <a:pt x="1017" y="944"/>
                    </a:lnTo>
                    <a:lnTo>
                      <a:pt x="1028" y="939"/>
                    </a:lnTo>
                    <a:lnTo>
                      <a:pt x="1036" y="937"/>
                    </a:lnTo>
                    <a:lnTo>
                      <a:pt x="1040" y="932"/>
                    </a:lnTo>
                    <a:lnTo>
                      <a:pt x="1045" y="929"/>
                    </a:lnTo>
                    <a:lnTo>
                      <a:pt x="1062" y="932"/>
                    </a:lnTo>
                    <a:lnTo>
                      <a:pt x="1076" y="927"/>
                    </a:lnTo>
                    <a:lnTo>
                      <a:pt x="1085" y="918"/>
                    </a:lnTo>
                    <a:lnTo>
                      <a:pt x="1097" y="913"/>
                    </a:lnTo>
                    <a:lnTo>
                      <a:pt x="1128" y="903"/>
                    </a:lnTo>
                    <a:lnTo>
                      <a:pt x="1158" y="892"/>
                    </a:lnTo>
                    <a:lnTo>
                      <a:pt x="1170" y="880"/>
                    </a:lnTo>
                    <a:lnTo>
                      <a:pt x="1192" y="854"/>
                    </a:lnTo>
                    <a:lnTo>
                      <a:pt x="1203" y="844"/>
                    </a:lnTo>
                    <a:lnTo>
                      <a:pt x="1187" y="873"/>
                    </a:lnTo>
                    <a:lnTo>
                      <a:pt x="1177" y="887"/>
                    </a:lnTo>
                    <a:close/>
                    <a:moveTo>
                      <a:pt x="941" y="1048"/>
                    </a:moveTo>
                    <a:lnTo>
                      <a:pt x="934" y="1050"/>
                    </a:lnTo>
                    <a:lnTo>
                      <a:pt x="936" y="1029"/>
                    </a:lnTo>
                    <a:lnTo>
                      <a:pt x="948" y="1017"/>
                    </a:lnTo>
                    <a:lnTo>
                      <a:pt x="953" y="1017"/>
                    </a:lnTo>
                    <a:lnTo>
                      <a:pt x="955" y="1024"/>
                    </a:lnTo>
                    <a:lnTo>
                      <a:pt x="955" y="1031"/>
                    </a:lnTo>
                    <a:lnTo>
                      <a:pt x="948" y="1043"/>
                    </a:lnTo>
                    <a:lnTo>
                      <a:pt x="941" y="104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39" name="Freeform 77">
                <a:extLst>
                  <a:ext uri="{FF2B5EF4-FFF2-40B4-BE49-F238E27FC236}">
                    <a16:creationId xmlns:a16="http://schemas.microsoft.com/office/drawing/2014/main" id="{ED17603E-1C7D-0AF4-02D6-9D90D3451A34}"/>
                  </a:ext>
                </a:extLst>
              </p:cNvPr>
              <p:cNvSpPr>
                <a:spLocks/>
              </p:cNvSpPr>
              <p:nvPr/>
            </p:nvSpPr>
            <p:spPr bwMode="auto">
              <a:xfrm>
                <a:off x="6470" y="485"/>
                <a:ext cx="706" cy="792"/>
              </a:xfrm>
              <a:custGeom>
                <a:avLst/>
                <a:gdLst>
                  <a:gd name="T0" fmla="*/ 688 w 706"/>
                  <a:gd name="T1" fmla="*/ 300 h 792"/>
                  <a:gd name="T2" fmla="*/ 702 w 706"/>
                  <a:gd name="T3" fmla="*/ 340 h 792"/>
                  <a:gd name="T4" fmla="*/ 680 w 706"/>
                  <a:gd name="T5" fmla="*/ 477 h 792"/>
                  <a:gd name="T6" fmla="*/ 647 w 706"/>
                  <a:gd name="T7" fmla="*/ 541 h 792"/>
                  <a:gd name="T8" fmla="*/ 610 w 706"/>
                  <a:gd name="T9" fmla="*/ 567 h 792"/>
                  <a:gd name="T10" fmla="*/ 586 w 706"/>
                  <a:gd name="T11" fmla="*/ 584 h 792"/>
                  <a:gd name="T12" fmla="*/ 565 w 706"/>
                  <a:gd name="T13" fmla="*/ 603 h 792"/>
                  <a:gd name="T14" fmla="*/ 553 w 706"/>
                  <a:gd name="T15" fmla="*/ 636 h 792"/>
                  <a:gd name="T16" fmla="*/ 562 w 706"/>
                  <a:gd name="T17" fmla="*/ 664 h 792"/>
                  <a:gd name="T18" fmla="*/ 553 w 706"/>
                  <a:gd name="T19" fmla="*/ 669 h 792"/>
                  <a:gd name="T20" fmla="*/ 543 w 706"/>
                  <a:gd name="T21" fmla="*/ 676 h 792"/>
                  <a:gd name="T22" fmla="*/ 524 w 706"/>
                  <a:gd name="T23" fmla="*/ 657 h 792"/>
                  <a:gd name="T24" fmla="*/ 498 w 706"/>
                  <a:gd name="T25" fmla="*/ 711 h 792"/>
                  <a:gd name="T26" fmla="*/ 503 w 706"/>
                  <a:gd name="T27" fmla="*/ 745 h 792"/>
                  <a:gd name="T28" fmla="*/ 489 w 706"/>
                  <a:gd name="T29" fmla="*/ 775 h 792"/>
                  <a:gd name="T30" fmla="*/ 442 w 706"/>
                  <a:gd name="T31" fmla="*/ 789 h 792"/>
                  <a:gd name="T32" fmla="*/ 399 w 706"/>
                  <a:gd name="T33" fmla="*/ 756 h 792"/>
                  <a:gd name="T34" fmla="*/ 340 w 706"/>
                  <a:gd name="T35" fmla="*/ 763 h 792"/>
                  <a:gd name="T36" fmla="*/ 283 w 706"/>
                  <a:gd name="T37" fmla="*/ 759 h 792"/>
                  <a:gd name="T38" fmla="*/ 250 w 706"/>
                  <a:gd name="T39" fmla="*/ 768 h 792"/>
                  <a:gd name="T40" fmla="*/ 186 w 706"/>
                  <a:gd name="T41" fmla="*/ 749 h 792"/>
                  <a:gd name="T42" fmla="*/ 141 w 706"/>
                  <a:gd name="T43" fmla="*/ 702 h 792"/>
                  <a:gd name="T44" fmla="*/ 101 w 706"/>
                  <a:gd name="T45" fmla="*/ 700 h 792"/>
                  <a:gd name="T46" fmla="*/ 73 w 706"/>
                  <a:gd name="T47" fmla="*/ 695 h 792"/>
                  <a:gd name="T48" fmla="*/ 47 w 706"/>
                  <a:gd name="T49" fmla="*/ 567 h 792"/>
                  <a:gd name="T50" fmla="*/ 23 w 706"/>
                  <a:gd name="T51" fmla="*/ 362 h 792"/>
                  <a:gd name="T52" fmla="*/ 0 w 706"/>
                  <a:gd name="T53" fmla="*/ 158 h 792"/>
                  <a:gd name="T54" fmla="*/ 156 w 706"/>
                  <a:gd name="T55" fmla="*/ 132 h 792"/>
                  <a:gd name="T56" fmla="*/ 210 w 706"/>
                  <a:gd name="T57" fmla="*/ 123 h 792"/>
                  <a:gd name="T58" fmla="*/ 236 w 706"/>
                  <a:gd name="T59" fmla="*/ 130 h 792"/>
                  <a:gd name="T60" fmla="*/ 283 w 706"/>
                  <a:gd name="T61" fmla="*/ 151 h 792"/>
                  <a:gd name="T62" fmla="*/ 305 w 706"/>
                  <a:gd name="T63" fmla="*/ 149 h 792"/>
                  <a:gd name="T64" fmla="*/ 316 w 706"/>
                  <a:gd name="T65" fmla="*/ 146 h 792"/>
                  <a:gd name="T66" fmla="*/ 293 w 706"/>
                  <a:gd name="T67" fmla="*/ 168 h 792"/>
                  <a:gd name="T68" fmla="*/ 307 w 706"/>
                  <a:gd name="T69" fmla="*/ 172 h 792"/>
                  <a:gd name="T70" fmla="*/ 340 w 706"/>
                  <a:gd name="T71" fmla="*/ 165 h 792"/>
                  <a:gd name="T72" fmla="*/ 364 w 706"/>
                  <a:gd name="T73" fmla="*/ 170 h 792"/>
                  <a:gd name="T74" fmla="*/ 385 w 706"/>
                  <a:gd name="T75" fmla="*/ 163 h 792"/>
                  <a:gd name="T76" fmla="*/ 449 w 706"/>
                  <a:gd name="T77" fmla="*/ 137 h 792"/>
                  <a:gd name="T78" fmla="*/ 498 w 706"/>
                  <a:gd name="T79" fmla="*/ 120 h 792"/>
                  <a:gd name="T80" fmla="*/ 607 w 706"/>
                  <a:gd name="T81" fmla="*/ 28 h 792"/>
                  <a:gd name="T82" fmla="*/ 664 w 706"/>
                  <a:gd name="T83" fmla="*/ 40 h 792"/>
                  <a:gd name="T84" fmla="*/ 676 w 706"/>
                  <a:gd name="T85" fmla="*/ 104 h 792"/>
                  <a:gd name="T86" fmla="*/ 688 w 706"/>
                  <a:gd name="T87" fmla="*/ 170 h 792"/>
                  <a:gd name="T88" fmla="*/ 697 w 706"/>
                  <a:gd name="T89" fmla="*/ 23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6" h="792">
                    <a:moveTo>
                      <a:pt x="706" y="279"/>
                    </a:moveTo>
                    <a:lnTo>
                      <a:pt x="688" y="291"/>
                    </a:lnTo>
                    <a:lnTo>
                      <a:pt x="688" y="300"/>
                    </a:lnTo>
                    <a:lnTo>
                      <a:pt x="695" y="309"/>
                    </a:lnTo>
                    <a:lnTo>
                      <a:pt x="699" y="321"/>
                    </a:lnTo>
                    <a:lnTo>
                      <a:pt x="702" y="340"/>
                    </a:lnTo>
                    <a:lnTo>
                      <a:pt x="699" y="378"/>
                    </a:lnTo>
                    <a:lnTo>
                      <a:pt x="688" y="440"/>
                    </a:lnTo>
                    <a:lnTo>
                      <a:pt x="680" y="477"/>
                    </a:lnTo>
                    <a:lnTo>
                      <a:pt x="683" y="492"/>
                    </a:lnTo>
                    <a:lnTo>
                      <a:pt x="673" y="513"/>
                    </a:lnTo>
                    <a:lnTo>
                      <a:pt x="647" y="541"/>
                    </a:lnTo>
                    <a:lnTo>
                      <a:pt x="631" y="560"/>
                    </a:lnTo>
                    <a:lnTo>
                      <a:pt x="621" y="567"/>
                    </a:lnTo>
                    <a:lnTo>
                      <a:pt x="610" y="567"/>
                    </a:lnTo>
                    <a:lnTo>
                      <a:pt x="602" y="562"/>
                    </a:lnTo>
                    <a:lnTo>
                      <a:pt x="595" y="567"/>
                    </a:lnTo>
                    <a:lnTo>
                      <a:pt x="586" y="584"/>
                    </a:lnTo>
                    <a:lnTo>
                      <a:pt x="579" y="591"/>
                    </a:lnTo>
                    <a:lnTo>
                      <a:pt x="572" y="593"/>
                    </a:lnTo>
                    <a:lnTo>
                      <a:pt x="565" y="603"/>
                    </a:lnTo>
                    <a:lnTo>
                      <a:pt x="562" y="622"/>
                    </a:lnTo>
                    <a:lnTo>
                      <a:pt x="558" y="633"/>
                    </a:lnTo>
                    <a:lnTo>
                      <a:pt x="553" y="636"/>
                    </a:lnTo>
                    <a:lnTo>
                      <a:pt x="555" y="645"/>
                    </a:lnTo>
                    <a:lnTo>
                      <a:pt x="562" y="659"/>
                    </a:lnTo>
                    <a:lnTo>
                      <a:pt x="562" y="664"/>
                    </a:lnTo>
                    <a:lnTo>
                      <a:pt x="560" y="664"/>
                    </a:lnTo>
                    <a:lnTo>
                      <a:pt x="558" y="664"/>
                    </a:lnTo>
                    <a:lnTo>
                      <a:pt x="553" y="669"/>
                    </a:lnTo>
                    <a:lnTo>
                      <a:pt x="548" y="678"/>
                    </a:lnTo>
                    <a:lnTo>
                      <a:pt x="546" y="678"/>
                    </a:lnTo>
                    <a:lnTo>
                      <a:pt x="543" y="676"/>
                    </a:lnTo>
                    <a:lnTo>
                      <a:pt x="539" y="667"/>
                    </a:lnTo>
                    <a:lnTo>
                      <a:pt x="534" y="659"/>
                    </a:lnTo>
                    <a:lnTo>
                      <a:pt x="524" y="657"/>
                    </a:lnTo>
                    <a:lnTo>
                      <a:pt x="515" y="669"/>
                    </a:lnTo>
                    <a:lnTo>
                      <a:pt x="503" y="695"/>
                    </a:lnTo>
                    <a:lnTo>
                      <a:pt x="498" y="711"/>
                    </a:lnTo>
                    <a:lnTo>
                      <a:pt x="503" y="723"/>
                    </a:lnTo>
                    <a:lnTo>
                      <a:pt x="508" y="737"/>
                    </a:lnTo>
                    <a:lnTo>
                      <a:pt x="503" y="745"/>
                    </a:lnTo>
                    <a:lnTo>
                      <a:pt x="496" y="749"/>
                    </a:lnTo>
                    <a:lnTo>
                      <a:pt x="491" y="759"/>
                    </a:lnTo>
                    <a:lnTo>
                      <a:pt x="489" y="775"/>
                    </a:lnTo>
                    <a:lnTo>
                      <a:pt x="480" y="787"/>
                    </a:lnTo>
                    <a:lnTo>
                      <a:pt x="463" y="792"/>
                    </a:lnTo>
                    <a:lnTo>
                      <a:pt x="442" y="789"/>
                    </a:lnTo>
                    <a:lnTo>
                      <a:pt x="442" y="787"/>
                    </a:lnTo>
                    <a:lnTo>
                      <a:pt x="416" y="773"/>
                    </a:lnTo>
                    <a:lnTo>
                      <a:pt x="399" y="756"/>
                    </a:lnTo>
                    <a:lnTo>
                      <a:pt x="390" y="740"/>
                    </a:lnTo>
                    <a:lnTo>
                      <a:pt x="371" y="742"/>
                    </a:lnTo>
                    <a:lnTo>
                      <a:pt x="340" y="763"/>
                    </a:lnTo>
                    <a:lnTo>
                      <a:pt x="316" y="768"/>
                    </a:lnTo>
                    <a:lnTo>
                      <a:pt x="297" y="761"/>
                    </a:lnTo>
                    <a:lnTo>
                      <a:pt x="283" y="759"/>
                    </a:lnTo>
                    <a:lnTo>
                      <a:pt x="271" y="763"/>
                    </a:lnTo>
                    <a:lnTo>
                      <a:pt x="260" y="771"/>
                    </a:lnTo>
                    <a:lnTo>
                      <a:pt x="250" y="768"/>
                    </a:lnTo>
                    <a:lnTo>
                      <a:pt x="236" y="759"/>
                    </a:lnTo>
                    <a:lnTo>
                      <a:pt x="215" y="752"/>
                    </a:lnTo>
                    <a:lnTo>
                      <a:pt x="186" y="749"/>
                    </a:lnTo>
                    <a:lnTo>
                      <a:pt x="167" y="737"/>
                    </a:lnTo>
                    <a:lnTo>
                      <a:pt x="153" y="716"/>
                    </a:lnTo>
                    <a:lnTo>
                      <a:pt x="141" y="702"/>
                    </a:lnTo>
                    <a:lnTo>
                      <a:pt x="127" y="695"/>
                    </a:lnTo>
                    <a:lnTo>
                      <a:pt x="115" y="695"/>
                    </a:lnTo>
                    <a:lnTo>
                      <a:pt x="101" y="700"/>
                    </a:lnTo>
                    <a:lnTo>
                      <a:pt x="89" y="700"/>
                    </a:lnTo>
                    <a:lnTo>
                      <a:pt x="82" y="693"/>
                    </a:lnTo>
                    <a:lnTo>
                      <a:pt x="73" y="695"/>
                    </a:lnTo>
                    <a:lnTo>
                      <a:pt x="63" y="704"/>
                    </a:lnTo>
                    <a:lnTo>
                      <a:pt x="56" y="633"/>
                    </a:lnTo>
                    <a:lnTo>
                      <a:pt x="47" y="567"/>
                    </a:lnTo>
                    <a:lnTo>
                      <a:pt x="40" y="499"/>
                    </a:lnTo>
                    <a:lnTo>
                      <a:pt x="33" y="430"/>
                    </a:lnTo>
                    <a:lnTo>
                      <a:pt x="23" y="362"/>
                    </a:lnTo>
                    <a:lnTo>
                      <a:pt x="16" y="295"/>
                    </a:lnTo>
                    <a:lnTo>
                      <a:pt x="9" y="227"/>
                    </a:lnTo>
                    <a:lnTo>
                      <a:pt x="0" y="158"/>
                    </a:lnTo>
                    <a:lnTo>
                      <a:pt x="52" y="149"/>
                    </a:lnTo>
                    <a:lnTo>
                      <a:pt x="104" y="142"/>
                    </a:lnTo>
                    <a:lnTo>
                      <a:pt x="156" y="132"/>
                    </a:lnTo>
                    <a:lnTo>
                      <a:pt x="208" y="123"/>
                    </a:lnTo>
                    <a:lnTo>
                      <a:pt x="210" y="123"/>
                    </a:lnTo>
                    <a:lnTo>
                      <a:pt x="210" y="123"/>
                    </a:lnTo>
                    <a:lnTo>
                      <a:pt x="212" y="125"/>
                    </a:lnTo>
                    <a:lnTo>
                      <a:pt x="227" y="125"/>
                    </a:lnTo>
                    <a:lnTo>
                      <a:pt x="236" y="130"/>
                    </a:lnTo>
                    <a:lnTo>
                      <a:pt x="245" y="135"/>
                    </a:lnTo>
                    <a:lnTo>
                      <a:pt x="274" y="144"/>
                    </a:lnTo>
                    <a:lnTo>
                      <a:pt x="283" y="151"/>
                    </a:lnTo>
                    <a:lnTo>
                      <a:pt x="293" y="153"/>
                    </a:lnTo>
                    <a:lnTo>
                      <a:pt x="300" y="153"/>
                    </a:lnTo>
                    <a:lnTo>
                      <a:pt x="305" y="149"/>
                    </a:lnTo>
                    <a:lnTo>
                      <a:pt x="307" y="144"/>
                    </a:lnTo>
                    <a:lnTo>
                      <a:pt x="312" y="142"/>
                    </a:lnTo>
                    <a:lnTo>
                      <a:pt x="316" y="146"/>
                    </a:lnTo>
                    <a:lnTo>
                      <a:pt x="333" y="149"/>
                    </a:lnTo>
                    <a:lnTo>
                      <a:pt x="333" y="151"/>
                    </a:lnTo>
                    <a:lnTo>
                      <a:pt x="293" y="168"/>
                    </a:lnTo>
                    <a:lnTo>
                      <a:pt x="286" y="172"/>
                    </a:lnTo>
                    <a:lnTo>
                      <a:pt x="295" y="175"/>
                    </a:lnTo>
                    <a:lnTo>
                      <a:pt x="307" y="172"/>
                    </a:lnTo>
                    <a:lnTo>
                      <a:pt x="316" y="165"/>
                    </a:lnTo>
                    <a:lnTo>
                      <a:pt x="328" y="165"/>
                    </a:lnTo>
                    <a:lnTo>
                      <a:pt x="340" y="165"/>
                    </a:lnTo>
                    <a:lnTo>
                      <a:pt x="342" y="163"/>
                    </a:lnTo>
                    <a:lnTo>
                      <a:pt x="345" y="161"/>
                    </a:lnTo>
                    <a:lnTo>
                      <a:pt x="364" y="170"/>
                    </a:lnTo>
                    <a:lnTo>
                      <a:pt x="373" y="172"/>
                    </a:lnTo>
                    <a:lnTo>
                      <a:pt x="378" y="170"/>
                    </a:lnTo>
                    <a:lnTo>
                      <a:pt x="385" y="163"/>
                    </a:lnTo>
                    <a:lnTo>
                      <a:pt x="402" y="156"/>
                    </a:lnTo>
                    <a:lnTo>
                      <a:pt x="425" y="144"/>
                    </a:lnTo>
                    <a:lnTo>
                      <a:pt x="449" y="137"/>
                    </a:lnTo>
                    <a:lnTo>
                      <a:pt x="472" y="135"/>
                    </a:lnTo>
                    <a:lnTo>
                      <a:pt x="487" y="130"/>
                    </a:lnTo>
                    <a:lnTo>
                      <a:pt x="498" y="120"/>
                    </a:lnTo>
                    <a:lnTo>
                      <a:pt x="524" y="90"/>
                    </a:lnTo>
                    <a:lnTo>
                      <a:pt x="555" y="64"/>
                    </a:lnTo>
                    <a:lnTo>
                      <a:pt x="607" y="28"/>
                    </a:lnTo>
                    <a:lnTo>
                      <a:pt x="657" y="0"/>
                    </a:lnTo>
                    <a:lnTo>
                      <a:pt x="662" y="16"/>
                    </a:lnTo>
                    <a:lnTo>
                      <a:pt x="664" y="40"/>
                    </a:lnTo>
                    <a:lnTo>
                      <a:pt x="669" y="61"/>
                    </a:lnTo>
                    <a:lnTo>
                      <a:pt x="671" y="82"/>
                    </a:lnTo>
                    <a:lnTo>
                      <a:pt x="676" y="104"/>
                    </a:lnTo>
                    <a:lnTo>
                      <a:pt x="678" y="125"/>
                    </a:lnTo>
                    <a:lnTo>
                      <a:pt x="683" y="149"/>
                    </a:lnTo>
                    <a:lnTo>
                      <a:pt x="688" y="170"/>
                    </a:lnTo>
                    <a:lnTo>
                      <a:pt x="690" y="191"/>
                    </a:lnTo>
                    <a:lnTo>
                      <a:pt x="695" y="213"/>
                    </a:lnTo>
                    <a:lnTo>
                      <a:pt x="697" y="234"/>
                    </a:lnTo>
                    <a:lnTo>
                      <a:pt x="702" y="257"/>
                    </a:lnTo>
                    <a:lnTo>
                      <a:pt x="706" y="27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0" name="Freeform 78">
                <a:extLst>
                  <a:ext uri="{FF2B5EF4-FFF2-40B4-BE49-F238E27FC236}">
                    <a16:creationId xmlns:a16="http://schemas.microsoft.com/office/drawing/2014/main" id="{420490BB-0B37-4F72-0F5B-24A2BB11DD8E}"/>
                  </a:ext>
                </a:extLst>
              </p:cNvPr>
              <p:cNvSpPr>
                <a:spLocks/>
              </p:cNvSpPr>
              <p:nvPr/>
            </p:nvSpPr>
            <p:spPr bwMode="auto">
              <a:xfrm>
                <a:off x="3522" y="1695"/>
                <a:ext cx="1456" cy="750"/>
              </a:xfrm>
              <a:custGeom>
                <a:avLst/>
                <a:gdLst>
                  <a:gd name="T0" fmla="*/ 1432 w 1456"/>
                  <a:gd name="T1" fmla="*/ 237 h 750"/>
                  <a:gd name="T2" fmla="*/ 1451 w 1456"/>
                  <a:gd name="T3" fmla="*/ 353 h 750"/>
                  <a:gd name="T4" fmla="*/ 1454 w 1456"/>
                  <a:gd name="T5" fmla="*/ 452 h 750"/>
                  <a:gd name="T6" fmla="*/ 1454 w 1456"/>
                  <a:gd name="T7" fmla="*/ 542 h 750"/>
                  <a:gd name="T8" fmla="*/ 1454 w 1456"/>
                  <a:gd name="T9" fmla="*/ 634 h 750"/>
                  <a:gd name="T10" fmla="*/ 1454 w 1456"/>
                  <a:gd name="T11" fmla="*/ 726 h 750"/>
                  <a:gd name="T12" fmla="*/ 1385 w 1456"/>
                  <a:gd name="T13" fmla="*/ 724 h 750"/>
                  <a:gd name="T14" fmla="*/ 1319 w 1456"/>
                  <a:gd name="T15" fmla="*/ 686 h 750"/>
                  <a:gd name="T16" fmla="*/ 1269 w 1456"/>
                  <a:gd name="T17" fmla="*/ 700 h 750"/>
                  <a:gd name="T18" fmla="*/ 1253 w 1456"/>
                  <a:gd name="T19" fmla="*/ 691 h 750"/>
                  <a:gd name="T20" fmla="*/ 1196 w 1456"/>
                  <a:gd name="T21" fmla="*/ 703 h 750"/>
                  <a:gd name="T22" fmla="*/ 1130 w 1456"/>
                  <a:gd name="T23" fmla="*/ 738 h 750"/>
                  <a:gd name="T24" fmla="*/ 1083 w 1456"/>
                  <a:gd name="T25" fmla="*/ 710 h 750"/>
                  <a:gd name="T26" fmla="*/ 1073 w 1456"/>
                  <a:gd name="T27" fmla="*/ 696 h 750"/>
                  <a:gd name="T28" fmla="*/ 1038 w 1456"/>
                  <a:gd name="T29" fmla="*/ 700 h 750"/>
                  <a:gd name="T30" fmla="*/ 1014 w 1456"/>
                  <a:gd name="T31" fmla="*/ 688 h 750"/>
                  <a:gd name="T32" fmla="*/ 1000 w 1456"/>
                  <a:gd name="T33" fmla="*/ 712 h 750"/>
                  <a:gd name="T34" fmla="*/ 979 w 1456"/>
                  <a:gd name="T35" fmla="*/ 726 h 750"/>
                  <a:gd name="T36" fmla="*/ 976 w 1456"/>
                  <a:gd name="T37" fmla="*/ 698 h 750"/>
                  <a:gd name="T38" fmla="*/ 946 w 1456"/>
                  <a:gd name="T39" fmla="*/ 710 h 750"/>
                  <a:gd name="T40" fmla="*/ 910 w 1456"/>
                  <a:gd name="T41" fmla="*/ 693 h 750"/>
                  <a:gd name="T42" fmla="*/ 896 w 1456"/>
                  <a:gd name="T43" fmla="*/ 677 h 750"/>
                  <a:gd name="T44" fmla="*/ 856 w 1456"/>
                  <a:gd name="T45" fmla="*/ 700 h 750"/>
                  <a:gd name="T46" fmla="*/ 839 w 1456"/>
                  <a:gd name="T47" fmla="*/ 674 h 750"/>
                  <a:gd name="T48" fmla="*/ 799 w 1456"/>
                  <a:gd name="T49" fmla="*/ 643 h 750"/>
                  <a:gd name="T50" fmla="*/ 749 w 1456"/>
                  <a:gd name="T51" fmla="*/ 653 h 750"/>
                  <a:gd name="T52" fmla="*/ 667 w 1456"/>
                  <a:gd name="T53" fmla="*/ 625 h 750"/>
                  <a:gd name="T54" fmla="*/ 626 w 1456"/>
                  <a:gd name="T55" fmla="*/ 601 h 750"/>
                  <a:gd name="T56" fmla="*/ 598 w 1456"/>
                  <a:gd name="T57" fmla="*/ 570 h 750"/>
                  <a:gd name="T58" fmla="*/ 570 w 1456"/>
                  <a:gd name="T59" fmla="*/ 580 h 750"/>
                  <a:gd name="T60" fmla="*/ 501 w 1456"/>
                  <a:gd name="T61" fmla="*/ 542 h 750"/>
                  <a:gd name="T62" fmla="*/ 494 w 1456"/>
                  <a:gd name="T63" fmla="*/ 461 h 750"/>
                  <a:gd name="T64" fmla="*/ 496 w 1456"/>
                  <a:gd name="T65" fmla="*/ 362 h 750"/>
                  <a:gd name="T66" fmla="*/ 501 w 1456"/>
                  <a:gd name="T67" fmla="*/ 260 h 750"/>
                  <a:gd name="T68" fmla="*/ 506 w 1456"/>
                  <a:gd name="T69" fmla="*/ 161 h 750"/>
                  <a:gd name="T70" fmla="*/ 411 w 1456"/>
                  <a:gd name="T71" fmla="*/ 130 h 750"/>
                  <a:gd name="T72" fmla="*/ 284 w 1456"/>
                  <a:gd name="T73" fmla="*/ 123 h 750"/>
                  <a:gd name="T74" fmla="*/ 158 w 1456"/>
                  <a:gd name="T75" fmla="*/ 116 h 750"/>
                  <a:gd name="T76" fmla="*/ 31 w 1456"/>
                  <a:gd name="T77" fmla="*/ 107 h 750"/>
                  <a:gd name="T78" fmla="*/ 5 w 1456"/>
                  <a:gd name="T79" fmla="*/ 26 h 750"/>
                  <a:gd name="T80" fmla="*/ 132 w 1456"/>
                  <a:gd name="T81" fmla="*/ 10 h 750"/>
                  <a:gd name="T82" fmla="*/ 291 w 1456"/>
                  <a:gd name="T83" fmla="*/ 19 h 750"/>
                  <a:gd name="T84" fmla="*/ 444 w 1456"/>
                  <a:gd name="T85" fmla="*/ 26 h 750"/>
                  <a:gd name="T86" fmla="*/ 600 w 1456"/>
                  <a:gd name="T87" fmla="*/ 33 h 750"/>
                  <a:gd name="T88" fmla="*/ 756 w 1456"/>
                  <a:gd name="T89" fmla="*/ 41 h 750"/>
                  <a:gd name="T90" fmla="*/ 912 w 1456"/>
                  <a:gd name="T91" fmla="*/ 43 h 750"/>
                  <a:gd name="T92" fmla="*/ 1068 w 1456"/>
                  <a:gd name="T93" fmla="*/ 45 h 750"/>
                  <a:gd name="T94" fmla="*/ 1224 w 1456"/>
                  <a:gd name="T95" fmla="*/ 45 h 750"/>
                  <a:gd name="T96" fmla="*/ 1380 w 1456"/>
                  <a:gd name="T97" fmla="*/ 45 h 750"/>
                  <a:gd name="T98" fmla="*/ 1421 w 1456"/>
                  <a:gd name="T99" fmla="*/ 123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6" h="750">
                    <a:moveTo>
                      <a:pt x="1421" y="149"/>
                    </a:moveTo>
                    <a:lnTo>
                      <a:pt x="1425" y="178"/>
                    </a:lnTo>
                    <a:lnTo>
                      <a:pt x="1430" y="206"/>
                    </a:lnTo>
                    <a:lnTo>
                      <a:pt x="1432" y="237"/>
                    </a:lnTo>
                    <a:lnTo>
                      <a:pt x="1437" y="265"/>
                    </a:lnTo>
                    <a:lnTo>
                      <a:pt x="1442" y="296"/>
                    </a:lnTo>
                    <a:lnTo>
                      <a:pt x="1447" y="324"/>
                    </a:lnTo>
                    <a:lnTo>
                      <a:pt x="1451" y="353"/>
                    </a:lnTo>
                    <a:lnTo>
                      <a:pt x="1456" y="383"/>
                    </a:lnTo>
                    <a:lnTo>
                      <a:pt x="1456" y="405"/>
                    </a:lnTo>
                    <a:lnTo>
                      <a:pt x="1456" y="428"/>
                    </a:lnTo>
                    <a:lnTo>
                      <a:pt x="1454" y="452"/>
                    </a:lnTo>
                    <a:lnTo>
                      <a:pt x="1454" y="473"/>
                    </a:lnTo>
                    <a:lnTo>
                      <a:pt x="1454" y="497"/>
                    </a:lnTo>
                    <a:lnTo>
                      <a:pt x="1454" y="521"/>
                    </a:lnTo>
                    <a:lnTo>
                      <a:pt x="1454" y="542"/>
                    </a:lnTo>
                    <a:lnTo>
                      <a:pt x="1454" y="565"/>
                    </a:lnTo>
                    <a:lnTo>
                      <a:pt x="1454" y="589"/>
                    </a:lnTo>
                    <a:lnTo>
                      <a:pt x="1454" y="610"/>
                    </a:lnTo>
                    <a:lnTo>
                      <a:pt x="1454" y="634"/>
                    </a:lnTo>
                    <a:lnTo>
                      <a:pt x="1454" y="658"/>
                    </a:lnTo>
                    <a:lnTo>
                      <a:pt x="1454" y="681"/>
                    </a:lnTo>
                    <a:lnTo>
                      <a:pt x="1454" y="703"/>
                    </a:lnTo>
                    <a:lnTo>
                      <a:pt x="1454" y="726"/>
                    </a:lnTo>
                    <a:lnTo>
                      <a:pt x="1454" y="750"/>
                    </a:lnTo>
                    <a:lnTo>
                      <a:pt x="1414" y="738"/>
                    </a:lnTo>
                    <a:lnTo>
                      <a:pt x="1404" y="733"/>
                    </a:lnTo>
                    <a:lnTo>
                      <a:pt x="1385" y="724"/>
                    </a:lnTo>
                    <a:lnTo>
                      <a:pt x="1369" y="710"/>
                    </a:lnTo>
                    <a:lnTo>
                      <a:pt x="1336" y="691"/>
                    </a:lnTo>
                    <a:lnTo>
                      <a:pt x="1324" y="686"/>
                    </a:lnTo>
                    <a:lnTo>
                      <a:pt x="1319" y="686"/>
                    </a:lnTo>
                    <a:lnTo>
                      <a:pt x="1314" y="696"/>
                    </a:lnTo>
                    <a:lnTo>
                      <a:pt x="1295" y="703"/>
                    </a:lnTo>
                    <a:lnTo>
                      <a:pt x="1286" y="703"/>
                    </a:lnTo>
                    <a:lnTo>
                      <a:pt x="1269" y="700"/>
                    </a:lnTo>
                    <a:lnTo>
                      <a:pt x="1267" y="698"/>
                    </a:lnTo>
                    <a:lnTo>
                      <a:pt x="1265" y="693"/>
                    </a:lnTo>
                    <a:lnTo>
                      <a:pt x="1258" y="688"/>
                    </a:lnTo>
                    <a:lnTo>
                      <a:pt x="1253" y="691"/>
                    </a:lnTo>
                    <a:lnTo>
                      <a:pt x="1227" y="700"/>
                    </a:lnTo>
                    <a:lnTo>
                      <a:pt x="1224" y="705"/>
                    </a:lnTo>
                    <a:lnTo>
                      <a:pt x="1210" y="705"/>
                    </a:lnTo>
                    <a:lnTo>
                      <a:pt x="1196" y="703"/>
                    </a:lnTo>
                    <a:lnTo>
                      <a:pt x="1161" y="714"/>
                    </a:lnTo>
                    <a:lnTo>
                      <a:pt x="1149" y="724"/>
                    </a:lnTo>
                    <a:lnTo>
                      <a:pt x="1137" y="729"/>
                    </a:lnTo>
                    <a:lnTo>
                      <a:pt x="1130" y="738"/>
                    </a:lnTo>
                    <a:lnTo>
                      <a:pt x="1128" y="736"/>
                    </a:lnTo>
                    <a:lnTo>
                      <a:pt x="1113" y="724"/>
                    </a:lnTo>
                    <a:lnTo>
                      <a:pt x="1102" y="722"/>
                    </a:lnTo>
                    <a:lnTo>
                      <a:pt x="1083" y="710"/>
                    </a:lnTo>
                    <a:lnTo>
                      <a:pt x="1083" y="698"/>
                    </a:lnTo>
                    <a:lnTo>
                      <a:pt x="1080" y="696"/>
                    </a:lnTo>
                    <a:lnTo>
                      <a:pt x="1076" y="696"/>
                    </a:lnTo>
                    <a:lnTo>
                      <a:pt x="1073" y="696"/>
                    </a:lnTo>
                    <a:lnTo>
                      <a:pt x="1064" y="705"/>
                    </a:lnTo>
                    <a:lnTo>
                      <a:pt x="1059" y="707"/>
                    </a:lnTo>
                    <a:lnTo>
                      <a:pt x="1054" y="707"/>
                    </a:lnTo>
                    <a:lnTo>
                      <a:pt x="1038" y="700"/>
                    </a:lnTo>
                    <a:lnTo>
                      <a:pt x="1031" y="691"/>
                    </a:lnTo>
                    <a:lnTo>
                      <a:pt x="1026" y="686"/>
                    </a:lnTo>
                    <a:lnTo>
                      <a:pt x="1021" y="686"/>
                    </a:lnTo>
                    <a:lnTo>
                      <a:pt x="1014" y="688"/>
                    </a:lnTo>
                    <a:lnTo>
                      <a:pt x="1009" y="700"/>
                    </a:lnTo>
                    <a:lnTo>
                      <a:pt x="1007" y="705"/>
                    </a:lnTo>
                    <a:lnTo>
                      <a:pt x="1000" y="707"/>
                    </a:lnTo>
                    <a:lnTo>
                      <a:pt x="1000" y="712"/>
                    </a:lnTo>
                    <a:lnTo>
                      <a:pt x="993" y="729"/>
                    </a:lnTo>
                    <a:lnTo>
                      <a:pt x="988" y="731"/>
                    </a:lnTo>
                    <a:lnTo>
                      <a:pt x="983" y="731"/>
                    </a:lnTo>
                    <a:lnTo>
                      <a:pt x="979" y="726"/>
                    </a:lnTo>
                    <a:lnTo>
                      <a:pt x="976" y="722"/>
                    </a:lnTo>
                    <a:lnTo>
                      <a:pt x="974" y="717"/>
                    </a:lnTo>
                    <a:lnTo>
                      <a:pt x="979" y="703"/>
                    </a:lnTo>
                    <a:lnTo>
                      <a:pt x="976" y="698"/>
                    </a:lnTo>
                    <a:lnTo>
                      <a:pt x="972" y="698"/>
                    </a:lnTo>
                    <a:lnTo>
                      <a:pt x="964" y="703"/>
                    </a:lnTo>
                    <a:lnTo>
                      <a:pt x="957" y="703"/>
                    </a:lnTo>
                    <a:lnTo>
                      <a:pt x="946" y="710"/>
                    </a:lnTo>
                    <a:lnTo>
                      <a:pt x="941" y="710"/>
                    </a:lnTo>
                    <a:lnTo>
                      <a:pt x="934" y="710"/>
                    </a:lnTo>
                    <a:lnTo>
                      <a:pt x="927" y="698"/>
                    </a:lnTo>
                    <a:lnTo>
                      <a:pt x="910" y="693"/>
                    </a:lnTo>
                    <a:lnTo>
                      <a:pt x="905" y="681"/>
                    </a:lnTo>
                    <a:lnTo>
                      <a:pt x="901" y="677"/>
                    </a:lnTo>
                    <a:lnTo>
                      <a:pt x="898" y="677"/>
                    </a:lnTo>
                    <a:lnTo>
                      <a:pt x="896" y="677"/>
                    </a:lnTo>
                    <a:lnTo>
                      <a:pt x="889" y="681"/>
                    </a:lnTo>
                    <a:lnTo>
                      <a:pt x="870" y="696"/>
                    </a:lnTo>
                    <a:lnTo>
                      <a:pt x="863" y="700"/>
                    </a:lnTo>
                    <a:lnTo>
                      <a:pt x="856" y="700"/>
                    </a:lnTo>
                    <a:lnTo>
                      <a:pt x="849" y="700"/>
                    </a:lnTo>
                    <a:lnTo>
                      <a:pt x="844" y="696"/>
                    </a:lnTo>
                    <a:lnTo>
                      <a:pt x="844" y="679"/>
                    </a:lnTo>
                    <a:lnTo>
                      <a:pt x="839" y="674"/>
                    </a:lnTo>
                    <a:lnTo>
                      <a:pt x="823" y="665"/>
                    </a:lnTo>
                    <a:lnTo>
                      <a:pt x="820" y="655"/>
                    </a:lnTo>
                    <a:lnTo>
                      <a:pt x="818" y="641"/>
                    </a:lnTo>
                    <a:lnTo>
                      <a:pt x="799" y="643"/>
                    </a:lnTo>
                    <a:lnTo>
                      <a:pt x="773" y="641"/>
                    </a:lnTo>
                    <a:lnTo>
                      <a:pt x="761" y="653"/>
                    </a:lnTo>
                    <a:lnTo>
                      <a:pt x="756" y="655"/>
                    </a:lnTo>
                    <a:lnTo>
                      <a:pt x="749" y="653"/>
                    </a:lnTo>
                    <a:lnTo>
                      <a:pt x="730" y="636"/>
                    </a:lnTo>
                    <a:lnTo>
                      <a:pt x="709" y="639"/>
                    </a:lnTo>
                    <a:lnTo>
                      <a:pt x="695" y="636"/>
                    </a:lnTo>
                    <a:lnTo>
                      <a:pt x="667" y="625"/>
                    </a:lnTo>
                    <a:lnTo>
                      <a:pt x="643" y="622"/>
                    </a:lnTo>
                    <a:lnTo>
                      <a:pt x="634" y="620"/>
                    </a:lnTo>
                    <a:lnTo>
                      <a:pt x="629" y="617"/>
                    </a:lnTo>
                    <a:lnTo>
                      <a:pt x="626" y="601"/>
                    </a:lnTo>
                    <a:lnTo>
                      <a:pt x="619" y="584"/>
                    </a:lnTo>
                    <a:lnTo>
                      <a:pt x="615" y="582"/>
                    </a:lnTo>
                    <a:lnTo>
                      <a:pt x="600" y="570"/>
                    </a:lnTo>
                    <a:lnTo>
                      <a:pt x="598" y="570"/>
                    </a:lnTo>
                    <a:lnTo>
                      <a:pt x="596" y="573"/>
                    </a:lnTo>
                    <a:lnTo>
                      <a:pt x="591" y="584"/>
                    </a:lnTo>
                    <a:lnTo>
                      <a:pt x="586" y="584"/>
                    </a:lnTo>
                    <a:lnTo>
                      <a:pt x="570" y="580"/>
                    </a:lnTo>
                    <a:lnTo>
                      <a:pt x="553" y="582"/>
                    </a:lnTo>
                    <a:lnTo>
                      <a:pt x="544" y="577"/>
                    </a:lnTo>
                    <a:lnTo>
                      <a:pt x="513" y="549"/>
                    </a:lnTo>
                    <a:lnTo>
                      <a:pt x="501" y="542"/>
                    </a:lnTo>
                    <a:lnTo>
                      <a:pt x="489" y="537"/>
                    </a:lnTo>
                    <a:lnTo>
                      <a:pt x="492" y="513"/>
                    </a:lnTo>
                    <a:lnTo>
                      <a:pt x="492" y="487"/>
                    </a:lnTo>
                    <a:lnTo>
                      <a:pt x="494" y="461"/>
                    </a:lnTo>
                    <a:lnTo>
                      <a:pt x="494" y="438"/>
                    </a:lnTo>
                    <a:lnTo>
                      <a:pt x="496" y="412"/>
                    </a:lnTo>
                    <a:lnTo>
                      <a:pt x="496" y="388"/>
                    </a:lnTo>
                    <a:lnTo>
                      <a:pt x="496" y="362"/>
                    </a:lnTo>
                    <a:lnTo>
                      <a:pt x="499" y="336"/>
                    </a:lnTo>
                    <a:lnTo>
                      <a:pt x="499" y="312"/>
                    </a:lnTo>
                    <a:lnTo>
                      <a:pt x="501" y="286"/>
                    </a:lnTo>
                    <a:lnTo>
                      <a:pt x="501" y="260"/>
                    </a:lnTo>
                    <a:lnTo>
                      <a:pt x="503" y="237"/>
                    </a:lnTo>
                    <a:lnTo>
                      <a:pt x="503" y="211"/>
                    </a:lnTo>
                    <a:lnTo>
                      <a:pt x="506" y="185"/>
                    </a:lnTo>
                    <a:lnTo>
                      <a:pt x="506" y="161"/>
                    </a:lnTo>
                    <a:lnTo>
                      <a:pt x="508" y="135"/>
                    </a:lnTo>
                    <a:lnTo>
                      <a:pt x="475" y="135"/>
                    </a:lnTo>
                    <a:lnTo>
                      <a:pt x="444" y="133"/>
                    </a:lnTo>
                    <a:lnTo>
                      <a:pt x="411" y="130"/>
                    </a:lnTo>
                    <a:lnTo>
                      <a:pt x="381" y="130"/>
                    </a:lnTo>
                    <a:lnTo>
                      <a:pt x="347" y="128"/>
                    </a:lnTo>
                    <a:lnTo>
                      <a:pt x="317" y="126"/>
                    </a:lnTo>
                    <a:lnTo>
                      <a:pt x="284" y="123"/>
                    </a:lnTo>
                    <a:lnTo>
                      <a:pt x="253" y="123"/>
                    </a:lnTo>
                    <a:lnTo>
                      <a:pt x="222" y="121"/>
                    </a:lnTo>
                    <a:lnTo>
                      <a:pt x="189" y="119"/>
                    </a:lnTo>
                    <a:lnTo>
                      <a:pt x="158" y="116"/>
                    </a:lnTo>
                    <a:lnTo>
                      <a:pt x="125" y="114"/>
                    </a:lnTo>
                    <a:lnTo>
                      <a:pt x="95" y="111"/>
                    </a:lnTo>
                    <a:lnTo>
                      <a:pt x="61" y="109"/>
                    </a:lnTo>
                    <a:lnTo>
                      <a:pt x="31" y="107"/>
                    </a:lnTo>
                    <a:lnTo>
                      <a:pt x="0" y="104"/>
                    </a:lnTo>
                    <a:lnTo>
                      <a:pt x="0" y="78"/>
                    </a:lnTo>
                    <a:lnTo>
                      <a:pt x="2" y="52"/>
                    </a:lnTo>
                    <a:lnTo>
                      <a:pt x="5" y="26"/>
                    </a:lnTo>
                    <a:lnTo>
                      <a:pt x="7" y="0"/>
                    </a:lnTo>
                    <a:lnTo>
                      <a:pt x="50" y="3"/>
                    </a:lnTo>
                    <a:lnTo>
                      <a:pt x="90" y="5"/>
                    </a:lnTo>
                    <a:lnTo>
                      <a:pt x="132" y="10"/>
                    </a:lnTo>
                    <a:lnTo>
                      <a:pt x="173" y="12"/>
                    </a:lnTo>
                    <a:lnTo>
                      <a:pt x="213" y="15"/>
                    </a:lnTo>
                    <a:lnTo>
                      <a:pt x="251" y="17"/>
                    </a:lnTo>
                    <a:lnTo>
                      <a:pt x="291" y="19"/>
                    </a:lnTo>
                    <a:lnTo>
                      <a:pt x="329" y="22"/>
                    </a:lnTo>
                    <a:lnTo>
                      <a:pt x="369" y="24"/>
                    </a:lnTo>
                    <a:lnTo>
                      <a:pt x="407" y="26"/>
                    </a:lnTo>
                    <a:lnTo>
                      <a:pt x="444" y="26"/>
                    </a:lnTo>
                    <a:lnTo>
                      <a:pt x="485" y="29"/>
                    </a:lnTo>
                    <a:lnTo>
                      <a:pt x="522" y="31"/>
                    </a:lnTo>
                    <a:lnTo>
                      <a:pt x="563" y="33"/>
                    </a:lnTo>
                    <a:lnTo>
                      <a:pt x="600" y="33"/>
                    </a:lnTo>
                    <a:lnTo>
                      <a:pt x="641" y="36"/>
                    </a:lnTo>
                    <a:lnTo>
                      <a:pt x="678" y="38"/>
                    </a:lnTo>
                    <a:lnTo>
                      <a:pt x="719" y="38"/>
                    </a:lnTo>
                    <a:lnTo>
                      <a:pt x="756" y="41"/>
                    </a:lnTo>
                    <a:lnTo>
                      <a:pt x="797" y="41"/>
                    </a:lnTo>
                    <a:lnTo>
                      <a:pt x="834" y="41"/>
                    </a:lnTo>
                    <a:lnTo>
                      <a:pt x="875" y="43"/>
                    </a:lnTo>
                    <a:lnTo>
                      <a:pt x="912" y="43"/>
                    </a:lnTo>
                    <a:lnTo>
                      <a:pt x="953" y="43"/>
                    </a:lnTo>
                    <a:lnTo>
                      <a:pt x="990" y="45"/>
                    </a:lnTo>
                    <a:lnTo>
                      <a:pt x="1031" y="45"/>
                    </a:lnTo>
                    <a:lnTo>
                      <a:pt x="1068" y="45"/>
                    </a:lnTo>
                    <a:lnTo>
                      <a:pt x="1109" y="45"/>
                    </a:lnTo>
                    <a:lnTo>
                      <a:pt x="1146" y="45"/>
                    </a:lnTo>
                    <a:lnTo>
                      <a:pt x="1184" y="45"/>
                    </a:lnTo>
                    <a:lnTo>
                      <a:pt x="1224" y="45"/>
                    </a:lnTo>
                    <a:lnTo>
                      <a:pt x="1262" y="45"/>
                    </a:lnTo>
                    <a:lnTo>
                      <a:pt x="1302" y="45"/>
                    </a:lnTo>
                    <a:lnTo>
                      <a:pt x="1340" y="45"/>
                    </a:lnTo>
                    <a:lnTo>
                      <a:pt x="1380" y="45"/>
                    </a:lnTo>
                    <a:lnTo>
                      <a:pt x="1418" y="43"/>
                    </a:lnTo>
                    <a:lnTo>
                      <a:pt x="1421" y="69"/>
                    </a:lnTo>
                    <a:lnTo>
                      <a:pt x="1421" y="97"/>
                    </a:lnTo>
                    <a:lnTo>
                      <a:pt x="1421" y="123"/>
                    </a:lnTo>
                    <a:lnTo>
                      <a:pt x="1421" y="14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1" name="Freeform 79">
                <a:extLst>
                  <a:ext uri="{FF2B5EF4-FFF2-40B4-BE49-F238E27FC236}">
                    <a16:creationId xmlns:a16="http://schemas.microsoft.com/office/drawing/2014/main" id="{317F94CB-B829-B4BB-8FE3-1D16DF023782}"/>
                  </a:ext>
                </a:extLst>
              </p:cNvPr>
              <p:cNvSpPr>
                <a:spLocks/>
              </p:cNvSpPr>
              <p:nvPr/>
            </p:nvSpPr>
            <p:spPr bwMode="auto">
              <a:xfrm>
                <a:off x="336" y="-832"/>
                <a:ext cx="1356" cy="1142"/>
              </a:xfrm>
              <a:custGeom>
                <a:avLst/>
                <a:gdLst>
                  <a:gd name="T0" fmla="*/ 446 w 1356"/>
                  <a:gd name="T1" fmla="*/ 54 h 1142"/>
                  <a:gd name="T2" fmla="*/ 463 w 1356"/>
                  <a:gd name="T3" fmla="*/ 149 h 1142"/>
                  <a:gd name="T4" fmla="*/ 482 w 1356"/>
                  <a:gd name="T5" fmla="*/ 184 h 1142"/>
                  <a:gd name="T6" fmla="*/ 539 w 1356"/>
                  <a:gd name="T7" fmla="*/ 208 h 1142"/>
                  <a:gd name="T8" fmla="*/ 614 w 1356"/>
                  <a:gd name="T9" fmla="*/ 203 h 1142"/>
                  <a:gd name="T10" fmla="*/ 678 w 1356"/>
                  <a:gd name="T11" fmla="*/ 236 h 1142"/>
                  <a:gd name="T12" fmla="*/ 803 w 1356"/>
                  <a:gd name="T13" fmla="*/ 253 h 1142"/>
                  <a:gd name="T14" fmla="*/ 945 w 1356"/>
                  <a:gd name="T15" fmla="*/ 246 h 1142"/>
                  <a:gd name="T16" fmla="*/ 1009 w 1356"/>
                  <a:gd name="T17" fmla="*/ 248 h 1142"/>
                  <a:gd name="T18" fmla="*/ 1087 w 1356"/>
                  <a:gd name="T19" fmla="*/ 267 h 1142"/>
                  <a:gd name="T20" fmla="*/ 1200 w 1356"/>
                  <a:gd name="T21" fmla="*/ 295 h 1142"/>
                  <a:gd name="T22" fmla="*/ 1312 w 1356"/>
                  <a:gd name="T23" fmla="*/ 324 h 1142"/>
                  <a:gd name="T24" fmla="*/ 1342 w 1356"/>
                  <a:gd name="T25" fmla="*/ 373 h 1142"/>
                  <a:gd name="T26" fmla="*/ 1338 w 1356"/>
                  <a:gd name="T27" fmla="*/ 447 h 1142"/>
                  <a:gd name="T28" fmla="*/ 1267 w 1356"/>
                  <a:gd name="T29" fmla="*/ 551 h 1142"/>
                  <a:gd name="T30" fmla="*/ 1191 w 1356"/>
                  <a:gd name="T31" fmla="*/ 636 h 1142"/>
                  <a:gd name="T32" fmla="*/ 1210 w 1356"/>
                  <a:gd name="T33" fmla="*/ 674 h 1142"/>
                  <a:gd name="T34" fmla="*/ 1222 w 1356"/>
                  <a:gd name="T35" fmla="*/ 702 h 1142"/>
                  <a:gd name="T36" fmla="*/ 1210 w 1356"/>
                  <a:gd name="T37" fmla="*/ 726 h 1142"/>
                  <a:gd name="T38" fmla="*/ 1189 w 1356"/>
                  <a:gd name="T39" fmla="*/ 771 h 1142"/>
                  <a:gd name="T40" fmla="*/ 1156 w 1356"/>
                  <a:gd name="T41" fmla="*/ 912 h 1142"/>
                  <a:gd name="T42" fmla="*/ 1122 w 1356"/>
                  <a:gd name="T43" fmla="*/ 1050 h 1142"/>
                  <a:gd name="T44" fmla="*/ 1044 w 1356"/>
                  <a:gd name="T45" fmla="*/ 1128 h 1142"/>
                  <a:gd name="T46" fmla="*/ 874 w 1356"/>
                  <a:gd name="T47" fmla="*/ 1085 h 1142"/>
                  <a:gd name="T48" fmla="*/ 704 w 1356"/>
                  <a:gd name="T49" fmla="*/ 1042 h 1142"/>
                  <a:gd name="T50" fmla="*/ 567 w 1356"/>
                  <a:gd name="T51" fmla="*/ 1005 h 1142"/>
                  <a:gd name="T52" fmla="*/ 449 w 1356"/>
                  <a:gd name="T53" fmla="*/ 972 h 1142"/>
                  <a:gd name="T54" fmla="*/ 328 w 1356"/>
                  <a:gd name="T55" fmla="*/ 936 h 1142"/>
                  <a:gd name="T56" fmla="*/ 210 w 1356"/>
                  <a:gd name="T57" fmla="*/ 901 h 1142"/>
                  <a:gd name="T58" fmla="*/ 92 w 1356"/>
                  <a:gd name="T59" fmla="*/ 863 h 1142"/>
                  <a:gd name="T60" fmla="*/ 0 w 1356"/>
                  <a:gd name="T61" fmla="*/ 808 h 1142"/>
                  <a:gd name="T62" fmla="*/ 21 w 1356"/>
                  <a:gd name="T63" fmla="*/ 711 h 1142"/>
                  <a:gd name="T64" fmla="*/ 30 w 1356"/>
                  <a:gd name="T65" fmla="*/ 638 h 1142"/>
                  <a:gd name="T66" fmla="*/ 85 w 1356"/>
                  <a:gd name="T67" fmla="*/ 560 h 1142"/>
                  <a:gd name="T68" fmla="*/ 104 w 1356"/>
                  <a:gd name="T69" fmla="*/ 551 h 1142"/>
                  <a:gd name="T70" fmla="*/ 123 w 1356"/>
                  <a:gd name="T71" fmla="*/ 508 h 1142"/>
                  <a:gd name="T72" fmla="*/ 179 w 1356"/>
                  <a:gd name="T73" fmla="*/ 376 h 1142"/>
                  <a:gd name="T74" fmla="*/ 208 w 1356"/>
                  <a:gd name="T75" fmla="*/ 314 h 1142"/>
                  <a:gd name="T76" fmla="*/ 271 w 1356"/>
                  <a:gd name="T77" fmla="*/ 151 h 1142"/>
                  <a:gd name="T78" fmla="*/ 316 w 1356"/>
                  <a:gd name="T79" fmla="*/ 19 h 1142"/>
                  <a:gd name="T80" fmla="*/ 321 w 1356"/>
                  <a:gd name="T81" fmla="*/ 0 h 1142"/>
                  <a:gd name="T82" fmla="*/ 383 w 1356"/>
                  <a:gd name="T83" fmla="*/ 21 h 1142"/>
                  <a:gd name="T84" fmla="*/ 406 w 1356"/>
                  <a:gd name="T85" fmla="*/ 45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6" h="1142">
                    <a:moveTo>
                      <a:pt x="420" y="47"/>
                    </a:moveTo>
                    <a:lnTo>
                      <a:pt x="437" y="47"/>
                    </a:lnTo>
                    <a:lnTo>
                      <a:pt x="446" y="54"/>
                    </a:lnTo>
                    <a:lnTo>
                      <a:pt x="458" y="68"/>
                    </a:lnTo>
                    <a:lnTo>
                      <a:pt x="463" y="99"/>
                    </a:lnTo>
                    <a:lnTo>
                      <a:pt x="463" y="149"/>
                    </a:lnTo>
                    <a:lnTo>
                      <a:pt x="461" y="165"/>
                    </a:lnTo>
                    <a:lnTo>
                      <a:pt x="468" y="179"/>
                    </a:lnTo>
                    <a:lnTo>
                      <a:pt x="482" y="184"/>
                    </a:lnTo>
                    <a:lnTo>
                      <a:pt x="529" y="205"/>
                    </a:lnTo>
                    <a:lnTo>
                      <a:pt x="539" y="208"/>
                    </a:lnTo>
                    <a:lnTo>
                      <a:pt x="539" y="208"/>
                    </a:lnTo>
                    <a:lnTo>
                      <a:pt x="548" y="208"/>
                    </a:lnTo>
                    <a:lnTo>
                      <a:pt x="581" y="198"/>
                    </a:lnTo>
                    <a:lnTo>
                      <a:pt x="614" y="203"/>
                    </a:lnTo>
                    <a:lnTo>
                      <a:pt x="652" y="215"/>
                    </a:lnTo>
                    <a:lnTo>
                      <a:pt x="673" y="224"/>
                    </a:lnTo>
                    <a:lnTo>
                      <a:pt x="678" y="236"/>
                    </a:lnTo>
                    <a:lnTo>
                      <a:pt x="699" y="243"/>
                    </a:lnTo>
                    <a:lnTo>
                      <a:pt x="749" y="246"/>
                    </a:lnTo>
                    <a:lnTo>
                      <a:pt x="803" y="253"/>
                    </a:lnTo>
                    <a:lnTo>
                      <a:pt x="832" y="253"/>
                    </a:lnTo>
                    <a:lnTo>
                      <a:pt x="869" y="246"/>
                    </a:lnTo>
                    <a:lnTo>
                      <a:pt x="945" y="246"/>
                    </a:lnTo>
                    <a:lnTo>
                      <a:pt x="983" y="253"/>
                    </a:lnTo>
                    <a:lnTo>
                      <a:pt x="1002" y="250"/>
                    </a:lnTo>
                    <a:lnTo>
                      <a:pt x="1009" y="248"/>
                    </a:lnTo>
                    <a:lnTo>
                      <a:pt x="1011" y="248"/>
                    </a:lnTo>
                    <a:lnTo>
                      <a:pt x="1049" y="257"/>
                    </a:lnTo>
                    <a:lnTo>
                      <a:pt x="1087" y="267"/>
                    </a:lnTo>
                    <a:lnTo>
                      <a:pt x="1125" y="276"/>
                    </a:lnTo>
                    <a:lnTo>
                      <a:pt x="1163" y="286"/>
                    </a:lnTo>
                    <a:lnTo>
                      <a:pt x="1200" y="295"/>
                    </a:lnTo>
                    <a:lnTo>
                      <a:pt x="1238" y="305"/>
                    </a:lnTo>
                    <a:lnTo>
                      <a:pt x="1276" y="314"/>
                    </a:lnTo>
                    <a:lnTo>
                      <a:pt x="1312" y="324"/>
                    </a:lnTo>
                    <a:lnTo>
                      <a:pt x="1314" y="333"/>
                    </a:lnTo>
                    <a:lnTo>
                      <a:pt x="1326" y="354"/>
                    </a:lnTo>
                    <a:lnTo>
                      <a:pt x="1342" y="373"/>
                    </a:lnTo>
                    <a:lnTo>
                      <a:pt x="1354" y="392"/>
                    </a:lnTo>
                    <a:lnTo>
                      <a:pt x="1356" y="411"/>
                    </a:lnTo>
                    <a:lnTo>
                      <a:pt x="1338" y="447"/>
                    </a:lnTo>
                    <a:lnTo>
                      <a:pt x="1295" y="499"/>
                    </a:lnTo>
                    <a:lnTo>
                      <a:pt x="1271" y="534"/>
                    </a:lnTo>
                    <a:lnTo>
                      <a:pt x="1267" y="551"/>
                    </a:lnTo>
                    <a:lnTo>
                      <a:pt x="1245" y="574"/>
                    </a:lnTo>
                    <a:lnTo>
                      <a:pt x="1212" y="607"/>
                    </a:lnTo>
                    <a:lnTo>
                      <a:pt x="1191" y="636"/>
                    </a:lnTo>
                    <a:lnTo>
                      <a:pt x="1189" y="655"/>
                    </a:lnTo>
                    <a:lnTo>
                      <a:pt x="1193" y="666"/>
                    </a:lnTo>
                    <a:lnTo>
                      <a:pt x="1210" y="674"/>
                    </a:lnTo>
                    <a:lnTo>
                      <a:pt x="1219" y="683"/>
                    </a:lnTo>
                    <a:lnTo>
                      <a:pt x="1224" y="693"/>
                    </a:lnTo>
                    <a:lnTo>
                      <a:pt x="1222" y="702"/>
                    </a:lnTo>
                    <a:lnTo>
                      <a:pt x="1215" y="709"/>
                    </a:lnTo>
                    <a:lnTo>
                      <a:pt x="1210" y="716"/>
                    </a:lnTo>
                    <a:lnTo>
                      <a:pt x="1210" y="726"/>
                    </a:lnTo>
                    <a:lnTo>
                      <a:pt x="1205" y="740"/>
                    </a:lnTo>
                    <a:lnTo>
                      <a:pt x="1189" y="768"/>
                    </a:lnTo>
                    <a:lnTo>
                      <a:pt x="1189" y="771"/>
                    </a:lnTo>
                    <a:lnTo>
                      <a:pt x="1177" y="820"/>
                    </a:lnTo>
                    <a:lnTo>
                      <a:pt x="1165" y="867"/>
                    </a:lnTo>
                    <a:lnTo>
                      <a:pt x="1156" y="912"/>
                    </a:lnTo>
                    <a:lnTo>
                      <a:pt x="1144" y="957"/>
                    </a:lnTo>
                    <a:lnTo>
                      <a:pt x="1134" y="1005"/>
                    </a:lnTo>
                    <a:lnTo>
                      <a:pt x="1122" y="1050"/>
                    </a:lnTo>
                    <a:lnTo>
                      <a:pt x="1113" y="1094"/>
                    </a:lnTo>
                    <a:lnTo>
                      <a:pt x="1101" y="1142"/>
                    </a:lnTo>
                    <a:lnTo>
                      <a:pt x="1044" y="1128"/>
                    </a:lnTo>
                    <a:lnTo>
                      <a:pt x="988" y="1113"/>
                    </a:lnTo>
                    <a:lnTo>
                      <a:pt x="931" y="1099"/>
                    </a:lnTo>
                    <a:lnTo>
                      <a:pt x="874" y="1085"/>
                    </a:lnTo>
                    <a:lnTo>
                      <a:pt x="817" y="1071"/>
                    </a:lnTo>
                    <a:lnTo>
                      <a:pt x="761" y="1057"/>
                    </a:lnTo>
                    <a:lnTo>
                      <a:pt x="704" y="1042"/>
                    </a:lnTo>
                    <a:lnTo>
                      <a:pt x="647" y="1026"/>
                    </a:lnTo>
                    <a:lnTo>
                      <a:pt x="607" y="1016"/>
                    </a:lnTo>
                    <a:lnTo>
                      <a:pt x="567" y="1005"/>
                    </a:lnTo>
                    <a:lnTo>
                      <a:pt x="527" y="993"/>
                    </a:lnTo>
                    <a:lnTo>
                      <a:pt x="487" y="981"/>
                    </a:lnTo>
                    <a:lnTo>
                      <a:pt x="449" y="972"/>
                    </a:lnTo>
                    <a:lnTo>
                      <a:pt x="409" y="960"/>
                    </a:lnTo>
                    <a:lnTo>
                      <a:pt x="368" y="948"/>
                    </a:lnTo>
                    <a:lnTo>
                      <a:pt x="328" y="936"/>
                    </a:lnTo>
                    <a:lnTo>
                      <a:pt x="288" y="924"/>
                    </a:lnTo>
                    <a:lnTo>
                      <a:pt x="250" y="912"/>
                    </a:lnTo>
                    <a:lnTo>
                      <a:pt x="210" y="901"/>
                    </a:lnTo>
                    <a:lnTo>
                      <a:pt x="170" y="889"/>
                    </a:lnTo>
                    <a:lnTo>
                      <a:pt x="130" y="877"/>
                    </a:lnTo>
                    <a:lnTo>
                      <a:pt x="92" y="863"/>
                    </a:lnTo>
                    <a:lnTo>
                      <a:pt x="52" y="851"/>
                    </a:lnTo>
                    <a:lnTo>
                      <a:pt x="11" y="839"/>
                    </a:lnTo>
                    <a:lnTo>
                      <a:pt x="0" y="808"/>
                    </a:lnTo>
                    <a:lnTo>
                      <a:pt x="4" y="768"/>
                    </a:lnTo>
                    <a:lnTo>
                      <a:pt x="7" y="752"/>
                    </a:lnTo>
                    <a:lnTo>
                      <a:pt x="21" y="711"/>
                    </a:lnTo>
                    <a:lnTo>
                      <a:pt x="21" y="693"/>
                    </a:lnTo>
                    <a:lnTo>
                      <a:pt x="16" y="659"/>
                    </a:lnTo>
                    <a:lnTo>
                      <a:pt x="30" y="638"/>
                    </a:lnTo>
                    <a:lnTo>
                      <a:pt x="42" y="624"/>
                    </a:lnTo>
                    <a:lnTo>
                      <a:pt x="80" y="562"/>
                    </a:lnTo>
                    <a:lnTo>
                      <a:pt x="85" y="560"/>
                    </a:lnTo>
                    <a:lnTo>
                      <a:pt x="92" y="562"/>
                    </a:lnTo>
                    <a:lnTo>
                      <a:pt x="106" y="553"/>
                    </a:lnTo>
                    <a:lnTo>
                      <a:pt x="104" y="551"/>
                    </a:lnTo>
                    <a:lnTo>
                      <a:pt x="92" y="553"/>
                    </a:lnTo>
                    <a:lnTo>
                      <a:pt x="108" y="529"/>
                    </a:lnTo>
                    <a:lnTo>
                      <a:pt x="123" y="508"/>
                    </a:lnTo>
                    <a:lnTo>
                      <a:pt x="132" y="503"/>
                    </a:lnTo>
                    <a:lnTo>
                      <a:pt x="158" y="430"/>
                    </a:lnTo>
                    <a:lnTo>
                      <a:pt x="179" y="376"/>
                    </a:lnTo>
                    <a:lnTo>
                      <a:pt x="193" y="359"/>
                    </a:lnTo>
                    <a:lnTo>
                      <a:pt x="196" y="340"/>
                    </a:lnTo>
                    <a:lnTo>
                      <a:pt x="208" y="314"/>
                    </a:lnTo>
                    <a:lnTo>
                      <a:pt x="215" y="288"/>
                    </a:lnTo>
                    <a:lnTo>
                      <a:pt x="269" y="168"/>
                    </a:lnTo>
                    <a:lnTo>
                      <a:pt x="271" y="151"/>
                    </a:lnTo>
                    <a:lnTo>
                      <a:pt x="283" y="132"/>
                    </a:lnTo>
                    <a:lnTo>
                      <a:pt x="297" y="78"/>
                    </a:lnTo>
                    <a:lnTo>
                      <a:pt x="316" y="19"/>
                    </a:lnTo>
                    <a:lnTo>
                      <a:pt x="316" y="9"/>
                    </a:lnTo>
                    <a:lnTo>
                      <a:pt x="316" y="0"/>
                    </a:lnTo>
                    <a:lnTo>
                      <a:pt x="321" y="0"/>
                    </a:lnTo>
                    <a:lnTo>
                      <a:pt x="326" y="12"/>
                    </a:lnTo>
                    <a:lnTo>
                      <a:pt x="359" y="21"/>
                    </a:lnTo>
                    <a:lnTo>
                      <a:pt x="383" y="21"/>
                    </a:lnTo>
                    <a:lnTo>
                      <a:pt x="390" y="26"/>
                    </a:lnTo>
                    <a:lnTo>
                      <a:pt x="394" y="40"/>
                    </a:lnTo>
                    <a:lnTo>
                      <a:pt x="406" y="45"/>
                    </a:lnTo>
                    <a:lnTo>
                      <a:pt x="420" y="4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2" name="Freeform 80">
                <a:extLst>
                  <a:ext uri="{FF2B5EF4-FFF2-40B4-BE49-F238E27FC236}">
                    <a16:creationId xmlns:a16="http://schemas.microsoft.com/office/drawing/2014/main" id="{851B2893-C54C-2EDF-994E-4AD50F906B1E}"/>
                  </a:ext>
                </a:extLst>
              </p:cNvPr>
              <p:cNvSpPr>
                <a:spLocks/>
              </p:cNvSpPr>
              <p:nvPr/>
            </p:nvSpPr>
            <p:spPr bwMode="auto">
              <a:xfrm>
                <a:off x="7127" y="322"/>
                <a:ext cx="981" cy="633"/>
              </a:xfrm>
              <a:custGeom>
                <a:avLst/>
                <a:gdLst>
                  <a:gd name="T0" fmla="*/ 912 w 981"/>
                  <a:gd name="T1" fmla="*/ 125 h 633"/>
                  <a:gd name="T2" fmla="*/ 891 w 981"/>
                  <a:gd name="T3" fmla="*/ 184 h 633"/>
                  <a:gd name="T4" fmla="*/ 891 w 981"/>
                  <a:gd name="T5" fmla="*/ 219 h 633"/>
                  <a:gd name="T6" fmla="*/ 881 w 981"/>
                  <a:gd name="T7" fmla="*/ 245 h 633"/>
                  <a:gd name="T8" fmla="*/ 889 w 981"/>
                  <a:gd name="T9" fmla="*/ 283 h 633"/>
                  <a:gd name="T10" fmla="*/ 919 w 981"/>
                  <a:gd name="T11" fmla="*/ 312 h 633"/>
                  <a:gd name="T12" fmla="*/ 957 w 981"/>
                  <a:gd name="T13" fmla="*/ 378 h 633"/>
                  <a:gd name="T14" fmla="*/ 924 w 981"/>
                  <a:gd name="T15" fmla="*/ 425 h 633"/>
                  <a:gd name="T16" fmla="*/ 889 w 981"/>
                  <a:gd name="T17" fmla="*/ 451 h 633"/>
                  <a:gd name="T18" fmla="*/ 846 w 981"/>
                  <a:gd name="T19" fmla="*/ 458 h 633"/>
                  <a:gd name="T20" fmla="*/ 799 w 981"/>
                  <a:gd name="T21" fmla="*/ 491 h 633"/>
                  <a:gd name="T22" fmla="*/ 688 w 981"/>
                  <a:gd name="T23" fmla="*/ 515 h 633"/>
                  <a:gd name="T24" fmla="*/ 579 w 981"/>
                  <a:gd name="T25" fmla="*/ 539 h 633"/>
                  <a:gd name="T26" fmla="*/ 468 w 981"/>
                  <a:gd name="T27" fmla="*/ 560 h 633"/>
                  <a:gd name="T28" fmla="*/ 359 w 981"/>
                  <a:gd name="T29" fmla="*/ 581 h 633"/>
                  <a:gd name="T30" fmla="*/ 248 w 981"/>
                  <a:gd name="T31" fmla="*/ 603 h 633"/>
                  <a:gd name="T32" fmla="*/ 187 w 981"/>
                  <a:gd name="T33" fmla="*/ 614 h 633"/>
                  <a:gd name="T34" fmla="*/ 123 w 981"/>
                  <a:gd name="T35" fmla="*/ 626 h 633"/>
                  <a:gd name="T36" fmla="*/ 78 w 981"/>
                  <a:gd name="T37" fmla="*/ 610 h 633"/>
                  <a:gd name="T38" fmla="*/ 66 w 981"/>
                  <a:gd name="T39" fmla="*/ 536 h 633"/>
                  <a:gd name="T40" fmla="*/ 52 w 981"/>
                  <a:gd name="T41" fmla="*/ 465 h 633"/>
                  <a:gd name="T42" fmla="*/ 40 w 981"/>
                  <a:gd name="T43" fmla="*/ 397 h 633"/>
                  <a:gd name="T44" fmla="*/ 31 w 981"/>
                  <a:gd name="T45" fmla="*/ 333 h 633"/>
                  <a:gd name="T46" fmla="*/ 19 w 981"/>
                  <a:gd name="T47" fmla="*/ 267 h 633"/>
                  <a:gd name="T48" fmla="*/ 7 w 981"/>
                  <a:gd name="T49" fmla="*/ 203 h 633"/>
                  <a:gd name="T50" fmla="*/ 28 w 981"/>
                  <a:gd name="T51" fmla="*/ 146 h 633"/>
                  <a:gd name="T52" fmla="*/ 57 w 981"/>
                  <a:gd name="T53" fmla="*/ 123 h 633"/>
                  <a:gd name="T54" fmla="*/ 106 w 981"/>
                  <a:gd name="T55" fmla="*/ 85 h 633"/>
                  <a:gd name="T56" fmla="*/ 139 w 981"/>
                  <a:gd name="T57" fmla="*/ 137 h 633"/>
                  <a:gd name="T58" fmla="*/ 203 w 981"/>
                  <a:gd name="T59" fmla="*/ 125 h 633"/>
                  <a:gd name="T60" fmla="*/ 267 w 981"/>
                  <a:gd name="T61" fmla="*/ 113 h 633"/>
                  <a:gd name="T62" fmla="*/ 331 w 981"/>
                  <a:gd name="T63" fmla="*/ 99 h 633"/>
                  <a:gd name="T64" fmla="*/ 395 w 981"/>
                  <a:gd name="T65" fmla="*/ 87 h 633"/>
                  <a:gd name="T66" fmla="*/ 458 w 981"/>
                  <a:gd name="T67" fmla="*/ 75 h 633"/>
                  <a:gd name="T68" fmla="*/ 520 w 981"/>
                  <a:gd name="T69" fmla="*/ 61 h 633"/>
                  <a:gd name="T70" fmla="*/ 584 w 981"/>
                  <a:gd name="T71" fmla="*/ 47 h 633"/>
                  <a:gd name="T72" fmla="*/ 647 w 981"/>
                  <a:gd name="T73" fmla="*/ 35 h 633"/>
                  <a:gd name="T74" fmla="*/ 711 w 981"/>
                  <a:gd name="T75" fmla="*/ 21 h 633"/>
                  <a:gd name="T76" fmla="*/ 775 w 981"/>
                  <a:gd name="T77" fmla="*/ 7 h 633"/>
                  <a:gd name="T78" fmla="*/ 818 w 981"/>
                  <a:gd name="T79" fmla="*/ 19 h 633"/>
                  <a:gd name="T80" fmla="*/ 844 w 981"/>
                  <a:gd name="T81" fmla="*/ 33 h 633"/>
                  <a:gd name="T82" fmla="*/ 855 w 981"/>
                  <a:gd name="T83" fmla="*/ 59 h 633"/>
                  <a:gd name="T84" fmla="*/ 877 w 981"/>
                  <a:gd name="T85" fmla="*/ 87 h 633"/>
                  <a:gd name="T86" fmla="*/ 922 w 981"/>
                  <a:gd name="T87" fmla="*/ 10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1" h="633">
                    <a:moveTo>
                      <a:pt x="926" y="108"/>
                    </a:moveTo>
                    <a:lnTo>
                      <a:pt x="917" y="118"/>
                    </a:lnTo>
                    <a:lnTo>
                      <a:pt x="912" y="125"/>
                    </a:lnTo>
                    <a:lnTo>
                      <a:pt x="910" y="132"/>
                    </a:lnTo>
                    <a:lnTo>
                      <a:pt x="903" y="158"/>
                    </a:lnTo>
                    <a:lnTo>
                      <a:pt x="891" y="184"/>
                    </a:lnTo>
                    <a:lnTo>
                      <a:pt x="879" y="198"/>
                    </a:lnTo>
                    <a:lnTo>
                      <a:pt x="879" y="203"/>
                    </a:lnTo>
                    <a:lnTo>
                      <a:pt x="891" y="219"/>
                    </a:lnTo>
                    <a:lnTo>
                      <a:pt x="893" y="224"/>
                    </a:lnTo>
                    <a:lnTo>
                      <a:pt x="889" y="238"/>
                    </a:lnTo>
                    <a:lnTo>
                      <a:pt x="881" y="245"/>
                    </a:lnTo>
                    <a:lnTo>
                      <a:pt x="881" y="253"/>
                    </a:lnTo>
                    <a:lnTo>
                      <a:pt x="881" y="264"/>
                    </a:lnTo>
                    <a:lnTo>
                      <a:pt x="889" y="283"/>
                    </a:lnTo>
                    <a:lnTo>
                      <a:pt x="891" y="286"/>
                    </a:lnTo>
                    <a:lnTo>
                      <a:pt x="905" y="290"/>
                    </a:lnTo>
                    <a:lnTo>
                      <a:pt x="919" y="312"/>
                    </a:lnTo>
                    <a:lnTo>
                      <a:pt x="929" y="314"/>
                    </a:lnTo>
                    <a:lnTo>
                      <a:pt x="981" y="357"/>
                    </a:lnTo>
                    <a:lnTo>
                      <a:pt x="957" y="378"/>
                    </a:lnTo>
                    <a:lnTo>
                      <a:pt x="941" y="394"/>
                    </a:lnTo>
                    <a:lnTo>
                      <a:pt x="936" y="404"/>
                    </a:lnTo>
                    <a:lnTo>
                      <a:pt x="924" y="425"/>
                    </a:lnTo>
                    <a:lnTo>
                      <a:pt x="900" y="437"/>
                    </a:lnTo>
                    <a:lnTo>
                      <a:pt x="891" y="446"/>
                    </a:lnTo>
                    <a:lnTo>
                      <a:pt x="889" y="451"/>
                    </a:lnTo>
                    <a:lnTo>
                      <a:pt x="872" y="449"/>
                    </a:lnTo>
                    <a:lnTo>
                      <a:pt x="853" y="454"/>
                    </a:lnTo>
                    <a:lnTo>
                      <a:pt x="846" y="458"/>
                    </a:lnTo>
                    <a:lnTo>
                      <a:pt x="844" y="463"/>
                    </a:lnTo>
                    <a:lnTo>
                      <a:pt x="834" y="482"/>
                    </a:lnTo>
                    <a:lnTo>
                      <a:pt x="799" y="491"/>
                    </a:lnTo>
                    <a:lnTo>
                      <a:pt x="761" y="498"/>
                    </a:lnTo>
                    <a:lnTo>
                      <a:pt x="725" y="508"/>
                    </a:lnTo>
                    <a:lnTo>
                      <a:pt x="688" y="515"/>
                    </a:lnTo>
                    <a:lnTo>
                      <a:pt x="652" y="522"/>
                    </a:lnTo>
                    <a:lnTo>
                      <a:pt x="614" y="532"/>
                    </a:lnTo>
                    <a:lnTo>
                      <a:pt x="579" y="539"/>
                    </a:lnTo>
                    <a:lnTo>
                      <a:pt x="541" y="546"/>
                    </a:lnTo>
                    <a:lnTo>
                      <a:pt x="506" y="553"/>
                    </a:lnTo>
                    <a:lnTo>
                      <a:pt x="468" y="560"/>
                    </a:lnTo>
                    <a:lnTo>
                      <a:pt x="432" y="567"/>
                    </a:lnTo>
                    <a:lnTo>
                      <a:pt x="395" y="574"/>
                    </a:lnTo>
                    <a:lnTo>
                      <a:pt x="359" y="581"/>
                    </a:lnTo>
                    <a:lnTo>
                      <a:pt x="321" y="588"/>
                    </a:lnTo>
                    <a:lnTo>
                      <a:pt x="286" y="595"/>
                    </a:lnTo>
                    <a:lnTo>
                      <a:pt x="248" y="603"/>
                    </a:lnTo>
                    <a:lnTo>
                      <a:pt x="227" y="607"/>
                    </a:lnTo>
                    <a:lnTo>
                      <a:pt x="205" y="610"/>
                    </a:lnTo>
                    <a:lnTo>
                      <a:pt x="187" y="614"/>
                    </a:lnTo>
                    <a:lnTo>
                      <a:pt x="165" y="619"/>
                    </a:lnTo>
                    <a:lnTo>
                      <a:pt x="144" y="621"/>
                    </a:lnTo>
                    <a:lnTo>
                      <a:pt x="123" y="626"/>
                    </a:lnTo>
                    <a:lnTo>
                      <a:pt x="101" y="629"/>
                    </a:lnTo>
                    <a:lnTo>
                      <a:pt x="83" y="633"/>
                    </a:lnTo>
                    <a:lnTo>
                      <a:pt x="78" y="610"/>
                    </a:lnTo>
                    <a:lnTo>
                      <a:pt x="73" y="586"/>
                    </a:lnTo>
                    <a:lnTo>
                      <a:pt x="68" y="560"/>
                    </a:lnTo>
                    <a:lnTo>
                      <a:pt x="66" y="536"/>
                    </a:lnTo>
                    <a:lnTo>
                      <a:pt x="61" y="513"/>
                    </a:lnTo>
                    <a:lnTo>
                      <a:pt x="57" y="489"/>
                    </a:lnTo>
                    <a:lnTo>
                      <a:pt x="52" y="465"/>
                    </a:lnTo>
                    <a:lnTo>
                      <a:pt x="49" y="442"/>
                    </a:lnTo>
                    <a:lnTo>
                      <a:pt x="45" y="420"/>
                    </a:lnTo>
                    <a:lnTo>
                      <a:pt x="40" y="397"/>
                    </a:lnTo>
                    <a:lnTo>
                      <a:pt x="38" y="376"/>
                    </a:lnTo>
                    <a:lnTo>
                      <a:pt x="33" y="354"/>
                    </a:lnTo>
                    <a:lnTo>
                      <a:pt x="31" y="333"/>
                    </a:lnTo>
                    <a:lnTo>
                      <a:pt x="26" y="312"/>
                    </a:lnTo>
                    <a:lnTo>
                      <a:pt x="21" y="288"/>
                    </a:lnTo>
                    <a:lnTo>
                      <a:pt x="19" y="267"/>
                    </a:lnTo>
                    <a:lnTo>
                      <a:pt x="14" y="245"/>
                    </a:lnTo>
                    <a:lnTo>
                      <a:pt x="12" y="224"/>
                    </a:lnTo>
                    <a:lnTo>
                      <a:pt x="7" y="203"/>
                    </a:lnTo>
                    <a:lnTo>
                      <a:pt x="5" y="179"/>
                    </a:lnTo>
                    <a:lnTo>
                      <a:pt x="0" y="163"/>
                    </a:lnTo>
                    <a:lnTo>
                      <a:pt x="28" y="146"/>
                    </a:lnTo>
                    <a:lnTo>
                      <a:pt x="40" y="137"/>
                    </a:lnTo>
                    <a:lnTo>
                      <a:pt x="49" y="130"/>
                    </a:lnTo>
                    <a:lnTo>
                      <a:pt x="57" y="123"/>
                    </a:lnTo>
                    <a:lnTo>
                      <a:pt x="64" y="118"/>
                    </a:lnTo>
                    <a:lnTo>
                      <a:pt x="106" y="82"/>
                    </a:lnTo>
                    <a:lnTo>
                      <a:pt x="106" y="85"/>
                    </a:lnTo>
                    <a:lnTo>
                      <a:pt x="113" y="113"/>
                    </a:lnTo>
                    <a:lnTo>
                      <a:pt x="118" y="139"/>
                    </a:lnTo>
                    <a:lnTo>
                      <a:pt x="139" y="137"/>
                    </a:lnTo>
                    <a:lnTo>
                      <a:pt x="161" y="132"/>
                    </a:lnTo>
                    <a:lnTo>
                      <a:pt x="182" y="127"/>
                    </a:lnTo>
                    <a:lnTo>
                      <a:pt x="203" y="125"/>
                    </a:lnTo>
                    <a:lnTo>
                      <a:pt x="224" y="120"/>
                    </a:lnTo>
                    <a:lnTo>
                      <a:pt x="246" y="115"/>
                    </a:lnTo>
                    <a:lnTo>
                      <a:pt x="267" y="113"/>
                    </a:lnTo>
                    <a:lnTo>
                      <a:pt x="288" y="108"/>
                    </a:lnTo>
                    <a:lnTo>
                      <a:pt x="309" y="104"/>
                    </a:lnTo>
                    <a:lnTo>
                      <a:pt x="331" y="99"/>
                    </a:lnTo>
                    <a:lnTo>
                      <a:pt x="352" y="97"/>
                    </a:lnTo>
                    <a:lnTo>
                      <a:pt x="373" y="92"/>
                    </a:lnTo>
                    <a:lnTo>
                      <a:pt x="395" y="87"/>
                    </a:lnTo>
                    <a:lnTo>
                      <a:pt x="416" y="82"/>
                    </a:lnTo>
                    <a:lnTo>
                      <a:pt x="437" y="78"/>
                    </a:lnTo>
                    <a:lnTo>
                      <a:pt x="458" y="75"/>
                    </a:lnTo>
                    <a:lnTo>
                      <a:pt x="477" y="71"/>
                    </a:lnTo>
                    <a:lnTo>
                      <a:pt x="499" y="66"/>
                    </a:lnTo>
                    <a:lnTo>
                      <a:pt x="520" y="61"/>
                    </a:lnTo>
                    <a:lnTo>
                      <a:pt x="541" y="56"/>
                    </a:lnTo>
                    <a:lnTo>
                      <a:pt x="562" y="52"/>
                    </a:lnTo>
                    <a:lnTo>
                      <a:pt x="584" y="47"/>
                    </a:lnTo>
                    <a:lnTo>
                      <a:pt x="605" y="42"/>
                    </a:lnTo>
                    <a:lnTo>
                      <a:pt x="626" y="37"/>
                    </a:lnTo>
                    <a:lnTo>
                      <a:pt x="647" y="35"/>
                    </a:lnTo>
                    <a:lnTo>
                      <a:pt x="669" y="30"/>
                    </a:lnTo>
                    <a:lnTo>
                      <a:pt x="690" y="26"/>
                    </a:lnTo>
                    <a:lnTo>
                      <a:pt x="711" y="21"/>
                    </a:lnTo>
                    <a:lnTo>
                      <a:pt x="733" y="16"/>
                    </a:lnTo>
                    <a:lnTo>
                      <a:pt x="754" y="11"/>
                    </a:lnTo>
                    <a:lnTo>
                      <a:pt x="775" y="7"/>
                    </a:lnTo>
                    <a:lnTo>
                      <a:pt x="796" y="0"/>
                    </a:lnTo>
                    <a:lnTo>
                      <a:pt x="811" y="9"/>
                    </a:lnTo>
                    <a:lnTo>
                      <a:pt x="818" y="19"/>
                    </a:lnTo>
                    <a:lnTo>
                      <a:pt x="837" y="23"/>
                    </a:lnTo>
                    <a:lnTo>
                      <a:pt x="844" y="26"/>
                    </a:lnTo>
                    <a:lnTo>
                      <a:pt x="844" y="33"/>
                    </a:lnTo>
                    <a:lnTo>
                      <a:pt x="853" y="37"/>
                    </a:lnTo>
                    <a:lnTo>
                      <a:pt x="853" y="49"/>
                    </a:lnTo>
                    <a:lnTo>
                      <a:pt x="855" y="59"/>
                    </a:lnTo>
                    <a:lnTo>
                      <a:pt x="860" y="71"/>
                    </a:lnTo>
                    <a:lnTo>
                      <a:pt x="867" y="80"/>
                    </a:lnTo>
                    <a:lnTo>
                      <a:pt x="877" y="87"/>
                    </a:lnTo>
                    <a:lnTo>
                      <a:pt x="884" y="94"/>
                    </a:lnTo>
                    <a:lnTo>
                      <a:pt x="915" y="97"/>
                    </a:lnTo>
                    <a:lnTo>
                      <a:pt x="922" y="101"/>
                    </a:lnTo>
                    <a:lnTo>
                      <a:pt x="926" y="10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3" name="Freeform 81">
                <a:extLst>
                  <a:ext uri="{FF2B5EF4-FFF2-40B4-BE49-F238E27FC236}">
                    <a16:creationId xmlns:a16="http://schemas.microsoft.com/office/drawing/2014/main" id="{79124C9E-0226-F12B-49B1-81B618C62347}"/>
                  </a:ext>
                </a:extLst>
              </p:cNvPr>
              <p:cNvSpPr>
                <a:spLocks noEditPoints="1"/>
              </p:cNvSpPr>
              <p:nvPr/>
            </p:nvSpPr>
            <p:spPr bwMode="auto">
              <a:xfrm>
                <a:off x="8462" y="166"/>
                <a:ext cx="114" cy="158"/>
              </a:xfrm>
              <a:custGeom>
                <a:avLst/>
                <a:gdLst>
                  <a:gd name="T0" fmla="*/ 104 w 114"/>
                  <a:gd name="T1" fmla="*/ 56 h 158"/>
                  <a:gd name="T2" fmla="*/ 100 w 114"/>
                  <a:gd name="T3" fmla="*/ 63 h 158"/>
                  <a:gd name="T4" fmla="*/ 90 w 114"/>
                  <a:gd name="T5" fmla="*/ 56 h 158"/>
                  <a:gd name="T6" fmla="*/ 85 w 114"/>
                  <a:gd name="T7" fmla="*/ 49 h 158"/>
                  <a:gd name="T8" fmla="*/ 81 w 114"/>
                  <a:gd name="T9" fmla="*/ 44 h 158"/>
                  <a:gd name="T10" fmla="*/ 76 w 114"/>
                  <a:gd name="T11" fmla="*/ 44 h 158"/>
                  <a:gd name="T12" fmla="*/ 83 w 114"/>
                  <a:gd name="T13" fmla="*/ 63 h 158"/>
                  <a:gd name="T14" fmla="*/ 78 w 114"/>
                  <a:gd name="T15" fmla="*/ 80 h 158"/>
                  <a:gd name="T16" fmla="*/ 85 w 114"/>
                  <a:gd name="T17" fmla="*/ 115 h 158"/>
                  <a:gd name="T18" fmla="*/ 78 w 114"/>
                  <a:gd name="T19" fmla="*/ 134 h 158"/>
                  <a:gd name="T20" fmla="*/ 43 w 114"/>
                  <a:gd name="T21" fmla="*/ 156 h 158"/>
                  <a:gd name="T22" fmla="*/ 31 w 114"/>
                  <a:gd name="T23" fmla="*/ 158 h 158"/>
                  <a:gd name="T24" fmla="*/ 31 w 114"/>
                  <a:gd name="T25" fmla="*/ 144 h 158"/>
                  <a:gd name="T26" fmla="*/ 33 w 114"/>
                  <a:gd name="T27" fmla="*/ 139 h 158"/>
                  <a:gd name="T28" fmla="*/ 31 w 114"/>
                  <a:gd name="T29" fmla="*/ 125 h 158"/>
                  <a:gd name="T30" fmla="*/ 29 w 114"/>
                  <a:gd name="T31" fmla="*/ 118 h 158"/>
                  <a:gd name="T32" fmla="*/ 24 w 114"/>
                  <a:gd name="T33" fmla="*/ 104 h 158"/>
                  <a:gd name="T34" fmla="*/ 19 w 114"/>
                  <a:gd name="T35" fmla="*/ 87 h 158"/>
                  <a:gd name="T36" fmla="*/ 15 w 114"/>
                  <a:gd name="T37" fmla="*/ 70 h 158"/>
                  <a:gd name="T38" fmla="*/ 12 w 114"/>
                  <a:gd name="T39" fmla="*/ 54 h 158"/>
                  <a:gd name="T40" fmla="*/ 7 w 114"/>
                  <a:gd name="T41" fmla="*/ 44 h 158"/>
                  <a:gd name="T42" fmla="*/ 3 w 114"/>
                  <a:gd name="T43" fmla="*/ 28 h 158"/>
                  <a:gd name="T44" fmla="*/ 0 w 114"/>
                  <a:gd name="T45" fmla="*/ 18 h 158"/>
                  <a:gd name="T46" fmla="*/ 12 w 114"/>
                  <a:gd name="T47" fmla="*/ 14 h 158"/>
                  <a:gd name="T48" fmla="*/ 29 w 114"/>
                  <a:gd name="T49" fmla="*/ 9 h 158"/>
                  <a:gd name="T50" fmla="*/ 43 w 114"/>
                  <a:gd name="T51" fmla="*/ 7 h 158"/>
                  <a:gd name="T52" fmla="*/ 52 w 114"/>
                  <a:gd name="T53" fmla="*/ 2 h 158"/>
                  <a:gd name="T54" fmla="*/ 64 w 114"/>
                  <a:gd name="T55" fmla="*/ 0 h 158"/>
                  <a:gd name="T56" fmla="*/ 67 w 114"/>
                  <a:gd name="T57" fmla="*/ 9 h 158"/>
                  <a:gd name="T58" fmla="*/ 71 w 114"/>
                  <a:gd name="T59" fmla="*/ 23 h 158"/>
                  <a:gd name="T60" fmla="*/ 78 w 114"/>
                  <a:gd name="T61" fmla="*/ 23 h 158"/>
                  <a:gd name="T62" fmla="*/ 81 w 114"/>
                  <a:gd name="T63" fmla="*/ 35 h 158"/>
                  <a:gd name="T64" fmla="*/ 83 w 114"/>
                  <a:gd name="T65" fmla="*/ 42 h 158"/>
                  <a:gd name="T66" fmla="*/ 90 w 114"/>
                  <a:gd name="T67" fmla="*/ 44 h 158"/>
                  <a:gd name="T68" fmla="*/ 97 w 114"/>
                  <a:gd name="T69" fmla="*/ 49 h 158"/>
                  <a:gd name="T70" fmla="*/ 104 w 114"/>
                  <a:gd name="T71" fmla="*/ 56 h 158"/>
                  <a:gd name="T72" fmla="*/ 114 w 114"/>
                  <a:gd name="T73" fmla="*/ 99 h 158"/>
                  <a:gd name="T74" fmla="*/ 109 w 114"/>
                  <a:gd name="T75" fmla="*/ 108 h 158"/>
                  <a:gd name="T76" fmla="*/ 100 w 114"/>
                  <a:gd name="T77" fmla="*/ 108 h 158"/>
                  <a:gd name="T78" fmla="*/ 102 w 114"/>
                  <a:gd name="T79" fmla="*/ 101 h 158"/>
                  <a:gd name="T80" fmla="*/ 100 w 114"/>
                  <a:gd name="T81" fmla="*/ 89 h 158"/>
                  <a:gd name="T82" fmla="*/ 102 w 114"/>
                  <a:gd name="T83" fmla="*/ 75 h 158"/>
                  <a:gd name="T84" fmla="*/ 102 w 114"/>
                  <a:gd name="T85" fmla="*/ 70 h 158"/>
                  <a:gd name="T86" fmla="*/ 107 w 114"/>
                  <a:gd name="T87" fmla="*/ 66 h 158"/>
                  <a:gd name="T88" fmla="*/ 114 w 114"/>
                  <a:gd name="T89" fmla="*/ 99 h 158"/>
                  <a:gd name="T90" fmla="*/ 97 w 114"/>
                  <a:gd name="T91" fmla="*/ 106 h 158"/>
                  <a:gd name="T92" fmla="*/ 93 w 114"/>
                  <a:gd name="T93" fmla="*/ 111 h 158"/>
                  <a:gd name="T94" fmla="*/ 88 w 114"/>
                  <a:gd name="T95" fmla="*/ 101 h 158"/>
                  <a:gd name="T96" fmla="*/ 88 w 114"/>
                  <a:gd name="T97" fmla="*/ 89 h 158"/>
                  <a:gd name="T98" fmla="*/ 93 w 114"/>
                  <a:gd name="T99" fmla="*/ 89 h 158"/>
                  <a:gd name="T100" fmla="*/ 95 w 114"/>
                  <a:gd name="T101" fmla="*/ 94 h 158"/>
                  <a:gd name="T102" fmla="*/ 97 w 114"/>
                  <a:gd name="T10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58">
                    <a:moveTo>
                      <a:pt x="104" y="56"/>
                    </a:moveTo>
                    <a:lnTo>
                      <a:pt x="100" y="63"/>
                    </a:lnTo>
                    <a:lnTo>
                      <a:pt x="90" y="56"/>
                    </a:lnTo>
                    <a:lnTo>
                      <a:pt x="85" y="49"/>
                    </a:lnTo>
                    <a:lnTo>
                      <a:pt x="81" y="44"/>
                    </a:lnTo>
                    <a:lnTo>
                      <a:pt x="76" y="44"/>
                    </a:lnTo>
                    <a:lnTo>
                      <a:pt x="83" y="63"/>
                    </a:lnTo>
                    <a:lnTo>
                      <a:pt x="78" y="80"/>
                    </a:lnTo>
                    <a:lnTo>
                      <a:pt x="85" y="115"/>
                    </a:lnTo>
                    <a:lnTo>
                      <a:pt x="78" y="134"/>
                    </a:lnTo>
                    <a:lnTo>
                      <a:pt x="43" y="156"/>
                    </a:lnTo>
                    <a:lnTo>
                      <a:pt x="31" y="158"/>
                    </a:lnTo>
                    <a:lnTo>
                      <a:pt x="31" y="144"/>
                    </a:lnTo>
                    <a:lnTo>
                      <a:pt x="33" y="139"/>
                    </a:lnTo>
                    <a:lnTo>
                      <a:pt x="31" y="125"/>
                    </a:lnTo>
                    <a:lnTo>
                      <a:pt x="29" y="118"/>
                    </a:lnTo>
                    <a:lnTo>
                      <a:pt x="24" y="104"/>
                    </a:lnTo>
                    <a:lnTo>
                      <a:pt x="19" y="87"/>
                    </a:lnTo>
                    <a:lnTo>
                      <a:pt x="15" y="70"/>
                    </a:lnTo>
                    <a:lnTo>
                      <a:pt x="12" y="54"/>
                    </a:lnTo>
                    <a:lnTo>
                      <a:pt x="7" y="44"/>
                    </a:lnTo>
                    <a:lnTo>
                      <a:pt x="3" y="28"/>
                    </a:lnTo>
                    <a:lnTo>
                      <a:pt x="0" y="18"/>
                    </a:lnTo>
                    <a:lnTo>
                      <a:pt x="12" y="14"/>
                    </a:lnTo>
                    <a:lnTo>
                      <a:pt x="29" y="9"/>
                    </a:lnTo>
                    <a:lnTo>
                      <a:pt x="43" y="7"/>
                    </a:lnTo>
                    <a:lnTo>
                      <a:pt x="52" y="2"/>
                    </a:lnTo>
                    <a:lnTo>
                      <a:pt x="64" y="0"/>
                    </a:lnTo>
                    <a:lnTo>
                      <a:pt x="67" y="9"/>
                    </a:lnTo>
                    <a:lnTo>
                      <a:pt x="71" y="23"/>
                    </a:lnTo>
                    <a:lnTo>
                      <a:pt x="78" y="23"/>
                    </a:lnTo>
                    <a:lnTo>
                      <a:pt x="81" y="35"/>
                    </a:lnTo>
                    <a:lnTo>
                      <a:pt x="83" y="42"/>
                    </a:lnTo>
                    <a:lnTo>
                      <a:pt x="90" y="44"/>
                    </a:lnTo>
                    <a:lnTo>
                      <a:pt x="97" y="49"/>
                    </a:lnTo>
                    <a:lnTo>
                      <a:pt x="104" y="56"/>
                    </a:lnTo>
                    <a:close/>
                    <a:moveTo>
                      <a:pt x="114" y="99"/>
                    </a:moveTo>
                    <a:lnTo>
                      <a:pt x="109" y="108"/>
                    </a:lnTo>
                    <a:lnTo>
                      <a:pt x="100" y="108"/>
                    </a:lnTo>
                    <a:lnTo>
                      <a:pt x="102" y="101"/>
                    </a:lnTo>
                    <a:lnTo>
                      <a:pt x="100" y="89"/>
                    </a:lnTo>
                    <a:lnTo>
                      <a:pt x="102" y="75"/>
                    </a:lnTo>
                    <a:lnTo>
                      <a:pt x="102" y="70"/>
                    </a:lnTo>
                    <a:lnTo>
                      <a:pt x="107" y="66"/>
                    </a:lnTo>
                    <a:lnTo>
                      <a:pt x="114" y="99"/>
                    </a:lnTo>
                    <a:close/>
                    <a:moveTo>
                      <a:pt x="97" y="106"/>
                    </a:moveTo>
                    <a:lnTo>
                      <a:pt x="93" y="111"/>
                    </a:lnTo>
                    <a:lnTo>
                      <a:pt x="88" y="101"/>
                    </a:lnTo>
                    <a:lnTo>
                      <a:pt x="88" y="89"/>
                    </a:lnTo>
                    <a:lnTo>
                      <a:pt x="93" y="89"/>
                    </a:lnTo>
                    <a:lnTo>
                      <a:pt x="95" y="94"/>
                    </a:lnTo>
                    <a:lnTo>
                      <a:pt x="97" y="10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4" name="Freeform 82">
                <a:extLst>
                  <a:ext uri="{FF2B5EF4-FFF2-40B4-BE49-F238E27FC236}">
                    <a16:creationId xmlns:a16="http://schemas.microsoft.com/office/drawing/2014/main" id="{AE1F2A93-2C05-4EB3-1574-926A4230A11C}"/>
                  </a:ext>
                </a:extLst>
              </p:cNvPr>
              <p:cNvSpPr>
                <a:spLocks/>
              </p:cNvSpPr>
              <p:nvPr/>
            </p:nvSpPr>
            <p:spPr bwMode="auto">
              <a:xfrm>
                <a:off x="6900" y="1918"/>
                <a:ext cx="856" cy="643"/>
              </a:xfrm>
              <a:custGeom>
                <a:avLst/>
                <a:gdLst>
                  <a:gd name="T0" fmla="*/ 813 w 856"/>
                  <a:gd name="T1" fmla="*/ 227 h 643"/>
                  <a:gd name="T2" fmla="*/ 770 w 856"/>
                  <a:gd name="T3" fmla="*/ 338 h 643"/>
                  <a:gd name="T4" fmla="*/ 759 w 856"/>
                  <a:gd name="T5" fmla="*/ 307 h 643"/>
                  <a:gd name="T6" fmla="*/ 761 w 856"/>
                  <a:gd name="T7" fmla="*/ 364 h 643"/>
                  <a:gd name="T8" fmla="*/ 711 w 856"/>
                  <a:gd name="T9" fmla="*/ 402 h 643"/>
                  <a:gd name="T10" fmla="*/ 681 w 856"/>
                  <a:gd name="T11" fmla="*/ 454 h 643"/>
                  <a:gd name="T12" fmla="*/ 662 w 856"/>
                  <a:gd name="T13" fmla="*/ 482 h 643"/>
                  <a:gd name="T14" fmla="*/ 622 w 856"/>
                  <a:gd name="T15" fmla="*/ 506 h 643"/>
                  <a:gd name="T16" fmla="*/ 593 w 856"/>
                  <a:gd name="T17" fmla="*/ 529 h 643"/>
                  <a:gd name="T18" fmla="*/ 546 w 856"/>
                  <a:gd name="T19" fmla="*/ 536 h 643"/>
                  <a:gd name="T20" fmla="*/ 577 w 856"/>
                  <a:gd name="T21" fmla="*/ 565 h 643"/>
                  <a:gd name="T22" fmla="*/ 558 w 856"/>
                  <a:gd name="T23" fmla="*/ 581 h 643"/>
                  <a:gd name="T24" fmla="*/ 541 w 856"/>
                  <a:gd name="T25" fmla="*/ 565 h 643"/>
                  <a:gd name="T26" fmla="*/ 518 w 856"/>
                  <a:gd name="T27" fmla="*/ 555 h 643"/>
                  <a:gd name="T28" fmla="*/ 536 w 856"/>
                  <a:gd name="T29" fmla="*/ 591 h 643"/>
                  <a:gd name="T30" fmla="*/ 536 w 856"/>
                  <a:gd name="T31" fmla="*/ 617 h 643"/>
                  <a:gd name="T32" fmla="*/ 518 w 856"/>
                  <a:gd name="T33" fmla="*/ 636 h 643"/>
                  <a:gd name="T34" fmla="*/ 468 w 856"/>
                  <a:gd name="T35" fmla="*/ 619 h 643"/>
                  <a:gd name="T36" fmla="*/ 428 w 856"/>
                  <a:gd name="T37" fmla="*/ 546 h 643"/>
                  <a:gd name="T38" fmla="*/ 380 w 856"/>
                  <a:gd name="T39" fmla="*/ 473 h 643"/>
                  <a:gd name="T40" fmla="*/ 321 w 856"/>
                  <a:gd name="T41" fmla="*/ 428 h 643"/>
                  <a:gd name="T42" fmla="*/ 293 w 856"/>
                  <a:gd name="T43" fmla="*/ 399 h 643"/>
                  <a:gd name="T44" fmla="*/ 269 w 856"/>
                  <a:gd name="T45" fmla="*/ 364 h 643"/>
                  <a:gd name="T46" fmla="*/ 201 w 856"/>
                  <a:gd name="T47" fmla="*/ 309 h 643"/>
                  <a:gd name="T48" fmla="*/ 104 w 856"/>
                  <a:gd name="T49" fmla="*/ 210 h 643"/>
                  <a:gd name="T50" fmla="*/ 87 w 856"/>
                  <a:gd name="T51" fmla="*/ 191 h 643"/>
                  <a:gd name="T52" fmla="*/ 35 w 856"/>
                  <a:gd name="T53" fmla="*/ 170 h 643"/>
                  <a:gd name="T54" fmla="*/ 5 w 856"/>
                  <a:gd name="T55" fmla="*/ 130 h 643"/>
                  <a:gd name="T56" fmla="*/ 33 w 856"/>
                  <a:gd name="T57" fmla="*/ 85 h 643"/>
                  <a:gd name="T58" fmla="*/ 87 w 856"/>
                  <a:gd name="T59" fmla="*/ 59 h 643"/>
                  <a:gd name="T60" fmla="*/ 139 w 856"/>
                  <a:gd name="T61" fmla="*/ 33 h 643"/>
                  <a:gd name="T62" fmla="*/ 184 w 856"/>
                  <a:gd name="T63" fmla="*/ 21 h 643"/>
                  <a:gd name="T64" fmla="*/ 265 w 856"/>
                  <a:gd name="T65" fmla="*/ 11 h 643"/>
                  <a:gd name="T66" fmla="*/ 347 w 856"/>
                  <a:gd name="T67" fmla="*/ 2 h 643"/>
                  <a:gd name="T68" fmla="*/ 383 w 856"/>
                  <a:gd name="T69" fmla="*/ 4 h 643"/>
                  <a:gd name="T70" fmla="*/ 402 w 856"/>
                  <a:gd name="T71" fmla="*/ 4 h 643"/>
                  <a:gd name="T72" fmla="*/ 435 w 856"/>
                  <a:gd name="T73" fmla="*/ 42 h 643"/>
                  <a:gd name="T74" fmla="*/ 487 w 856"/>
                  <a:gd name="T75" fmla="*/ 52 h 643"/>
                  <a:gd name="T76" fmla="*/ 560 w 856"/>
                  <a:gd name="T77" fmla="*/ 42 h 643"/>
                  <a:gd name="T78" fmla="*/ 631 w 856"/>
                  <a:gd name="T79" fmla="*/ 30 h 643"/>
                  <a:gd name="T80" fmla="*/ 714 w 856"/>
                  <a:gd name="T81" fmla="*/ 89 h 643"/>
                  <a:gd name="T82" fmla="*/ 796 w 856"/>
                  <a:gd name="T83" fmla="*/ 14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6" h="643">
                    <a:moveTo>
                      <a:pt x="856" y="186"/>
                    </a:moveTo>
                    <a:lnTo>
                      <a:pt x="853" y="189"/>
                    </a:lnTo>
                    <a:lnTo>
                      <a:pt x="813" y="227"/>
                    </a:lnTo>
                    <a:lnTo>
                      <a:pt x="801" y="243"/>
                    </a:lnTo>
                    <a:lnTo>
                      <a:pt x="775" y="302"/>
                    </a:lnTo>
                    <a:lnTo>
                      <a:pt x="770" y="338"/>
                    </a:lnTo>
                    <a:lnTo>
                      <a:pt x="761" y="326"/>
                    </a:lnTo>
                    <a:lnTo>
                      <a:pt x="761" y="314"/>
                    </a:lnTo>
                    <a:lnTo>
                      <a:pt x="759" y="307"/>
                    </a:lnTo>
                    <a:lnTo>
                      <a:pt x="754" y="326"/>
                    </a:lnTo>
                    <a:lnTo>
                      <a:pt x="766" y="352"/>
                    </a:lnTo>
                    <a:lnTo>
                      <a:pt x="761" y="364"/>
                    </a:lnTo>
                    <a:lnTo>
                      <a:pt x="740" y="387"/>
                    </a:lnTo>
                    <a:lnTo>
                      <a:pt x="726" y="394"/>
                    </a:lnTo>
                    <a:lnTo>
                      <a:pt x="711" y="402"/>
                    </a:lnTo>
                    <a:lnTo>
                      <a:pt x="709" y="423"/>
                    </a:lnTo>
                    <a:lnTo>
                      <a:pt x="692" y="444"/>
                    </a:lnTo>
                    <a:lnTo>
                      <a:pt x="681" y="454"/>
                    </a:lnTo>
                    <a:lnTo>
                      <a:pt x="657" y="454"/>
                    </a:lnTo>
                    <a:lnTo>
                      <a:pt x="669" y="468"/>
                    </a:lnTo>
                    <a:lnTo>
                      <a:pt x="662" y="482"/>
                    </a:lnTo>
                    <a:lnTo>
                      <a:pt x="650" y="494"/>
                    </a:lnTo>
                    <a:lnTo>
                      <a:pt x="633" y="503"/>
                    </a:lnTo>
                    <a:lnTo>
                      <a:pt x="622" y="506"/>
                    </a:lnTo>
                    <a:lnTo>
                      <a:pt x="614" y="510"/>
                    </a:lnTo>
                    <a:lnTo>
                      <a:pt x="610" y="520"/>
                    </a:lnTo>
                    <a:lnTo>
                      <a:pt x="593" y="529"/>
                    </a:lnTo>
                    <a:lnTo>
                      <a:pt x="577" y="529"/>
                    </a:lnTo>
                    <a:lnTo>
                      <a:pt x="555" y="529"/>
                    </a:lnTo>
                    <a:lnTo>
                      <a:pt x="546" y="536"/>
                    </a:lnTo>
                    <a:lnTo>
                      <a:pt x="565" y="541"/>
                    </a:lnTo>
                    <a:lnTo>
                      <a:pt x="577" y="551"/>
                    </a:lnTo>
                    <a:lnTo>
                      <a:pt x="577" y="565"/>
                    </a:lnTo>
                    <a:lnTo>
                      <a:pt x="574" y="572"/>
                    </a:lnTo>
                    <a:lnTo>
                      <a:pt x="562" y="581"/>
                    </a:lnTo>
                    <a:lnTo>
                      <a:pt x="558" y="581"/>
                    </a:lnTo>
                    <a:lnTo>
                      <a:pt x="553" y="574"/>
                    </a:lnTo>
                    <a:lnTo>
                      <a:pt x="548" y="560"/>
                    </a:lnTo>
                    <a:lnTo>
                      <a:pt x="541" y="565"/>
                    </a:lnTo>
                    <a:lnTo>
                      <a:pt x="544" y="572"/>
                    </a:lnTo>
                    <a:lnTo>
                      <a:pt x="539" y="574"/>
                    </a:lnTo>
                    <a:lnTo>
                      <a:pt x="518" y="555"/>
                    </a:lnTo>
                    <a:lnTo>
                      <a:pt x="522" y="572"/>
                    </a:lnTo>
                    <a:lnTo>
                      <a:pt x="529" y="584"/>
                    </a:lnTo>
                    <a:lnTo>
                      <a:pt x="536" y="591"/>
                    </a:lnTo>
                    <a:lnTo>
                      <a:pt x="544" y="593"/>
                    </a:lnTo>
                    <a:lnTo>
                      <a:pt x="546" y="600"/>
                    </a:lnTo>
                    <a:lnTo>
                      <a:pt x="536" y="617"/>
                    </a:lnTo>
                    <a:lnTo>
                      <a:pt x="532" y="621"/>
                    </a:lnTo>
                    <a:lnTo>
                      <a:pt x="522" y="626"/>
                    </a:lnTo>
                    <a:lnTo>
                      <a:pt x="518" y="636"/>
                    </a:lnTo>
                    <a:lnTo>
                      <a:pt x="520" y="643"/>
                    </a:lnTo>
                    <a:lnTo>
                      <a:pt x="482" y="633"/>
                    </a:lnTo>
                    <a:lnTo>
                      <a:pt x="468" y="619"/>
                    </a:lnTo>
                    <a:lnTo>
                      <a:pt x="466" y="600"/>
                    </a:lnTo>
                    <a:lnTo>
                      <a:pt x="456" y="579"/>
                    </a:lnTo>
                    <a:lnTo>
                      <a:pt x="428" y="546"/>
                    </a:lnTo>
                    <a:lnTo>
                      <a:pt x="411" y="539"/>
                    </a:lnTo>
                    <a:lnTo>
                      <a:pt x="397" y="515"/>
                    </a:lnTo>
                    <a:lnTo>
                      <a:pt x="380" y="473"/>
                    </a:lnTo>
                    <a:lnTo>
                      <a:pt x="359" y="447"/>
                    </a:lnTo>
                    <a:lnTo>
                      <a:pt x="338" y="439"/>
                    </a:lnTo>
                    <a:lnTo>
                      <a:pt x="321" y="428"/>
                    </a:lnTo>
                    <a:lnTo>
                      <a:pt x="312" y="411"/>
                    </a:lnTo>
                    <a:lnTo>
                      <a:pt x="302" y="402"/>
                    </a:lnTo>
                    <a:lnTo>
                      <a:pt x="293" y="399"/>
                    </a:lnTo>
                    <a:lnTo>
                      <a:pt x="288" y="390"/>
                    </a:lnTo>
                    <a:lnTo>
                      <a:pt x="286" y="378"/>
                    </a:lnTo>
                    <a:lnTo>
                      <a:pt x="269" y="364"/>
                    </a:lnTo>
                    <a:lnTo>
                      <a:pt x="232" y="340"/>
                    </a:lnTo>
                    <a:lnTo>
                      <a:pt x="220" y="324"/>
                    </a:lnTo>
                    <a:lnTo>
                      <a:pt x="201" y="309"/>
                    </a:lnTo>
                    <a:lnTo>
                      <a:pt x="154" y="276"/>
                    </a:lnTo>
                    <a:lnTo>
                      <a:pt x="154" y="276"/>
                    </a:lnTo>
                    <a:lnTo>
                      <a:pt x="104" y="210"/>
                    </a:lnTo>
                    <a:lnTo>
                      <a:pt x="104" y="210"/>
                    </a:lnTo>
                    <a:lnTo>
                      <a:pt x="94" y="196"/>
                    </a:lnTo>
                    <a:lnTo>
                      <a:pt x="87" y="191"/>
                    </a:lnTo>
                    <a:lnTo>
                      <a:pt x="73" y="191"/>
                    </a:lnTo>
                    <a:lnTo>
                      <a:pt x="59" y="186"/>
                    </a:lnTo>
                    <a:lnTo>
                      <a:pt x="35" y="170"/>
                    </a:lnTo>
                    <a:lnTo>
                      <a:pt x="35" y="170"/>
                    </a:lnTo>
                    <a:lnTo>
                      <a:pt x="0" y="151"/>
                    </a:lnTo>
                    <a:lnTo>
                      <a:pt x="5" y="130"/>
                    </a:lnTo>
                    <a:lnTo>
                      <a:pt x="26" y="101"/>
                    </a:lnTo>
                    <a:lnTo>
                      <a:pt x="31" y="85"/>
                    </a:lnTo>
                    <a:lnTo>
                      <a:pt x="33" y="85"/>
                    </a:lnTo>
                    <a:lnTo>
                      <a:pt x="35" y="85"/>
                    </a:lnTo>
                    <a:lnTo>
                      <a:pt x="61" y="73"/>
                    </a:lnTo>
                    <a:lnTo>
                      <a:pt x="87" y="59"/>
                    </a:lnTo>
                    <a:lnTo>
                      <a:pt x="94" y="59"/>
                    </a:lnTo>
                    <a:lnTo>
                      <a:pt x="109" y="47"/>
                    </a:lnTo>
                    <a:lnTo>
                      <a:pt x="139" y="33"/>
                    </a:lnTo>
                    <a:lnTo>
                      <a:pt x="149" y="23"/>
                    </a:lnTo>
                    <a:lnTo>
                      <a:pt x="156" y="23"/>
                    </a:lnTo>
                    <a:lnTo>
                      <a:pt x="184" y="21"/>
                    </a:lnTo>
                    <a:lnTo>
                      <a:pt x="210" y="19"/>
                    </a:lnTo>
                    <a:lnTo>
                      <a:pt x="239" y="16"/>
                    </a:lnTo>
                    <a:lnTo>
                      <a:pt x="265" y="11"/>
                    </a:lnTo>
                    <a:lnTo>
                      <a:pt x="293" y="9"/>
                    </a:lnTo>
                    <a:lnTo>
                      <a:pt x="319" y="7"/>
                    </a:lnTo>
                    <a:lnTo>
                      <a:pt x="347" y="2"/>
                    </a:lnTo>
                    <a:lnTo>
                      <a:pt x="373" y="0"/>
                    </a:lnTo>
                    <a:lnTo>
                      <a:pt x="380" y="0"/>
                    </a:lnTo>
                    <a:lnTo>
                      <a:pt x="383" y="4"/>
                    </a:lnTo>
                    <a:lnTo>
                      <a:pt x="383" y="11"/>
                    </a:lnTo>
                    <a:lnTo>
                      <a:pt x="385" y="16"/>
                    </a:lnTo>
                    <a:lnTo>
                      <a:pt x="402" y="4"/>
                    </a:lnTo>
                    <a:lnTo>
                      <a:pt x="414" y="14"/>
                    </a:lnTo>
                    <a:lnTo>
                      <a:pt x="432" y="30"/>
                    </a:lnTo>
                    <a:lnTo>
                      <a:pt x="435" y="42"/>
                    </a:lnTo>
                    <a:lnTo>
                      <a:pt x="437" y="59"/>
                    </a:lnTo>
                    <a:lnTo>
                      <a:pt x="461" y="56"/>
                    </a:lnTo>
                    <a:lnTo>
                      <a:pt x="487" y="52"/>
                    </a:lnTo>
                    <a:lnTo>
                      <a:pt x="510" y="49"/>
                    </a:lnTo>
                    <a:lnTo>
                      <a:pt x="534" y="45"/>
                    </a:lnTo>
                    <a:lnTo>
                      <a:pt x="560" y="42"/>
                    </a:lnTo>
                    <a:lnTo>
                      <a:pt x="584" y="37"/>
                    </a:lnTo>
                    <a:lnTo>
                      <a:pt x="607" y="35"/>
                    </a:lnTo>
                    <a:lnTo>
                      <a:pt x="631" y="30"/>
                    </a:lnTo>
                    <a:lnTo>
                      <a:pt x="659" y="52"/>
                    </a:lnTo>
                    <a:lnTo>
                      <a:pt x="688" y="71"/>
                    </a:lnTo>
                    <a:lnTo>
                      <a:pt x="714" y="89"/>
                    </a:lnTo>
                    <a:lnTo>
                      <a:pt x="742" y="108"/>
                    </a:lnTo>
                    <a:lnTo>
                      <a:pt x="770" y="127"/>
                    </a:lnTo>
                    <a:lnTo>
                      <a:pt x="796" y="146"/>
                    </a:lnTo>
                    <a:lnTo>
                      <a:pt x="825" y="167"/>
                    </a:lnTo>
                    <a:lnTo>
                      <a:pt x="856" y="18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5" name="Freeform 83">
                <a:extLst>
                  <a:ext uri="{FF2B5EF4-FFF2-40B4-BE49-F238E27FC236}">
                    <a16:creationId xmlns:a16="http://schemas.microsoft.com/office/drawing/2014/main" id="{C5A91C7A-48A3-3F3F-4E0C-F33E3503EFA4}"/>
                  </a:ext>
                </a:extLst>
              </p:cNvPr>
              <p:cNvSpPr>
                <a:spLocks/>
              </p:cNvSpPr>
              <p:nvPr/>
            </p:nvSpPr>
            <p:spPr bwMode="auto">
              <a:xfrm>
                <a:off x="3468" y="-196"/>
                <a:ext cx="1172" cy="778"/>
              </a:xfrm>
              <a:custGeom>
                <a:avLst/>
                <a:gdLst>
                  <a:gd name="T0" fmla="*/ 1153 w 1172"/>
                  <a:gd name="T1" fmla="*/ 73 h 778"/>
                  <a:gd name="T2" fmla="*/ 1141 w 1172"/>
                  <a:gd name="T3" fmla="*/ 92 h 778"/>
                  <a:gd name="T4" fmla="*/ 1113 w 1172"/>
                  <a:gd name="T5" fmla="*/ 118 h 778"/>
                  <a:gd name="T6" fmla="*/ 1120 w 1172"/>
                  <a:gd name="T7" fmla="*/ 135 h 778"/>
                  <a:gd name="T8" fmla="*/ 1137 w 1172"/>
                  <a:gd name="T9" fmla="*/ 161 h 778"/>
                  <a:gd name="T10" fmla="*/ 1172 w 1172"/>
                  <a:gd name="T11" fmla="*/ 189 h 778"/>
                  <a:gd name="T12" fmla="*/ 1172 w 1172"/>
                  <a:gd name="T13" fmla="*/ 283 h 778"/>
                  <a:gd name="T14" fmla="*/ 1172 w 1172"/>
                  <a:gd name="T15" fmla="*/ 378 h 778"/>
                  <a:gd name="T16" fmla="*/ 1172 w 1172"/>
                  <a:gd name="T17" fmla="*/ 475 h 778"/>
                  <a:gd name="T18" fmla="*/ 1170 w 1172"/>
                  <a:gd name="T19" fmla="*/ 570 h 778"/>
                  <a:gd name="T20" fmla="*/ 1151 w 1172"/>
                  <a:gd name="T21" fmla="*/ 581 h 778"/>
                  <a:gd name="T22" fmla="*/ 1158 w 1172"/>
                  <a:gd name="T23" fmla="*/ 603 h 778"/>
                  <a:gd name="T24" fmla="*/ 1153 w 1172"/>
                  <a:gd name="T25" fmla="*/ 615 h 778"/>
                  <a:gd name="T26" fmla="*/ 1156 w 1172"/>
                  <a:gd name="T27" fmla="*/ 626 h 778"/>
                  <a:gd name="T28" fmla="*/ 1167 w 1172"/>
                  <a:gd name="T29" fmla="*/ 638 h 778"/>
                  <a:gd name="T30" fmla="*/ 1170 w 1172"/>
                  <a:gd name="T31" fmla="*/ 652 h 778"/>
                  <a:gd name="T32" fmla="*/ 1160 w 1172"/>
                  <a:gd name="T33" fmla="*/ 681 h 778"/>
                  <a:gd name="T34" fmla="*/ 1144 w 1172"/>
                  <a:gd name="T35" fmla="*/ 719 h 778"/>
                  <a:gd name="T36" fmla="*/ 1144 w 1172"/>
                  <a:gd name="T37" fmla="*/ 730 h 778"/>
                  <a:gd name="T38" fmla="*/ 1158 w 1172"/>
                  <a:gd name="T39" fmla="*/ 752 h 778"/>
                  <a:gd name="T40" fmla="*/ 1165 w 1172"/>
                  <a:gd name="T41" fmla="*/ 778 h 778"/>
                  <a:gd name="T42" fmla="*/ 1141 w 1172"/>
                  <a:gd name="T43" fmla="*/ 766 h 778"/>
                  <a:gd name="T44" fmla="*/ 1115 w 1172"/>
                  <a:gd name="T45" fmla="*/ 737 h 778"/>
                  <a:gd name="T46" fmla="*/ 1059 w 1172"/>
                  <a:gd name="T47" fmla="*/ 714 h 778"/>
                  <a:gd name="T48" fmla="*/ 1021 w 1172"/>
                  <a:gd name="T49" fmla="*/ 697 h 778"/>
                  <a:gd name="T50" fmla="*/ 948 w 1172"/>
                  <a:gd name="T51" fmla="*/ 704 h 778"/>
                  <a:gd name="T52" fmla="*/ 907 w 1172"/>
                  <a:gd name="T53" fmla="*/ 702 h 778"/>
                  <a:gd name="T54" fmla="*/ 801 w 1172"/>
                  <a:gd name="T55" fmla="*/ 667 h 778"/>
                  <a:gd name="T56" fmla="*/ 695 w 1172"/>
                  <a:gd name="T57" fmla="*/ 664 h 778"/>
                  <a:gd name="T58" fmla="*/ 588 w 1172"/>
                  <a:gd name="T59" fmla="*/ 659 h 778"/>
                  <a:gd name="T60" fmla="*/ 479 w 1172"/>
                  <a:gd name="T61" fmla="*/ 655 h 778"/>
                  <a:gd name="T62" fmla="*/ 373 w 1172"/>
                  <a:gd name="T63" fmla="*/ 648 h 778"/>
                  <a:gd name="T64" fmla="*/ 267 w 1172"/>
                  <a:gd name="T65" fmla="*/ 641 h 778"/>
                  <a:gd name="T66" fmla="*/ 160 w 1172"/>
                  <a:gd name="T67" fmla="*/ 633 h 778"/>
                  <a:gd name="T68" fmla="*/ 54 w 1172"/>
                  <a:gd name="T69" fmla="*/ 624 h 778"/>
                  <a:gd name="T70" fmla="*/ 4 w 1172"/>
                  <a:gd name="T71" fmla="*/ 567 h 778"/>
                  <a:gd name="T72" fmla="*/ 14 w 1172"/>
                  <a:gd name="T73" fmla="*/ 461 h 778"/>
                  <a:gd name="T74" fmla="*/ 23 w 1172"/>
                  <a:gd name="T75" fmla="*/ 357 h 778"/>
                  <a:gd name="T76" fmla="*/ 30 w 1172"/>
                  <a:gd name="T77" fmla="*/ 250 h 778"/>
                  <a:gd name="T78" fmla="*/ 37 w 1172"/>
                  <a:gd name="T79" fmla="*/ 198 h 778"/>
                  <a:gd name="T80" fmla="*/ 40 w 1172"/>
                  <a:gd name="T81" fmla="*/ 198 h 778"/>
                  <a:gd name="T82" fmla="*/ 40 w 1172"/>
                  <a:gd name="T83" fmla="*/ 198 h 778"/>
                  <a:gd name="T84" fmla="*/ 40 w 1172"/>
                  <a:gd name="T85" fmla="*/ 196 h 778"/>
                  <a:gd name="T86" fmla="*/ 45 w 1172"/>
                  <a:gd name="T87" fmla="*/ 146 h 778"/>
                  <a:gd name="T88" fmla="*/ 54 w 1172"/>
                  <a:gd name="T89" fmla="*/ 49 h 778"/>
                  <a:gd name="T90" fmla="*/ 92 w 1172"/>
                  <a:gd name="T91" fmla="*/ 2 h 778"/>
                  <a:gd name="T92" fmla="*/ 160 w 1172"/>
                  <a:gd name="T93" fmla="*/ 9 h 778"/>
                  <a:gd name="T94" fmla="*/ 229 w 1172"/>
                  <a:gd name="T95" fmla="*/ 14 h 778"/>
                  <a:gd name="T96" fmla="*/ 297 w 1172"/>
                  <a:gd name="T97" fmla="*/ 19 h 778"/>
                  <a:gd name="T98" fmla="*/ 366 w 1172"/>
                  <a:gd name="T99" fmla="*/ 23 h 778"/>
                  <a:gd name="T100" fmla="*/ 435 w 1172"/>
                  <a:gd name="T101" fmla="*/ 28 h 778"/>
                  <a:gd name="T102" fmla="*/ 503 w 1172"/>
                  <a:gd name="T103" fmla="*/ 33 h 778"/>
                  <a:gd name="T104" fmla="*/ 572 w 1172"/>
                  <a:gd name="T105" fmla="*/ 35 h 778"/>
                  <a:gd name="T106" fmla="*/ 643 w 1172"/>
                  <a:gd name="T107" fmla="*/ 40 h 778"/>
                  <a:gd name="T108" fmla="*/ 711 w 1172"/>
                  <a:gd name="T109" fmla="*/ 42 h 778"/>
                  <a:gd name="T110" fmla="*/ 780 w 1172"/>
                  <a:gd name="T111" fmla="*/ 45 h 778"/>
                  <a:gd name="T112" fmla="*/ 848 w 1172"/>
                  <a:gd name="T113" fmla="*/ 47 h 778"/>
                  <a:gd name="T114" fmla="*/ 917 w 1172"/>
                  <a:gd name="T115" fmla="*/ 49 h 778"/>
                  <a:gd name="T116" fmla="*/ 985 w 1172"/>
                  <a:gd name="T117" fmla="*/ 49 h 778"/>
                  <a:gd name="T118" fmla="*/ 1054 w 1172"/>
                  <a:gd name="T119" fmla="*/ 52 h 778"/>
                  <a:gd name="T120" fmla="*/ 1122 w 1172"/>
                  <a:gd name="T121" fmla="*/ 52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2" h="778">
                    <a:moveTo>
                      <a:pt x="1158" y="52"/>
                    </a:moveTo>
                    <a:lnTo>
                      <a:pt x="1153" y="73"/>
                    </a:lnTo>
                    <a:lnTo>
                      <a:pt x="1148" y="83"/>
                    </a:lnTo>
                    <a:lnTo>
                      <a:pt x="1141" y="92"/>
                    </a:lnTo>
                    <a:lnTo>
                      <a:pt x="1120" y="113"/>
                    </a:lnTo>
                    <a:lnTo>
                      <a:pt x="1113" y="118"/>
                    </a:lnTo>
                    <a:lnTo>
                      <a:pt x="1115" y="125"/>
                    </a:lnTo>
                    <a:lnTo>
                      <a:pt x="1120" y="135"/>
                    </a:lnTo>
                    <a:lnTo>
                      <a:pt x="1130" y="153"/>
                    </a:lnTo>
                    <a:lnTo>
                      <a:pt x="1137" y="161"/>
                    </a:lnTo>
                    <a:lnTo>
                      <a:pt x="1160" y="172"/>
                    </a:lnTo>
                    <a:lnTo>
                      <a:pt x="1172" y="189"/>
                    </a:lnTo>
                    <a:lnTo>
                      <a:pt x="1172" y="236"/>
                    </a:lnTo>
                    <a:lnTo>
                      <a:pt x="1172" y="283"/>
                    </a:lnTo>
                    <a:lnTo>
                      <a:pt x="1172" y="331"/>
                    </a:lnTo>
                    <a:lnTo>
                      <a:pt x="1172" y="378"/>
                    </a:lnTo>
                    <a:lnTo>
                      <a:pt x="1172" y="425"/>
                    </a:lnTo>
                    <a:lnTo>
                      <a:pt x="1172" y="475"/>
                    </a:lnTo>
                    <a:lnTo>
                      <a:pt x="1170" y="522"/>
                    </a:lnTo>
                    <a:lnTo>
                      <a:pt x="1170" y="570"/>
                    </a:lnTo>
                    <a:lnTo>
                      <a:pt x="1148" y="570"/>
                    </a:lnTo>
                    <a:lnTo>
                      <a:pt x="1151" y="581"/>
                    </a:lnTo>
                    <a:lnTo>
                      <a:pt x="1158" y="596"/>
                    </a:lnTo>
                    <a:lnTo>
                      <a:pt x="1158" y="603"/>
                    </a:lnTo>
                    <a:lnTo>
                      <a:pt x="1156" y="610"/>
                    </a:lnTo>
                    <a:lnTo>
                      <a:pt x="1153" y="615"/>
                    </a:lnTo>
                    <a:lnTo>
                      <a:pt x="1153" y="624"/>
                    </a:lnTo>
                    <a:lnTo>
                      <a:pt x="1156" y="626"/>
                    </a:lnTo>
                    <a:lnTo>
                      <a:pt x="1165" y="631"/>
                    </a:lnTo>
                    <a:lnTo>
                      <a:pt x="1167" y="638"/>
                    </a:lnTo>
                    <a:lnTo>
                      <a:pt x="1170" y="648"/>
                    </a:lnTo>
                    <a:lnTo>
                      <a:pt x="1170" y="652"/>
                    </a:lnTo>
                    <a:lnTo>
                      <a:pt x="1163" y="664"/>
                    </a:lnTo>
                    <a:lnTo>
                      <a:pt x="1160" y="681"/>
                    </a:lnTo>
                    <a:lnTo>
                      <a:pt x="1153" y="704"/>
                    </a:lnTo>
                    <a:lnTo>
                      <a:pt x="1144" y="719"/>
                    </a:lnTo>
                    <a:lnTo>
                      <a:pt x="1144" y="726"/>
                    </a:lnTo>
                    <a:lnTo>
                      <a:pt x="1144" y="730"/>
                    </a:lnTo>
                    <a:lnTo>
                      <a:pt x="1156" y="747"/>
                    </a:lnTo>
                    <a:lnTo>
                      <a:pt x="1158" y="752"/>
                    </a:lnTo>
                    <a:lnTo>
                      <a:pt x="1160" y="761"/>
                    </a:lnTo>
                    <a:lnTo>
                      <a:pt x="1165" y="778"/>
                    </a:lnTo>
                    <a:lnTo>
                      <a:pt x="1153" y="775"/>
                    </a:lnTo>
                    <a:lnTo>
                      <a:pt x="1141" y="766"/>
                    </a:lnTo>
                    <a:lnTo>
                      <a:pt x="1134" y="752"/>
                    </a:lnTo>
                    <a:lnTo>
                      <a:pt x="1115" y="737"/>
                    </a:lnTo>
                    <a:lnTo>
                      <a:pt x="1082" y="723"/>
                    </a:lnTo>
                    <a:lnTo>
                      <a:pt x="1059" y="714"/>
                    </a:lnTo>
                    <a:lnTo>
                      <a:pt x="1049" y="702"/>
                    </a:lnTo>
                    <a:lnTo>
                      <a:pt x="1021" y="697"/>
                    </a:lnTo>
                    <a:lnTo>
                      <a:pt x="976" y="700"/>
                    </a:lnTo>
                    <a:lnTo>
                      <a:pt x="948" y="704"/>
                    </a:lnTo>
                    <a:lnTo>
                      <a:pt x="936" y="711"/>
                    </a:lnTo>
                    <a:lnTo>
                      <a:pt x="907" y="702"/>
                    </a:lnTo>
                    <a:lnTo>
                      <a:pt x="862" y="669"/>
                    </a:lnTo>
                    <a:lnTo>
                      <a:pt x="801" y="667"/>
                    </a:lnTo>
                    <a:lnTo>
                      <a:pt x="749" y="667"/>
                    </a:lnTo>
                    <a:lnTo>
                      <a:pt x="695" y="664"/>
                    </a:lnTo>
                    <a:lnTo>
                      <a:pt x="640" y="662"/>
                    </a:lnTo>
                    <a:lnTo>
                      <a:pt x="588" y="659"/>
                    </a:lnTo>
                    <a:lnTo>
                      <a:pt x="534" y="657"/>
                    </a:lnTo>
                    <a:lnTo>
                      <a:pt x="479" y="655"/>
                    </a:lnTo>
                    <a:lnTo>
                      <a:pt x="427" y="650"/>
                    </a:lnTo>
                    <a:lnTo>
                      <a:pt x="373" y="648"/>
                    </a:lnTo>
                    <a:lnTo>
                      <a:pt x="321" y="645"/>
                    </a:lnTo>
                    <a:lnTo>
                      <a:pt x="267" y="641"/>
                    </a:lnTo>
                    <a:lnTo>
                      <a:pt x="212" y="636"/>
                    </a:lnTo>
                    <a:lnTo>
                      <a:pt x="160" y="633"/>
                    </a:lnTo>
                    <a:lnTo>
                      <a:pt x="106" y="629"/>
                    </a:lnTo>
                    <a:lnTo>
                      <a:pt x="54" y="624"/>
                    </a:lnTo>
                    <a:lnTo>
                      <a:pt x="0" y="619"/>
                    </a:lnTo>
                    <a:lnTo>
                      <a:pt x="4" y="567"/>
                    </a:lnTo>
                    <a:lnTo>
                      <a:pt x="9" y="515"/>
                    </a:lnTo>
                    <a:lnTo>
                      <a:pt x="14" y="461"/>
                    </a:lnTo>
                    <a:lnTo>
                      <a:pt x="19" y="409"/>
                    </a:lnTo>
                    <a:lnTo>
                      <a:pt x="23" y="357"/>
                    </a:lnTo>
                    <a:lnTo>
                      <a:pt x="26" y="305"/>
                    </a:lnTo>
                    <a:lnTo>
                      <a:pt x="30" y="250"/>
                    </a:lnTo>
                    <a:lnTo>
                      <a:pt x="35" y="198"/>
                    </a:lnTo>
                    <a:lnTo>
                      <a:pt x="37" y="198"/>
                    </a:lnTo>
                    <a:lnTo>
                      <a:pt x="37" y="198"/>
                    </a:lnTo>
                    <a:lnTo>
                      <a:pt x="40" y="198"/>
                    </a:lnTo>
                    <a:lnTo>
                      <a:pt x="40" y="198"/>
                    </a:lnTo>
                    <a:lnTo>
                      <a:pt x="40" y="198"/>
                    </a:lnTo>
                    <a:lnTo>
                      <a:pt x="40" y="198"/>
                    </a:lnTo>
                    <a:lnTo>
                      <a:pt x="40" y="196"/>
                    </a:lnTo>
                    <a:lnTo>
                      <a:pt x="40" y="196"/>
                    </a:lnTo>
                    <a:lnTo>
                      <a:pt x="45" y="146"/>
                    </a:lnTo>
                    <a:lnTo>
                      <a:pt x="49" y="99"/>
                    </a:lnTo>
                    <a:lnTo>
                      <a:pt x="54" y="49"/>
                    </a:lnTo>
                    <a:lnTo>
                      <a:pt x="56" y="0"/>
                    </a:lnTo>
                    <a:lnTo>
                      <a:pt x="92" y="2"/>
                    </a:lnTo>
                    <a:lnTo>
                      <a:pt x="125" y="7"/>
                    </a:lnTo>
                    <a:lnTo>
                      <a:pt x="160" y="9"/>
                    </a:lnTo>
                    <a:lnTo>
                      <a:pt x="193" y="12"/>
                    </a:lnTo>
                    <a:lnTo>
                      <a:pt x="229" y="14"/>
                    </a:lnTo>
                    <a:lnTo>
                      <a:pt x="264" y="16"/>
                    </a:lnTo>
                    <a:lnTo>
                      <a:pt x="297" y="19"/>
                    </a:lnTo>
                    <a:lnTo>
                      <a:pt x="333" y="21"/>
                    </a:lnTo>
                    <a:lnTo>
                      <a:pt x="366" y="23"/>
                    </a:lnTo>
                    <a:lnTo>
                      <a:pt x="401" y="26"/>
                    </a:lnTo>
                    <a:lnTo>
                      <a:pt x="435" y="28"/>
                    </a:lnTo>
                    <a:lnTo>
                      <a:pt x="470" y="30"/>
                    </a:lnTo>
                    <a:lnTo>
                      <a:pt x="503" y="33"/>
                    </a:lnTo>
                    <a:lnTo>
                      <a:pt x="539" y="35"/>
                    </a:lnTo>
                    <a:lnTo>
                      <a:pt x="572" y="35"/>
                    </a:lnTo>
                    <a:lnTo>
                      <a:pt x="607" y="38"/>
                    </a:lnTo>
                    <a:lnTo>
                      <a:pt x="643" y="40"/>
                    </a:lnTo>
                    <a:lnTo>
                      <a:pt x="676" y="40"/>
                    </a:lnTo>
                    <a:lnTo>
                      <a:pt x="711" y="42"/>
                    </a:lnTo>
                    <a:lnTo>
                      <a:pt x="744" y="42"/>
                    </a:lnTo>
                    <a:lnTo>
                      <a:pt x="780" y="45"/>
                    </a:lnTo>
                    <a:lnTo>
                      <a:pt x="813" y="45"/>
                    </a:lnTo>
                    <a:lnTo>
                      <a:pt x="848" y="47"/>
                    </a:lnTo>
                    <a:lnTo>
                      <a:pt x="881" y="47"/>
                    </a:lnTo>
                    <a:lnTo>
                      <a:pt x="917" y="49"/>
                    </a:lnTo>
                    <a:lnTo>
                      <a:pt x="952" y="49"/>
                    </a:lnTo>
                    <a:lnTo>
                      <a:pt x="985" y="49"/>
                    </a:lnTo>
                    <a:lnTo>
                      <a:pt x="1021" y="52"/>
                    </a:lnTo>
                    <a:lnTo>
                      <a:pt x="1054" y="52"/>
                    </a:lnTo>
                    <a:lnTo>
                      <a:pt x="1089" y="52"/>
                    </a:lnTo>
                    <a:lnTo>
                      <a:pt x="1122" y="52"/>
                    </a:lnTo>
                    <a:lnTo>
                      <a:pt x="1158" y="5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6" name="Freeform 84">
                <a:extLst>
                  <a:ext uri="{FF2B5EF4-FFF2-40B4-BE49-F238E27FC236}">
                    <a16:creationId xmlns:a16="http://schemas.microsoft.com/office/drawing/2014/main" id="{BFFD435F-E1A3-1A58-6E8C-411ACBB7EAC7}"/>
                  </a:ext>
                </a:extLst>
              </p:cNvPr>
              <p:cNvSpPr>
                <a:spLocks/>
              </p:cNvSpPr>
              <p:nvPr/>
            </p:nvSpPr>
            <p:spPr bwMode="auto">
              <a:xfrm>
                <a:off x="5697" y="1632"/>
                <a:ext cx="1432" cy="498"/>
              </a:xfrm>
              <a:custGeom>
                <a:avLst/>
                <a:gdLst>
                  <a:gd name="T0" fmla="*/ 1215 w 1432"/>
                  <a:gd name="T1" fmla="*/ 35 h 498"/>
                  <a:gd name="T2" fmla="*/ 1347 w 1432"/>
                  <a:gd name="T3" fmla="*/ 14 h 498"/>
                  <a:gd name="T4" fmla="*/ 1409 w 1432"/>
                  <a:gd name="T5" fmla="*/ 2 h 498"/>
                  <a:gd name="T6" fmla="*/ 1427 w 1432"/>
                  <a:gd name="T7" fmla="*/ 28 h 498"/>
                  <a:gd name="T8" fmla="*/ 1416 w 1432"/>
                  <a:gd name="T9" fmla="*/ 56 h 498"/>
                  <a:gd name="T10" fmla="*/ 1383 w 1432"/>
                  <a:gd name="T11" fmla="*/ 111 h 498"/>
                  <a:gd name="T12" fmla="*/ 1340 w 1432"/>
                  <a:gd name="T13" fmla="*/ 115 h 498"/>
                  <a:gd name="T14" fmla="*/ 1307 w 1432"/>
                  <a:gd name="T15" fmla="*/ 153 h 498"/>
                  <a:gd name="T16" fmla="*/ 1295 w 1432"/>
                  <a:gd name="T17" fmla="*/ 153 h 498"/>
                  <a:gd name="T18" fmla="*/ 1283 w 1432"/>
                  <a:gd name="T19" fmla="*/ 141 h 498"/>
                  <a:gd name="T20" fmla="*/ 1260 w 1432"/>
                  <a:gd name="T21" fmla="*/ 167 h 498"/>
                  <a:gd name="T22" fmla="*/ 1243 w 1432"/>
                  <a:gd name="T23" fmla="*/ 184 h 498"/>
                  <a:gd name="T24" fmla="*/ 1212 w 1432"/>
                  <a:gd name="T25" fmla="*/ 210 h 498"/>
                  <a:gd name="T26" fmla="*/ 1115 w 1432"/>
                  <a:gd name="T27" fmla="*/ 269 h 498"/>
                  <a:gd name="T28" fmla="*/ 1070 w 1432"/>
                  <a:gd name="T29" fmla="*/ 307 h 498"/>
                  <a:gd name="T30" fmla="*/ 1037 w 1432"/>
                  <a:gd name="T31" fmla="*/ 342 h 498"/>
                  <a:gd name="T32" fmla="*/ 1028 w 1432"/>
                  <a:gd name="T33" fmla="*/ 401 h 498"/>
                  <a:gd name="T34" fmla="*/ 860 w 1432"/>
                  <a:gd name="T35" fmla="*/ 420 h 498"/>
                  <a:gd name="T36" fmla="*/ 749 w 1432"/>
                  <a:gd name="T37" fmla="*/ 432 h 498"/>
                  <a:gd name="T38" fmla="*/ 666 w 1432"/>
                  <a:gd name="T39" fmla="*/ 439 h 498"/>
                  <a:gd name="T40" fmla="*/ 584 w 1432"/>
                  <a:gd name="T41" fmla="*/ 449 h 498"/>
                  <a:gd name="T42" fmla="*/ 501 w 1432"/>
                  <a:gd name="T43" fmla="*/ 456 h 498"/>
                  <a:gd name="T44" fmla="*/ 418 w 1432"/>
                  <a:gd name="T45" fmla="*/ 463 h 498"/>
                  <a:gd name="T46" fmla="*/ 359 w 1432"/>
                  <a:gd name="T47" fmla="*/ 465 h 498"/>
                  <a:gd name="T48" fmla="*/ 319 w 1432"/>
                  <a:gd name="T49" fmla="*/ 475 h 498"/>
                  <a:gd name="T50" fmla="*/ 182 w 1432"/>
                  <a:gd name="T51" fmla="*/ 487 h 498"/>
                  <a:gd name="T52" fmla="*/ 42 w 1432"/>
                  <a:gd name="T53" fmla="*/ 496 h 498"/>
                  <a:gd name="T54" fmla="*/ 4 w 1432"/>
                  <a:gd name="T55" fmla="*/ 489 h 498"/>
                  <a:gd name="T56" fmla="*/ 26 w 1432"/>
                  <a:gd name="T57" fmla="*/ 430 h 498"/>
                  <a:gd name="T58" fmla="*/ 54 w 1432"/>
                  <a:gd name="T59" fmla="*/ 371 h 498"/>
                  <a:gd name="T60" fmla="*/ 75 w 1432"/>
                  <a:gd name="T61" fmla="*/ 323 h 498"/>
                  <a:gd name="T62" fmla="*/ 78 w 1432"/>
                  <a:gd name="T63" fmla="*/ 312 h 498"/>
                  <a:gd name="T64" fmla="*/ 82 w 1432"/>
                  <a:gd name="T65" fmla="*/ 302 h 498"/>
                  <a:gd name="T66" fmla="*/ 90 w 1432"/>
                  <a:gd name="T67" fmla="*/ 293 h 498"/>
                  <a:gd name="T68" fmla="*/ 87 w 1432"/>
                  <a:gd name="T69" fmla="*/ 276 h 498"/>
                  <a:gd name="T70" fmla="*/ 87 w 1432"/>
                  <a:gd name="T71" fmla="*/ 236 h 498"/>
                  <a:gd name="T72" fmla="*/ 101 w 1432"/>
                  <a:gd name="T73" fmla="*/ 227 h 498"/>
                  <a:gd name="T74" fmla="*/ 97 w 1432"/>
                  <a:gd name="T75" fmla="*/ 212 h 498"/>
                  <a:gd name="T76" fmla="*/ 108 w 1432"/>
                  <a:gd name="T77" fmla="*/ 191 h 498"/>
                  <a:gd name="T78" fmla="*/ 116 w 1432"/>
                  <a:gd name="T79" fmla="*/ 174 h 498"/>
                  <a:gd name="T80" fmla="*/ 123 w 1432"/>
                  <a:gd name="T81" fmla="*/ 174 h 498"/>
                  <a:gd name="T82" fmla="*/ 215 w 1432"/>
                  <a:gd name="T83" fmla="*/ 167 h 498"/>
                  <a:gd name="T84" fmla="*/ 302 w 1432"/>
                  <a:gd name="T85" fmla="*/ 160 h 498"/>
                  <a:gd name="T86" fmla="*/ 359 w 1432"/>
                  <a:gd name="T87" fmla="*/ 156 h 498"/>
                  <a:gd name="T88" fmla="*/ 350 w 1432"/>
                  <a:gd name="T89" fmla="*/ 115 h 498"/>
                  <a:gd name="T90" fmla="*/ 392 w 1432"/>
                  <a:gd name="T91" fmla="*/ 122 h 498"/>
                  <a:gd name="T92" fmla="*/ 560 w 1432"/>
                  <a:gd name="T93" fmla="*/ 101 h 498"/>
                  <a:gd name="T94" fmla="*/ 732 w 1432"/>
                  <a:gd name="T95" fmla="*/ 87 h 498"/>
                  <a:gd name="T96" fmla="*/ 910 w 1432"/>
                  <a:gd name="T97" fmla="*/ 73 h 498"/>
                  <a:gd name="T98" fmla="*/ 1085 w 1432"/>
                  <a:gd name="T99" fmla="*/ 56 h 498"/>
                  <a:gd name="T100" fmla="*/ 1089 w 1432"/>
                  <a:gd name="T101" fmla="*/ 54 h 498"/>
                  <a:gd name="T102" fmla="*/ 1092 w 1432"/>
                  <a:gd name="T103" fmla="*/ 52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2" h="498">
                    <a:moveTo>
                      <a:pt x="1094" y="49"/>
                    </a:moveTo>
                    <a:lnTo>
                      <a:pt x="1134" y="44"/>
                    </a:lnTo>
                    <a:lnTo>
                      <a:pt x="1215" y="35"/>
                    </a:lnTo>
                    <a:lnTo>
                      <a:pt x="1271" y="26"/>
                    </a:lnTo>
                    <a:lnTo>
                      <a:pt x="1319" y="18"/>
                    </a:lnTo>
                    <a:lnTo>
                      <a:pt x="1347" y="14"/>
                    </a:lnTo>
                    <a:lnTo>
                      <a:pt x="1383" y="9"/>
                    </a:lnTo>
                    <a:lnTo>
                      <a:pt x="1390" y="4"/>
                    </a:lnTo>
                    <a:lnTo>
                      <a:pt x="1409" y="2"/>
                    </a:lnTo>
                    <a:lnTo>
                      <a:pt x="1432" y="0"/>
                    </a:lnTo>
                    <a:lnTo>
                      <a:pt x="1427" y="16"/>
                    </a:lnTo>
                    <a:lnTo>
                      <a:pt x="1427" y="28"/>
                    </a:lnTo>
                    <a:lnTo>
                      <a:pt x="1425" y="44"/>
                    </a:lnTo>
                    <a:lnTo>
                      <a:pt x="1427" y="54"/>
                    </a:lnTo>
                    <a:lnTo>
                      <a:pt x="1416" y="56"/>
                    </a:lnTo>
                    <a:lnTo>
                      <a:pt x="1409" y="61"/>
                    </a:lnTo>
                    <a:lnTo>
                      <a:pt x="1399" y="68"/>
                    </a:lnTo>
                    <a:lnTo>
                      <a:pt x="1383" y="111"/>
                    </a:lnTo>
                    <a:lnTo>
                      <a:pt x="1373" y="115"/>
                    </a:lnTo>
                    <a:lnTo>
                      <a:pt x="1359" y="108"/>
                    </a:lnTo>
                    <a:lnTo>
                      <a:pt x="1340" y="115"/>
                    </a:lnTo>
                    <a:lnTo>
                      <a:pt x="1328" y="125"/>
                    </a:lnTo>
                    <a:lnTo>
                      <a:pt x="1314" y="146"/>
                    </a:lnTo>
                    <a:lnTo>
                      <a:pt x="1307" y="153"/>
                    </a:lnTo>
                    <a:lnTo>
                      <a:pt x="1302" y="156"/>
                    </a:lnTo>
                    <a:lnTo>
                      <a:pt x="1297" y="156"/>
                    </a:lnTo>
                    <a:lnTo>
                      <a:pt x="1295" y="153"/>
                    </a:lnTo>
                    <a:lnTo>
                      <a:pt x="1293" y="144"/>
                    </a:lnTo>
                    <a:lnTo>
                      <a:pt x="1290" y="141"/>
                    </a:lnTo>
                    <a:lnTo>
                      <a:pt x="1283" y="141"/>
                    </a:lnTo>
                    <a:lnTo>
                      <a:pt x="1276" y="146"/>
                    </a:lnTo>
                    <a:lnTo>
                      <a:pt x="1267" y="153"/>
                    </a:lnTo>
                    <a:lnTo>
                      <a:pt x="1260" y="167"/>
                    </a:lnTo>
                    <a:lnTo>
                      <a:pt x="1245" y="167"/>
                    </a:lnTo>
                    <a:lnTo>
                      <a:pt x="1243" y="170"/>
                    </a:lnTo>
                    <a:lnTo>
                      <a:pt x="1243" y="184"/>
                    </a:lnTo>
                    <a:lnTo>
                      <a:pt x="1238" y="193"/>
                    </a:lnTo>
                    <a:lnTo>
                      <a:pt x="1234" y="200"/>
                    </a:lnTo>
                    <a:lnTo>
                      <a:pt x="1212" y="210"/>
                    </a:lnTo>
                    <a:lnTo>
                      <a:pt x="1186" y="234"/>
                    </a:lnTo>
                    <a:lnTo>
                      <a:pt x="1151" y="260"/>
                    </a:lnTo>
                    <a:lnTo>
                      <a:pt x="1115" y="269"/>
                    </a:lnTo>
                    <a:lnTo>
                      <a:pt x="1101" y="276"/>
                    </a:lnTo>
                    <a:lnTo>
                      <a:pt x="1092" y="281"/>
                    </a:lnTo>
                    <a:lnTo>
                      <a:pt x="1070" y="307"/>
                    </a:lnTo>
                    <a:lnTo>
                      <a:pt x="1066" y="333"/>
                    </a:lnTo>
                    <a:lnTo>
                      <a:pt x="1054" y="340"/>
                    </a:lnTo>
                    <a:lnTo>
                      <a:pt x="1037" y="342"/>
                    </a:lnTo>
                    <a:lnTo>
                      <a:pt x="1033" y="347"/>
                    </a:lnTo>
                    <a:lnTo>
                      <a:pt x="1028" y="357"/>
                    </a:lnTo>
                    <a:lnTo>
                      <a:pt x="1028" y="401"/>
                    </a:lnTo>
                    <a:lnTo>
                      <a:pt x="974" y="409"/>
                    </a:lnTo>
                    <a:lnTo>
                      <a:pt x="917" y="416"/>
                    </a:lnTo>
                    <a:lnTo>
                      <a:pt x="860" y="420"/>
                    </a:lnTo>
                    <a:lnTo>
                      <a:pt x="806" y="427"/>
                    </a:lnTo>
                    <a:lnTo>
                      <a:pt x="777" y="430"/>
                    </a:lnTo>
                    <a:lnTo>
                      <a:pt x="749" y="432"/>
                    </a:lnTo>
                    <a:lnTo>
                      <a:pt x="721" y="435"/>
                    </a:lnTo>
                    <a:lnTo>
                      <a:pt x="695" y="437"/>
                    </a:lnTo>
                    <a:lnTo>
                      <a:pt x="666" y="439"/>
                    </a:lnTo>
                    <a:lnTo>
                      <a:pt x="638" y="444"/>
                    </a:lnTo>
                    <a:lnTo>
                      <a:pt x="612" y="446"/>
                    </a:lnTo>
                    <a:lnTo>
                      <a:pt x="584" y="449"/>
                    </a:lnTo>
                    <a:lnTo>
                      <a:pt x="555" y="451"/>
                    </a:lnTo>
                    <a:lnTo>
                      <a:pt x="527" y="453"/>
                    </a:lnTo>
                    <a:lnTo>
                      <a:pt x="501" y="456"/>
                    </a:lnTo>
                    <a:lnTo>
                      <a:pt x="472" y="458"/>
                    </a:lnTo>
                    <a:lnTo>
                      <a:pt x="444" y="461"/>
                    </a:lnTo>
                    <a:lnTo>
                      <a:pt x="418" y="463"/>
                    </a:lnTo>
                    <a:lnTo>
                      <a:pt x="390" y="463"/>
                    </a:lnTo>
                    <a:lnTo>
                      <a:pt x="361" y="465"/>
                    </a:lnTo>
                    <a:lnTo>
                      <a:pt x="359" y="465"/>
                    </a:lnTo>
                    <a:lnTo>
                      <a:pt x="361" y="468"/>
                    </a:lnTo>
                    <a:lnTo>
                      <a:pt x="366" y="472"/>
                    </a:lnTo>
                    <a:lnTo>
                      <a:pt x="319" y="475"/>
                    </a:lnTo>
                    <a:lnTo>
                      <a:pt x="272" y="480"/>
                    </a:lnTo>
                    <a:lnTo>
                      <a:pt x="227" y="482"/>
                    </a:lnTo>
                    <a:lnTo>
                      <a:pt x="182" y="487"/>
                    </a:lnTo>
                    <a:lnTo>
                      <a:pt x="134" y="489"/>
                    </a:lnTo>
                    <a:lnTo>
                      <a:pt x="90" y="491"/>
                    </a:lnTo>
                    <a:lnTo>
                      <a:pt x="42" y="496"/>
                    </a:lnTo>
                    <a:lnTo>
                      <a:pt x="0" y="498"/>
                    </a:lnTo>
                    <a:lnTo>
                      <a:pt x="0" y="498"/>
                    </a:lnTo>
                    <a:lnTo>
                      <a:pt x="4" y="489"/>
                    </a:lnTo>
                    <a:lnTo>
                      <a:pt x="23" y="472"/>
                    </a:lnTo>
                    <a:lnTo>
                      <a:pt x="30" y="453"/>
                    </a:lnTo>
                    <a:lnTo>
                      <a:pt x="26" y="430"/>
                    </a:lnTo>
                    <a:lnTo>
                      <a:pt x="33" y="409"/>
                    </a:lnTo>
                    <a:lnTo>
                      <a:pt x="49" y="390"/>
                    </a:lnTo>
                    <a:lnTo>
                      <a:pt x="54" y="371"/>
                    </a:lnTo>
                    <a:lnTo>
                      <a:pt x="49" y="352"/>
                    </a:lnTo>
                    <a:lnTo>
                      <a:pt x="56" y="335"/>
                    </a:lnTo>
                    <a:lnTo>
                      <a:pt x="75" y="323"/>
                    </a:lnTo>
                    <a:lnTo>
                      <a:pt x="78" y="319"/>
                    </a:lnTo>
                    <a:lnTo>
                      <a:pt x="78" y="314"/>
                    </a:lnTo>
                    <a:lnTo>
                      <a:pt x="78" y="312"/>
                    </a:lnTo>
                    <a:lnTo>
                      <a:pt x="78" y="309"/>
                    </a:lnTo>
                    <a:lnTo>
                      <a:pt x="78" y="305"/>
                    </a:lnTo>
                    <a:lnTo>
                      <a:pt x="82" y="302"/>
                    </a:lnTo>
                    <a:lnTo>
                      <a:pt x="87" y="302"/>
                    </a:lnTo>
                    <a:lnTo>
                      <a:pt x="90" y="297"/>
                    </a:lnTo>
                    <a:lnTo>
                      <a:pt x="90" y="293"/>
                    </a:lnTo>
                    <a:lnTo>
                      <a:pt x="85" y="286"/>
                    </a:lnTo>
                    <a:lnTo>
                      <a:pt x="87" y="281"/>
                    </a:lnTo>
                    <a:lnTo>
                      <a:pt x="87" y="276"/>
                    </a:lnTo>
                    <a:lnTo>
                      <a:pt x="94" y="260"/>
                    </a:lnTo>
                    <a:lnTo>
                      <a:pt x="97" y="245"/>
                    </a:lnTo>
                    <a:lnTo>
                      <a:pt x="87" y="236"/>
                    </a:lnTo>
                    <a:lnTo>
                      <a:pt x="92" y="229"/>
                    </a:lnTo>
                    <a:lnTo>
                      <a:pt x="97" y="227"/>
                    </a:lnTo>
                    <a:lnTo>
                      <a:pt x="101" y="227"/>
                    </a:lnTo>
                    <a:lnTo>
                      <a:pt x="104" y="224"/>
                    </a:lnTo>
                    <a:lnTo>
                      <a:pt x="104" y="219"/>
                    </a:lnTo>
                    <a:lnTo>
                      <a:pt x="97" y="212"/>
                    </a:lnTo>
                    <a:lnTo>
                      <a:pt x="99" y="208"/>
                    </a:lnTo>
                    <a:lnTo>
                      <a:pt x="106" y="200"/>
                    </a:lnTo>
                    <a:lnTo>
                      <a:pt x="108" y="191"/>
                    </a:lnTo>
                    <a:lnTo>
                      <a:pt x="104" y="174"/>
                    </a:lnTo>
                    <a:lnTo>
                      <a:pt x="116" y="174"/>
                    </a:lnTo>
                    <a:lnTo>
                      <a:pt x="116" y="174"/>
                    </a:lnTo>
                    <a:lnTo>
                      <a:pt x="118" y="177"/>
                    </a:lnTo>
                    <a:lnTo>
                      <a:pt x="123" y="174"/>
                    </a:lnTo>
                    <a:lnTo>
                      <a:pt x="123" y="174"/>
                    </a:lnTo>
                    <a:lnTo>
                      <a:pt x="156" y="172"/>
                    </a:lnTo>
                    <a:lnTo>
                      <a:pt x="184" y="170"/>
                    </a:lnTo>
                    <a:lnTo>
                      <a:pt x="215" y="167"/>
                    </a:lnTo>
                    <a:lnTo>
                      <a:pt x="243" y="165"/>
                    </a:lnTo>
                    <a:lnTo>
                      <a:pt x="272" y="163"/>
                    </a:lnTo>
                    <a:lnTo>
                      <a:pt x="302" y="160"/>
                    </a:lnTo>
                    <a:lnTo>
                      <a:pt x="331" y="158"/>
                    </a:lnTo>
                    <a:lnTo>
                      <a:pt x="357" y="156"/>
                    </a:lnTo>
                    <a:lnTo>
                      <a:pt x="359" y="156"/>
                    </a:lnTo>
                    <a:lnTo>
                      <a:pt x="357" y="137"/>
                    </a:lnTo>
                    <a:lnTo>
                      <a:pt x="347" y="115"/>
                    </a:lnTo>
                    <a:lnTo>
                      <a:pt x="350" y="115"/>
                    </a:lnTo>
                    <a:lnTo>
                      <a:pt x="371" y="115"/>
                    </a:lnTo>
                    <a:lnTo>
                      <a:pt x="387" y="115"/>
                    </a:lnTo>
                    <a:lnTo>
                      <a:pt x="392" y="122"/>
                    </a:lnTo>
                    <a:lnTo>
                      <a:pt x="449" y="115"/>
                    </a:lnTo>
                    <a:lnTo>
                      <a:pt x="503" y="108"/>
                    </a:lnTo>
                    <a:lnTo>
                      <a:pt x="560" y="101"/>
                    </a:lnTo>
                    <a:lnTo>
                      <a:pt x="617" y="94"/>
                    </a:lnTo>
                    <a:lnTo>
                      <a:pt x="676" y="92"/>
                    </a:lnTo>
                    <a:lnTo>
                      <a:pt x="732" y="87"/>
                    </a:lnTo>
                    <a:lnTo>
                      <a:pt x="792" y="82"/>
                    </a:lnTo>
                    <a:lnTo>
                      <a:pt x="851" y="78"/>
                    </a:lnTo>
                    <a:lnTo>
                      <a:pt x="910" y="73"/>
                    </a:lnTo>
                    <a:lnTo>
                      <a:pt x="969" y="66"/>
                    </a:lnTo>
                    <a:lnTo>
                      <a:pt x="1026" y="61"/>
                    </a:lnTo>
                    <a:lnTo>
                      <a:pt x="1085" y="56"/>
                    </a:lnTo>
                    <a:lnTo>
                      <a:pt x="1087" y="54"/>
                    </a:lnTo>
                    <a:lnTo>
                      <a:pt x="1087" y="54"/>
                    </a:lnTo>
                    <a:lnTo>
                      <a:pt x="1089" y="54"/>
                    </a:lnTo>
                    <a:lnTo>
                      <a:pt x="1089" y="52"/>
                    </a:lnTo>
                    <a:lnTo>
                      <a:pt x="1092" y="52"/>
                    </a:lnTo>
                    <a:lnTo>
                      <a:pt x="1092" y="52"/>
                    </a:lnTo>
                    <a:lnTo>
                      <a:pt x="1094" y="52"/>
                    </a:lnTo>
                    <a:lnTo>
                      <a:pt x="1094" y="4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7" name="Freeform 86">
                <a:extLst>
                  <a:ext uri="{FF2B5EF4-FFF2-40B4-BE49-F238E27FC236}">
                    <a16:creationId xmlns:a16="http://schemas.microsoft.com/office/drawing/2014/main" id="{991D49B4-02DB-0208-1461-F92C61C4F232}"/>
                  </a:ext>
                </a:extLst>
              </p:cNvPr>
              <p:cNvSpPr>
                <a:spLocks noEditPoints="1"/>
              </p:cNvSpPr>
              <p:nvPr/>
            </p:nvSpPr>
            <p:spPr bwMode="auto">
              <a:xfrm>
                <a:off x="2792" y="1799"/>
                <a:ext cx="2366" cy="2301"/>
              </a:xfrm>
              <a:custGeom>
                <a:avLst/>
                <a:gdLst>
                  <a:gd name="T0" fmla="*/ 2226 w 2366"/>
                  <a:gd name="T1" fmla="*/ 658 h 2301"/>
                  <a:gd name="T2" fmla="*/ 2264 w 2366"/>
                  <a:gd name="T3" fmla="*/ 804 h 2301"/>
                  <a:gd name="T4" fmla="*/ 2295 w 2366"/>
                  <a:gd name="T5" fmla="*/ 1017 h 2301"/>
                  <a:gd name="T6" fmla="*/ 2340 w 2366"/>
                  <a:gd name="T7" fmla="*/ 1133 h 2301"/>
                  <a:gd name="T8" fmla="*/ 2359 w 2366"/>
                  <a:gd name="T9" fmla="*/ 1239 h 2301"/>
                  <a:gd name="T10" fmla="*/ 2340 w 2366"/>
                  <a:gd name="T11" fmla="*/ 1391 h 2301"/>
                  <a:gd name="T12" fmla="*/ 2181 w 2366"/>
                  <a:gd name="T13" fmla="*/ 1528 h 2301"/>
                  <a:gd name="T14" fmla="*/ 2151 w 2366"/>
                  <a:gd name="T15" fmla="*/ 1471 h 2301"/>
                  <a:gd name="T16" fmla="*/ 2125 w 2366"/>
                  <a:gd name="T17" fmla="*/ 1552 h 2301"/>
                  <a:gd name="T18" fmla="*/ 1945 w 2366"/>
                  <a:gd name="T19" fmla="*/ 1710 h 2301"/>
                  <a:gd name="T20" fmla="*/ 1846 w 2366"/>
                  <a:gd name="T21" fmla="*/ 1705 h 2301"/>
                  <a:gd name="T22" fmla="*/ 1817 w 2366"/>
                  <a:gd name="T23" fmla="*/ 1741 h 2301"/>
                  <a:gd name="T24" fmla="*/ 1763 w 2366"/>
                  <a:gd name="T25" fmla="*/ 1797 h 2301"/>
                  <a:gd name="T26" fmla="*/ 1697 w 2366"/>
                  <a:gd name="T27" fmla="*/ 1814 h 2301"/>
                  <a:gd name="T28" fmla="*/ 1650 w 2366"/>
                  <a:gd name="T29" fmla="*/ 1873 h 2301"/>
                  <a:gd name="T30" fmla="*/ 1579 w 2366"/>
                  <a:gd name="T31" fmla="*/ 1958 h 2301"/>
                  <a:gd name="T32" fmla="*/ 1628 w 2366"/>
                  <a:gd name="T33" fmla="*/ 2110 h 2301"/>
                  <a:gd name="T34" fmla="*/ 1668 w 2366"/>
                  <a:gd name="T35" fmla="*/ 2284 h 2301"/>
                  <a:gd name="T36" fmla="*/ 1512 w 2366"/>
                  <a:gd name="T37" fmla="*/ 2256 h 2301"/>
                  <a:gd name="T38" fmla="*/ 1333 w 2366"/>
                  <a:gd name="T39" fmla="*/ 2178 h 2301"/>
                  <a:gd name="T40" fmla="*/ 1255 w 2366"/>
                  <a:gd name="T41" fmla="*/ 2034 h 2301"/>
                  <a:gd name="T42" fmla="*/ 1248 w 2366"/>
                  <a:gd name="T43" fmla="*/ 1930 h 2301"/>
                  <a:gd name="T44" fmla="*/ 1099 w 2366"/>
                  <a:gd name="T45" fmla="*/ 1734 h 2301"/>
                  <a:gd name="T46" fmla="*/ 999 w 2366"/>
                  <a:gd name="T47" fmla="*/ 1540 h 2301"/>
                  <a:gd name="T48" fmla="*/ 891 w 2366"/>
                  <a:gd name="T49" fmla="*/ 1433 h 2301"/>
                  <a:gd name="T50" fmla="*/ 744 w 2366"/>
                  <a:gd name="T51" fmla="*/ 1407 h 2301"/>
                  <a:gd name="T52" fmla="*/ 631 w 2366"/>
                  <a:gd name="T53" fmla="*/ 1537 h 2301"/>
                  <a:gd name="T54" fmla="*/ 453 w 2366"/>
                  <a:gd name="T55" fmla="*/ 1507 h 2301"/>
                  <a:gd name="T56" fmla="*/ 314 w 2366"/>
                  <a:gd name="T57" fmla="*/ 1346 h 2301"/>
                  <a:gd name="T58" fmla="*/ 134 w 2366"/>
                  <a:gd name="T59" fmla="*/ 1060 h 2301"/>
                  <a:gd name="T60" fmla="*/ 11 w 2366"/>
                  <a:gd name="T61" fmla="*/ 923 h 2301"/>
                  <a:gd name="T62" fmla="*/ 241 w 2366"/>
                  <a:gd name="T63" fmla="*/ 908 h 2301"/>
                  <a:gd name="T64" fmla="*/ 565 w 2366"/>
                  <a:gd name="T65" fmla="*/ 939 h 2301"/>
                  <a:gd name="T66" fmla="*/ 673 w 2366"/>
                  <a:gd name="T67" fmla="*/ 592 h 2301"/>
                  <a:gd name="T68" fmla="*/ 713 w 2366"/>
                  <a:gd name="T69" fmla="*/ 119 h 2301"/>
                  <a:gd name="T70" fmla="*/ 888 w 2366"/>
                  <a:gd name="T71" fmla="*/ 12 h 2301"/>
                  <a:gd name="T72" fmla="*/ 1141 w 2366"/>
                  <a:gd name="T73" fmla="*/ 26 h 2301"/>
                  <a:gd name="T74" fmla="*/ 1231 w 2366"/>
                  <a:gd name="T75" fmla="*/ 159 h 2301"/>
                  <a:gd name="T76" fmla="*/ 1224 w 2366"/>
                  <a:gd name="T77" fmla="*/ 360 h 2301"/>
                  <a:gd name="T78" fmla="*/ 1300 w 2366"/>
                  <a:gd name="T79" fmla="*/ 476 h 2301"/>
                  <a:gd name="T80" fmla="*/ 1359 w 2366"/>
                  <a:gd name="T81" fmla="*/ 497 h 2301"/>
                  <a:gd name="T82" fmla="*/ 1479 w 2366"/>
                  <a:gd name="T83" fmla="*/ 549 h 2301"/>
                  <a:gd name="T84" fmla="*/ 1572 w 2366"/>
                  <a:gd name="T85" fmla="*/ 570 h 2301"/>
                  <a:gd name="T86" fmla="*/ 1626 w 2366"/>
                  <a:gd name="T87" fmla="*/ 573 h 2301"/>
                  <a:gd name="T88" fmla="*/ 1678 w 2366"/>
                  <a:gd name="T89" fmla="*/ 606 h 2301"/>
                  <a:gd name="T90" fmla="*/ 1711 w 2366"/>
                  <a:gd name="T91" fmla="*/ 625 h 2301"/>
                  <a:gd name="T92" fmla="*/ 1744 w 2366"/>
                  <a:gd name="T93" fmla="*/ 587 h 2301"/>
                  <a:gd name="T94" fmla="*/ 1803 w 2366"/>
                  <a:gd name="T95" fmla="*/ 594 h 2301"/>
                  <a:gd name="T96" fmla="*/ 1862 w 2366"/>
                  <a:gd name="T97" fmla="*/ 634 h 2301"/>
                  <a:gd name="T98" fmla="*/ 1983 w 2366"/>
                  <a:gd name="T99" fmla="*/ 589 h 2301"/>
                  <a:gd name="T100" fmla="*/ 2051 w 2366"/>
                  <a:gd name="T101" fmla="*/ 582 h 2301"/>
                  <a:gd name="T102" fmla="*/ 2096 w 2366"/>
                  <a:gd name="T103" fmla="*/ 1599 h 2301"/>
                  <a:gd name="T104" fmla="*/ 1765 w 2366"/>
                  <a:gd name="T105" fmla="*/ 1814 h 2301"/>
                  <a:gd name="T106" fmla="*/ 1813 w 2366"/>
                  <a:gd name="T107" fmla="*/ 1786 h 2301"/>
                  <a:gd name="T108" fmla="*/ 1758 w 2366"/>
                  <a:gd name="T109" fmla="*/ 1826 h 2301"/>
                  <a:gd name="T110" fmla="*/ 1716 w 2366"/>
                  <a:gd name="T111" fmla="*/ 1883 h 2301"/>
                  <a:gd name="T112" fmla="*/ 1652 w 2366"/>
                  <a:gd name="T113" fmla="*/ 2015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6" h="2301">
                    <a:moveTo>
                      <a:pt x="2184" y="646"/>
                    </a:moveTo>
                    <a:lnTo>
                      <a:pt x="2193" y="655"/>
                    </a:lnTo>
                    <a:lnTo>
                      <a:pt x="2200" y="658"/>
                    </a:lnTo>
                    <a:lnTo>
                      <a:pt x="2203" y="662"/>
                    </a:lnTo>
                    <a:lnTo>
                      <a:pt x="2205" y="662"/>
                    </a:lnTo>
                    <a:lnTo>
                      <a:pt x="2210" y="662"/>
                    </a:lnTo>
                    <a:lnTo>
                      <a:pt x="2217" y="658"/>
                    </a:lnTo>
                    <a:lnTo>
                      <a:pt x="2226" y="658"/>
                    </a:lnTo>
                    <a:lnTo>
                      <a:pt x="2236" y="658"/>
                    </a:lnTo>
                    <a:lnTo>
                      <a:pt x="2252" y="658"/>
                    </a:lnTo>
                    <a:lnTo>
                      <a:pt x="2262" y="662"/>
                    </a:lnTo>
                    <a:lnTo>
                      <a:pt x="2262" y="691"/>
                    </a:lnTo>
                    <a:lnTo>
                      <a:pt x="2262" y="722"/>
                    </a:lnTo>
                    <a:lnTo>
                      <a:pt x="2264" y="750"/>
                    </a:lnTo>
                    <a:lnTo>
                      <a:pt x="2264" y="778"/>
                    </a:lnTo>
                    <a:lnTo>
                      <a:pt x="2264" y="804"/>
                    </a:lnTo>
                    <a:lnTo>
                      <a:pt x="2266" y="830"/>
                    </a:lnTo>
                    <a:lnTo>
                      <a:pt x="2266" y="859"/>
                    </a:lnTo>
                    <a:lnTo>
                      <a:pt x="2266" y="885"/>
                    </a:lnTo>
                    <a:lnTo>
                      <a:pt x="2266" y="911"/>
                    </a:lnTo>
                    <a:lnTo>
                      <a:pt x="2269" y="939"/>
                    </a:lnTo>
                    <a:lnTo>
                      <a:pt x="2269" y="965"/>
                    </a:lnTo>
                    <a:lnTo>
                      <a:pt x="2269" y="991"/>
                    </a:lnTo>
                    <a:lnTo>
                      <a:pt x="2295" y="1017"/>
                    </a:lnTo>
                    <a:lnTo>
                      <a:pt x="2307" y="1034"/>
                    </a:lnTo>
                    <a:lnTo>
                      <a:pt x="2309" y="1043"/>
                    </a:lnTo>
                    <a:lnTo>
                      <a:pt x="2311" y="1074"/>
                    </a:lnTo>
                    <a:lnTo>
                      <a:pt x="2314" y="1081"/>
                    </a:lnTo>
                    <a:lnTo>
                      <a:pt x="2326" y="1093"/>
                    </a:lnTo>
                    <a:lnTo>
                      <a:pt x="2328" y="1100"/>
                    </a:lnTo>
                    <a:lnTo>
                      <a:pt x="2340" y="1124"/>
                    </a:lnTo>
                    <a:lnTo>
                      <a:pt x="2340" y="1133"/>
                    </a:lnTo>
                    <a:lnTo>
                      <a:pt x="2354" y="1157"/>
                    </a:lnTo>
                    <a:lnTo>
                      <a:pt x="2361" y="1164"/>
                    </a:lnTo>
                    <a:lnTo>
                      <a:pt x="2363" y="1180"/>
                    </a:lnTo>
                    <a:lnTo>
                      <a:pt x="2366" y="1192"/>
                    </a:lnTo>
                    <a:lnTo>
                      <a:pt x="2361" y="1202"/>
                    </a:lnTo>
                    <a:lnTo>
                      <a:pt x="2363" y="1213"/>
                    </a:lnTo>
                    <a:lnTo>
                      <a:pt x="2361" y="1223"/>
                    </a:lnTo>
                    <a:lnTo>
                      <a:pt x="2359" y="1239"/>
                    </a:lnTo>
                    <a:lnTo>
                      <a:pt x="2352" y="1263"/>
                    </a:lnTo>
                    <a:lnTo>
                      <a:pt x="2344" y="1275"/>
                    </a:lnTo>
                    <a:lnTo>
                      <a:pt x="2335" y="1296"/>
                    </a:lnTo>
                    <a:lnTo>
                      <a:pt x="2335" y="1313"/>
                    </a:lnTo>
                    <a:lnTo>
                      <a:pt x="2330" y="1334"/>
                    </a:lnTo>
                    <a:lnTo>
                      <a:pt x="2330" y="1341"/>
                    </a:lnTo>
                    <a:lnTo>
                      <a:pt x="2335" y="1355"/>
                    </a:lnTo>
                    <a:lnTo>
                      <a:pt x="2340" y="1391"/>
                    </a:lnTo>
                    <a:lnTo>
                      <a:pt x="2335" y="1398"/>
                    </a:lnTo>
                    <a:lnTo>
                      <a:pt x="2323" y="1419"/>
                    </a:lnTo>
                    <a:lnTo>
                      <a:pt x="2316" y="1419"/>
                    </a:lnTo>
                    <a:lnTo>
                      <a:pt x="2297" y="1455"/>
                    </a:lnTo>
                    <a:lnTo>
                      <a:pt x="2309" y="1473"/>
                    </a:lnTo>
                    <a:lnTo>
                      <a:pt x="2309" y="1481"/>
                    </a:lnTo>
                    <a:lnTo>
                      <a:pt x="2269" y="1485"/>
                    </a:lnTo>
                    <a:lnTo>
                      <a:pt x="2181" y="1528"/>
                    </a:lnTo>
                    <a:lnTo>
                      <a:pt x="2148" y="1549"/>
                    </a:lnTo>
                    <a:lnTo>
                      <a:pt x="2148" y="1542"/>
                    </a:lnTo>
                    <a:lnTo>
                      <a:pt x="2191" y="1514"/>
                    </a:lnTo>
                    <a:lnTo>
                      <a:pt x="2177" y="1509"/>
                    </a:lnTo>
                    <a:lnTo>
                      <a:pt x="2153" y="1516"/>
                    </a:lnTo>
                    <a:lnTo>
                      <a:pt x="2144" y="1514"/>
                    </a:lnTo>
                    <a:lnTo>
                      <a:pt x="2153" y="1492"/>
                    </a:lnTo>
                    <a:lnTo>
                      <a:pt x="2151" y="1471"/>
                    </a:lnTo>
                    <a:lnTo>
                      <a:pt x="2134" y="1471"/>
                    </a:lnTo>
                    <a:lnTo>
                      <a:pt x="2122" y="1488"/>
                    </a:lnTo>
                    <a:lnTo>
                      <a:pt x="2115" y="1485"/>
                    </a:lnTo>
                    <a:lnTo>
                      <a:pt x="2106" y="1481"/>
                    </a:lnTo>
                    <a:lnTo>
                      <a:pt x="2099" y="1483"/>
                    </a:lnTo>
                    <a:lnTo>
                      <a:pt x="2103" y="1518"/>
                    </a:lnTo>
                    <a:lnTo>
                      <a:pt x="2115" y="1533"/>
                    </a:lnTo>
                    <a:lnTo>
                      <a:pt x="2125" y="1552"/>
                    </a:lnTo>
                    <a:lnTo>
                      <a:pt x="2099" y="1575"/>
                    </a:lnTo>
                    <a:lnTo>
                      <a:pt x="2077" y="1596"/>
                    </a:lnTo>
                    <a:lnTo>
                      <a:pt x="2075" y="1615"/>
                    </a:lnTo>
                    <a:lnTo>
                      <a:pt x="2054" y="1639"/>
                    </a:lnTo>
                    <a:lnTo>
                      <a:pt x="2032" y="1653"/>
                    </a:lnTo>
                    <a:lnTo>
                      <a:pt x="1980" y="1686"/>
                    </a:lnTo>
                    <a:lnTo>
                      <a:pt x="1966" y="1693"/>
                    </a:lnTo>
                    <a:lnTo>
                      <a:pt x="1945" y="1710"/>
                    </a:lnTo>
                    <a:lnTo>
                      <a:pt x="1912" y="1719"/>
                    </a:lnTo>
                    <a:lnTo>
                      <a:pt x="1884" y="1738"/>
                    </a:lnTo>
                    <a:lnTo>
                      <a:pt x="1872" y="1741"/>
                    </a:lnTo>
                    <a:lnTo>
                      <a:pt x="1891" y="1726"/>
                    </a:lnTo>
                    <a:lnTo>
                      <a:pt x="1914" y="1710"/>
                    </a:lnTo>
                    <a:lnTo>
                      <a:pt x="1895" y="1712"/>
                    </a:lnTo>
                    <a:lnTo>
                      <a:pt x="1865" y="1705"/>
                    </a:lnTo>
                    <a:lnTo>
                      <a:pt x="1846" y="1705"/>
                    </a:lnTo>
                    <a:lnTo>
                      <a:pt x="1846" y="1710"/>
                    </a:lnTo>
                    <a:lnTo>
                      <a:pt x="1832" y="1719"/>
                    </a:lnTo>
                    <a:lnTo>
                      <a:pt x="1817" y="1708"/>
                    </a:lnTo>
                    <a:lnTo>
                      <a:pt x="1810" y="1700"/>
                    </a:lnTo>
                    <a:lnTo>
                      <a:pt x="1808" y="1693"/>
                    </a:lnTo>
                    <a:lnTo>
                      <a:pt x="1803" y="1691"/>
                    </a:lnTo>
                    <a:lnTo>
                      <a:pt x="1796" y="1693"/>
                    </a:lnTo>
                    <a:lnTo>
                      <a:pt x="1817" y="1741"/>
                    </a:lnTo>
                    <a:lnTo>
                      <a:pt x="1827" y="1743"/>
                    </a:lnTo>
                    <a:lnTo>
                      <a:pt x="1836" y="1748"/>
                    </a:lnTo>
                    <a:lnTo>
                      <a:pt x="1824" y="1760"/>
                    </a:lnTo>
                    <a:lnTo>
                      <a:pt x="1810" y="1767"/>
                    </a:lnTo>
                    <a:lnTo>
                      <a:pt x="1789" y="1771"/>
                    </a:lnTo>
                    <a:lnTo>
                      <a:pt x="1770" y="1755"/>
                    </a:lnTo>
                    <a:lnTo>
                      <a:pt x="1765" y="1776"/>
                    </a:lnTo>
                    <a:lnTo>
                      <a:pt x="1763" y="1797"/>
                    </a:lnTo>
                    <a:lnTo>
                      <a:pt x="1758" y="1805"/>
                    </a:lnTo>
                    <a:lnTo>
                      <a:pt x="1749" y="1812"/>
                    </a:lnTo>
                    <a:lnTo>
                      <a:pt x="1742" y="1805"/>
                    </a:lnTo>
                    <a:lnTo>
                      <a:pt x="1739" y="1797"/>
                    </a:lnTo>
                    <a:lnTo>
                      <a:pt x="1735" y="1805"/>
                    </a:lnTo>
                    <a:lnTo>
                      <a:pt x="1725" y="1809"/>
                    </a:lnTo>
                    <a:lnTo>
                      <a:pt x="1709" y="1812"/>
                    </a:lnTo>
                    <a:lnTo>
                      <a:pt x="1697" y="1814"/>
                    </a:lnTo>
                    <a:lnTo>
                      <a:pt x="1697" y="1823"/>
                    </a:lnTo>
                    <a:lnTo>
                      <a:pt x="1702" y="1831"/>
                    </a:lnTo>
                    <a:lnTo>
                      <a:pt x="1720" y="1826"/>
                    </a:lnTo>
                    <a:lnTo>
                      <a:pt x="1713" y="1847"/>
                    </a:lnTo>
                    <a:lnTo>
                      <a:pt x="1694" y="1871"/>
                    </a:lnTo>
                    <a:lnTo>
                      <a:pt x="1678" y="1875"/>
                    </a:lnTo>
                    <a:lnTo>
                      <a:pt x="1657" y="1871"/>
                    </a:lnTo>
                    <a:lnTo>
                      <a:pt x="1650" y="1873"/>
                    </a:lnTo>
                    <a:lnTo>
                      <a:pt x="1645" y="1878"/>
                    </a:lnTo>
                    <a:lnTo>
                      <a:pt x="1671" y="1913"/>
                    </a:lnTo>
                    <a:lnTo>
                      <a:pt x="1654" y="1968"/>
                    </a:lnTo>
                    <a:lnTo>
                      <a:pt x="1642" y="1987"/>
                    </a:lnTo>
                    <a:lnTo>
                      <a:pt x="1633" y="1989"/>
                    </a:lnTo>
                    <a:lnTo>
                      <a:pt x="1626" y="1989"/>
                    </a:lnTo>
                    <a:lnTo>
                      <a:pt x="1595" y="1972"/>
                    </a:lnTo>
                    <a:lnTo>
                      <a:pt x="1579" y="1958"/>
                    </a:lnTo>
                    <a:lnTo>
                      <a:pt x="1593" y="1996"/>
                    </a:lnTo>
                    <a:lnTo>
                      <a:pt x="1633" y="2005"/>
                    </a:lnTo>
                    <a:lnTo>
                      <a:pt x="1635" y="2020"/>
                    </a:lnTo>
                    <a:lnTo>
                      <a:pt x="1633" y="2031"/>
                    </a:lnTo>
                    <a:lnTo>
                      <a:pt x="1626" y="2046"/>
                    </a:lnTo>
                    <a:lnTo>
                      <a:pt x="1619" y="2065"/>
                    </a:lnTo>
                    <a:lnTo>
                      <a:pt x="1624" y="2076"/>
                    </a:lnTo>
                    <a:lnTo>
                      <a:pt x="1628" y="2110"/>
                    </a:lnTo>
                    <a:lnTo>
                      <a:pt x="1635" y="2124"/>
                    </a:lnTo>
                    <a:lnTo>
                      <a:pt x="1640" y="2169"/>
                    </a:lnTo>
                    <a:lnTo>
                      <a:pt x="1645" y="2188"/>
                    </a:lnTo>
                    <a:lnTo>
                      <a:pt x="1680" y="2258"/>
                    </a:lnTo>
                    <a:lnTo>
                      <a:pt x="1692" y="2258"/>
                    </a:lnTo>
                    <a:lnTo>
                      <a:pt x="1694" y="2266"/>
                    </a:lnTo>
                    <a:lnTo>
                      <a:pt x="1694" y="2282"/>
                    </a:lnTo>
                    <a:lnTo>
                      <a:pt x="1668" y="2284"/>
                    </a:lnTo>
                    <a:lnTo>
                      <a:pt x="1657" y="2292"/>
                    </a:lnTo>
                    <a:lnTo>
                      <a:pt x="1654" y="2296"/>
                    </a:lnTo>
                    <a:lnTo>
                      <a:pt x="1652" y="2301"/>
                    </a:lnTo>
                    <a:lnTo>
                      <a:pt x="1650" y="2299"/>
                    </a:lnTo>
                    <a:lnTo>
                      <a:pt x="1635" y="2296"/>
                    </a:lnTo>
                    <a:lnTo>
                      <a:pt x="1607" y="2275"/>
                    </a:lnTo>
                    <a:lnTo>
                      <a:pt x="1567" y="2261"/>
                    </a:lnTo>
                    <a:lnTo>
                      <a:pt x="1512" y="2256"/>
                    </a:lnTo>
                    <a:lnTo>
                      <a:pt x="1475" y="2244"/>
                    </a:lnTo>
                    <a:lnTo>
                      <a:pt x="1456" y="2228"/>
                    </a:lnTo>
                    <a:lnTo>
                      <a:pt x="1434" y="2218"/>
                    </a:lnTo>
                    <a:lnTo>
                      <a:pt x="1413" y="2216"/>
                    </a:lnTo>
                    <a:lnTo>
                      <a:pt x="1397" y="2206"/>
                    </a:lnTo>
                    <a:lnTo>
                      <a:pt x="1382" y="2192"/>
                    </a:lnTo>
                    <a:lnTo>
                      <a:pt x="1361" y="2183"/>
                    </a:lnTo>
                    <a:lnTo>
                      <a:pt x="1333" y="2178"/>
                    </a:lnTo>
                    <a:lnTo>
                      <a:pt x="1316" y="2169"/>
                    </a:lnTo>
                    <a:lnTo>
                      <a:pt x="1304" y="2143"/>
                    </a:lnTo>
                    <a:lnTo>
                      <a:pt x="1304" y="2143"/>
                    </a:lnTo>
                    <a:lnTo>
                      <a:pt x="1295" y="2100"/>
                    </a:lnTo>
                    <a:lnTo>
                      <a:pt x="1283" y="2072"/>
                    </a:lnTo>
                    <a:lnTo>
                      <a:pt x="1257" y="2039"/>
                    </a:lnTo>
                    <a:lnTo>
                      <a:pt x="1255" y="2034"/>
                    </a:lnTo>
                    <a:lnTo>
                      <a:pt x="1255" y="2034"/>
                    </a:lnTo>
                    <a:lnTo>
                      <a:pt x="1255" y="2029"/>
                    </a:lnTo>
                    <a:lnTo>
                      <a:pt x="1257" y="2010"/>
                    </a:lnTo>
                    <a:lnTo>
                      <a:pt x="1255" y="1996"/>
                    </a:lnTo>
                    <a:lnTo>
                      <a:pt x="1248" y="1984"/>
                    </a:lnTo>
                    <a:lnTo>
                      <a:pt x="1245" y="1972"/>
                    </a:lnTo>
                    <a:lnTo>
                      <a:pt x="1250" y="1961"/>
                    </a:lnTo>
                    <a:lnTo>
                      <a:pt x="1252" y="1946"/>
                    </a:lnTo>
                    <a:lnTo>
                      <a:pt x="1248" y="1930"/>
                    </a:lnTo>
                    <a:lnTo>
                      <a:pt x="1231" y="1909"/>
                    </a:lnTo>
                    <a:lnTo>
                      <a:pt x="1203" y="1887"/>
                    </a:lnTo>
                    <a:lnTo>
                      <a:pt x="1179" y="1859"/>
                    </a:lnTo>
                    <a:lnTo>
                      <a:pt x="1158" y="1819"/>
                    </a:lnTo>
                    <a:lnTo>
                      <a:pt x="1139" y="1790"/>
                    </a:lnTo>
                    <a:lnTo>
                      <a:pt x="1120" y="1776"/>
                    </a:lnTo>
                    <a:lnTo>
                      <a:pt x="1106" y="1757"/>
                    </a:lnTo>
                    <a:lnTo>
                      <a:pt x="1099" y="1734"/>
                    </a:lnTo>
                    <a:lnTo>
                      <a:pt x="1099" y="1722"/>
                    </a:lnTo>
                    <a:lnTo>
                      <a:pt x="1101" y="1719"/>
                    </a:lnTo>
                    <a:lnTo>
                      <a:pt x="1089" y="1693"/>
                    </a:lnTo>
                    <a:lnTo>
                      <a:pt x="1063" y="1648"/>
                    </a:lnTo>
                    <a:lnTo>
                      <a:pt x="1049" y="1615"/>
                    </a:lnTo>
                    <a:lnTo>
                      <a:pt x="1047" y="1594"/>
                    </a:lnTo>
                    <a:lnTo>
                      <a:pt x="1030" y="1570"/>
                    </a:lnTo>
                    <a:lnTo>
                      <a:pt x="999" y="1540"/>
                    </a:lnTo>
                    <a:lnTo>
                      <a:pt x="983" y="1521"/>
                    </a:lnTo>
                    <a:lnTo>
                      <a:pt x="981" y="1509"/>
                    </a:lnTo>
                    <a:lnTo>
                      <a:pt x="978" y="1509"/>
                    </a:lnTo>
                    <a:lnTo>
                      <a:pt x="933" y="1469"/>
                    </a:lnTo>
                    <a:lnTo>
                      <a:pt x="919" y="1445"/>
                    </a:lnTo>
                    <a:lnTo>
                      <a:pt x="910" y="1436"/>
                    </a:lnTo>
                    <a:lnTo>
                      <a:pt x="895" y="1436"/>
                    </a:lnTo>
                    <a:lnTo>
                      <a:pt x="891" y="1433"/>
                    </a:lnTo>
                    <a:lnTo>
                      <a:pt x="891" y="1429"/>
                    </a:lnTo>
                    <a:lnTo>
                      <a:pt x="886" y="1429"/>
                    </a:lnTo>
                    <a:lnTo>
                      <a:pt x="877" y="1433"/>
                    </a:lnTo>
                    <a:lnTo>
                      <a:pt x="851" y="1431"/>
                    </a:lnTo>
                    <a:lnTo>
                      <a:pt x="808" y="1426"/>
                    </a:lnTo>
                    <a:lnTo>
                      <a:pt x="775" y="1419"/>
                    </a:lnTo>
                    <a:lnTo>
                      <a:pt x="756" y="1407"/>
                    </a:lnTo>
                    <a:lnTo>
                      <a:pt x="744" y="1407"/>
                    </a:lnTo>
                    <a:lnTo>
                      <a:pt x="735" y="1419"/>
                    </a:lnTo>
                    <a:lnTo>
                      <a:pt x="718" y="1426"/>
                    </a:lnTo>
                    <a:lnTo>
                      <a:pt x="692" y="1429"/>
                    </a:lnTo>
                    <a:lnTo>
                      <a:pt x="669" y="1450"/>
                    </a:lnTo>
                    <a:lnTo>
                      <a:pt x="645" y="1490"/>
                    </a:lnTo>
                    <a:lnTo>
                      <a:pt x="635" y="1516"/>
                    </a:lnTo>
                    <a:lnTo>
                      <a:pt x="638" y="1528"/>
                    </a:lnTo>
                    <a:lnTo>
                      <a:pt x="631" y="1537"/>
                    </a:lnTo>
                    <a:lnTo>
                      <a:pt x="619" y="1542"/>
                    </a:lnTo>
                    <a:lnTo>
                      <a:pt x="605" y="1554"/>
                    </a:lnTo>
                    <a:lnTo>
                      <a:pt x="591" y="1573"/>
                    </a:lnTo>
                    <a:lnTo>
                      <a:pt x="576" y="1580"/>
                    </a:lnTo>
                    <a:lnTo>
                      <a:pt x="560" y="1578"/>
                    </a:lnTo>
                    <a:lnTo>
                      <a:pt x="529" y="1561"/>
                    </a:lnTo>
                    <a:lnTo>
                      <a:pt x="487" y="1528"/>
                    </a:lnTo>
                    <a:lnTo>
                      <a:pt x="453" y="1507"/>
                    </a:lnTo>
                    <a:lnTo>
                      <a:pt x="430" y="1497"/>
                    </a:lnTo>
                    <a:lnTo>
                      <a:pt x="409" y="1483"/>
                    </a:lnTo>
                    <a:lnTo>
                      <a:pt x="390" y="1462"/>
                    </a:lnTo>
                    <a:lnTo>
                      <a:pt x="373" y="1445"/>
                    </a:lnTo>
                    <a:lnTo>
                      <a:pt x="357" y="1438"/>
                    </a:lnTo>
                    <a:lnTo>
                      <a:pt x="340" y="1414"/>
                    </a:lnTo>
                    <a:lnTo>
                      <a:pt x="323" y="1374"/>
                    </a:lnTo>
                    <a:lnTo>
                      <a:pt x="314" y="1346"/>
                    </a:lnTo>
                    <a:lnTo>
                      <a:pt x="316" y="1315"/>
                    </a:lnTo>
                    <a:lnTo>
                      <a:pt x="295" y="1246"/>
                    </a:lnTo>
                    <a:lnTo>
                      <a:pt x="283" y="1216"/>
                    </a:lnTo>
                    <a:lnTo>
                      <a:pt x="274" y="1202"/>
                    </a:lnTo>
                    <a:lnTo>
                      <a:pt x="253" y="1183"/>
                    </a:lnTo>
                    <a:lnTo>
                      <a:pt x="222" y="1161"/>
                    </a:lnTo>
                    <a:lnTo>
                      <a:pt x="184" y="1121"/>
                    </a:lnTo>
                    <a:lnTo>
                      <a:pt x="134" y="1060"/>
                    </a:lnTo>
                    <a:lnTo>
                      <a:pt x="99" y="1022"/>
                    </a:lnTo>
                    <a:lnTo>
                      <a:pt x="80" y="1010"/>
                    </a:lnTo>
                    <a:lnTo>
                      <a:pt x="61" y="986"/>
                    </a:lnTo>
                    <a:lnTo>
                      <a:pt x="49" y="958"/>
                    </a:lnTo>
                    <a:lnTo>
                      <a:pt x="35" y="937"/>
                    </a:lnTo>
                    <a:lnTo>
                      <a:pt x="33" y="937"/>
                    </a:lnTo>
                    <a:lnTo>
                      <a:pt x="11" y="923"/>
                    </a:lnTo>
                    <a:lnTo>
                      <a:pt x="11" y="923"/>
                    </a:lnTo>
                    <a:lnTo>
                      <a:pt x="0" y="882"/>
                    </a:lnTo>
                    <a:lnTo>
                      <a:pt x="0" y="882"/>
                    </a:lnTo>
                    <a:lnTo>
                      <a:pt x="40" y="887"/>
                    </a:lnTo>
                    <a:lnTo>
                      <a:pt x="80" y="892"/>
                    </a:lnTo>
                    <a:lnTo>
                      <a:pt x="120" y="897"/>
                    </a:lnTo>
                    <a:lnTo>
                      <a:pt x="160" y="901"/>
                    </a:lnTo>
                    <a:lnTo>
                      <a:pt x="201" y="906"/>
                    </a:lnTo>
                    <a:lnTo>
                      <a:pt x="241" y="908"/>
                    </a:lnTo>
                    <a:lnTo>
                      <a:pt x="281" y="913"/>
                    </a:lnTo>
                    <a:lnTo>
                      <a:pt x="321" y="918"/>
                    </a:lnTo>
                    <a:lnTo>
                      <a:pt x="361" y="920"/>
                    </a:lnTo>
                    <a:lnTo>
                      <a:pt x="401" y="925"/>
                    </a:lnTo>
                    <a:lnTo>
                      <a:pt x="444" y="930"/>
                    </a:lnTo>
                    <a:lnTo>
                      <a:pt x="484" y="932"/>
                    </a:lnTo>
                    <a:lnTo>
                      <a:pt x="524" y="937"/>
                    </a:lnTo>
                    <a:lnTo>
                      <a:pt x="565" y="939"/>
                    </a:lnTo>
                    <a:lnTo>
                      <a:pt x="605" y="941"/>
                    </a:lnTo>
                    <a:lnTo>
                      <a:pt x="645" y="946"/>
                    </a:lnTo>
                    <a:lnTo>
                      <a:pt x="650" y="887"/>
                    </a:lnTo>
                    <a:lnTo>
                      <a:pt x="654" y="828"/>
                    </a:lnTo>
                    <a:lnTo>
                      <a:pt x="659" y="769"/>
                    </a:lnTo>
                    <a:lnTo>
                      <a:pt x="664" y="710"/>
                    </a:lnTo>
                    <a:lnTo>
                      <a:pt x="669" y="651"/>
                    </a:lnTo>
                    <a:lnTo>
                      <a:pt x="673" y="592"/>
                    </a:lnTo>
                    <a:lnTo>
                      <a:pt x="678" y="532"/>
                    </a:lnTo>
                    <a:lnTo>
                      <a:pt x="683" y="473"/>
                    </a:lnTo>
                    <a:lnTo>
                      <a:pt x="687" y="414"/>
                    </a:lnTo>
                    <a:lnTo>
                      <a:pt x="692" y="355"/>
                    </a:lnTo>
                    <a:lnTo>
                      <a:pt x="697" y="296"/>
                    </a:lnTo>
                    <a:lnTo>
                      <a:pt x="704" y="237"/>
                    </a:lnTo>
                    <a:lnTo>
                      <a:pt x="709" y="178"/>
                    </a:lnTo>
                    <a:lnTo>
                      <a:pt x="713" y="119"/>
                    </a:lnTo>
                    <a:lnTo>
                      <a:pt x="718" y="60"/>
                    </a:lnTo>
                    <a:lnTo>
                      <a:pt x="723" y="0"/>
                    </a:lnTo>
                    <a:lnTo>
                      <a:pt x="730" y="0"/>
                    </a:lnTo>
                    <a:lnTo>
                      <a:pt x="761" y="3"/>
                    </a:lnTo>
                    <a:lnTo>
                      <a:pt x="791" y="5"/>
                    </a:lnTo>
                    <a:lnTo>
                      <a:pt x="825" y="7"/>
                    </a:lnTo>
                    <a:lnTo>
                      <a:pt x="855" y="10"/>
                    </a:lnTo>
                    <a:lnTo>
                      <a:pt x="888" y="12"/>
                    </a:lnTo>
                    <a:lnTo>
                      <a:pt x="919" y="15"/>
                    </a:lnTo>
                    <a:lnTo>
                      <a:pt x="952" y="17"/>
                    </a:lnTo>
                    <a:lnTo>
                      <a:pt x="983" y="19"/>
                    </a:lnTo>
                    <a:lnTo>
                      <a:pt x="1016" y="22"/>
                    </a:lnTo>
                    <a:lnTo>
                      <a:pt x="1047" y="22"/>
                    </a:lnTo>
                    <a:lnTo>
                      <a:pt x="1077" y="24"/>
                    </a:lnTo>
                    <a:lnTo>
                      <a:pt x="1111" y="26"/>
                    </a:lnTo>
                    <a:lnTo>
                      <a:pt x="1141" y="26"/>
                    </a:lnTo>
                    <a:lnTo>
                      <a:pt x="1174" y="29"/>
                    </a:lnTo>
                    <a:lnTo>
                      <a:pt x="1205" y="31"/>
                    </a:lnTo>
                    <a:lnTo>
                      <a:pt x="1238" y="31"/>
                    </a:lnTo>
                    <a:lnTo>
                      <a:pt x="1236" y="57"/>
                    </a:lnTo>
                    <a:lnTo>
                      <a:pt x="1236" y="83"/>
                    </a:lnTo>
                    <a:lnTo>
                      <a:pt x="1233" y="107"/>
                    </a:lnTo>
                    <a:lnTo>
                      <a:pt x="1233" y="133"/>
                    </a:lnTo>
                    <a:lnTo>
                      <a:pt x="1231" y="159"/>
                    </a:lnTo>
                    <a:lnTo>
                      <a:pt x="1231" y="182"/>
                    </a:lnTo>
                    <a:lnTo>
                      <a:pt x="1231" y="208"/>
                    </a:lnTo>
                    <a:lnTo>
                      <a:pt x="1229" y="234"/>
                    </a:lnTo>
                    <a:lnTo>
                      <a:pt x="1229" y="258"/>
                    </a:lnTo>
                    <a:lnTo>
                      <a:pt x="1226" y="284"/>
                    </a:lnTo>
                    <a:lnTo>
                      <a:pt x="1226" y="308"/>
                    </a:lnTo>
                    <a:lnTo>
                      <a:pt x="1224" y="334"/>
                    </a:lnTo>
                    <a:lnTo>
                      <a:pt x="1224" y="360"/>
                    </a:lnTo>
                    <a:lnTo>
                      <a:pt x="1222" y="383"/>
                    </a:lnTo>
                    <a:lnTo>
                      <a:pt x="1222" y="409"/>
                    </a:lnTo>
                    <a:lnTo>
                      <a:pt x="1222" y="435"/>
                    </a:lnTo>
                    <a:lnTo>
                      <a:pt x="1231" y="438"/>
                    </a:lnTo>
                    <a:lnTo>
                      <a:pt x="1243" y="445"/>
                    </a:lnTo>
                    <a:lnTo>
                      <a:pt x="1274" y="473"/>
                    </a:lnTo>
                    <a:lnTo>
                      <a:pt x="1283" y="478"/>
                    </a:lnTo>
                    <a:lnTo>
                      <a:pt x="1300" y="476"/>
                    </a:lnTo>
                    <a:lnTo>
                      <a:pt x="1319" y="480"/>
                    </a:lnTo>
                    <a:lnTo>
                      <a:pt x="1323" y="480"/>
                    </a:lnTo>
                    <a:lnTo>
                      <a:pt x="1326" y="469"/>
                    </a:lnTo>
                    <a:lnTo>
                      <a:pt x="1328" y="466"/>
                    </a:lnTo>
                    <a:lnTo>
                      <a:pt x="1330" y="466"/>
                    </a:lnTo>
                    <a:lnTo>
                      <a:pt x="1347" y="478"/>
                    </a:lnTo>
                    <a:lnTo>
                      <a:pt x="1349" y="483"/>
                    </a:lnTo>
                    <a:lnTo>
                      <a:pt x="1359" y="497"/>
                    </a:lnTo>
                    <a:lnTo>
                      <a:pt x="1359" y="513"/>
                    </a:lnTo>
                    <a:lnTo>
                      <a:pt x="1364" y="518"/>
                    </a:lnTo>
                    <a:lnTo>
                      <a:pt x="1373" y="521"/>
                    </a:lnTo>
                    <a:lnTo>
                      <a:pt x="1397" y="521"/>
                    </a:lnTo>
                    <a:lnTo>
                      <a:pt x="1427" y="532"/>
                    </a:lnTo>
                    <a:lnTo>
                      <a:pt x="1439" y="535"/>
                    </a:lnTo>
                    <a:lnTo>
                      <a:pt x="1460" y="532"/>
                    </a:lnTo>
                    <a:lnTo>
                      <a:pt x="1479" y="549"/>
                    </a:lnTo>
                    <a:lnTo>
                      <a:pt x="1486" y="551"/>
                    </a:lnTo>
                    <a:lnTo>
                      <a:pt x="1494" y="549"/>
                    </a:lnTo>
                    <a:lnTo>
                      <a:pt x="1505" y="539"/>
                    </a:lnTo>
                    <a:lnTo>
                      <a:pt x="1529" y="539"/>
                    </a:lnTo>
                    <a:lnTo>
                      <a:pt x="1550" y="539"/>
                    </a:lnTo>
                    <a:lnTo>
                      <a:pt x="1550" y="551"/>
                    </a:lnTo>
                    <a:lnTo>
                      <a:pt x="1555" y="561"/>
                    </a:lnTo>
                    <a:lnTo>
                      <a:pt x="1572" y="570"/>
                    </a:lnTo>
                    <a:lnTo>
                      <a:pt x="1574" y="575"/>
                    </a:lnTo>
                    <a:lnTo>
                      <a:pt x="1574" y="592"/>
                    </a:lnTo>
                    <a:lnTo>
                      <a:pt x="1579" y="596"/>
                    </a:lnTo>
                    <a:lnTo>
                      <a:pt x="1586" y="596"/>
                    </a:lnTo>
                    <a:lnTo>
                      <a:pt x="1593" y="596"/>
                    </a:lnTo>
                    <a:lnTo>
                      <a:pt x="1602" y="592"/>
                    </a:lnTo>
                    <a:lnTo>
                      <a:pt x="1619" y="577"/>
                    </a:lnTo>
                    <a:lnTo>
                      <a:pt x="1626" y="573"/>
                    </a:lnTo>
                    <a:lnTo>
                      <a:pt x="1628" y="573"/>
                    </a:lnTo>
                    <a:lnTo>
                      <a:pt x="1633" y="573"/>
                    </a:lnTo>
                    <a:lnTo>
                      <a:pt x="1635" y="577"/>
                    </a:lnTo>
                    <a:lnTo>
                      <a:pt x="1640" y="589"/>
                    </a:lnTo>
                    <a:lnTo>
                      <a:pt x="1657" y="596"/>
                    </a:lnTo>
                    <a:lnTo>
                      <a:pt x="1666" y="606"/>
                    </a:lnTo>
                    <a:lnTo>
                      <a:pt x="1671" y="608"/>
                    </a:lnTo>
                    <a:lnTo>
                      <a:pt x="1678" y="606"/>
                    </a:lnTo>
                    <a:lnTo>
                      <a:pt x="1687" y="599"/>
                    </a:lnTo>
                    <a:lnTo>
                      <a:pt x="1694" y="601"/>
                    </a:lnTo>
                    <a:lnTo>
                      <a:pt x="1704" y="594"/>
                    </a:lnTo>
                    <a:lnTo>
                      <a:pt x="1706" y="596"/>
                    </a:lnTo>
                    <a:lnTo>
                      <a:pt x="1709" y="599"/>
                    </a:lnTo>
                    <a:lnTo>
                      <a:pt x="1706" y="613"/>
                    </a:lnTo>
                    <a:lnTo>
                      <a:pt x="1706" y="618"/>
                    </a:lnTo>
                    <a:lnTo>
                      <a:pt x="1711" y="625"/>
                    </a:lnTo>
                    <a:lnTo>
                      <a:pt x="1716" y="627"/>
                    </a:lnTo>
                    <a:lnTo>
                      <a:pt x="1720" y="629"/>
                    </a:lnTo>
                    <a:lnTo>
                      <a:pt x="1723" y="625"/>
                    </a:lnTo>
                    <a:lnTo>
                      <a:pt x="1730" y="608"/>
                    </a:lnTo>
                    <a:lnTo>
                      <a:pt x="1730" y="603"/>
                    </a:lnTo>
                    <a:lnTo>
                      <a:pt x="1737" y="601"/>
                    </a:lnTo>
                    <a:lnTo>
                      <a:pt x="1742" y="599"/>
                    </a:lnTo>
                    <a:lnTo>
                      <a:pt x="1744" y="587"/>
                    </a:lnTo>
                    <a:lnTo>
                      <a:pt x="1754" y="582"/>
                    </a:lnTo>
                    <a:lnTo>
                      <a:pt x="1756" y="582"/>
                    </a:lnTo>
                    <a:lnTo>
                      <a:pt x="1761" y="587"/>
                    </a:lnTo>
                    <a:lnTo>
                      <a:pt x="1768" y="599"/>
                    </a:lnTo>
                    <a:lnTo>
                      <a:pt x="1787" y="603"/>
                    </a:lnTo>
                    <a:lnTo>
                      <a:pt x="1791" y="603"/>
                    </a:lnTo>
                    <a:lnTo>
                      <a:pt x="1796" y="601"/>
                    </a:lnTo>
                    <a:lnTo>
                      <a:pt x="1803" y="594"/>
                    </a:lnTo>
                    <a:lnTo>
                      <a:pt x="1808" y="592"/>
                    </a:lnTo>
                    <a:lnTo>
                      <a:pt x="1810" y="594"/>
                    </a:lnTo>
                    <a:lnTo>
                      <a:pt x="1813" y="594"/>
                    </a:lnTo>
                    <a:lnTo>
                      <a:pt x="1813" y="606"/>
                    </a:lnTo>
                    <a:lnTo>
                      <a:pt x="1832" y="618"/>
                    </a:lnTo>
                    <a:lnTo>
                      <a:pt x="1846" y="620"/>
                    </a:lnTo>
                    <a:lnTo>
                      <a:pt x="1858" y="634"/>
                    </a:lnTo>
                    <a:lnTo>
                      <a:pt x="1862" y="634"/>
                    </a:lnTo>
                    <a:lnTo>
                      <a:pt x="1867" y="625"/>
                    </a:lnTo>
                    <a:lnTo>
                      <a:pt x="1881" y="622"/>
                    </a:lnTo>
                    <a:lnTo>
                      <a:pt x="1893" y="610"/>
                    </a:lnTo>
                    <a:lnTo>
                      <a:pt x="1926" y="599"/>
                    </a:lnTo>
                    <a:lnTo>
                      <a:pt x="1940" y="603"/>
                    </a:lnTo>
                    <a:lnTo>
                      <a:pt x="1954" y="601"/>
                    </a:lnTo>
                    <a:lnTo>
                      <a:pt x="1959" y="596"/>
                    </a:lnTo>
                    <a:lnTo>
                      <a:pt x="1983" y="589"/>
                    </a:lnTo>
                    <a:lnTo>
                      <a:pt x="1988" y="584"/>
                    </a:lnTo>
                    <a:lnTo>
                      <a:pt x="1995" y="589"/>
                    </a:lnTo>
                    <a:lnTo>
                      <a:pt x="1997" y="594"/>
                    </a:lnTo>
                    <a:lnTo>
                      <a:pt x="2002" y="596"/>
                    </a:lnTo>
                    <a:lnTo>
                      <a:pt x="2018" y="601"/>
                    </a:lnTo>
                    <a:lnTo>
                      <a:pt x="2028" y="601"/>
                    </a:lnTo>
                    <a:lnTo>
                      <a:pt x="2044" y="592"/>
                    </a:lnTo>
                    <a:lnTo>
                      <a:pt x="2051" y="582"/>
                    </a:lnTo>
                    <a:lnTo>
                      <a:pt x="2054" y="582"/>
                    </a:lnTo>
                    <a:lnTo>
                      <a:pt x="2068" y="587"/>
                    </a:lnTo>
                    <a:lnTo>
                      <a:pt x="2099" y="606"/>
                    </a:lnTo>
                    <a:lnTo>
                      <a:pt x="2115" y="622"/>
                    </a:lnTo>
                    <a:lnTo>
                      <a:pt x="2134" y="629"/>
                    </a:lnTo>
                    <a:lnTo>
                      <a:pt x="2144" y="636"/>
                    </a:lnTo>
                    <a:lnTo>
                      <a:pt x="2184" y="646"/>
                    </a:lnTo>
                    <a:close/>
                    <a:moveTo>
                      <a:pt x="2096" y="1599"/>
                    </a:moveTo>
                    <a:lnTo>
                      <a:pt x="2087" y="1601"/>
                    </a:lnTo>
                    <a:lnTo>
                      <a:pt x="2127" y="1568"/>
                    </a:lnTo>
                    <a:lnTo>
                      <a:pt x="2134" y="1559"/>
                    </a:lnTo>
                    <a:lnTo>
                      <a:pt x="2146" y="1559"/>
                    </a:lnTo>
                    <a:lnTo>
                      <a:pt x="2127" y="1578"/>
                    </a:lnTo>
                    <a:lnTo>
                      <a:pt x="2096" y="1599"/>
                    </a:lnTo>
                    <a:close/>
                    <a:moveTo>
                      <a:pt x="1772" y="1812"/>
                    </a:moveTo>
                    <a:lnTo>
                      <a:pt x="1765" y="1814"/>
                    </a:lnTo>
                    <a:lnTo>
                      <a:pt x="1772" y="1802"/>
                    </a:lnTo>
                    <a:lnTo>
                      <a:pt x="1787" y="1795"/>
                    </a:lnTo>
                    <a:lnTo>
                      <a:pt x="1817" y="1774"/>
                    </a:lnTo>
                    <a:lnTo>
                      <a:pt x="1832" y="1771"/>
                    </a:lnTo>
                    <a:lnTo>
                      <a:pt x="1836" y="1764"/>
                    </a:lnTo>
                    <a:lnTo>
                      <a:pt x="1841" y="1764"/>
                    </a:lnTo>
                    <a:lnTo>
                      <a:pt x="1839" y="1774"/>
                    </a:lnTo>
                    <a:lnTo>
                      <a:pt x="1813" y="1786"/>
                    </a:lnTo>
                    <a:lnTo>
                      <a:pt x="1772" y="1812"/>
                    </a:lnTo>
                    <a:close/>
                    <a:moveTo>
                      <a:pt x="1723" y="1866"/>
                    </a:moveTo>
                    <a:lnTo>
                      <a:pt x="1720" y="1866"/>
                    </a:lnTo>
                    <a:lnTo>
                      <a:pt x="1730" y="1847"/>
                    </a:lnTo>
                    <a:lnTo>
                      <a:pt x="1730" y="1842"/>
                    </a:lnTo>
                    <a:lnTo>
                      <a:pt x="1746" y="1819"/>
                    </a:lnTo>
                    <a:lnTo>
                      <a:pt x="1754" y="1816"/>
                    </a:lnTo>
                    <a:lnTo>
                      <a:pt x="1758" y="1826"/>
                    </a:lnTo>
                    <a:lnTo>
                      <a:pt x="1742" y="1840"/>
                    </a:lnTo>
                    <a:lnTo>
                      <a:pt x="1723" y="1866"/>
                    </a:lnTo>
                    <a:close/>
                    <a:moveTo>
                      <a:pt x="1657" y="1994"/>
                    </a:moveTo>
                    <a:lnTo>
                      <a:pt x="1652" y="2005"/>
                    </a:lnTo>
                    <a:lnTo>
                      <a:pt x="1654" y="1987"/>
                    </a:lnTo>
                    <a:lnTo>
                      <a:pt x="1668" y="1946"/>
                    </a:lnTo>
                    <a:lnTo>
                      <a:pt x="1702" y="1892"/>
                    </a:lnTo>
                    <a:lnTo>
                      <a:pt x="1716" y="1883"/>
                    </a:lnTo>
                    <a:lnTo>
                      <a:pt x="1678" y="1942"/>
                    </a:lnTo>
                    <a:lnTo>
                      <a:pt x="1657" y="1994"/>
                    </a:lnTo>
                    <a:close/>
                    <a:moveTo>
                      <a:pt x="1690" y="2237"/>
                    </a:moveTo>
                    <a:lnTo>
                      <a:pt x="1687" y="2249"/>
                    </a:lnTo>
                    <a:lnTo>
                      <a:pt x="1671" y="2202"/>
                    </a:lnTo>
                    <a:lnTo>
                      <a:pt x="1647" y="2095"/>
                    </a:lnTo>
                    <a:lnTo>
                      <a:pt x="1647" y="2036"/>
                    </a:lnTo>
                    <a:lnTo>
                      <a:pt x="1652" y="2015"/>
                    </a:lnTo>
                    <a:lnTo>
                      <a:pt x="1657" y="2100"/>
                    </a:lnTo>
                    <a:lnTo>
                      <a:pt x="1683" y="2209"/>
                    </a:lnTo>
                    <a:lnTo>
                      <a:pt x="1690" y="223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8" name="Freeform 87">
                <a:extLst>
                  <a:ext uri="{FF2B5EF4-FFF2-40B4-BE49-F238E27FC236}">
                    <a16:creationId xmlns:a16="http://schemas.microsoft.com/office/drawing/2014/main" id="{A9E23D84-CA11-BF8E-DD8C-01D153DE6417}"/>
                  </a:ext>
                </a:extLst>
              </p:cNvPr>
              <p:cNvSpPr>
                <a:spLocks/>
              </p:cNvSpPr>
              <p:nvPr/>
            </p:nvSpPr>
            <p:spPr bwMode="auto">
              <a:xfrm>
                <a:off x="1688" y="409"/>
                <a:ext cx="948" cy="1173"/>
              </a:xfrm>
              <a:custGeom>
                <a:avLst/>
                <a:gdLst>
                  <a:gd name="T0" fmla="*/ 664 w 948"/>
                  <a:gd name="T1" fmla="*/ 111 h 1173"/>
                  <a:gd name="T2" fmla="*/ 654 w 948"/>
                  <a:gd name="T3" fmla="*/ 163 h 1173"/>
                  <a:gd name="T4" fmla="*/ 647 w 948"/>
                  <a:gd name="T5" fmla="*/ 215 h 1173"/>
                  <a:gd name="T6" fmla="*/ 638 w 948"/>
                  <a:gd name="T7" fmla="*/ 267 h 1173"/>
                  <a:gd name="T8" fmla="*/ 673 w 948"/>
                  <a:gd name="T9" fmla="*/ 298 h 1173"/>
                  <a:gd name="T10" fmla="*/ 751 w 948"/>
                  <a:gd name="T11" fmla="*/ 312 h 1173"/>
                  <a:gd name="T12" fmla="*/ 829 w 948"/>
                  <a:gd name="T13" fmla="*/ 324 h 1173"/>
                  <a:gd name="T14" fmla="*/ 910 w 948"/>
                  <a:gd name="T15" fmla="*/ 336 h 1173"/>
                  <a:gd name="T16" fmla="*/ 940 w 948"/>
                  <a:gd name="T17" fmla="*/ 393 h 1173"/>
                  <a:gd name="T18" fmla="*/ 926 w 948"/>
                  <a:gd name="T19" fmla="*/ 497 h 1173"/>
                  <a:gd name="T20" fmla="*/ 912 w 948"/>
                  <a:gd name="T21" fmla="*/ 601 h 1173"/>
                  <a:gd name="T22" fmla="*/ 896 w 948"/>
                  <a:gd name="T23" fmla="*/ 705 h 1173"/>
                  <a:gd name="T24" fmla="*/ 881 w 948"/>
                  <a:gd name="T25" fmla="*/ 809 h 1173"/>
                  <a:gd name="T26" fmla="*/ 865 w 948"/>
                  <a:gd name="T27" fmla="*/ 913 h 1173"/>
                  <a:gd name="T28" fmla="*/ 851 w 948"/>
                  <a:gd name="T29" fmla="*/ 1017 h 1173"/>
                  <a:gd name="T30" fmla="*/ 836 w 948"/>
                  <a:gd name="T31" fmla="*/ 1121 h 1173"/>
                  <a:gd name="T32" fmla="*/ 777 w 948"/>
                  <a:gd name="T33" fmla="*/ 1166 h 1173"/>
                  <a:gd name="T34" fmla="*/ 673 w 948"/>
                  <a:gd name="T35" fmla="*/ 1149 h 1173"/>
                  <a:gd name="T36" fmla="*/ 569 w 948"/>
                  <a:gd name="T37" fmla="*/ 1133 h 1173"/>
                  <a:gd name="T38" fmla="*/ 465 w 948"/>
                  <a:gd name="T39" fmla="*/ 1116 h 1173"/>
                  <a:gd name="T40" fmla="*/ 361 w 948"/>
                  <a:gd name="T41" fmla="*/ 1100 h 1173"/>
                  <a:gd name="T42" fmla="*/ 257 w 948"/>
                  <a:gd name="T43" fmla="*/ 1081 h 1173"/>
                  <a:gd name="T44" fmla="*/ 153 w 948"/>
                  <a:gd name="T45" fmla="*/ 1059 h 1173"/>
                  <a:gd name="T46" fmla="*/ 52 w 948"/>
                  <a:gd name="T47" fmla="*/ 1040 h 1173"/>
                  <a:gd name="T48" fmla="*/ 4 w 948"/>
                  <a:gd name="T49" fmla="*/ 998 h 1173"/>
                  <a:gd name="T50" fmla="*/ 19 w 948"/>
                  <a:gd name="T51" fmla="*/ 934 h 1173"/>
                  <a:gd name="T52" fmla="*/ 30 w 948"/>
                  <a:gd name="T53" fmla="*/ 868 h 1173"/>
                  <a:gd name="T54" fmla="*/ 45 w 948"/>
                  <a:gd name="T55" fmla="*/ 804 h 1173"/>
                  <a:gd name="T56" fmla="*/ 56 w 948"/>
                  <a:gd name="T57" fmla="*/ 740 h 1173"/>
                  <a:gd name="T58" fmla="*/ 71 w 948"/>
                  <a:gd name="T59" fmla="*/ 676 h 1173"/>
                  <a:gd name="T60" fmla="*/ 82 w 948"/>
                  <a:gd name="T61" fmla="*/ 612 h 1173"/>
                  <a:gd name="T62" fmla="*/ 97 w 948"/>
                  <a:gd name="T63" fmla="*/ 546 h 1173"/>
                  <a:gd name="T64" fmla="*/ 108 w 948"/>
                  <a:gd name="T65" fmla="*/ 482 h 1173"/>
                  <a:gd name="T66" fmla="*/ 123 w 948"/>
                  <a:gd name="T67" fmla="*/ 419 h 1173"/>
                  <a:gd name="T68" fmla="*/ 134 w 948"/>
                  <a:gd name="T69" fmla="*/ 355 h 1173"/>
                  <a:gd name="T70" fmla="*/ 149 w 948"/>
                  <a:gd name="T71" fmla="*/ 289 h 1173"/>
                  <a:gd name="T72" fmla="*/ 160 w 948"/>
                  <a:gd name="T73" fmla="*/ 225 h 1173"/>
                  <a:gd name="T74" fmla="*/ 175 w 948"/>
                  <a:gd name="T75" fmla="*/ 161 h 1173"/>
                  <a:gd name="T76" fmla="*/ 186 w 948"/>
                  <a:gd name="T77" fmla="*/ 97 h 1173"/>
                  <a:gd name="T78" fmla="*/ 198 w 948"/>
                  <a:gd name="T79" fmla="*/ 31 h 1173"/>
                  <a:gd name="T80" fmla="*/ 234 w 948"/>
                  <a:gd name="T81" fmla="*/ 5 h 1173"/>
                  <a:gd name="T82" fmla="*/ 293 w 948"/>
                  <a:gd name="T83" fmla="*/ 17 h 1173"/>
                  <a:gd name="T84" fmla="*/ 350 w 948"/>
                  <a:gd name="T85" fmla="*/ 28 h 1173"/>
                  <a:gd name="T86" fmla="*/ 409 w 948"/>
                  <a:gd name="T87" fmla="*/ 38 h 1173"/>
                  <a:gd name="T88" fmla="*/ 465 w 948"/>
                  <a:gd name="T89" fmla="*/ 50 h 1173"/>
                  <a:gd name="T90" fmla="*/ 522 w 948"/>
                  <a:gd name="T91" fmla="*/ 59 h 1173"/>
                  <a:gd name="T92" fmla="*/ 581 w 948"/>
                  <a:gd name="T93" fmla="*/ 71 h 1173"/>
                  <a:gd name="T94" fmla="*/ 638 w 948"/>
                  <a:gd name="T95" fmla="*/ 80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8" h="1173">
                    <a:moveTo>
                      <a:pt x="669" y="85"/>
                    </a:moveTo>
                    <a:lnTo>
                      <a:pt x="664" y="111"/>
                    </a:lnTo>
                    <a:lnTo>
                      <a:pt x="659" y="137"/>
                    </a:lnTo>
                    <a:lnTo>
                      <a:pt x="654" y="163"/>
                    </a:lnTo>
                    <a:lnTo>
                      <a:pt x="650" y="189"/>
                    </a:lnTo>
                    <a:lnTo>
                      <a:pt x="647" y="215"/>
                    </a:lnTo>
                    <a:lnTo>
                      <a:pt x="643" y="241"/>
                    </a:lnTo>
                    <a:lnTo>
                      <a:pt x="638" y="267"/>
                    </a:lnTo>
                    <a:lnTo>
                      <a:pt x="633" y="293"/>
                    </a:lnTo>
                    <a:lnTo>
                      <a:pt x="673" y="298"/>
                    </a:lnTo>
                    <a:lnTo>
                      <a:pt x="711" y="305"/>
                    </a:lnTo>
                    <a:lnTo>
                      <a:pt x="751" y="312"/>
                    </a:lnTo>
                    <a:lnTo>
                      <a:pt x="792" y="317"/>
                    </a:lnTo>
                    <a:lnTo>
                      <a:pt x="829" y="324"/>
                    </a:lnTo>
                    <a:lnTo>
                      <a:pt x="870" y="329"/>
                    </a:lnTo>
                    <a:lnTo>
                      <a:pt x="910" y="336"/>
                    </a:lnTo>
                    <a:lnTo>
                      <a:pt x="948" y="341"/>
                    </a:lnTo>
                    <a:lnTo>
                      <a:pt x="940" y="393"/>
                    </a:lnTo>
                    <a:lnTo>
                      <a:pt x="933" y="445"/>
                    </a:lnTo>
                    <a:lnTo>
                      <a:pt x="926" y="497"/>
                    </a:lnTo>
                    <a:lnTo>
                      <a:pt x="919" y="549"/>
                    </a:lnTo>
                    <a:lnTo>
                      <a:pt x="912" y="601"/>
                    </a:lnTo>
                    <a:lnTo>
                      <a:pt x="903" y="653"/>
                    </a:lnTo>
                    <a:lnTo>
                      <a:pt x="896" y="705"/>
                    </a:lnTo>
                    <a:lnTo>
                      <a:pt x="888" y="757"/>
                    </a:lnTo>
                    <a:lnTo>
                      <a:pt x="881" y="809"/>
                    </a:lnTo>
                    <a:lnTo>
                      <a:pt x="874" y="861"/>
                    </a:lnTo>
                    <a:lnTo>
                      <a:pt x="865" y="913"/>
                    </a:lnTo>
                    <a:lnTo>
                      <a:pt x="858" y="965"/>
                    </a:lnTo>
                    <a:lnTo>
                      <a:pt x="851" y="1017"/>
                    </a:lnTo>
                    <a:lnTo>
                      <a:pt x="844" y="1069"/>
                    </a:lnTo>
                    <a:lnTo>
                      <a:pt x="836" y="1121"/>
                    </a:lnTo>
                    <a:lnTo>
                      <a:pt x="829" y="1173"/>
                    </a:lnTo>
                    <a:lnTo>
                      <a:pt x="777" y="1166"/>
                    </a:lnTo>
                    <a:lnTo>
                      <a:pt x="725" y="1159"/>
                    </a:lnTo>
                    <a:lnTo>
                      <a:pt x="673" y="1149"/>
                    </a:lnTo>
                    <a:lnTo>
                      <a:pt x="621" y="1142"/>
                    </a:lnTo>
                    <a:lnTo>
                      <a:pt x="569" y="1133"/>
                    </a:lnTo>
                    <a:lnTo>
                      <a:pt x="517" y="1126"/>
                    </a:lnTo>
                    <a:lnTo>
                      <a:pt x="465" y="1116"/>
                    </a:lnTo>
                    <a:lnTo>
                      <a:pt x="413" y="1107"/>
                    </a:lnTo>
                    <a:lnTo>
                      <a:pt x="361" y="1100"/>
                    </a:lnTo>
                    <a:lnTo>
                      <a:pt x="309" y="1090"/>
                    </a:lnTo>
                    <a:lnTo>
                      <a:pt x="257" y="1081"/>
                    </a:lnTo>
                    <a:lnTo>
                      <a:pt x="205" y="1071"/>
                    </a:lnTo>
                    <a:lnTo>
                      <a:pt x="153" y="1059"/>
                    </a:lnTo>
                    <a:lnTo>
                      <a:pt x="101" y="1050"/>
                    </a:lnTo>
                    <a:lnTo>
                      <a:pt x="52" y="1040"/>
                    </a:lnTo>
                    <a:lnTo>
                      <a:pt x="0" y="1029"/>
                    </a:lnTo>
                    <a:lnTo>
                      <a:pt x="4" y="998"/>
                    </a:lnTo>
                    <a:lnTo>
                      <a:pt x="12" y="965"/>
                    </a:lnTo>
                    <a:lnTo>
                      <a:pt x="19" y="934"/>
                    </a:lnTo>
                    <a:lnTo>
                      <a:pt x="26" y="901"/>
                    </a:lnTo>
                    <a:lnTo>
                      <a:pt x="30" y="868"/>
                    </a:lnTo>
                    <a:lnTo>
                      <a:pt x="38" y="837"/>
                    </a:lnTo>
                    <a:lnTo>
                      <a:pt x="45" y="804"/>
                    </a:lnTo>
                    <a:lnTo>
                      <a:pt x="52" y="773"/>
                    </a:lnTo>
                    <a:lnTo>
                      <a:pt x="56" y="740"/>
                    </a:lnTo>
                    <a:lnTo>
                      <a:pt x="64" y="707"/>
                    </a:lnTo>
                    <a:lnTo>
                      <a:pt x="71" y="676"/>
                    </a:lnTo>
                    <a:lnTo>
                      <a:pt x="75" y="643"/>
                    </a:lnTo>
                    <a:lnTo>
                      <a:pt x="82" y="612"/>
                    </a:lnTo>
                    <a:lnTo>
                      <a:pt x="90" y="579"/>
                    </a:lnTo>
                    <a:lnTo>
                      <a:pt x="97" y="546"/>
                    </a:lnTo>
                    <a:lnTo>
                      <a:pt x="101" y="516"/>
                    </a:lnTo>
                    <a:lnTo>
                      <a:pt x="108" y="482"/>
                    </a:lnTo>
                    <a:lnTo>
                      <a:pt x="116" y="452"/>
                    </a:lnTo>
                    <a:lnTo>
                      <a:pt x="123" y="419"/>
                    </a:lnTo>
                    <a:lnTo>
                      <a:pt x="127" y="385"/>
                    </a:lnTo>
                    <a:lnTo>
                      <a:pt x="134" y="355"/>
                    </a:lnTo>
                    <a:lnTo>
                      <a:pt x="142" y="322"/>
                    </a:lnTo>
                    <a:lnTo>
                      <a:pt x="149" y="289"/>
                    </a:lnTo>
                    <a:lnTo>
                      <a:pt x="153" y="258"/>
                    </a:lnTo>
                    <a:lnTo>
                      <a:pt x="160" y="225"/>
                    </a:lnTo>
                    <a:lnTo>
                      <a:pt x="168" y="194"/>
                    </a:lnTo>
                    <a:lnTo>
                      <a:pt x="175" y="161"/>
                    </a:lnTo>
                    <a:lnTo>
                      <a:pt x="179" y="128"/>
                    </a:lnTo>
                    <a:lnTo>
                      <a:pt x="186" y="97"/>
                    </a:lnTo>
                    <a:lnTo>
                      <a:pt x="194" y="64"/>
                    </a:lnTo>
                    <a:lnTo>
                      <a:pt x="198" y="31"/>
                    </a:lnTo>
                    <a:lnTo>
                      <a:pt x="205" y="0"/>
                    </a:lnTo>
                    <a:lnTo>
                      <a:pt x="234" y="5"/>
                    </a:lnTo>
                    <a:lnTo>
                      <a:pt x="264" y="12"/>
                    </a:lnTo>
                    <a:lnTo>
                      <a:pt x="293" y="17"/>
                    </a:lnTo>
                    <a:lnTo>
                      <a:pt x="321" y="21"/>
                    </a:lnTo>
                    <a:lnTo>
                      <a:pt x="350" y="28"/>
                    </a:lnTo>
                    <a:lnTo>
                      <a:pt x="378" y="33"/>
                    </a:lnTo>
                    <a:lnTo>
                      <a:pt x="409" y="38"/>
                    </a:lnTo>
                    <a:lnTo>
                      <a:pt x="437" y="45"/>
                    </a:lnTo>
                    <a:lnTo>
                      <a:pt x="465" y="50"/>
                    </a:lnTo>
                    <a:lnTo>
                      <a:pt x="494" y="54"/>
                    </a:lnTo>
                    <a:lnTo>
                      <a:pt x="522" y="59"/>
                    </a:lnTo>
                    <a:lnTo>
                      <a:pt x="553" y="64"/>
                    </a:lnTo>
                    <a:lnTo>
                      <a:pt x="581" y="71"/>
                    </a:lnTo>
                    <a:lnTo>
                      <a:pt x="610" y="76"/>
                    </a:lnTo>
                    <a:lnTo>
                      <a:pt x="638" y="80"/>
                    </a:lnTo>
                    <a:lnTo>
                      <a:pt x="669" y="85"/>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49" name="Freeform 88">
                <a:extLst>
                  <a:ext uri="{FF2B5EF4-FFF2-40B4-BE49-F238E27FC236}">
                    <a16:creationId xmlns:a16="http://schemas.microsoft.com/office/drawing/2014/main" id="{3E8FE50A-5AC8-4A01-C1B8-A4EAAAC82701}"/>
                  </a:ext>
                </a:extLst>
              </p:cNvPr>
              <p:cNvSpPr>
                <a:spLocks noEditPoints="1"/>
              </p:cNvSpPr>
              <p:nvPr/>
            </p:nvSpPr>
            <p:spPr bwMode="auto">
              <a:xfrm>
                <a:off x="6791" y="946"/>
                <a:ext cx="1340" cy="735"/>
              </a:xfrm>
              <a:custGeom>
                <a:avLst/>
                <a:gdLst>
                  <a:gd name="T0" fmla="*/ 924 w 1340"/>
                  <a:gd name="T1" fmla="*/ 21 h 735"/>
                  <a:gd name="T2" fmla="*/ 960 w 1340"/>
                  <a:gd name="T3" fmla="*/ 49 h 735"/>
                  <a:gd name="T4" fmla="*/ 1005 w 1340"/>
                  <a:gd name="T5" fmla="*/ 68 h 735"/>
                  <a:gd name="T6" fmla="*/ 998 w 1340"/>
                  <a:gd name="T7" fmla="*/ 123 h 735"/>
                  <a:gd name="T8" fmla="*/ 993 w 1340"/>
                  <a:gd name="T9" fmla="*/ 191 h 735"/>
                  <a:gd name="T10" fmla="*/ 1059 w 1340"/>
                  <a:gd name="T11" fmla="*/ 213 h 735"/>
                  <a:gd name="T12" fmla="*/ 1161 w 1340"/>
                  <a:gd name="T13" fmla="*/ 241 h 735"/>
                  <a:gd name="T14" fmla="*/ 1180 w 1340"/>
                  <a:gd name="T15" fmla="*/ 288 h 735"/>
                  <a:gd name="T16" fmla="*/ 1090 w 1340"/>
                  <a:gd name="T17" fmla="*/ 260 h 735"/>
                  <a:gd name="T18" fmla="*/ 1028 w 1340"/>
                  <a:gd name="T19" fmla="*/ 224 h 735"/>
                  <a:gd name="T20" fmla="*/ 1125 w 1340"/>
                  <a:gd name="T21" fmla="*/ 293 h 735"/>
                  <a:gd name="T22" fmla="*/ 1177 w 1340"/>
                  <a:gd name="T23" fmla="*/ 328 h 735"/>
                  <a:gd name="T24" fmla="*/ 1177 w 1340"/>
                  <a:gd name="T25" fmla="*/ 359 h 735"/>
                  <a:gd name="T26" fmla="*/ 1158 w 1340"/>
                  <a:gd name="T27" fmla="*/ 380 h 735"/>
                  <a:gd name="T28" fmla="*/ 1147 w 1340"/>
                  <a:gd name="T29" fmla="*/ 380 h 735"/>
                  <a:gd name="T30" fmla="*/ 1208 w 1340"/>
                  <a:gd name="T31" fmla="*/ 414 h 735"/>
                  <a:gd name="T32" fmla="*/ 1184 w 1340"/>
                  <a:gd name="T33" fmla="*/ 435 h 735"/>
                  <a:gd name="T34" fmla="*/ 1137 w 1340"/>
                  <a:gd name="T35" fmla="*/ 407 h 735"/>
                  <a:gd name="T36" fmla="*/ 1052 w 1340"/>
                  <a:gd name="T37" fmla="*/ 407 h 735"/>
                  <a:gd name="T38" fmla="*/ 1144 w 1340"/>
                  <a:gd name="T39" fmla="*/ 414 h 735"/>
                  <a:gd name="T40" fmla="*/ 1201 w 1340"/>
                  <a:gd name="T41" fmla="*/ 461 h 735"/>
                  <a:gd name="T42" fmla="*/ 1274 w 1340"/>
                  <a:gd name="T43" fmla="*/ 451 h 735"/>
                  <a:gd name="T44" fmla="*/ 1300 w 1340"/>
                  <a:gd name="T45" fmla="*/ 513 h 735"/>
                  <a:gd name="T46" fmla="*/ 1125 w 1340"/>
                  <a:gd name="T47" fmla="*/ 548 h 735"/>
                  <a:gd name="T48" fmla="*/ 887 w 1340"/>
                  <a:gd name="T49" fmla="*/ 596 h 735"/>
                  <a:gd name="T50" fmla="*/ 643 w 1340"/>
                  <a:gd name="T51" fmla="*/ 638 h 735"/>
                  <a:gd name="T52" fmla="*/ 402 w 1340"/>
                  <a:gd name="T53" fmla="*/ 678 h 735"/>
                  <a:gd name="T54" fmla="*/ 296 w 1340"/>
                  <a:gd name="T55" fmla="*/ 690 h 735"/>
                  <a:gd name="T56" fmla="*/ 177 w 1340"/>
                  <a:gd name="T57" fmla="*/ 712 h 735"/>
                  <a:gd name="T58" fmla="*/ 17 w 1340"/>
                  <a:gd name="T59" fmla="*/ 723 h 735"/>
                  <a:gd name="T60" fmla="*/ 121 w 1340"/>
                  <a:gd name="T61" fmla="*/ 655 h 735"/>
                  <a:gd name="T62" fmla="*/ 149 w 1340"/>
                  <a:gd name="T63" fmla="*/ 603 h 735"/>
                  <a:gd name="T64" fmla="*/ 258 w 1340"/>
                  <a:gd name="T65" fmla="*/ 506 h 735"/>
                  <a:gd name="T66" fmla="*/ 277 w 1340"/>
                  <a:gd name="T67" fmla="*/ 541 h 735"/>
                  <a:gd name="T68" fmla="*/ 329 w 1340"/>
                  <a:gd name="T69" fmla="*/ 560 h 735"/>
                  <a:gd name="T70" fmla="*/ 364 w 1340"/>
                  <a:gd name="T71" fmla="*/ 527 h 735"/>
                  <a:gd name="T72" fmla="*/ 433 w 1340"/>
                  <a:gd name="T73" fmla="*/ 522 h 735"/>
                  <a:gd name="T74" fmla="*/ 442 w 1340"/>
                  <a:gd name="T75" fmla="*/ 496 h 735"/>
                  <a:gd name="T76" fmla="*/ 466 w 1340"/>
                  <a:gd name="T77" fmla="*/ 496 h 735"/>
                  <a:gd name="T78" fmla="*/ 523 w 1340"/>
                  <a:gd name="T79" fmla="*/ 470 h 735"/>
                  <a:gd name="T80" fmla="*/ 534 w 1340"/>
                  <a:gd name="T81" fmla="*/ 433 h 735"/>
                  <a:gd name="T82" fmla="*/ 567 w 1340"/>
                  <a:gd name="T83" fmla="*/ 340 h 735"/>
                  <a:gd name="T84" fmla="*/ 596 w 1340"/>
                  <a:gd name="T85" fmla="*/ 260 h 735"/>
                  <a:gd name="T86" fmla="*/ 615 w 1340"/>
                  <a:gd name="T87" fmla="*/ 222 h 735"/>
                  <a:gd name="T88" fmla="*/ 660 w 1340"/>
                  <a:gd name="T89" fmla="*/ 236 h 735"/>
                  <a:gd name="T90" fmla="*/ 683 w 1340"/>
                  <a:gd name="T91" fmla="*/ 184 h 735"/>
                  <a:gd name="T92" fmla="*/ 716 w 1340"/>
                  <a:gd name="T93" fmla="*/ 149 h 735"/>
                  <a:gd name="T94" fmla="*/ 740 w 1340"/>
                  <a:gd name="T95" fmla="*/ 120 h 735"/>
                  <a:gd name="T96" fmla="*/ 778 w 1340"/>
                  <a:gd name="T97" fmla="*/ 26 h 735"/>
                  <a:gd name="T98" fmla="*/ 818 w 1340"/>
                  <a:gd name="T99" fmla="*/ 21 h 735"/>
                  <a:gd name="T100" fmla="*/ 879 w 1340"/>
                  <a:gd name="T101" fmla="*/ 2 h 735"/>
                  <a:gd name="T102" fmla="*/ 1329 w 1340"/>
                  <a:gd name="T103" fmla="*/ 217 h 735"/>
                  <a:gd name="T104" fmla="*/ 1277 w 1340"/>
                  <a:gd name="T105" fmla="*/ 206 h 735"/>
                  <a:gd name="T106" fmla="*/ 1303 w 1340"/>
                  <a:gd name="T107" fmla="*/ 295 h 735"/>
                  <a:gd name="T108" fmla="*/ 1272 w 1340"/>
                  <a:gd name="T109" fmla="*/ 331 h 735"/>
                  <a:gd name="T110" fmla="*/ 1251 w 1340"/>
                  <a:gd name="T111" fmla="*/ 371 h 735"/>
                  <a:gd name="T112" fmla="*/ 1269 w 1340"/>
                  <a:gd name="T113" fmla="*/ 24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0" h="735">
                    <a:moveTo>
                      <a:pt x="879" y="2"/>
                    </a:moveTo>
                    <a:lnTo>
                      <a:pt x="889" y="9"/>
                    </a:lnTo>
                    <a:lnTo>
                      <a:pt x="913" y="14"/>
                    </a:lnTo>
                    <a:lnTo>
                      <a:pt x="924" y="21"/>
                    </a:lnTo>
                    <a:lnTo>
                      <a:pt x="922" y="31"/>
                    </a:lnTo>
                    <a:lnTo>
                      <a:pt x="922" y="38"/>
                    </a:lnTo>
                    <a:lnTo>
                      <a:pt x="927" y="42"/>
                    </a:lnTo>
                    <a:lnTo>
                      <a:pt x="960" y="49"/>
                    </a:lnTo>
                    <a:lnTo>
                      <a:pt x="981" y="61"/>
                    </a:lnTo>
                    <a:lnTo>
                      <a:pt x="993" y="66"/>
                    </a:lnTo>
                    <a:lnTo>
                      <a:pt x="995" y="66"/>
                    </a:lnTo>
                    <a:lnTo>
                      <a:pt x="1005" y="68"/>
                    </a:lnTo>
                    <a:lnTo>
                      <a:pt x="1009" y="73"/>
                    </a:lnTo>
                    <a:lnTo>
                      <a:pt x="1012" y="97"/>
                    </a:lnTo>
                    <a:lnTo>
                      <a:pt x="1007" y="111"/>
                    </a:lnTo>
                    <a:lnTo>
                      <a:pt x="998" y="123"/>
                    </a:lnTo>
                    <a:lnTo>
                      <a:pt x="986" y="142"/>
                    </a:lnTo>
                    <a:lnTo>
                      <a:pt x="983" y="156"/>
                    </a:lnTo>
                    <a:lnTo>
                      <a:pt x="986" y="184"/>
                    </a:lnTo>
                    <a:lnTo>
                      <a:pt x="993" y="191"/>
                    </a:lnTo>
                    <a:lnTo>
                      <a:pt x="1000" y="194"/>
                    </a:lnTo>
                    <a:lnTo>
                      <a:pt x="1019" y="182"/>
                    </a:lnTo>
                    <a:lnTo>
                      <a:pt x="1031" y="184"/>
                    </a:lnTo>
                    <a:lnTo>
                      <a:pt x="1059" y="213"/>
                    </a:lnTo>
                    <a:lnTo>
                      <a:pt x="1104" y="215"/>
                    </a:lnTo>
                    <a:lnTo>
                      <a:pt x="1123" y="220"/>
                    </a:lnTo>
                    <a:lnTo>
                      <a:pt x="1139" y="234"/>
                    </a:lnTo>
                    <a:lnTo>
                      <a:pt x="1161" y="241"/>
                    </a:lnTo>
                    <a:lnTo>
                      <a:pt x="1177" y="250"/>
                    </a:lnTo>
                    <a:lnTo>
                      <a:pt x="1180" y="260"/>
                    </a:lnTo>
                    <a:lnTo>
                      <a:pt x="1177" y="272"/>
                    </a:lnTo>
                    <a:lnTo>
                      <a:pt x="1180" y="288"/>
                    </a:lnTo>
                    <a:lnTo>
                      <a:pt x="1175" y="298"/>
                    </a:lnTo>
                    <a:lnTo>
                      <a:pt x="1161" y="302"/>
                    </a:lnTo>
                    <a:lnTo>
                      <a:pt x="1149" y="302"/>
                    </a:lnTo>
                    <a:lnTo>
                      <a:pt x="1090" y="260"/>
                    </a:lnTo>
                    <a:lnTo>
                      <a:pt x="1083" y="258"/>
                    </a:lnTo>
                    <a:lnTo>
                      <a:pt x="1059" y="234"/>
                    </a:lnTo>
                    <a:lnTo>
                      <a:pt x="1035" y="224"/>
                    </a:lnTo>
                    <a:lnTo>
                      <a:pt x="1028" y="224"/>
                    </a:lnTo>
                    <a:lnTo>
                      <a:pt x="1064" y="246"/>
                    </a:lnTo>
                    <a:lnTo>
                      <a:pt x="1080" y="262"/>
                    </a:lnTo>
                    <a:lnTo>
                      <a:pt x="1109" y="284"/>
                    </a:lnTo>
                    <a:lnTo>
                      <a:pt x="1125" y="293"/>
                    </a:lnTo>
                    <a:lnTo>
                      <a:pt x="1142" y="307"/>
                    </a:lnTo>
                    <a:lnTo>
                      <a:pt x="1154" y="314"/>
                    </a:lnTo>
                    <a:lnTo>
                      <a:pt x="1187" y="319"/>
                    </a:lnTo>
                    <a:lnTo>
                      <a:pt x="1177" y="328"/>
                    </a:lnTo>
                    <a:lnTo>
                      <a:pt x="1196" y="333"/>
                    </a:lnTo>
                    <a:lnTo>
                      <a:pt x="1201" y="345"/>
                    </a:lnTo>
                    <a:lnTo>
                      <a:pt x="1203" y="362"/>
                    </a:lnTo>
                    <a:lnTo>
                      <a:pt x="1177" y="359"/>
                    </a:lnTo>
                    <a:lnTo>
                      <a:pt x="1180" y="371"/>
                    </a:lnTo>
                    <a:lnTo>
                      <a:pt x="1184" y="378"/>
                    </a:lnTo>
                    <a:lnTo>
                      <a:pt x="1175" y="385"/>
                    </a:lnTo>
                    <a:lnTo>
                      <a:pt x="1158" y="380"/>
                    </a:lnTo>
                    <a:lnTo>
                      <a:pt x="1113" y="347"/>
                    </a:lnTo>
                    <a:lnTo>
                      <a:pt x="1116" y="354"/>
                    </a:lnTo>
                    <a:lnTo>
                      <a:pt x="1121" y="359"/>
                    </a:lnTo>
                    <a:lnTo>
                      <a:pt x="1147" y="380"/>
                    </a:lnTo>
                    <a:lnTo>
                      <a:pt x="1168" y="392"/>
                    </a:lnTo>
                    <a:lnTo>
                      <a:pt x="1187" y="395"/>
                    </a:lnTo>
                    <a:lnTo>
                      <a:pt x="1201" y="407"/>
                    </a:lnTo>
                    <a:lnTo>
                      <a:pt x="1208" y="414"/>
                    </a:lnTo>
                    <a:lnTo>
                      <a:pt x="1213" y="425"/>
                    </a:lnTo>
                    <a:lnTo>
                      <a:pt x="1206" y="435"/>
                    </a:lnTo>
                    <a:lnTo>
                      <a:pt x="1196" y="442"/>
                    </a:lnTo>
                    <a:lnTo>
                      <a:pt x="1184" y="435"/>
                    </a:lnTo>
                    <a:lnTo>
                      <a:pt x="1175" y="428"/>
                    </a:lnTo>
                    <a:lnTo>
                      <a:pt x="1156" y="418"/>
                    </a:lnTo>
                    <a:lnTo>
                      <a:pt x="1149" y="402"/>
                    </a:lnTo>
                    <a:lnTo>
                      <a:pt x="1137" y="407"/>
                    </a:lnTo>
                    <a:lnTo>
                      <a:pt x="1083" y="395"/>
                    </a:lnTo>
                    <a:lnTo>
                      <a:pt x="1040" y="402"/>
                    </a:lnTo>
                    <a:lnTo>
                      <a:pt x="1045" y="404"/>
                    </a:lnTo>
                    <a:lnTo>
                      <a:pt x="1052" y="407"/>
                    </a:lnTo>
                    <a:lnTo>
                      <a:pt x="1085" y="404"/>
                    </a:lnTo>
                    <a:lnTo>
                      <a:pt x="1099" y="411"/>
                    </a:lnTo>
                    <a:lnTo>
                      <a:pt x="1128" y="414"/>
                    </a:lnTo>
                    <a:lnTo>
                      <a:pt x="1144" y="414"/>
                    </a:lnTo>
                    <a:lnTo>
                      <a:pt x="1156" y="437"/>
                    </a:lnTo>
                    <a:lnTo>
                      <a:pt x="1180" y="451"/>
                    </a:lnTo>
                    <a:lnTo>
                      <a:pt x="1187" y="463"/>
                    </a:lnTo>
                    <a:lnTo>
                      <a:pt x="1201" y="461"/>
                    </a:lnTo>
                    <a:lnTo>
                      <a:pt x="1225" y="444"/>
                    </a:lnTo>
                    <a:lnTo>
                      <a:pt x="1241" y="444"/>
                    </a:lnTo>
                    <a:lnTo>
                      <a:pt x="1265" y="442"/>
                    </a:lnTo>
                    <a:lnTo>
                      <a:pt x="1274" y="451"/>
                    </a:lnTo>
                    <a:lnTo>
                      <a:pt x="1281" y="470"/>
                    </a:lnTo>
                    <a:lnTo>
                      <a:pt x="1295" y="492"/>
                    </a:lnTo>
                    <a:lnTo>
                      <a:pt x="1305" y="511"/>
                    </a:lnTo>
                    <a:lnTo>
                      <a:pt x="1300" y="513"/>
                    </a:lnTo>
                    <a:lnTo>
                      <a:pt x="1288" y="515"/>
                    </a:lnTo>
                    <a:lnTo>
                      <a:pt x="1246" y="525"/>
                    </a:lnTo>
                    <a:lnTo>
                      <a:pt x="1187" y="537"/>
                    </a:lnTo>
                    <a:lnTo>
                      <a:pt x="1125" y="548"/>
                    </a:lnTo>
                    <a:lnTo>
                      <a:pt x="1066" y="563"/>
                    </a:lnTo>
                    <a:lnTo>
                      <a:pt x="1007" y="574"/>
                    </a:lnTo>
                    <a:lnTo>
                      <a:pt x="946" y="584"/>
                    </a:lnTo>
                    <a:lnTo>
                      <a:pt x="887" y="596"/>
                    </a:lnTo>
                    <a:lnTo>
                      <a:pt x="825" y="607"/>
                    </a:lnTo>
                    <a:lnTo>
                      <a:pt x="764" y="619"/>
                    </a:lnTo>
                    <a:lnTo>
                      <a:pt x="705" y="629"/>
                    </a:lnTo>
                    <a:lnTo>
                      <a:pt x="643" y="638"/>
                    </a:lnTo>
                    <a:lnTo>
                      <a:pt x="584" y="650"/>
                    </a:lnTo>
                    <a:lnTo>
                      <a:pt x="523" y="660"/>
                    </a:lnTo>
                    <a:lnTo>
                      <a:pt x="461" y="669"/>
                    </a:lnTo>
                    <a:lnTo>
                      <a:pt x="402" y="678"/>
                    </a:lnTo>
                    <a:lnTo>
                      <a:pt x="341" y="688"/>
                    </a:lnTo>
                    <a:lnTo>
                      <a:pt x="338" y="686"/>
                    </a:lnTo>
                    <a:lnTo>
                      <a:pt x="315" y="688"/>
                    </a:lnTo>
                    <a:lnTo>
                      <a:pt x="296" y="690"/>
                    </a:lnTo>
                    <a:lnTo>
                      <a:pt x="289" y="695"/>
                    </a:lnTo>
                    <a:lnTo>
                      <a:pt x="253" y="700"/>
                    </a:lnTo>
                    <a:lnTo>
                      <a:pt x="225" y="704"/>
                    </a:lnTo>
                    <a:lnTo>
                      <a:pt x="177" y="712"/>
                    </a:lnTo>
                    <a:lnTo>
                      <a:pt x="121" y="721"/>
                    </a:lnTo>
                    <a:lnTo>
                      <a:pt x="38" y="730"/>
                    </a:lnTo>
                    <a:lnTo>
                      <a:pt x="0" y="735"/>
                    </a:lnTo>
                    <a:lnTo>
                      <a:pt x="17" y="723"/>
                    </a:lnTo>
                    <a:lnTo>
                      <a:pt x="40" y="714"/>
                    </a:lnTo>
                    <a:lnTo>
                      <a:pt x="83" y="690"/>
                    </a:lnTo>
                    <a:lnTo>
                      <a:pt x="99" y="671"/>
                    </a:lnTo>
                    <a:lnTo>
                      <a:pt x="121" y="655"/>
                    </a:lnTo>
                    <a:lnTo>
                      <a:pt x="130" y="638"/>
                    </a:lnTo>
                    <a:lnTo>
                      <a:pt x="144" y="622"/>
                    </a:lnTo>
                    <a:lnTo>
                      <a:pt x="149" y="605"/>
                    </a:lnTo>
                    <a:lnTo>
                      <a:pt x="149" y="603"/>
                    </a:lnTo>
                    <a:lnTo>
                      <a:pt x="175" y="584"/>
                    </a:lnTo>
                    <a:lnTo>
                      <a:pt x="201" y="560"/>
                    </a:lnTo>
                    <a:lnTo>
                      <a:pt x="255" y="501"/>
                    </a:lnTo>
                    <a:lnTo>
                      <a:pt x="258" y="506"/>
                    </a:lnTo>
                    <a:lnTo>
                      <a:pt x="258" y="515"/>
                    </a:lnTo>
                    <a:lnTo>
                      <a:pt x="265" y="522"/>
                    </a:lnTo>
                    <a:lnTo>
                      <a:pt x="270" y="534"/>
                    </a:lnTo>
                    <a:lnTo>
                      <a:pt x="277" y="541"/>
                    </a:lnTo>
                    <a:lnTo>
                      <a:pt x="286" y="546"/>
                    </a:lnTo>
                    <a:lnTo>
                      <a:pt x="300" y="551"/>
                    </a:lnTo>
                    <a:lnTo>
                      <a:pt x="317" y="558"/>
                    </a:lnTo>
                    <a:lnTo>
                      <a:pt x="329" y="560"/>
                    </a:lnTo>
                    <a:lnTo>
                      <a:pt x="333" y="558"/>
                    </a:lnTo>
                    <a:lnTo>
                      <a:pt x="345" y="546"/>
                    </a:lnTo>
                    <a:lnTo>
                      <a:pt x="355" y="539"/>
                    </a:lnTo>
                    <a:lnTo>
                      <a:pt x="364" y="527"/>
                    </a:lnTo>
                    <a:lnTo>
                      <a:pt x="388" y="539"/>
                    </a:lnTo>
                    <a:lnTo>
                      <a:pt x="395" y="537"/>
                    </a:lnTo>
                    <a:lnTo>
                      <a:pt x="414" y="527"/>
                    </a:lnTo>
                    <a:lnTo>
                      <a:pt x="433" y="522"/>
                    </a:lnTo>
                    <a:lnTo>
                      <a:pt x="437" y="520"/>
                    </a:lnTo>
                    <a:lnTo>
                      <a:pt x="445" y="513"/>
                    </a:lnTo>
                    <a:lnTo>
                      <a:pt x="442" y="501"/>
                    </a:lnTo>
                    <a:lnTo>
                      <a:pt x="442" y="496"/>
                    </a:lnTo>
                    <a:lnTo>
                      <a:pt x="445" y="494"/>
                    </a:lnTo>
                    <a:lnTo>
                      <a:pt x="449" y="494"/>
                    </a:lnTo>
                    <a:lnTo>
                      <a:pt x="459" y="496"/>
                    </a:lnTo>
                    <a:lnTo>
                      <a:pt x="466" y="496"/>
                    </a:lnTo>
                    <a:lnTo>
                      <a:pt x="499" y="475"/>
                    </a:lnTo>
                    <a:lnTo>
                      <a:pt x="501" y="475"/>
                    </a:lnTo>
                    <a:lnTo>
                      <a:pt x="508" y="482"/>
                    </a:lnTo>
                    <a:lnTo>
                      <a:pt x="523" y="470"/>
                    </a:lnTo>
                    <a:lnTo>
                      <a:pt x="530" y="461"/>
                    </a:lnTo>
                    <a:lnTo>
                      <a:pt x="532" y="449"/>
                    </a:lnTo>
                    <a:lnTo>
                      <a:pt x="537" y="437"/>
                    </a:lnTo>
                    <a:lnTo>
                      <a:pt x="534" y="433"/>
                    </a:lnTo>
                    <a:lnTo>
                      <a:pt x="530" y="425"/>
                    </a:lnTo>
                    <a:lnTo>
                      <a:pt x="532" y="409"/>
                    </a:lnTo>
                    <a:lnTo>
                      <a:pt x="539" y="392"/>
                    </a:lnTo>
                    <a:lnTo>
                      <a:pt x="567" y="340"/>
                    </a:lnTo>
                    <a:lnTo>
                      <a:pt x="572" y="310"/>
                    </a:lnTo>
                    <a:lnTo>
                      <a:pt x="584" y="291"/>
                    </a:lnTo>
                    <a:lnTo>
                      <a:pt x="586" y="274"/>
                    </a:lnTo>
                    <a:lnTo>
                      <a:pt x="596" y="260"/>
                    </a:lnTo>
                    <a:lnTo>
                      <a:pt x="598" y="229"/>
                    </a:lnTo>
                    <a:lnTo>
                      <a:pt x="601" y="222"/>
                    </a:lnTo>
                    <a:lnTo>
                      <a:pt x="608" y="220"/>
                    </a:lnTo>
                    <a:lnTo>
                      <a:pt x="615" y="222"/>
                    </a:lnTo>
                    <a:lnTo>
                      <a:pt x="622" y="227"/>
                    </a:lnTo>
                    <a:lnTo>
                      <a:pt x="627" y="234"/>
                    </a:lnTo>
                    <a:lnTo>
                      <a:pt x="645" y="239"/>
                    </a:lnTo>
                    <a:lnTo>
                      <a:pt x="660" y="236"/>
                    </a:lnTo>
                    <a:lnTo>
                      <a:pt x="669" y="229"/>
                    </a:lnTo>
                    <a:lnTo>
                      <a:pt x="674" y="217"/>
                    </a:lnTo>
                    <a:lnTo>
                      <a:pt x="679" y="198"/>
                    </a:lnTo>
                    <a:lnTo>
                      <a:pt x="683" y="184"/>
                    </a:lnTo>
                    <a:lnTo>
                      <a:pt x="686" y="170"/>
                    </a:lnTo>
                    <a:lnTo>
                      <a:pt x="690" y="158"/>
                    </a:lnTo>
                    <a:lnTo>
                      <a:pt x="697" y="151"/>
                    </a:lnTo>
                    <a:lnTo>
                      <a:pt x="716" y="149"/>
                    </a:lnTo>
                    <a:lnTo>
                      <a:pt x="726" y="137"/>
                    </a:lnTo>
                    <a:lnTo>
                      <a:pt x="731" y="125"/>
                    </a:lnTo>
                    <a:lnTo>
                      <a:pt x="735" y="120"/>
                    </a:lnTo>
                    <a:lnTo>
                      <a:pt x="740" y="120"/>
                    </a:lnTo>
                    <a:lnTo>
                      <a:pt x="757" y="101"/>
                    </a:lnTo>
                    <a:lnTo>
                      <a:pt x="773" y="64"/>
                    </a:lnTo>
                    <a:lnTo>
                      <a:pt x="773" y="42"/>
                    </a:lnTo>
                    <a:lnTo>
                      <a:pt x="778" y="26"/>
                    </a:lnTo>
                    <a:lnTo>
                      <a:pt x="775" y="9"/>
                    </a:lnTo>
                    <a:lnTo>
                      <a:pt x="778" y="0"/>
                    </a:lnTo>
                    <a:lnTo>
                      <a:pt x="804" y="12"/>
                    </a:lnTo>
                    <a:lnTo>
                      <a:pt x="818" y="21"/>
                    </a:lnTo>
                    <a:lnTo>
                      <a:pt x="849" y="38"/>
                    </a:lnTo>
                    <a:lnTo>
                      <a:pt x="870" y="47"/>
                    </a:lnTo>
                    <a:lnTo>
                      <a:pt x="872" y="28"/>
                    </a:lnTo>
                    <a:lnTo>
                      <a:pt x="879" y="2"/>
                    </a:lnTo>
                    <a:close/>
                    <a:moveTo>
                      <a:pt x="1336" y="184"/>
                    </a:moveTo>
                    <a:lnTo>
                      <a:pt x="1340" y="182"/>
                    </a:lnTo>
                    <a:lnTo>
                      <a:pt x="1340" y="182"/>
                    </a:lnTo>
                    <a:lnTo>
                      <a:pt x="1329" y="217"/>
                    </a:lnTo>
                    <a:lnTo>
                      <a:pt x="1324" y="222"/>
                    </a:lnTo>
                    <a:lnTo>
                      <a:pt x="1336" y="184"/>
                    </a:lnTo>
                    <a:close/>
                    <a:moveTo>
                      <a:pt x="1274" y="217"/>
                    </a:moveTo>
                    <a:lnTo>
                      <a:pt x="1277" y="206"/>
                    </a:lnTo>
                    <a:lnTo>
                      <a:pt x="1300" y="198"/>
                    </a:lnTo>
                    <a:lnTo>
                      <a:pt x="1317" y="191"/>
                    </a:lnTo>
                    <a:lnTo>
                      <a:pt x="1298" y="281"/>
                    </a:lnTo>
                    <a:lnTo>
                      <a:pt x="1303" y="295"/>
                    </a:lnTo>
                    <a:lnTo>
                      <a:pt x="1298" y="302"/>
                    </a:lnTo>
                    <a:lnTo>
                      <a:pt x="1286" y="307"/>
                    </a:lnTo>
                    <a:lnTo>
                      <a:pt x="1279" y="319"/>
                    </a:lnTo>
                    <a:lnTo>
                      <a:pt x="1272" y="331"/>
                    </a:lnTo>
                    <a:lnTo>
                      <a:pt x="1272" y="359"/>
                    </a:lnTo>
                    <a:lnTo>
                      <a:pt x="1265" y="392"/>
                    </a:lnTo>
                    <a:lnTo>
                      <a:pt x="1255" y="380"/>
                    </a:lnTo>
                    <a:lnTo>
                      <a:pt x="1251" y="371"/>
                    </a:lnTo>
                    <a:lnTo>
                      <a:pt x="1248" y="343"/>
                    </a:lnTo>
                    <a:lnTo>
                      <a:pt x="1251" y="293"/>
                    </a:lnTo>
                    <a:lnTo>
                      <a:pt x="1260" y="262"/>
                    </a:lnTo>
                    <a:lnTo>
                      <a:pt x="1269" y="246"/>
                    </a:lnTo>
                    <a:lnTo>
                      <a:pt x="1274" y="21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50" name="Freeform 89">
                <a:extLst>
                  <a:ext uri="{FF2B5EF4-FFF2-40B4-BE49-F238E27FC236}">
                    <a16:creationId xmlns:a16="http://schemas.microsoft.com/office/drawing/2014/main" id="{E4DFC566-A2B4-8435-719A-86F258825C90}"/>
                  </a:ext>
                </a:extLst>
              </p:cNvPr>
              <p:cNvSpPr>
                <a:spLocks/>
              </p:cNvSpPr>
              <p:nvPr/>
            </p:nvSpPr>
            <p:spPr bwMode="auto">
              <a:xfrm>
                <a:off x="8072" y="-437"/>
                <a:ext cx="282" cy="527"/>
              </a:xfrm>
              <a:custGeom>
                <a:avLst/>
                <a:gdLst>
                  <a:gd name="T0" fmla="*/ 237 w 282"/>
                  <a:gd name="T1" fmla="*/ 506 h 527"/>
                  <a:gd name="T2" fmla="*/ 206 w 282"/>
                  <a:gd name="T3" fmla="*/ 513 h 527"/>
                  <a:gd name="T4" fmla="*/ 175 w 282"/>
                  <a:gd name="T5" fmla="*/ 517 h 527"/>
                  <a:gd name="T6" fmla="*/ 147 w 282"/>
                  <a:gd name="T7" fmla="*/ 524 h 527"/>
                  <a:gd name="T8" fmla="*/ 123 w 282"/>
                  <a:gd name="T9" fmla="*/ 517 h 527"/>
                  <a:gd name="T10" fmla="*/ 121 w 282"/>
                  <a:gd name="T11" fmla="*/ 491 h 527"/>
                  <a:gd name="T12" fmla="*/ 111 w 282"/>
                  <a:gd name="T13" fmla="*/ 451 h 527"/>
                  <a:gd name="T14" fmla="*/ 100 w 282"/>
                  <a:gd name="T15" fmla="*/ 404 h 527"/>
                  <a:gd name="T16" fmla="*/ 90 w 282"/>
                  <a:gd name="T17" fmla="*/ 364 h 527"/>
                  <a:gd name="T18" fmla="*/ 74 w 282"/>
                  <a:gd name="T19" fmla="*/ 352 h 527"/>
                  <a:gd name="T20" fmla="*/ 69 w 282"/>
                  <a:gd name="T21" fmla="*/ 364 h 527"/>
                  <a:gd name="T22" fmla="*/ 64 w 282"/>
                  <a:gd name="T23" fmla="*/ 364 h 527"/>
                  <a:gd name="T24" fmla="*/ 59 w 282"/>
                  <a:gd name="T25" fmla="*/ 326 h 527"/>
                  <a:gd name="T26" fmla="*/ 55 w 282"/>
                  <a:gd name="T27" fmla="*/ 302 h 527"/>
                  <a:gd name="T28" fmla="*/ 36 w 282"/>
                  <a:gd name="T29" fmla="*/ 264 h 527"/>
                  <a:gd name="T30" fmla="*/ 38 w 282"/>
                  <a:gd name="T31" fmla="*/ 238 h 527"/>
                  <a:gd name="T32" fmla="*/ 43 w 282"/>
                  <a:gd name="T33" fmla="*/ 219 h 527"/>
                  <a:gd name="T34" fmla="*/ 33 w 282"/>
                  <a:gd name="T35" fmla="*/ 182 h 527"/>
                  <a:gd name="T36" fmla="*/ 12 w 282"/>
                  <a:gd name="T37" fmla="*/ 118 h 527"/>
                  <a:gd name="T38" fmla="*/ 3 w 282"/>
                  <a:gd name="T39" fmla="*/ 85 h 527"/>
                  <a:gd name="T40" fmla="*/ 24 w 282"/>
                  <a:gd name="T41" fmla="*/ 63 h 527"/>
                  <a:gd name="T42" fmla="*/ 144 w 282"/>
                  <a:gd name="T43" fmla="*/ 33 h 527"/>
                  <a:gd name="T44" fmla="*/ 265 w 282"/>
                  <a:gd name="T45" fmla="*/ 0 h 527"/>
                  <a:gd name="T46" fmla="*/ 272 w 282"/>
                  <a:gd name="T47" fmla="*/ 18 h 527"/>
                  <a:gd name="T48" fmla="*/ 267 w 282"/>
                  <a:gd name="T49" fmla="*/ 61 h 527"/>
                  <a:gd name="T50" fmla="*/ 282 w 282"/>
                  <a:gd name="T51" fmla="*/ 89 h 527"/>
                  <a:gd name="T52" fmla="*/ 279 w 282"/>
                  <a:gd name="T53" fmla="*/ 104 h 527"/>
                  <a:gd name="T54" fmla="*/ 272 w 282"/>
                  <a:gd name="T55" fmla="*/ 120 h 527"/>
                  <a:gd name="T56" fmla="*/ 251 w 282"/>
                  <a:gd name="T57" fmla="*/ 146 h 527"/>
                  <a:gd name="T58" fmla="*/ 230 w 282"/>
                  <a:gd name="T59" fmla="*/ 165 h 527"/>
                  <a:gd name="T60" fmla="*/ 234 w 282"/>
                  <a:gd name="T61" fmla="*/ 227 h 527"/>
                  <a:gd name="T62" fmla="*/ 232 w 282"/>
                  <a:gd name="T63" fmla="*/ 255 h 527"/>
                  <a:gd name="T64" fmla="*/ 223 w 282"/>
                  <a:gd name="T65" fmla="*/ 295 h 527"/>
                  <a:gd name="T66" fmla="*/ 220 w 282"/>
                  <a:gd name="T67" fmla="*/ 324 h 527"/>
                  <a:gd name="T68" fmla="*/ 227 w 282"/>
                  <a:gd name="T69" fmla="*/ 376 h 527"/>
                  <a:gd name="T70" fmla="*/ 234 w 282"/>
                  <a:gd name="T71" fmla="*/ 439 h 527"/>
                  <a:gd name="T72" fmla="*/ 230 w 282"/>
                  <a:gd name="T73" fmla="*/ 456 h 527"/>
                  <a:gd name="T74" fmla="*/ 232 w 282"/>
                  <a:gd name="T75" fmla="*/ 480 h 527"/>
                  <a:gd name="T76" fmla="*/ 246 w 282"/>
                  <a:gd name="T77" fmla="*/ 496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527">
                    <a:moveTo>
                      <a:pt x="251" y="501"/>
                    </a:moveTo>
                    <a:lnTo>
                      <a:pt x="237" y="506"/>
                    </a:lnTo>
                    <a:lnTo>
                      <a:pt x="220" y="508"/>
                    </a:lnTo>
                    <a:lnTo>
                      <a:pt x="206" y="513"/>
                    </a:lnTo>
                    <a:lnTo>
                      <a:pt x="192" y="515"/>
                    </a:lnTo>
                    <a:lnTo>
                      <a:pt x="175" y="517"/>
                    </a:lnTo>
                    <a:lnTo>
                      <a:pt x="161" y="522"/>
                    </a:lnTo>
                    <a:lnTo>
                      <a:pt x="147" y="524"/>
                    </a:lnTo>
                    <a:lnTo>
                      <a:pt x="130" y="527"/>
                    </a:lnTo>
                    <a:lnTo>
                      <a:pt x="123" y="517"/>
                    </a:lnTo>
                    <a:lnTo>
                      <a:pt x="123" y="506"/>
                    </a:lnTo>
                    <a:lnTo>
                      <a:pt x="121" y="491"/>
                    </a:lnTo>
                    <a:lnTo>
                      <a:pt x="116" y="472"/>
                    </a:lnTo>
                    <a:lnTo>
                      <a:pt x="111" y="451"/>
                    </a:lnTo>
                    <a:lnTo>
                      <a:pt x="104" y="423"/>
                    </a:lnTo>
                    <a:lnTo>
                      <a:pt x="100" y="404"/>
                    </a:lnTo>
                    <a:lnTo>
                      <a:pt x="95" y="387"/>
                    </a:lnTo>
                    <a:lnTo>
                      <a:pt x="90" y="364"/>
                    </a:lnTo>
                    <a:lnTo>
                      <a:pt x="78" y="354"/>
                    </a:lnTo>
                    <a:lnTo>
                      <a:pt x="74" y="352"/>
                    </a:lnTo>
                    <a:lnTo>
                      <a:pt x="71" y="354"/>
                    </a:lnTo>
                    <a:lnTo>
                      <a:pt x="69" y="364"/>
                    </a:lnTo>
                    <a:lnTo>
                      <a:pt x="66" y="364"/>
                    </a:lnTo>
                    <a:lnTo>
                      <a:pt x="64" y="364"/>
                    </a:lnTo>
                    <a:lnTo>
                      <a:pt x="62" y="354"/>
                    </a:lnTo>
                    <a:lnTo>
                      <a:pt x="59" y="326"/>
                    </a:lnTo>
                    <a:lnTo>
                      <a:pt x="59" y="316"/>
                    </a:lnTo>
                    <a:lnTo>
                      <a:pt x="55" y="302"/>
                    </a:lnTo>
                    <a:lnTo>
                      <a:pt x="38" y="271"/>
                    </a:lnTo>
                    <a:lnTo>
                      <a:pt x="36" y="264"/>
                    </a:lnTo>
                    <a:lnTo>
                      <a:pt x="36" y="253"/>
                    </a:lnTo>
                    <a:lnTo>
                      <a:pt x="38" y="238"/>
                    </a:lnTo>
                    <a:lnTo>
                      <a:pt x="43" y="227"/>
                    </a:lnTo>
                    <a:lnTo>
                      <a:pt x="43" y="219"/>
                    </a:lnTo>
                    <a:lnTo>
                      <a:pt x="36" y="201"/>
                    </a:lnTo>
                    <a:lnTo>
                      <a:pt x="33" y="182"/>
                    </a:lnTo>
                    <a:lnTo>
                      <a:pt x="17" y="156"/>
                    </a:lnTo>
                    <a:lnTo>
                      <a:pt x="12" y="118"/>
                    </a:lnTo>
                    <a:lnTo>
                      <a:pt x="5" y="101"/>
                    </a:lnTo>
                    <a:lnTo>
                      <a:pt x="3" y="85"/>
                    </a:lnTo>
                    <a:lnTo>
                      <a:pt x="0" y="71"/>
                    </a:lnTo>
                    <a:lnTo>
                      <a:pt x="24" y="63"/>
                    </a:lnTo>
                    <a:lnTo>
                      <a:pt x="85" y="49"/>
                    </a:lnTo>
                    <a:lnTo>
                      <a:pt x="144" y="33"/>
                    </a:lnTo>
                    <a:lnTo>
                      <a:pt x="206" y="16"/>
                    </a:lnTo>
                    <a:lnTo>
                      <a:pt x="265" y="0"/>
                    </a:lnTo>
                    <a:lnTo>
                      <a:pt x="265" y="4"/>
                    </a:lnTo>
                    <a:lnTo>
                      <a:pt x="272" y="18"/>
                    </a:lnTo>
                    <a:lnTo>
                      <a:pt x="263" y="52"/>
                    </a:lnTo>
                    <a:lnTo>
                      <a:pt x="267" y="61"/>
                    </a:lnTo>
                    <a:lnTo>
                      <a:pt x="279" y="82"/>
                    </a:lnTo>
                    <a:lnTo>
                      <a:pt x="282" y="89"/>
                    </a:lnTo>
                    <a:lnTo>
                      <a:pt x="279" y="92"/>
                    </a:lnTo>
                    <a:lnTo>
                      <a:pt x="279" y="104"/>
                    </a:lnTo>
                    <a:lnTo>
                      <a:pt x="277" y="111"/>
                    </a:lnTo>
                    <a:lnTo>
                      <a:pt x="272" y="120"/>
                    </a:lnTo>
                    <a:lnTo>
                      <a:pt x="256" y="141"/>
                    </a:lnTo>
                    <a:lnTo>
                      <a:pt x="251" y="146"/>
                    </a:lnTo>
                    <a:lnTo>
                      <a:pt x="232" y="158"/>
                    </a:lnTo>
                    <a:lnTo>
                      <a:pt x="230" y="165"/>
                    </a:lnTo>
                    <a:lnTo>
                      <a:pt x="234" y="203"/>
                    </a:lnTo>
                    <a:lnTo>
                      <a:pt x="234" y="227"/>
                    </a:lnTo>
                    <a:lnTo>
                      <a:pt x="237" y="236"/>
                    </a:lnTo>
                    <a:lnTo>
                      <a:pt x="232" y="255"/>
                    </a:lnTo>
                    <a:lnTo>
                      <a:pt x="230" y="276"/>
                    </a:lnTo>
                    <a:lnTo>
                      <a:pt x="223" y="295"/>
                    </a:lnTo>
                    <a:lnTo>
                      <a:pt x="223" y="314"/>
                    </a:lnTo>
                    <a:lnTo>
                      <a:pt x="220" y="324"/>
                    </a:lnTo>
                    <a:lnTo>
                      <a:pt x="220" y="335"/>
                    </a:lnTo>
                    <a:lnTo>
                      <a:pt x="227" y="376"/>
                    </a:lnTo>
                    <a:lnTo>
                      <a:pt x="227" y="399"/>
                    </a:lnTo>
                    <a:lnTo>
                      <a:pt x="234" y="439"/>
                    </a:lnTo>
                    <a:lnTo>
                      <a:pt x="232" y="449"/>
                    </a:lnTo>
                    <a:lnTo>
                      <a:pt x="230" y="456"/>
                    </a:lnTo>
                    <a:lnTo>
                      <a:pt x="230" y="472"/>
                    </a:lnTo>
                    <a:lnTo>
                      <a:pt x="232" y="480"/>
                    </a:lnTo>
                    <a:lnTo>
                      <a:pt x="234" y="484"/>
                    </a:lnTo>
                    <a:lnTo>
                      <a:pt x="246" y="496"/>
                    </a:lnTo>
                    <a:lnTo>
                      <a:pt x="251" y="50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51" name="Freeform 90">
                <a:extLst>
                  <a:ext uri="{FF2B5EF4-FFF2-40B4-BE49-F238E27FC236}">
                    <a16:creationId xmlns:a16="http://schemas.microsoft.com/office/drawing/2014/main" id="{C3F8A9B5-404F-2E48-A265-1E91CA32CD74}"/>
                  </a:ext>
                </a:extLst>
              </p:cNvPr>
              <p:cNvSpPr>
                <a:spLocks noEditPoints="1"/>
              </p:cNvSpPr>
              <p:nvPr/>
            </p:nvSpPr>
            <p:spPr bwMode="auto">
              <a:xfrm>
                <a:off x="645" y="-1357"/>
                <a:ext cx="1130" cy="849"/>
              </a:xfrm>
              <a:custGeom>
                <a:avLst/>
                <a:gdLst>
                  <a:gd name="T0" fmla="*/ 816 w 1130"/>
                  <a:gd name="T1" fmla="*/ 801 h 849"/>
                  <a:gd name="T2" fmla="*/ 674 w 1130"/>
                  <a:gd name="T3" fmla="*/ 778 h 849"/>
                  <a:gd name="T4" fmla="*/ 390 w 1130"/>
                  <a:gd name="T5" fmla="*/ 768 h 849"/>
                  <a:gd name="T6" fmla="*/ 239 w 1130"/>
                  <a:gd name="T7" fmla="*/ 733 h 849"/>
                  <a:gd name="T8" fmla="*/ 152 w 1130"/>
                  <a:gd name="T9" fmla="*/ 690 h 849"/>
                  <a:gd name="T10" fmla="*/ 111 w 1130"/>
                  <a:gd name="T11" fmla="*/ 572 h 849"/>
                  <a:gd name="T12" fmla="*/ 55 w 1130"/>
                  <a:gd name="T13" fmla="*/ 522 h 849"/>
                  <a:gd name="T14" fmla="*/ 24 w 1130"/>
                  <a:gd name="T15" fmla="*/ 444 h 849"/>
                  <a:gd name="T16" fmla="*/ 31 w 1130"/>
                  <a:gd name="T17" fmla="*/ 416 h 849"/>
                  <a:gd name="T18" fmla="*/ 40 w 1130"/>
                  <a:gd name="T19" fmla="*/ 362 h 849"/>
                  <a:gd name="T20" fmla="*/ 48 w 1130"/>
                  <a:gd name="T21" fmla="*/ 217 h 849"/>
                  <a:gd name="T22" fmla="*/ 50 w 1130"/>
                  <a:gd name="T23" fmla="*/ 57 h 849"/>
                  <a:gd name="T24" fmla="*/ 225 w 1130"/>
                  <a:gd name="T25" fmla="*/ 170 h 849"/>
                  <a:gd name="T26" fmla="*/ 274 w 1130"/>
                  <a:gd name="T27" fmla="*/ 196 h 849"/>
                  <a:gd name="T28" fmla="*/ 298 w 1130"/>
                  <a:gd name="T29" fmla="*/ 234 h 849"/>
                  <a:gd name="T30" fmla="*/ 222 w 1130"/>
                  <a:gd name="T31" fmla="*/ 295 h 849"/>
                  <a:gd name="T32" fmla="*/ 232 w 1130"/>
                  <a:gd name="T33" fmla="*/ 331 h 849"/>
                  <a:gd name="T34" fmla="*/ 232 w 1130"/>
                  <a:gd name="T35" fmla="*/ 298 h 849"/>
                  <a:gd name="T36" fmla="*/ 305 w 1130"/>
                  <a:gd name="T37" fmla="*/ 253 h 849"/>
                  <a:gd name="T38" fmla="*/ 291 w 1130"/>
                  <a:gd name="T39" fmla="*/ 281 h 849"/>
                  <a:gd name="T40" fmla="*/ 284 w 1130"/>
                  <a:gd name="T41" fmla="*/ 321 h 849"/>
                  <a:gd name="T42" fmla="*/ 256 w 1130"/>
                  <a:gd name="T43" fmla="*/ 359 h 849"/>
                  <a:gd name="T44" fmla="*/ 225 w 1130"/>
                  <a:gd name="T45" fmla="*/ 354 h 849"/>
                  <a:gd name="T46" fmla="*/ 239 w 1130"/>
                  <a:gd name="T47" fmla="*/ 399 h 849"/>
                  <a:gd name="T48" fmla="*/ 286 w 1130"/>
                  <a:gd name="T49" fmla="*/ 373 h 849"/>
                  <a:gd name="T50" fmla="*/ 319 w 1130"/>
                  <a:gd name="T51" fmla="*/ 310 h 849"/>
                  <a:gd name="T52" fmla="*/ 329 w 1130"/>
                  <a:gd name="T53" fmla="*/ 269 h 849"/>
                  <a:gd name="T54" fmla="*/ 352 w 1130"/>
                  <a:gd name="T55" fmla="*/ 210 h 849"/>
                  <a:gd name="T56" fmla="*/ 334 w 1130"/>
                  <a:gd name="T57" fmla="*/ 201 h 849"/>
                  <a:gd name="T58" fmla="*/ 355 w 1130"/>
                  <a:gd name="T59" fmla="*/ 170 h 849"/>
                  <a:gd name="T60" fmla="*/ 331 w 1130"/>
                  <a:gd name="T61" fmla="*/ 125 h 849"/>
                  <a:gd name="T62" fmla="*/ 357 w 1130"/>
                  <a:gd name="T63" fmla="*/ 113 h 849"/>
                  <a:gd name="T64" fmla="*/ 352 w 1130"/>
                  <a:gd name="T65" fmla="*/ 66 h 849"/>
                  <a:gd name="T66" fmla="*/ 478 w 1130"/>
                  <a:gd name="T67" fmla="*/ 52 h 849"/>
                  <a:gd name="T68" fmla="*/ 823 w 1130"/>
                  <a:gd name="T69" fmla="*/ 146 h 849"/>
                  <a:gd name="T70" fmla="*/ 1130 w 1130"/>
                  <a:gd name="T71" fmla="*/ 222 h 849"/>
                  <a:gd name="T72" fmla="*/ 1083 w 1130"/>
                  <a:gd name="T73" fmla="*/ 423 h 849"/>
                  <a:gd name="T74" fmla="*/ 1036 w 1130"/>
                  <a:gd name="T75" fmla="*/ 622 h 849"/>
                  <a:gd name="T76" fmla="*/ 1003 w 1130"/>
                  <a:gd name="T77" fmla="*/ 761 h 849"/>
                  <a:gd name="T78" fmla="*/ 1003 w 1130"/>
                  <a:gd name="T79" fmla="*/ 849 h 849"/>
                  <a:gd name="T80" fmla="*/ 329 w 1130"/>
                  <a:gd name="T81" fmla="*/ 78 h 849"/>
                  <a:gd name="T82" fmla="*/ 310 w 1130"/>
                  <a:gd name="T83" fmla="*/ 87 h 849"/>
                  <a:gd name="T84" fmla="*/ 315 w 1130"/>
                  <a:gd name="T85" fmla="*/ 66 h 849"/>
                  <a:gd name="T86" fmla="*/ 270 w 1130"/>
                  <a:gd name="T87" fmla="*/ 92 h 849"/>
                  <a:gd name="T88" fmla="*/ 310 w 1130"/>
                  <a:gd name="T89" fmla="*/ 125 h 849"/>
                  <a:gd name="T90" fmla="*/ 308 w 1130"/>
                  <a:gd name="T91" fmla="*/ 99 h 849"/>
                  <a:gd name="T92" fmla="*/ 324 w 1130"/>
                  <a:gd name="T93" fmla="*/ 222 h 849"/>
                  <a:gd name="T94" fmla="*/ 331 w 1130"/>
                  <a:gd name="T95" fmla="*/ 243 h 849"/>
                  <a:gd name="T96" fmla="*/ 319 w 1130"/>
                  <a:gd name="T97" fmla="*/ 196 h 849"/>
                  <a:gd name="T98" fmla="*/ 312 w 1130"/>
                  <a:gd name="T99" fmla="*/ 161 h 849"/>
                  <a:gd name="T100" fmla="*/ 338 w 1130"/>
                  <a:gd name="T101" fmla="*/ 165 h 849"/>
                  <a:gd name="T102" fmla="*/ 300 w 1130"/>
                  <a:gd name="T103" fmla="*/ 310 h 849"/>
                  <a:gd name="T104" fmla="*/ 300 w 1130"/>
                  <a:gd name="T105" fmla="*/ 286 h 849"/>
                  <a:gd name="T106" fmla="*/ 296 w 1130"/>
                  <a:gd name="T107" fmla="*/ 362 h 849"/>
                  <a:gd name="T108" fmla="*/ 296 w 1130"/>
                  <a:gd name="T109" fmla="*/ 333 h 849"/>
                  <a:gd name="T110" fmla="*/ 225 w 1130"/>
                  <a:gd name="T111" fmla="*/ 37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0" h="849">
                    <a:moveTo>
                      <a:pt x="1003" y="849"/>
                    </a:moveTo>
                    <a:lnTo>
                      <a:pt x="967" y="839"/>
                    </a:lnTo>
                    <a:lnTo>
                      <a:pt x="929" y="830"/>
                    </a:lnTo>
                    <a:lnTo>
                      <a:pt x="891" y="820"/>
                    </a:lnTo>
                    <a:lnTo>
                      <a:pt x="854" y="811"/>
                    </a:lnTo>
                    <a:lnTo>
                      <a:pt x="816" y="801"/>
                    </a:lnTo>
                    <a:lnTo>
                      <a:pt x="778" y="792"/>
                    </a:lnTo>
                    <a:lnTo>
                      <a:pt x="740" y="782"/>
                    </a:lnTo>
                    <a:lnTo>
                      <a:pt x="702" y="773"/>
                    </a:lnTo>
                    <a:lnTo>
                      <a:pt x="700" y="773"/>
                    </a:lnTo>
                    <a:lnTo>
                      <a:pt x="693" y="775"/>
                    </a:lnTo>
                    <a:lnTo>
                      <a:pt x="674" y="778"/>
                    </a:lnTo>
                    <a:lnTo>
                      <a:pt x="636" y="771"/>
                    </a:lnTo>
                    <a:lnTo>
                      <a:pt x="558" y="771"/>
                    </a:lnTo>
                    <a:lnTo>
                      <a:pt x="523" y="778"/>
                    </a:lnTo>
                    <a:lnTo>
                      <a:pt x="494" y="778"/>
                    </a:lnTo>
                    <a:lnTo>
                      <a:pt x="440" y="771"/>
                    </a:lnTo>
                    <a:lnTo>
                      <a:pt x="390" y="768"/>
                    </a:lnTo>
                    <a:lnTo>
                      <a:pt x="369" y="761"/>
                    </a:lnTo>
                    <a:lnTo>
                      <a:pt x="364" y="752"/>
                    </a:lnTo>
                    <a:lnTo>
                      <a:pt x="343" y="740"/>
                    </a:lnTo>
                    <a:lnTo>
                      <a:pt x="305" y="728"/>
                    </a:lnTo>
                    <a:lnTo>
                      <a:pt x="272" y="723"/>
                    </a:lnTo>
                    <a:lnTo>
                      <a:pt x="239" y="733"/>
                    </a:lnTo>
                    <a:lnTo>
                      <a:pt x="230" y="733"/>
                    </a:lnTo>
                    <a:lnTo>
                      <a:pt x="230" y="733"/>
                    </a:lnTo>
                    <a:lnTo>
                      <a:pt x="220" y="730"/>
                    </a:lnTo>
                    <a:lnTo>
                      <a:pt x="173" y="709"/>
                    </a:lnTo>
                    <a:lnTo>
                      <a:pt x="159" y="704"/>
                    </a:lnTo>
                    <a:lnTo>
                      <a:pt x="152" y="690"/>
                    </a:lnTo>
                    <a:lnTo>
                      <a:pt x="154" y="676"/>
                    </a:lnTo>
                    <a:lnTo>
                      <a:pt x="154" y="624"/>
                    </a:lnTo>
                    <a:lnTo>
                      <a:pt x="149" y="593"/>
                    </a:lnTo>
                    <a:lnTo>
                      <a:pt x="137" y="579"/>
                    </a:lnTo>
                    <a:lnTo>
                      <a:pt x="128" y="572"/>
                    </a:lnTo>
                    <a:lnTo>
                      <a:pt x="111" y="572"/>
                    </a:lnTo>
                    <a:lnTo>
                      <a:pt x="109" y="567"/>
                    </a:lnTo>
                    <a:lnTo>
                      <a:pt x="102" y="565"/>
                    </a:lnTo>
                    <a:lnTo>
                      <a:pt x="90" y="551"/>
                    </a:lnTo>
                    <a:lnTo>
                      <a:pt x="85" y="539"/>
                    </a:lnTo>
                    <a:lnTo>
                      <a:pt x="59" y="532"/>
                    </a:lnTo>
                    <a:lnTo>
                      <a:pt x="55" y="522"/>
                    </a:lnTo>
                    <a:lnTo>
                      <a:pt x="24" y="520"/>
                    </a:lnTo>
                    <a:lnTo>
                      <a:pt x="17" y="511"/>
                    </a:lnTo>
                    <a:lnTo>
                      <a:pt x="0" y="511"/>
                    </a:lnTo>
                    <a:lnTo>
                      <a:pt x="10" y="492"/>
                    </a:lnTo>
                    <a:lnTo>
                      <a:pt x="17" y="468"/>
                    </a:lnTo>
                    <a:lnTo>
                      <a:pt x="24" y="444"/>
                    </a:lnTo>
                    <a:lnTo>
                      <a:pt x="24" y="463"/>
                    </a:lnTo>
                    <a:lnTo>
                      <a:pt x="29" y="485"/>
                    </a:lnTo>
                    <a:lnTo>
                      <a:pt x="38" y="466"/>
                    </a:lnTo>
                    <a:lnTo>
                      <a:pt x="50" y="440"/>
                    </a:lnTo>
                    <a:lnTo>
                      <a:pt x="43" y="428"/>
                    </a:lnTo>
                    <a:lnTo>
                      <a:pt x="31" y="416"/>
                    </a:lnTo>
                    <a:lnTo>
                      <a:pt x="31" y="390"/>
                    </a:lnTo>
                    <a:lnTo>
                      <a:pt x="76" y="380"/>
                    </a:lnTo>
                    <a:lnTo>
                      <a:pt x="57" y="371"/>
                    </a:lnTo>
                    <a:lnTo>
                      <a:pt x="52" y="359"/>
                    </a:lnTo>
                    <a:lnTo>
                      <a:pt x="43" y="354"/>
                    </a:lnTo>
                    <a:lnTo>
                      <a:pt x="40" y="362"/>
                    </a:lnTo>
                    <a:lnTo>
                      <a:pt x="33" y="371"/>
                    </a:lnTo>
                    <a:lnTo>
                      <a:pt x="36" y="357"/>
                    </a:lnTo>
                    <a:lnTo>
                      <a:pt x="38" y="343"/>
                    </a:lnTo>
                    <a:lnTo>
                      <a:pt x="43" y="317"/>
                    </a:lnTo>
                    <a:lnTo>
                      <a:pt x="40" y="272"/>
                    </a:lnTo>
                    <a:lnTo>
                      <a:pt x="48" y="217"/>
                    </a:lnTo>
                    <a:lnTo>
                      <a:pt x="45" y="187"/>
                    </a:lnTo>
                    <a:lnTo>
                      <a:pt x="31" y="156"/>
                    </a:lnTo>
                    <a:lnTo>
                      <a:pt x="29" y="139"/>
                    </a:lnTo>
                    <a:lnTo>
                      <a:pt x="36" y="101"/>
                    </a:lnTo>
                    <a:lnTo>
                      <a:pt x="48" y="75"/>
                    </a:lnTo>
                    <a:lnTo>
                      <a:pt x="50" y="57"/>
                    </a:lnTo>
                    <a:lnTo>
                      <a:pt x="59" y="61"/>
                    </a:lnTo>
                    <a:lnTo>
                      <a:pt x="83" y="85"/>
                    </a:lnTo>
                    <a:lnTo>
                      <a:pt x="114" y="106"/>
                    </a:lnTo>
                    <a:lnTo>
                      <a:pt x="121" y="118"/>
                    </a:lnTo>
                    <a:lnTo>
                      <a:pt x="135" y="130"/>
                    </a:lnTo>
                    <a:lnTo>
                      <a:pt x="225" y="170"/>
                    </a:lnTo>
                    <a:lnTo>
                      <a:pt x="232" y="170"/>
                    </a:lnTo>
                    <a:lnTo>
                      <a:pt x="246" y="168"/>
                    </a:lnTo>
                    <a:lnTo>
                      <a:pt x="251" y="170"/>
                    </a:lnTo>
                    <a:lnTo>
                      <a:pt x="260" y="189"/>
                    </a:lnTo>
                    <a:lnTo>
                      <a:pt x="265" y="194"/>
                    </a:lnTo>
                    <a:lnTo>
                      <a:pt x="274" y="196"/>
                    </a:lnTo>
                    <a:lnTo>
                      <a:pt x="282" y="194"/>
                    </a:lnTo>
                    <a:lnTo>
                      <a:pt x="296" y="189"/>
                    </a:lnTo>
                    <a:lnTo>
                      <a:pt x="296" y="191"/>
                    </a:lnTo>
                    <a:lnTo>
                      <a:pt x="293" y="201"/>
                    </a:lnTo>
                    <a:lnTo>
                      <a:pt x="293" y="215"/>
                    </a:lnTo>
                    <a:lnTo>
                      <a:pt x="298" y="234"/>
                    </a:lnTo>
                    <a:lnTo>
                      <a:pt x="298" y="246"/>
                    </a:lnTo>
                    <a:lnTo>
                      <a:pt x="272" y="269"/>
                    </a:lnTo>
                    <a:lnTo>
                      <a:pt x="267" y="269"/>
                    </a:lnTo>
                    <a:lnTo>
                      <a:pt x="270" y="260"/>
                    </a:lnTo>
                    <a:lnTo>
                      <a:pt x="270" y="258"/>
                    </a:lnTo>
                    <a:lnTo>
                      <a:pt x="222" y="295"/>
                    </a:lnTo>
                    <a:lnTo>
                      <a:pt x="204" y="317"/>
                    </a:lnTo>
                    <a:lnTo>
                      <a:pt x="199" y="326"/>
                    </a:lnTo>
                    <a:lnTo>
                      <a:pt x="199" y="333"/>
                    </a:lnTo>
                    <a:lnTo>
                      <a:pt x="204" y="336"/>
                    </a:lnTo>
                    <a:lnTo>
                      <a:pt x="213" y="336"/>
                    </a:lnTo>
                    <a:lnTo>
                      <a:pt x="232" y="331"/>
                    </a:lnTo>
                    <a:lnTo>
                      <a:pt x="232" y="328"/>
                    </a:lnTo>
                    <a:lnTo>
                      <a:pt x="218" y="328"/>
                    </a:lnTo>
                    <a:lnTo>
                      <a:pt x="211" y="326"/>
                    </a:lnTo>
                    <a:lnTo>
                      <a:pt x="215" y="317"/>
                    </a:lnTo>
                    <a:lnTo>
                      <a:pt x="218" y="312"/>
                    </a:lnTo>
                    <a:lnTo>
                      <a:pt x="232" y="298"/>
                    </a:lnTo>
                    <a:lnTo>
                      <a:pt x="244" y="291"/>
                    </a:lnTo>
                    <a:lnTo>
                      <a:pt x="263" y="284"/>
                    </a:lnTo>
                    <a:lnTo>
                      <a:pt x="272" y="279"/>
                    </a:lnTo>
                    <a:lnTo>
                      <a:pt x="282" y="267"/>
                    </a:lnTo>
                    <a:lnTo>
                      <a:pt x="300" y="258"/>
                    </a:lnTo>
                    <a:lnTo>
                      <a:pt x="305" y="253"/>
                    </a:lnTo>
                    <a:lnTo>
                      <a:pt x="308" y="241"/>
                    </a:lnTo>
                    <a:lnTo>
                      <a:pt x="310" y="239"/>
                    </a:lnTo>
                    <a:lnTo>
                      <a:pt x="317" y="243"/>
                    </a:lnTo>
                    <a:lnTo>
                      <a:pt x="312" y="265"/>
                    </a:lnTo>
                    <a:lnTo>
                      <a:pt x="308" y="274"/>
                    </a:lnTo>
                    <a:lnTo>
                      <a:pt x="291" y="281"/>
                    </a:lnTo>
                    <a:lnTo>
                      <a:pt x="289" y="286"/>
                    </a:lnTo>
                    <a:lnTo>
                      <a:pt x="286" y="302"/>
                    </a:lnTo>
                    <a:lnTo>
                      <a:pt x="284" y="302"/>
                    </a:lnTo>
                    <a:lnTo>
                      <a:pt x="279" y="298"/>
                    </a:lnTo>
                    <a:lnTo>
                      <a:pt x="277" y="300"/>
                    </a:lnTo>
                    <a:lnTo>
                      <a:pt x="284" y="321"/>
                    </a:lnTo>
                    <a:lnTo>
                      <a:pt x="284" y="336"/>
                    </a:lnTo>
                    <a:lnTo>
                      <a:pt x="282" y="347"/>
                    </a:lnTo>
                    <a:lnTo>
                      <a:pt x="272" y="369"/>
                    </a:lnTo>
                    <a:lnTo>
                      <a:pt x="267" y="371"/>
                    </a:lnTo>
                    <a:lnTo>
                      <a:pt x="260" y="369"/>
                    </a:lnTo>
                    <a:lnTo>
                      <a:pt x="256" y="359"/>
                    </a:lnTo>
                    <a:lnTo>
                      <a:pt x="253" y="359"/>
                    </a:lnTo>
                    <a:lnTo>
                      <a:pt x="241" y="376"/>
                    </a:lnTo>
                    <a:lnTo>
                      <a:pt x="239" y="373"/>
                    </a:lnTo>
                    <a:lnTo>
                      <a:pt x="241" y="352"/>
                    </a:lnTo>
                    <a:lnTo>
                      <a:pt x="239" y="350"/>
                    </a:lnTo>
                    <a:lnTo>
                      <a:pt x="225" y="354"/>
                    </a:lnTo>
                    <a:lnTo>
                      <a:pt x="215" y="362"/>
                    </a:lnTo>
                    <a:lnTo>
                      <a:pt x="208" y="376"/>
                    </a:lnTo>
                    <a:lnTo>
                      <a:pt x="199" y="380"/>
                    </a:lnTo>
                    <a:lnTo>
                      <a:pt x="215" y="388"/>
                    </a:lnTo>
                    <a:lnTo>
                      <a:pt x="230" y="388"/>
                    </a:lnTo>
                    <a:lnTo>
                      <a:pt x="239" y="399"/>
                    </a:lnTo>
                    <a:lnTo>
                      <a:pt x="244" y="399"/>
                    </a:lnTo>
                    <a:lnTo>
                      <a:pt x="256" y="397"/>
                    </a:lnTo>
                    <a:lnTo>
                      <a:pt x="260" y="392"/>
                    </a:lnTo>
                    <a:lnTo>
                      <a:pt x="274" y="373"/>
                    </a:lnTo>
                    <a:lnTo>
                      <a:pt x="282" y="371"/>
                    </a:lnTo>
                    <a:lnTo>
                      <a:pt x="286" y="373"/>
                    </a:lnTo>
                    <a:lnTo>
                      <a:pt x="293" y="371"/>
                    </a:lnTo>
                    <a:lnTo>
                      <a:pt x="308" y="362"/>
                    </a:lnTo>
                    <a:lnTo>
                      <a:pt x="310" y="357"/>
                    </a:lnTo>
                    <a:lnTo>
                      <a:pt x="315" y="328"/>
                    </a:lnTo>
                    <a:lnTo>
                      <a:pt x="319" y="314"/>
                    </a:lnTo>
                    <a:lnTo>
                      <a:pt x="319" y="310"/>
                    </a:lnTo>
                    <a:lnTo>
                      <a:pt x="317" y="302"/>
                    </a:lnTo>
                    <a:lnTo>
                      <a:pt x="319" y="298"/>
                    </a:lnTo>
                    <a:lnTo>
                      <a:pt x="324" y="291"/>
                    </a:lnTo>
                    <a:lnTo>
                      <a:pt x="326" y="284"/>
                    </a:lnTo>
                    <a:lnTo>
                      <a:pt x="326" y="276"/>
                    </a:lnTo>
                    <a:lnTo>
                      <a:pt x="329" y="269"/>
                    </a:lnTo>
                    <a:lnTo>
                      <a:pt x="343" y="255"/>
                    </a:lnTo>
                    <a:lnTo>
                      <a:pt x="345" y="248"/>
                    </a:lnTo>
                    <a:lnTo>
                      <a:pt x="362" y="236"/>
                    </a:lnTo>
                    <a:lnTo>
                      <a:pt x="360" y="229"/>
                    </a:lnTo>
                    <a:lnTo>
                      <a:pt x="355" y="220"/>
                    </a:lnTo>
                    <a:lnTo>
                      <a:pt x="352" y="210"/>
                    </a:lnTo>
                    <a:lnTo>
                      <a:pt x="350" y="198"/>
                    </a:lnTo>
                    <a:lnTo>
                      <a:pt x="348" y="194"/>
                    </a:lnTo>
                    <a:lnTo>
                      <a:pt x="345" y="194"/>
                    </a:lnTo>
                    <a:lnTo>
                      <a:pt x="345" y="213"/>
                    </a:lnTo>
                    <a:lnTo>
                      <a:pt x="345" y="215"/>
                    </a:lnTo>
                    <a:lnTo>
                      <a:pt x="334" y="201"/>
                    </a:lnTo>
                    <a:lnTo>
                      <a:pt x="334" y="194"/>
                    </a:lnTo>
                    <a:lnTo>
                      <a:pt x="334" y="187"/>
                    </a:lnTo>
                    <a:lnTo>
                      <a:pt x="336" y="179"/>
                    </a:lnTo>
                    <a:lnTo>
                      <a:pt x="345" y="177"/>
                    </a:lnTo>
                    <a:lnTo>
                      <a:pt x="355" y="177"/>
                    </a:lnTo>
                    <a:lnTo>
                      <a:pt x="355" y="170"/>
                    </a:lnTo>
                    <a:lnTo>
                      <a:pt x="350" y="151"/>
                    </a:lnTo>
                    <a:lnTo>
                      <a:pt x="345" y="142"/>
                    </a:lnTo>
                    <a:lnTo>
                      <a:pt x="341" y="137"/>
                    </a:lnTo>
                    <a:lnTo>
                      <a:pt x="334" y="132"/>
                    </a:lnTo>
                    <a:lnTo>
                      <a:pt x="331" y="130"/>
                    </a:lnTo>
                    <a:lnTo>
                      <a:pt x="331" y="125"/>
                    </a:lnTo>
                    <a:lnTo>
                      <a:pt x="334" y="120"/>
                    </a:lnTo>
                    <a:lnTo>
                      <a:pt x="338" y="120"/>
                    </a:lnTo>
                    <a:lnTo>
                      <a:pt x="350" y="125"/>
                    </a:lnTo>
                    <a:lnTo>
                      <a:pt x="357" y="125"/>
                    </a:lnTo>
                    <a:lnTo>
                      <a:pt x="360" y="118"/>
                    </a:lnTo>
                    <a:lnTo>
                      <a:pt x="357" y="113"/>
                    </a:lnTo>
                    <a:lnTo>
                      <a:pt x="364" y="90"/>
                    </a:lnTo>
                    <a:lnTo>
                      <a:pt x="367" y="68"/>
                    </a:lnTo>
                    <a:lnTo>
                      <a:pt x="364" y="66"/>
                    </a:lnTo>
                    <a:lnTo>
                      <a:pt x="362" y="64"/>
                    </a:lnTo>
                    <a:lnTo>
                      <a:pt x="360" y="66"/>
                    </a:lnTo>
                    <a:lnTo>
                      <a:pt x="352" y="66"/>
                    </a:lnTo>
                    <a:lnTo>
                      <a:pt x="350" y="57"/>
                    </a:lnTo>
                    <a:lnTo>
                      <a:pt x="348" y="45"/>
                    </a:lnTo>
                    <a:lnTo>
                      <a:pt x="348" y="12"/>
                    </a:lnTo>
                    <a:lnTo>
                      <a:pt x="362" y="16"/>
                    </a:lnTo>
                    <a:lnTo>
                      <a:pt x="419" y="33"/>
                    </a:lnTo>
                    <a:lnTo>
                      <a:pt x="478" y="52"/>
                    </a:lnTo>
                    <a:lnTo>
                      <a:pt x="534" y="68"/>
                    </a:lnTo>
                    <a:lnTo>
                      <a:pt x="591" y="85"/>
                    </a:lnTo>
                    <a:lnTo>
                      <a:pt x="650" y="99"/>
                    </a:lnTo>
                    <a:lnTo>
                      <a:pt x="707" y="116"/>
                    </a:lnTo>
                    <a:lnTo>
                      <a:pt x="766" y="132"/>
                    </a:lnTo>
                    <a:lnTo>
                      <a:pt x="823" y="146"/>
                    </a:lnTo>
                    <a:lnTo>
                      <a:pt x="882" y="163"/>
                    </a:lnTo>
                    <a:lnTo>
                      <a:pt x="941" y="177"/>
                    </a:lnTo>
                    <a:lnTo>
                      <a:pt x="998" y="191"/>
                    </a:lnTo>
                    <a:lnTo>
                      <a:pt x="1057" y="206"/>
                    </a:lnTo>
                    <a:lnTo>
                      <a:pt x="1114" y="220"/>
                    </a:lnTo>
                    <a:lnTo>
                      <a:pt x="1130" y="222"/>
                    </a:lnTo>
                    <a:lnTo>
                      <a:pt x="1121" y="255"/>
                    </a:lnTo>
                    <a:lnTo>
                      <a:pt x="1114" y="291"/>
                    </a:lnTo>
                    <a:lnTo>
                      <a:pt x="1107" y="324"/>
                    </a:lnTo>
                    <a:lnTo>
                      <a:pt x="1097" y="357"/>
                    </a:lnTo>
                    <a:lnTo>
                      <a:pt x="1090" y="390"/>
                    </a:lnTo>
                    <a:lnTo>
                      <a:pt x="1083" y="423"/>
                    </a:lnTo>
                    <a:lnTo>
                      <a:pt x="1076" y="456"/>
                    </a:lnTo>
                    <a:lnTo>
                      <a:pt x="1066" y="489"/>
                    </a:lnTo>
                    <a:lnTo>
                      <a:pt x="1059" y="522"/>
                    </a:lnTo>
                    <a:lnTo>
                      <a:pt x="1052" y="555"/>
                    </a:lnTo>
                    <a:lnTo>
                      <a:pt x="1045" y="589"/>
                    </a:lnTo>
                    <a:lnTo>
                      <a:pt x="1036" y="622"/>
                    </a:lnTo>
                    <a:lnTo>
                      <a:pt x="1029" y="655"/>
                    </a:lnTo>
                    <a:lnTo>
                      <a:pt x="1021" y="688"/>
                    </a:lnTo>
                    <a:lnTo>
                      <a:pt x="1014" y="721"/>
                    </a:lnTo>
                    <a:lnTo>
                      <a:pt x="1005" y="754"/>
                    </a:lnTo>
                    <a:lnTo>
                      <a:pt x="1005" y="756"/>
                    </a:lnTo>
                    <a:lnTo>
                      <a:pt x="1003" y="761"/>
                    </a:lnTo>
                    <a:lnTo>
                      <a:pt x="1003" y="775"/>
                    </a:lnTo>
                    <a:lnTo>
                      <a:pt x="1007" y="799"/>
                    </a:lnTo>
                    <a:lnTo>
                      <a:pt x="1007" y="813"/>
                    </a:lnTo>
                    <a:lnTo>
                      <a:pt x="1003" y="820"/>
                    </a:lnTo>
                    <a:lnTo>
                      <a:pt x="1000" y="834"/>
                    </a:lnTo>
                    <a:lnTo>
                      <a:pt x="1003" y="849"/>
                    </a:lnTo>
                    <a:close/>
                    <a:moveTo>
                      <a:pt x="308" y="0"/>
                    </a:moveTo>
                    <a:lnTo>
                      <a:pt x="312" y="2"/>
                    </a:lnTo>
                    <a:lnTo>
                      <a:pt x="310" y="5"/>
                    </a:lnTo>
                    <a:lnTo>
                      <a:pt x="308" y="2"/>
                    </a:lnTo>
                    <a:lnTo>
                      <a:pt x="308" y="0"/>
                    </a:lnTo>
                    <a:close/>
                    <a:moveTo>
                      <a:pt x="329" y="78"/>
                    </a:moveTo>
                    <a:lnTo>
                      <a:pt x="329" y="83"/>
                    </a:lnTo>
                    <a:lnTo>
                      <a:pt x="322" y="85"/>
                    </a:lnTo>
                    <a:lnTo>
                      <a:pt x="319" y="85"/>
                    </a:lnTo>
                    <a:lnTo>
                      <a:pt x="315" y="75"/>
                    </a:lnTo>
                    <a:lnTo>
                      <a:pt x="312" y="75"/>
                    </a:lnTo>
                    <a:lnTo>
                      <a:pt x="310" y="87"/>
                    </a:lnTo>
                    <a:lnTo>
                      <a:pt x="310" y="90"/>
                    </a:lnTo>
                    <a:lnTo>
                      <a:pt x="298" y="80"/>
                    </a:lnTo>
                    <a:lnTo>
                      <a:pt x="298" y="73"/>
                    </a:lnTo>
                    <a:lnTo>
                      <a:pt x="303" y="68"/>
                    </a:lnTo>
                    <a:lnTo>
                      <a:pt x="312" y="66"/>
                    </a:lnTo>
                    <a:lnTo>
                      <a:pt x="315" y="66"/>
                    </a:lnTo>
                    <a:lnTo>
                      <a:pt x="329" y="78"/>
                    </a:lnTo>
                    <a:close/>
                    <a:moveTo>
                      <a:pt x="286" y="104"/>
                    </a:moveTo>
                    <a:lnTo>
                      <a:pt x="289" y="111"/>
                    </a:lnTo>
                    <a:lnTo>
                      <a:pt x="274" y="104"/>
                    </a:lnTo>
                    <a:lnTo>
                      <a:pt x="270" y="97"/>
                    </a:lnTo>
                    <a:lnTo>
                      <a:pt x="270" y="92"/>
                    </a:lnTo>
                    <a:lnTo>
                      <a:pt x="272" y="80"/>
                    </a:lnTo>
                    <a:lnTo>
                      <a:pt x="274" y="75"/>
                    </a:lnTo>
                    <a:lnTo>
                      <a:pt x="279" y="75"/>
                    </a:lnTo>
                    <a:lnTo>
                      <a:pt x="289" y="97"/>
                    </a:lnTo>
                    <a:lnTo>
                      <a:pt x="286" y="104"/>
                    </a:lnTo>
                    <a:close/>
                    <a:moveTo>
                      <a:pt x="310" y="125"/>
                    </a:moveTo>
                    <a:lnTo>
                      <a:pt x="305" y="127"/>
                    </a:lnTo>
                    <a:lnTo>
                      <a:pt x="300" y="123"/>
                    </a:lnTo>
                    <a:lnTo>
                      <a:pt x="296" y="116"/>
                    </a:lnTo>
                    <a:lnTo>
                      <a:pt x="298" y="111"/>
                    </a:lnTo>
                    <a:lnTo>
                      <a:pt x="303" y="101"/>
                    </a:lnTo>
                    <a:lnTo>
                      <a:pt x="308" y="99"/>
                    </a:lnTo>
                    <a:lnTo>
                      <a:pt x="310" y="99"/>
                    </a:lnTo>
                    <a:lnTo>
                      <a:pt x="308" y="111"/>
                    </a:lnTo>
                    <a:lnTo>
                      <a:pt x="310" y="123"/>
                    </a:lnTo>
                    <a:lnTo>
                      <a:pt x="310" y="125"/>
                    </a:lnTo>
                    <a:close/>
                    <a:moveTo>
                      <a:pt x="326" y="191"/>
                    </a:moveTo>
                    <a:lnTo>
                      <a:pt x="324" y="222"/>
                    </a:lnTo>
                    <a:lnTo>
                      <a:pt x="331" y="210"/>
                    </a:lnTo>
                    <a:lnTo>
                      <a:pt x="343" y="236"/>
                    </a:lnTo>
                    <a:lnTo>
                      <a:pt x="341" y="246"/>
                    </a:lnTo>
                    <a:lnTo>
                      <a:pt x="338" y="248"/>
                    </a:lnTo>
                    <a:lnTo>
                      <a:pt x="334" y="248"/>
                    </a:lnTo>
                    <a:lnTo>
                      <a:pt x="331" y="243"/>
                    </a:lnTo>
                    <a:lnTo>
                      <a:pt x="329" y="236"/>
                    </a:lnTo>
                    <a:lnTo>
                      <a:pt x="326" y="232"/>
                    </a:lnTo>
                    <a:lnTo>
                      <a:pt x="317" y="227"/>
                    </a:lnTo>
                    <a:lnTo>
                      <a:pt x="315" y="217"/>
                    </a:lnTo>
                    <a:lnTo>
                      <a:pt x="315" y="213"/>
                    </a:lnTo>
                    <a:lnTo>
                      <a:pt x="319" y="196"/>
                    </a:lnTo>
                    <a:lnTo>
                      <a:pt x="319" y="191"/>
                    </a:lnTo>
                    <a:lnTo>
                      <a:pt x="315" y="189"/>
                    </a:lnTo>
                    <a:lnTo>
                      <a:pt x="310" y="184"/>
                    </a:lnTo>
                    <a:lnTo>
                      <a:pt x="308" y="172"/>
                    </a:lnTo>
                    <a:lnTo>
                      <a:pt x="308" y="168"/>
                    </a:lnTo>
                    <a:lnTo>
                      <a:pt x="312" y="161"/>
                    </a:lnTo>
                    <a:lnTo>
                      <a:pt x="324" y="149"/>
                    </a:lnTo>
                    <a:lnTo>
                      <a:pt x="331" y="144"/>
                    </a:lnTo>
                    <a:lnTo>
                      <a:pt x="336" y="146"/>
                    </a:lnTo>
                    <a:lnTo>
                      <a:pt x="338" y="151"/>
                    </a:lnTo>
                    <a:lnTo>
                      <a:pt x="341" y="161"/>
                    </a:lnTo>
                    <a:lnTo>
                      <a:pt x="338" y="165"/>
                    </a:lnTo>
                    <a:lnTo>
                      <a:pt x="315" y="170"/>
                    </a:lnTo>
                    <a:lnTo>
                      <a:pt x="312" y="172"/>
                    </a:lnTo>
                    <a:lnTo>
                      <a:pt x="322" y="179"/>
                    </a:lnTo>
                    <a:lnTo>
                      <a:pt x="324" y="182"/>
                    </a:lnTo>
                    <a:lnTo>
                      <a:pt x="326" y="191"/>
                    </a:lnTo>
                    <a:close/>
                    <a:moveTo>
                      <a:pt x="300" y="310"/>
                    </a:moveTo>
                    <a:lnTo>
                      <a:pt x="300" y="314"/>
                    </a:lnTo>
                    <a:lnTo>
                      <a:pt x="293" y="307"/>
                    </a:lnTo>
                    <a:lnTo>
                      <a:pt x="291" y="302"/>
                    </a:lnTo>
                    <a:lnTo>
                      <a:pt x="296" y="293"/>
                    </a:lnTo>
                    <a:lnTo>
                      <a:pt x="298" y="286"/>
                    </a:lnTo>
                    <a:lnTo>
                      <a:pt x="300" y="286"/>
                    </a:lnTo>
                    <a:lnTo>
                      <a:pt x="305" y="291"/>
                    </a:lnTo>
                    <a:lnTo>
                      <a:pt x="305" y="291"/>
                    </a:lnTo>
                    <a:lnTo>
                      <a:pt x="300" y="310"/>
                    </a:lnTo>
                    <a:close/>
                    <a:moveTo>
                      <a:pt x="303" y="354"/>
                    </a:moveTo>
                    <a:lnTo>
                      <a:pt x="300" y="359"/>
                    </a:lnTo>
                    <a:lnTo>
                      <a:pt x="296" y="362"/>
                    </a:lnTo>
                    <a:lnTo>
                      <a:pt x="293" y="359"/>
                    </a:lnTo>
                    <a:lnTo>
                      <a:pt x="293" y="354"/>
                    </a:lnTo>
                    <a:lnTo>
                      <a:pt x="293" y="352"/>
                    </a:lnTo>
                    <a:lnTo>
                      <a:pt x="286" y="357"/>
                    </a:lnTo>
                    <a:lnTo>
                      <a:pt x="289" y="345"/>
                    </a:lnTo>
                    <a:lnTo>
                      <a:pt x="296" y="333"/>
                    </a:lnTo>
                    <a:lnTo>
                      <a:pt x="298" y="333"/>
                    </a:lnTo>
                    <a:lnTo>
                      <a:pt x="300" y="343"/>
                    </a:lnTo>
                    <a:lnTo>
                      <a:pt x="303" y="354"/>
                    </a:lnTo>
                    <a:close/>
                    <a:moveTo>
                      <a:pt x="227" y="376"/>
                    </a:moveTo>
                    <a:lnTo>
                      <a:pt x="225" y="378"/>
                    </a:lnTo>
                    <a:lnTo>
                      <a:pt x="225" y="378"/>
                    </a:lnTo>
                    <a:lnTo>
                      <a:pt x="222" y="369"/>
                    </a:lnTo>
                    <a:lnTo>
                      <a:pt x="222" y="362"/>
                    </a:lnTo>
                    <a:lnTo>
                      <a:pt x="227" y="359"/>
                    </a:lnTo>
                    <a:lnTo>
                      <a:pt x="230" y="373"/>
                    </a:lnTo>
                    <a:lnTo>
                      <a:pt x="227" y="376"/>
                    </a:lnTo>
                    <a:close/>
                  </a:path>
                </a:pathLst>
              </a:custGeom>
              <a:solidFill>
                <a:schemeClr val="accent1"/>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52" name="Freeform 91">
                <a:extLst>
                  <a:ext uri="{FF2B5EF4-FFF2-40B4-BE49-F238E27FC236}">
                    <a16:creationId xmlns:a16="http://schemas.microsoft.com/office/drawing/2014/main" id="{BEDA4537-7A17-DB2E-92C2-A8DD42DB4A15}"/>
                  </a:ext>
                </a:extLst>
              </p:cNvPr>
              <p:cNvSpPr>
                <a:spLocks noEditPoints="1"/>
              </p:cNvSpPr>
              <p:nvPr/>
            </p:nvSpPr>
            <p:spPr bwMode="auto">
              <a:xfrm>
                <a:off x="5170" y="-409"/>
                <a:ext cx="900" cy="965"/>
              </a:xfrm>
              <a:custGeom>
                <a:avLst/>
                <a:gdLst>
                  <a:gd name="T0" fmla="*/ 345 w 900"/>
                  <a:gd name="T1" fmla="*/ 2 h 965"/>
                  <a:gd name="T2" fmla="*/ 309 w 900"/>
                  <a:gd name="T3" fmla="*/ 33 h 965"/>
                  <a:gd name="T4" fmla="*/ 302 w 900"/>
                  <a:gd name="T5" fmla="*/ 26 h 965"/>
                  <a:gd name="T6" fmla="*/ 359 w 900"/>
                  <a:gd name="T7" fmla="*/ 111 h 965"/>
                  <a:gd name="T8" fmla="*/ 387 w 900"/>
                  <a:gd name="T9" fmla="*/ 128 h 965"/>
                  <a:gd name="T10" fmla="*/ 439 w 900"/>
                  <a:gd name="T11" fmla="*/ 161 h 965"/>
                  <a:gd name="T12" fmla="*/ 531 w 900"/>
                  <a:gd name="T13" fmla="*/ 180 h 965"/>
                  <a:gd name="T14" fmla="*/ 595 w 900"/>
                  <a:gd name="T15" fmla="*/ 203 h 965"/>
                  <a:gd name="T16" fmla="*/ 697 w 900"/>
                  <a:gd name="T17" fmla="*/ 215 h 965"/>
                  <a:gd name="T18" fmla="*/ 747 w 900"/>
                  <a:gd name="T19" fmla="*/ 258 h 965"/>
                  <a:gd name="T20" fmla="*/ 754 w 900"/>
                  <a:gd name="T21" fmla="*/ 303 h 965"/>
                  <a:gd name="T22" fmla="*/ 754 w 900"/>
                  <a:gd name="T23" fmla="*/ 333 h 965"/>
                  <a:gd name="T24" fmla="*/ 780 w 900"/>
                  <a:gd name="T25" fmla="*/ 336 h 965"/>
                  <a:gd name="T26" fmla="*/ 794 w 900"/>
                  <a:gd name="T27" fmla="*/ 385 h 965"/>
                  <a:gd name="T28" fmla="*/ 761 w 900"/>
                  <a:gd name="T29" fmla="*/ 430 h 965"/>
                  <a:gd name="T30" fmla="*/ 742 w 900"/>
                  <a:gd name="T31" fmla="*/ 504 h 965"/>
                  <a:gd name="T32" fmla="*/ 775 w 900"/>
                  <a:gd name="T33" fmla="*/ 482 h 965"/>
                  <a:gd name="T34" fmla="*/ 806 w 900"/>
                  <a:gd name="T35" fmla="*/ 437 h 965"/>
                  <a:gd name="T36" fmla="*/ 841 w 900"/>
                  <a:gd name="T37" fmla="*/ 452 h 965"/>
                  <a:gd name="T38" fmla="*/ 820 w 900"/>
                  <a:gd name="T39" fmla="*/ 534 h 965"/>
                  <a:gd name="T40" fmla="*/ 806 w 900"/>
                  <a:gd name="T41" fmla="*/ 605 h 965"/>
                  <a:gd name="T42" fmla="*/ 806 w 900"/>
                  <a:gd name="T43" fmla="*/ 671 h 965"/>
                  <a:gd name="T44" fmla="*/ 791 w 900"/>
                  <a:gd name="T45" fmla="*/ 738 h 965"/>
                  <a:gd name="T46" fmla="*/ 787 w 900"/>
                  <a:gd name="T47" fmla="*/ 804 h 965"/>
                  <a:gd name="T48" fmla="*/ 791 w 900"/>
                  <a:gd name="T49" fmla="*/ 830 h 965"/>
                  <a:gd name="T50" fmla="*/ 810 w 900"/>
                  <a:gd name="T51" fmla="*/ 870 h 965"/>
                  <a:gd name="T52" fmla="*/ 791 w 900"/>
                  <a:gd name="T53" fmla="*/ 939 h 965"/>
                  <a:gd name="T54" fmla="*/ 442 w 900"/>
                  <a:gd name="T55" fmla="*/ 962 h 965"/>
                  <a:gd name="T56" fmla="*/ 321 w 900"/>
                  <a:gd name="T57" fmla="*/ 924 h 965"/>
                  <a:gd name="T58" fmla="*/ 286 w 900"/>
                  <a:gd name="T59" fmla="*/ 825 h 965"/>
                  <a:gd name="T60" fmla="*/ 269 w 900"/>
                  <a:gd name="T61" fmla="*/ 776 h 965"/>
                  <a:gd name="T62" fmla="*/ 219 w 900"/>
                  <a:gd name="T63" fmla="*/ 648 h 965"/>
                  <a:gd name="T64" fmla="*/ 120 w 900"/>
                  <a:gd name="T65" fmla="*/ 570 h 965"/>
                  <a:gd name="T66" fmla="*/ 61 w 900"/>
                  <a:gd name="T67" fmla="*/ 539 h 965"/>
                  <a:gd name="T68" fmla="*/ 21 w 900"/>
                  <a:gd name="T69" fmla="*/ 494 h 965"/>
                  <a:gd name="T70" fmla="*/ 21 w 900"/>
                  <a:gd name="T71" fmla="*/ 407 h 965"/>
                  <a:gd name="T72" fmla="*/ 21 w 900"/>
                  <a:gd name="T73" fmla="*/ 340 h 965"/>
                  <a:gd name="T74" fmla="*/ 21 w 900"/>
                  <a:gd name="T75" fmla="*/ 272 h 965"/>
                  <a:gd name="T76" fmla="*/ 85 w 900"/>
                  <a:gd name="T77" fmla="*/ 225 h 965"/>
                  <a:gd name="T78" fmla="*/ 89 w 900"/>
                  <a:gd name="T79" fmla="*/ 99 h 965"/>
                  <a:gd name="T80" fmla="*/ 111 w 900"/>
                  <a:gd name="T81" fmla="*/ 85 h 965"/>
                  <a:gd name="T82" fmla="*/ 215 w 900"/>
                  <a:gd name="T83" fmla="*/ 64 h 965"/>
                  <a:gd name="T84" fmla="*/ 274 w 900"/>
                  <a:gd name="T85" fmla="*/ 31 h 965"/>
                  <a:gd name="T86" fmla="*/ 297 w 900"/>
                  <a:gd name="T87" fmla="*/ 47 h 965"/>
                  <a:gd name="T88" fmla="*/ 276 w 900"/>
                  <a:gd name="T89" fmla="*/ 102 h 965"/>
                  <a:gd name="T90" fmla="*/ 305 w 900"/>
                  <a:gd name="T91" fmla="*/ 85 h 965"/>
                  <a:gd name="T92" fmla="*/ 357 w 900"/>
                  <a:gd name="T93" fmla="*/ 102 h 965"/>
                  <a:gd name="T94" fmla="*/ 326 w 900"/>
                  <a:gd name="T95" fmla="*/ 26 h 965"/>
                  <a:gd name="T96" fmla="*/ 302 w 900"/>
                  <a:gd name="T97" fmla="*/ 69 h 965"/>
                  <a:gd name="T98" fmla="*/ 326 w 900"/>
                  <a:gd name="T99" fmla="*/ 45 h 965"/>
                  <a:gd name="T100" fmla="*/ 309 w 900"/>
                  <a:gd name="T101" fmla="*/ 64 h 965"/>
                  <a:gd name="T102" fmla="*/ 886 w 900"/>
                  <a:gd name="T103" fmla="*/ 307 h 965"/>
                  <a:gd name="T104" fmla="*/ 900 w 900"/>
                  <a:gd name="T105" fmla="*/ 322 h 965"/>
                  <a:gd name="T106" fmla="*/ 877 w 900"/>
                  <a:gd name="T107" fmla="*/ 364 h 965"/>
                  <a:gd name="T108" fmla="*/ 877 w 900"/>
                  <a:gd name="T109" fmla="*/ 378 h 965"/>
                  <a:gd name="T110" fmla="*/ 860 w 900"/>
                  <a:gd name="T111" fmla="*/ 404 h 965"/>
                  <a:gd name="T112" fmla="*/ 843 w 900"/>
                  <a:gd name="T113" fmla="*/ 440 h 965"/>
                  <a:gd name="T114" fmla="*/ 829 w 900"/>
                  <a:gd name="T115" fmla="*/ 414 h 965"/>
                  <a:gd name="T116" fmla="*/ 858 w 900"/>
                  <a:gd name="T117" fmla="*/ 362 h 965"/>
                  <a:gd name="T118" fmla="*/ 884 w 900"/>
                  <a:gd name="T119" fmla="*/ 340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0" h="965">
                    <a:moveTo>
                      <a:pt x="347" y="12"/>
                    </a:moveTo>
                    <a:lnTo>
                      <a:pt x="342" y="14"/>
                    </a:lnTo>
                    <a:lnTo>
                      <a:pt x="342" y="12"/>
                    </a:lnTo>
                    <a:lnTo>
                      <a:pt x="342" y="7"/>
                    </a:lnTo>
                    <a:lnTo>
                      <a:pt x="345" y="2"/>
                    </a:lnTo>
                    <a:lnTo>
                      <a:pt x="347" y="0"/>
                    </a:lnTo>
                    <a:lnTo>
                      <a:pt x="349" y="2"/>
                    </a:lnTo>
                    <a:lnTo>
                      <a:pt x="349" y="7"/>
                    </a:lnTo>
                    <a:lnTo>
                      <a:pt x="347" y="12"/>
                    </a:lnTo>
                    <a:close/>
                    <a:moveTo>
                      <a:pt x="309" y="33"/>
                    </a:moveTo>
                    <a:lnTo>
                      <a:pt x="307" y="35"/>
                    </a:lnTo>
                    <a:lnTo>
                      <a:pt x="300" y="33"/>
                    </a:lnTo>
                    <a:lnTo>
                      <a:pt x="300" y="31"/>
                    </a:lnTo>
                    <a:lnTo>
                      <a:pt x="300" y="26"/>
                    </a:lnTo>
                    <a:lnTo>
                      <a:pt x="302" y="26"/>
                    </a:lnTo>
                    <a:lnTo>
                      <a:pt x="307" y="31"/>
                    </a:lnTo>
                    <a:lnTo>
                      <a:pt x="309" y="33"/>
                    </a:lnTo>
                    <a:close/>
                    <a:moveTo>
                      <a:pt x="357" y="102"/>
                    </a:moveTo>
                    <a:lnTo>
                      <a:pt x="357" y="104"/>
                    </a:lnTo>
                    <a:lnTo>
                      <a:pt x="359" y="111"/>
                    </a:lnTo>
                    <a:lnTo>
                      <a:pt x="366" y="109"/>
                    </a:lnTo>
                    <a:lnTo>
                      <a:pt x="371" y="113"/>
                    </a:lnTo>
                    <a:lnTo>
                      <a:pt x="375" y="116"/>
                    </a:lnTo>
                    <a:lnTo>
                      <a:pt x="383" y="118"/>
                    </a:lnTo>
                    <a:lnTo>
                      <a:pt x="387" y="128"/>
                    </a:lnTo>
                    <a:lnTo>
                      <a:pt x="392" y="135"/>
                    </a:lnTo>
                    <a:lnTo>
                      <a:pt x="397" y="144"/>
                    </a:lnTo>
                    <a:lnTo>
                      <a:pt x="401" y="154"/>
                    </a:lnTo>
                    <a:lnTo>
                      <a:pt x="420" y="156"/>
                    </a:lnTo>
                    <a:lnTo>
                      <a:pt x="439" y="161"/>
                    </a:lnTo>
                    <a:lnTo>
                      <a:pt x="458" y="165"/>
                    </a:lnTo>
                    <a:lnTo>
                      <a:pt x="477" y="168"/>
                    </a:lnTo>
                    <a:lnTo>
                      <a:pt x="496" y="173"/>
                    </a:lnTo>
                    <a:lnTo>
                      <a:pt x="513" y="175"/>
                    </a:lnTo>
                    <a:lnTo>
                      <a:pt x="531" y="180"/>
                    </a:lnTo>
                    <a:lnTo>
                      <a:pt x="550" y="184"/>
                    </a:lnTo>
                    <a:lnTo>
                      <a:pt x="562" y="189"/>
                    </a:lnTo>
                    <a:lnTo>
                      <a:pt x="572" y="194"/>
                    </a:lnTo>
                    <a:lnTo>
                      <a:pt x="583" y="199"/>
                    </a:lnTo>
                    <a:lnTo>
                      <a:pt x="595" y="203"/>
                    </a:lnTo>
                    <a:lnTo>
                      <a:pt x="609" y="203"/>
                    </a:lnTo>
                    <a:lnTo>
                      <a:pt x="626" y="206"/>
                    </a:lnTo>
                    <a:lnTo>
                      <a:pt x="645" y="206"/>
                    </a:lnTo>
                    <a:lnTo>
                      <a:pt x="666" y="208"/>
                    </a:lnTo>
                    <a:lnTo>
                      <a:pt x="697" y="215"/>
                    </a:lnTo>
                    <a:lnTo>
                      <a:pt x="704" y="222"/>
                    </a:lnTo>
                    <a:lnTo>
                      <a:pt x="706" y="229"/>
                    </a:lnTo>
                    <a:lnTo>
                      <a:pt x="704" y="241"/>
                    </a:lnTo>
                    <a:lnTo>
                      <a:pt x="735" y="251"/>
                    </a:lnTo>
                    <a:lnTo>
                      <a:pt x="747" y="258"/>
                    </a:lnTo>
                    <a:lnTo>
                      <a:pt x="751" y="265"/>
                    </a:lnTo>
                    <a:lnTo>
                      <a:pt x="751" y="272"/>
                    </a:lnTo>
                    <a:lnTo>
                      <a:pt x="756" y="284"/>
                    </a:lnTo>
                    <a:lnTo>
                      <a:pt x="754" y="291"/>
                    </a:lnTo>
                    <a:lnTo>
                      <a:pt x="754" y="303"/>
                    </a:lnTo>
                    <a:lnTo>
                      <a:pt x="749" y="317"/>
                    </a:lnTo>
                    <a:lnTo>
                      <a:pt x="749" y="324"/>
                    </a:lnTo>
                    <a:lnTo>
                      <a:pt x="749" y="329"/>
                    </a:lnTo>
                    <a:lnTo>
                      <a:pt x="749" y="333"/>
                    </a:lnTo>
                    <a:lnTo>
                      <a:pt x="754" y="333"/>
                    </a:lnTo>
                    <a:lnTo>
                      <a:pt x="763" y="333"/>
                    </a:lnTo>
                    <a:lnTo>
                      <a:pt x="775" y="329"/>
                    </a:lnTo>
                    <a:lnTo>
                      <a:pt x="780" y="329"/>
                    </a:lnTo>
                    <a:lnTo>
                      <a:pt x="780" y="331"/>
                    </a:lnTo>
                    <a:lnTo>
                      <a:pt x="780" y="336"/>
                    </a:lnTo>
                    <a:lnTo>
                      <a:pt x="773" y="357"/>
                    </a:lnTo>
                    <a:lnTo>
                      <a:pt x="775" y="366"/>
                    </a:lnTo>
                    <a:lnTo>
                      <a:pt x="780" y="374"/>
                    </a:lnTo>
                    <a:lnTo>
                      <a:pt x="787" y="383"/>
                    </a:lnTo>
                    <a:lnTo>
                      <a:pt x="794" y="385"/>
                    </a:lnTo>
                    <a:lnTo>
                      <a:pt x="794" y="390"/>
                    </a:lnTo>
                    <a:lnTo>
                      <a:pt x="791" y="400"/>
                    </a:lnTo>
                    <a:lnTo>
                      <a:pt x="784" y="409"/>
                    </a:lnTo>
                    <a:lnTo>
                      <a:pt x="763" y="423"/>
                    </a:lnTo>
                    <a:lnTo>
                      <a:pt x="761" y="430"/>
                    </a:lnTo>
                    <a:lnTo>
                      <a:pt x="761" y="435"/>
                    </a:lnTo>
                    <a:lnTo>
                      <a:pt x="749" y="461"/>
                    </a:lnTo>
                    <a:lnTo>
                      <a:pt x="742" y="478"/>
                    </a:lnTo>
                    <a:lnTo>
                      <a:pt x="739" y="494"/>
                    </a:lnTo>
                    <a:lnTo>
                      <a:pt x="742" y="504"/>
                    </a:lnTo>
                    <a:lnTo>
                      <a:pt x="749" y="506"/>
                    </a:lnTo>
                    <a:lnTo>
                      <a:pt x="756" y="504"/>
                    </a:lnTo>
                    <a:lnTo>
                      <a:pt x="758" y="496"/>
                    </a:lnTo>
                    <a:lnTo>
                      <a:pt x="765" y="489"/>
                    </a:lnTo>
                    <a:lnTo>
                      <a:pt x="775" y="482"/>
                    </a:lnTo>
                    <a:lnTo>
                      <a:pt x="782" y="473"/>
                    </a:lnTo>
                    <a:lnTo>
                      <a:pt x="789" y="452"/>
                    </a:lnTo>
                    <a:lnTo>
                      <a:pt x="799" y="440"/>
                    </a:lnTo>
                    <a:lnTo>
                      <a:pt x="803" y="437"/>
                    </a:lnTo>
                    <a:lnTo>
                      <a:pt x="806" y="437"/>
                    </a:lnTo>
                    <a:lnTo>
                      <a:pt x="817" y="433"/>
                    </a:lnTo>
                    <a:lnTo>
                      <a:pt x="827" y="433"/>
                    </a:lnTo>
                    <a:lnTo>
                      <a:pt x="832" y="440"/>
                    </a:lnTo>
                    <a:lnTo>
                      <a:pt x="839" y="444"/>
                    </a:lnTo>
                    <a:lnTo>
                      <a:pt x="841" y="452"/>
                    </a:lnTo>
                    <a:lnTo>
                      <a:pt x="839" y="463"/>
                    </a:lnTo>
                    <a:lnTo>
                      <a:pt x="834" y="475"/>
                    </a:lnTo>
                    <a:lnTo>
                      <a:pt x="829" y="489"/>
                    </a:lnTo>
                    <a:lnTo>
                      <a:pt x="822" y="508"/>
                    </a:lnTo>
                    <a:lnTo>
                      <a:pt x="820" y="534"/>
                    </a:lnTo>
                    <a:lnTo>
                      <a:pt x="820" y="556"/>
                    </a:lnTo>
                    <a:lnTo>
                      <a:pt x="825" y="567"/>
                    </a:lnTo>
                    <a:lnTo>
                      <a:pt x="822" y="579"/>
                    </a:lnTo>
                    <a:lnTo>
                      <a:pt x="813" y="591"/>
                    </a:lnTo>
                    <a:lnTo>
                      <a:pt x="806" y="605"/>
                    </a:lnTo>
                    <a:lnTo>
                      <a:pt x="801" y="624"/>
                    </a:lnTo>
                    <a:lnTo>
                      <a:pt x="799" y="638"/>
                    </a:lnTo>
                    <a:lnTo>
                      <a:pt x="799" y="650"/>
                    </a:lnTo>
                    <a:lnTo>
                      <a:pt x="801" y="660"/>
                    </a:lnTo>
                    <a:lnTo>
                      <a:pt x="806" y="671"/>
                    </a:lnTo>
                    <a:lnTo>
                      <a:pt x="806" y="676"/>
                    </a:lnTo>
                    <a:lnTo>
                      <a:pt x="796" y="705"/>
                    </a:lnTo>
                    <a:lnTo>
                      <a:pt x="794" y="716"/>
                    </a:lnTo>
                    <a:lnTo>
                      <a:pt x="794" y="728"/>
                    </a:lnTo>
                    <a:lnTo>
                      <a:pt x="791" y="738"/>
                    </a:lnTo>
                    <a:lnTo>
                      <a:pt x="784" y="759"/>
                    </a:lnTo>
                    <a:lnTo>
                      <a:pt x="784" y="771"/>
                    </a:lnTo>
                    <a:lnTo>
                      <a:pt x="784" y="780"/>
                    </a:lnTo>
                    <a:lnTo>
                      <a:pt x="787" y="797"/>
                    </a:lnTo>
                    <a:lnTo>
                      <a:pt x="787" y="804"/>
                    </a:lnTo>
                    <a:lnTo>
                      <a:pt x="789" y="806"/>
                    </a:lnTo>
                    <a:lnTo>
                      <a:pt x="791" y="811"/>
                    </a:lnTo>
                    <a:lnTo>
                      <a:pt x="791" y="816"/>
                    </a:lnTo>
                    <a:lnTo>
                      <a:pt x="789" y="823"/>
                    </a:lnTo>
                    <a:lnTo>
                      <a:pt x="791" y="830"/>
                    </a:lnTo>
                    <a:lnTo>
                      <a:pt x="796" y="832"/>
                    </a:lnTo>
                    <a:lnTo>
                      <a:pt x="799" y="842"/>
                    </a:lnTo>
                    <a:lnTo>
                      <a:pt x="801" y="854"/>
                    </a:lnTo>
                    <a:lnTo>
                      <a:pt x="806" y="863"/>
                    </a:lnTo>
                    <a:lnTo>
                      <a:pt x="810" y="870"/>
                    </a:lnTo>
                    <a:lnTo>
                      <a:pt x="813" y="882"/>
                    </a:lnTo>
                    <a:lnTo>
                      <a:pt x="810" y="898"/>
                    </a:lnTo>
                    <a:lnTo>
                      <a:pt x="810" y="927"/>
                    </a:lnTo>
                    <a:lnTo>
                      <a:pt x="813" y="936"/>
                    </a:lnTo>
                    <a:lnTo>
                      <a:pt x="791" y="939"/>
                    </a:lnTo>
                    <a:lnTo>
                      <a:pt x="723" y="943"/>
                    </a:lnTo>
                    <a:lnTo>
                      <a:pt x="652" y="948"/>
                    </a:lnTo>
                    <a:lnTo>
                      <a:pt x="583" y="953"/>
                    </a:lnTo>
                    <a:lnTo>
                      <a:pt x="513" y="958"/>
                    </a:lnTo>
                    <a:lnTo>
                      <a:pt x="442" y="962"/>
                    </a:lnTo>
                    <a:lnTo>
                      <a:pt x="371" y="965"/>
                    </a:lnTo>
                    <a:lnTo>
                      <a:pt x="371" y="965"/>
                    </a:lnTo>
                    <a:lnTo>
                      <a:pt x="364" y="946"/>
                    </a:lnTo>
                    <a:lnTo>
                      <a:pt x="347" y="932"/>
                    </a:lnTo>
                    <a:lnTo>
                      <a:pt x="321" y="924"/>
                    </a:lnTo>
                    <a:lnTo>
                      <a:pt x="302" y="913"/>
                    </a:lnTo>
                    <a:lnTo>
                      <a:pt x="295" y="891"/>
                    </a:lnTo>
                    <a:lnTo>
                      <a:pt x="288" y="870"/>
                    </a:lnTo>
                    <a:lnTo>
                      <a:pt x="286" y="846"/>
                    </a:lnTo>
                    <a:lnTo>
                      <a:pt x="286" y="825"/>
                    </a:lnTo>
                    <a:lnTo>
                      <a:pt x="290" y="809"/>
                    </a:lnTo>
                    <a:lnTo>
                      <a:pt x="288" y="797"/>
                    </a:lnTo>
                    <a:lnTo>
                      <a:pt x="278" y="792"/>
                    </a:lnTo>
                    <a:lnTo>
                      <a:pt x="274" y="785"/>
                    </a:lnTo>
                    <a:lnTo>
                      <a:pt x="269" y="776"/>
                    </a:lnTo>
                    <a:lnTo>
                      <a:pt x="267" y="764"/>
                    </a:lnTo>
                    <a:lnTo>
                      <a:pt x="260" y="700"/>
                    </a:lnTo>
                    <a:lnTo>
                      <a:pt x="250" y="671"/>
                    </a:lnTo>
                    <a:lnTo>
                      <a:pt x="241" y="660"/>
                    </a:lnTo>
                    <a:lnTo>
                      <a:pt x="219" y="648"/>
                    </a:lnTo>
                    <a:lnTo>
                      <a:pt x="189" y="634"/>
                    </a:lnTo>
                    <a:lnTo>
                      <a:pt x="170" y="622"/>
                    </a:lnTo>
                    <a:lnTo>
                      <a:pt x="158" y="601"/>
                    </a:lnTo>
                    <a:lnTo>
                      <a:pt x="134" y="579"/>
                    </a:lnTo>
                    <a:lnTo>
                      <a:pt x="120" y="570"/>
                    </a:lnTo>
                    <a:lnTo>
                      <a:pt x="106" y="567"/>
                    </a:lnTo>
                    <a:lnTo>
                      <a:pt x="94" y="560"/>
                    </a:lnTo>
                    <a:lnTo>
                      <a:pt x="87" y="549"/>
                    </a:lnTo>
                    <a:lnTo>
                      <a:pt x="75" y="541"/>
                    </a:lnTo>
                    <a:lnTo>
                      <a:pt x="61" y="539"/>
                    </a:lnTo>
                    <a:lnTo>
                      <a:pt x="44" y="532"/>
                    </a:lnTo>
                    <a:lnTo>
                      <a:pt x="23" y="515"/>
                    </a:lnTo>
                    <a:lnTo>
                      <a:pt x="23" y="513"/>
                    </a:lnTo>
                    <a:lnTo>
                      <a:pt x="18" y="501"/>
                    </a:lnTo>
                    <a:lnTo>
                      <a:pt x="21" y="494"/>
                    </a:lnTo>
                    <a:lnTo>
                      <a:pt x="23" y="470"/>
                    </a:lnTo>
                    <a:lnTo>
                      <a:pt x="23" y="463"/>
                    </a:lnTo>
                    <a:lnTo>
                      <a:pt x="18" y="442"/>
                    </a:lnTo>
                    <a:lnTo>
                      <a:pt x="23" y="433"/>
                    </a:lnTo>
                    <a:lnTo>
                      <a:pt x="21" y="407"/>
                    </a:lnTo>
                    <a:lnTo>
                      <a:pt x="23" y="397"/>
                    </a:lnTo>
                    <a:lnTo>
                      <a:pt x="33" y="376"/>
                    </a:lnTo>
                    <a:lnTo>
                      <a:pt x="33" y="364"/>
                    </a:lnTo>
                    <a:lnTo>
                      <a:pt x="28" y="352"/>
                    </a:lnTo>
                    <a:lnTo>
                      <a:pt x="21" y="340"/>
                    </a:lnTo>
                    <a:lnTo>
                      <a:pt x="0" y="331"/>
                    </a:lnTo>
                    <a:lnTo>
                      <a:pt x="0" y="317"/>
                    </a:lnTo>
                    <a:lnTo>
                      <a:pt x="2" y="307"/>
                    </a:lnTo>
                    <a:lnTo>
                      <a:pt x="14" y="288"/>
                    </a:lnTo>
                    <a:lnTo>
                      <a:pt x="21" y="272"/>
                    </a:lnTo>
                    <a:lnTo>
                      <a:pt x="26" y="262"/>
                    </a:lnTo>
                    <a:lnTo>
                      <a:pt x="66" y="236"/>
                    </a:lnTo>
                    <a:lnTo>
                      <a:pt x="73" y="234"/>
                    </a:lnTo>
                    <a:lnTo>
                      <a:pt x="80" y="227"/>
                    </a:lnTo>
                    <a:lnTo>
                      <a:pt x="85" y="225"/>
                    </a:lnTo>
                    <a:lnTo>
                      <a:pt x="82" y="194"/>
                    </a:lnTo>
                    <a:lnTo>
                      <a:pt x="82" y="163"/>
                    </a:lnTo>
                    <a:lnTo>
                      <a:pt x="80" y="132"/>
                    </a:lnTo>
                    <a:lnTo>
                      <a:pt x="80" y="102"/>
                    </a:lnTo>
                    <a:lnTo>
                      <a:pt x="89" y="99"/>
                    </a:lnTo>
                    <a:lnTo>
                      <a:pt x="94" y="92"/>
                    </a:lnTo>
                    <a:lnTo>
                      <a:pt x="104" y="80"/>
                    </a:lnTo>
                    <a:lnTo>
                      <a:pt x="106" y="80"/>
                    </a:lnTo>
                    <a:lnTo>
                      <a:pt x="106" y="80"/>
                    </a:lnTo>
                    <a:lnTo>
                      <a:pt x="111" y="85"/>
                    </a:lnTo>
                    <a:lnTo>
                      <a:pt x="125" y="92"/>
                    </a:lnTo>
                    <a:lnTo>
                      <a:pt x="134" y="92"/>
                    </a:lnTo>
                    <a:lnTo>
                      <a:pt x="146" y="90"/>
                    </a:lnTo>
                    <a:lnTo>
                      <a:pt x="193" y="73"/>
                    </a:lnTo>
                    <a:lnTo>
                      <a:pt x="215" y="64"/>
                    </a:lnTo>
                    <a:lnTo>
                      <a:pt x="234" y="47"/>
                    </a:lnTo>
                    <a:lnTo>
                      <a:pt x="236" y="47"/>
                    </a:lnTo>
                    <a:lnTo>
                      <a:pt x="245" y="50"/>
                    </a:lnTo>
                    <a:lnTo>
                      <a:pt x="248" y="50"/>
                    </a:lnTo>
                    <a:lnTo>
                      <a:pt x="274" y="31"/>
                    </a:lnTo>
                    <a:lnTo>
                      <a:pt x="281" y="28"/>
                    </a:lnTo>
                    <a:lnTo>
                      <a:pt x="288" y="28"/>
                    </a:lnTo>
                    <a:lnTo>
                      <a:pt x="297" y="35"/>
                    </a:lnTo>
                    <a:lnTo>
                      <a:pt x="300" y="38"/>
                    </a:lnTo>
                    <a:lnTo>
                      <a:pt x="297" y="47"/>
                    </a:lnTo>
                    <a:lnTo>
                      <a:pt x="290" y="59"/>
                    </a:lnTo>
                    <a:lnTo>
                      <a:pt x="286" y="71"/>
                    </a:lnTo>
                    <a:lnTo>
                      <a:pt x="288" y="80"/>
                    </a:lnTo>
                    <a:lnTo>
                      <a:pt x="286" y="87"/>
                    </a:lnTo>
                    <a:lnTo>
                      <a:pt x="276" y="102"/>
                    </a:lnTo>
                    <a:lnTo>
                      <a:pt x="281" y="104"/>
                    </a:lnTo>
                    <a:lnTo>
                      <a:pt x="302" y="95"/>
                    </a:lnTo>
                    <a:lnTo>
                      <a:pt x="305" y="90"/>
                    </a:lnTo>
                    <a:lnTo>
                      <a:pt x="305" y="90"/>
                    </a:lnTo>
                    <a:lnTo>
                      <a:pt x="305" y="85"/>
                    </a:lnTo>
                    <a:lnTo>
                      <a:pt x="307" y="85"/>
                    </a:lnTo>
                    <a:lnTo>
                      <a:pt x="323" y="97"/>
                    </a:lnTo>
                    <a:lnTo>
                      <a:pt x="338" y="102"/>
                    </a:lnTo>
                    <a:lnTo>
                      <a:pt x="347" y="104"/>
                    </a:lnTo>
                    <a:lnTo>
                      <a:pt x="357" y="102"/>
                    </a:lnTo>
                    <a:close/>
                    <a:moveTo>
                      <a:pt x="331" y="35"/>
                    </a:moveTo>
                    <a:lnTo>
                      <a:pt x="326" y="35"/>
                    </a:lnTo>
                    <a:lnTo>
                      <a:pt x="316" y="35"/>
                    </a:lnTo>
                    <a:lnTo>
                      <a:pt x="316" y="31"/>
                    </a:lnTo>
                    <a:lnTo>
                      <a:pt x="326" y="26"/>
                    </a:lnTo>
                    <a:lnTo>
                      <a:pt x="331" y="26"/>
                    </a:lnTo>
                    <a:lnTo>
                      <a:pt x="333" y="26"/>
                    </a:lnTo>
                    <a:lnTo>
                      <a:pt x="331" y="35"/>
                    </a:lnTo>
                    <a:close/>
                    <a:moveTo>
                      <a:pt x="309" y="64"/>
                    </a:moveTo>
                    <a:lnTo>
                      <a:pt x="302" y="69"/>
                    </a:lnTo>
                    <a:lnTo>
                      <a:pt x="297" y="69"/>
                    </a:lnTo>
                    <a:lnTo>
                      <a:pt x="300" y="64"/>
                    </a:lnTo>
                    <a:lnTo>
                      <a:pt x="302" y="59"/>
                    </a:lnTo>
                    <a:lnTo>
                      <a:pt x="321" y="45"/>
                    </a:lnTo>
                    <a:lnTo>
                      <a:pt x="326" y="45"/>
                    </a:lnTo>
                    <a:lnTo>
                      <a:pt x="326" y="47"/>
                    </a:lnTo>
                    <a:lnTo>
                      <a:pt x="316" y="54"/>
                    </a:lnTo>
                    <a:lnTo>
                      <a:pt x="314" y="59"/>
                    </a:lnTo>
                    <a:lnTo>
                      <a:pt x="314" y="61"/>
                    </a:lnTo>
                    <a:lnTo>
                      <a:pt x="309" y="64"/>
                    </a:lnTo>
                    <a:close/>
                    <a:moveTo>
                      <a:pt x="900" y="322"/>
                    </a:moveTo>
                    <a:lnTo>
                      <a:pt x="895" y="324"/>
                    </a:lnTo>
                    <a:lnTo>
                      <a:pt x="886" y="324"/>
                    </a:lnTo>
                    <a:lnTo>
                      <a:pt x="884" y="319"/>
                    </a:lnTo>
                    <a:lnTo>
                      <a:pt x="886" y="307"/>
                    </a:lnTo>
                    <a:lnTo>
                      <a:pt x="888" y="310"/>
                    </a:lnTo>
                    <a:lnTo>
                      <a:pt x="895" y="310"/>
                    </a:lnTo>
                    <a:lnTo>
                      <a:pt x="898" y="310"/>
                    </a:lnTo>
                    <a:lnTo>
                      <a:pt x="900" y="312"/>
                    </a:lnTo>
                    <a:lnTo>
                      <a:pt x="900" y="322"/>
                    </a:lnTo>
                    <a:close/>
                    <a:moveTo>
                      <a:pt x="884" y="348"/>
                    </a:moveTo>
                    <a:lnTo>
                      <a:pt x="881" y="350"/>
                    </a:lnTo>
                    <a:lnTo>
                      <a:pt x="877" y="350"/>
                    </a:lnTo>
                    <a:lnTo>
                      <a:pt x="874" y="352"/>
                    </a:lnTo>
                    <a:lnTo>
                      <a:pt x="877" y="364"/>
                    </a:lnTo>
                    <a:lnTo>
                      <a:pt x="874" y="366"/>
                    </a:lnTo>
                    <a:lnTo>
                      <a:pt x="872" y="366"/>
                    </a:lnTo>
                    <a:lnTo>
                      <a:pt x="872" y="369"/>
                    </a:lnTo>
                    <a:lnTo>
                      <a:pt x="874" y="374"/>
                    </a:lnTo>
                    <a:lnTo>
                      <a:pt x="877" y="378"/>
                    </a:lnTo>
                    <a:lnTo>
                      <a:pt x="874" y="383"/>
                    </a:lnTo>
                    <a:lnTo>
                      <a:pt x="872" y="385"/>
                    </a:lnTo>
                    <a:lnTo>
                      <a:pt x="867" y="385"/>
                    </a:lnTo>
                    <a:lnTo>
                      <a:pt x="865" y="392"/>
                    </a:lnTo>
                    <a:lnTo>
                      <a:pt x="860" y="404"/>
                    </a:lnTo>
                    <a:lnTo>
                      <a:pt x="860" y="411"/>
                    </a:lnTo>
                    <a:lnTo>
                      <a:pt x="860" y="414"/>
                    </a:lnTo>
                    <a:lnTo>
                      <a:pt x="860" y="418"/>
                    </a:lnTo>
                    <a:lnTo>
                      <a:pt x="848" y="437"/>
                    </a:lnTo>
                    <a:lnTo>
                      <a:pt x="843" y="440"/>
                    </a:lnTo>
                    <a:lnTo>
                      <a:pt x="836" y="437"/>
                    </a:lnTo>
                    <a:lnTo>
                      <a:pt x="832" y="433"/>
                    </a:lnTo>
                    <a:lnTo>
                      <a:pt x="829" y="426"/>
                    </a:lnTo>
                    <a:lnTo>
                      <a:pt x="827" y="418"/>
                    </a:lnTo>
                    <a:lnTo>
                      <a:pt x="829" y="414"/>
                    </a:lnTo>
                    <a:lnTo>
                      <a:pt x="839" y="397"/>
                    </a:lnTo>
                    <a:lnTo>
                      <a:pt x="843" y="385"/>
                    </a:lnTo>
                    <a:lnTo>
                      <a:pt x="846" y="374"/>
                    </a:lnTo>
                    <a:lnTo>
                      <a:pt x="851" y="364"/>
                    </a:lnTo>
                    <a:lnTo>
                      <a:pt x="858" y="362"/>
                    </a:lnTo>
                    <a:lnTo>
                      <a:pt x="865" y="352"/>
                    </a:lnTo>
                    <a:lnTo>
                      <a:pt x="867" y="340"/>
                    </a:lnTo>
                    <a:lnTo>
                      <a:pt x="872" y="336"/>
                    </a:lnTo>
                    <a:lnTo>
                      <a:pt x="879" y="336"/>
                    </a:lnTo>
                    <a:lnTo>
                      <a:pt x="884" y="340"/>
                    </a:lnTo>
                    <a:lnTo>
                      <a:pt x="884" y="34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53" name="Freeform 92">
                <a:extLst>
                  <a:ext uri="{FF2B5EF4-FFF2-40B4-BE49-F238E27FC236}">
                    <a16:creationId xmlns:a16="http://schemas.microsoft.com/office/drawing/2014/main" id="{719AAD32-62E8-4BF6-E345-20B2B3799895}"/>
                  </a:ext>
                </a:extLst>
              </p:cNvPr>
              <p:cNvSpPr>
                <a:spLocks/>
              </p:cNvSpPr>
              <p:nvPr/>
            </p:nvSpPr>
            <p:spPr bwMode="auto">
              <a:xfrm>
                <a:off x="6912" y="764"/>
                <a:ext cx="758" cy="742"/>
              </a:xfrm>
              <a:custGeom>
                <a:avLst/>
                <a:gdLst>
                  <a:gd name="T0" fmla="*/ 472 w 758"/>
                  <a:gd name="T1" fmla="*/ 215 h 742"/>
                  <a:gd name="T2" fmla="*/ 498 w 758"/>
                  <a:gd name="T3" fmla="*/ 248 h 742"/>
                  <a:gd name="T4" fmla="*/ 541 w 758"/>
                  <a:gd name="T5" fmla="*/ 198 h 742"/>
                  <a:gd name="T6" fmla="*/ 576 w 758"/>
                  <a:gd name="T7" fmla="*/ 163 h 742"/>
                  <a:gd name="T8" fmla="*/ 584 w 758"/>
                  <a:gd name="T9" fmla="*/ 163 h 742"/>
                  <a:gd name="T10" fmla="*/ 598 w 758"/>
                  <a:gd name="T11" fmla="*/ 172 h 742"/>
                  <a:gd name="T12" fmla="*/ 626 w 758"/>
                  <a:gd name="T13" fmla="*/ 170 h 742"/>
                  <a:gd name="T14" fmla="*/ 638 w 758"/>
                  <a:gd name="T15" fmla="*/ 149 h 742"/>
                  <a:gd name="T16" fmla="*/ 685 w 758"/>
                  <a:gd name="T17" fmla="*/ 127 h 742"/>
                  <a:gd name="T18" fmla="*/ 721 w 758"/>
                  <a:gd name="T19" fmla="*/ 135 h 742"/>
                  <a:gd name="T20" fmla="*/ 730 w 758"/>
                  <a:gd name="T21" fmla="*/ 146 h 742"/>
                  <a:gd name="T22" fmla="*/ 742 w 758"/>
                  <a:gd name="T23" fmla="*/ 163 h 742"/>
                  <a:gd name="T24" fmla="*/ 751 w 758"/>
                  <a:gd name="T25" fmla="*/ 175 h 742"/>
                  <a:gd name="T26" fmla="*/ 751 w 758"/>
                  <a:gd name="T27" fmla="*/ 213 h 742"/>
                  <a:gd name="T28" fmla="*/ 697 w 758"/>
                  <a:gd name="T29" fmla="*/ 203 h 742"/>
                  <a:gd name="T30" fmla="*/ 654 w 758"/>
                  <a:gd name="T31" fmla="*/ 191 h 742"/>
                  <a:gd name="T32" fmla="*/ 652 w 758"/>
                  <a:gd name="T33" fmla="*/ 246 h 742"/>
                  <a:gd name="T34" fmla="*/ 614 w 758"/>
                  <a:gd name="T35" fmla="*/ 302 h 742"/>
                  <a:gd name="T36" fmla="*/ 595 w 758"/>
                  <a:gd name="T37" fmla="*/ 331 h 742"/>
                  <a:gd name="T38" fmla="*/ 565 w 758"/>
                  <a:gd name="T39" fmla="*/ 352 h 742"/>
                  <a:gd name="T40" fmla="*/ 553 w 758"/>
                  <a:gd name="T41" fmla="*/ 399 h 742"/>
                  <a:gd name="T42" fmla="*/ 524 w 758"/>
                  <a:gd name="T43" fmla="*/ 421 h 742"/>
                  <a:gd name="T44" fmla="*/ 494 w 758"/>
                  <a:gd name="T45" fmla="*/ 404 h 742"/>
                  <a:gd name="T46" fmla="*/ 477 w 758"/>
                  <a:gd name="T47" fmla="*/ 411 h 742"/>
                  <a:gd name="T48" fmla="*/ 463 w 758"/>
                  <a:gd name="T49" fmla="*/ 473 h 742"/>
                  <a:gd name="T50" fmla="*/ 418 w 758"/>
                  <a:gd name="T51" fmla="*/ 574 h 742"/>
                  <a:gd name="T52" fmla="*/ 413 w 758"/>
                  <a:gd name="T53" fmla="*/ 615 h 742"/>
                  <a:gd name="T54" fmla="*/ 409 w 758"/>
                  <a:gd name="T55" fmla="*/ 643 h 742"/>
                  <a:gd name="T56" fmla="*/ 383 w 758"/>
                  <a:gd name="T57" fmla="*/ 657 h 742"/>
                  <a:gd name="T58" fmla="*/ 338 w 758"/>
                  <a:gd name="T59" fmla="*/ 678 h 742"/>
                  <a:gd name="T60" fmla="*/ 321 w 758"/>
                  <a:gd name="T61" fmla="*/ 678 h 742"/>
                  <a:gd name="T62" fmla="*/ 316 w 758"/>
                  <a:gd name="T63" fmla="*/ 702 h 742"/>
                  <a:gd name="T64" fmla="*/ 274 w 758"/>
                  <a:gd name="T65" fmla="*/ 719 h 742"/>
                  <a:gd name="T66" fmla="*/ 234 w 758"/>
                  <a:gd name="T67" fmla="*/ 721 h 742"/>
                  <a:gd name="T68" fmla="*/ 208 w 758"/>
                  <a:gd name="T69" fmla="*/ 742 h 742"/>
                  <a:gd name="T70" fmla="*/ 165 w 758"/>
                  <a:gd name="T71" fmla="*/ 728 h 742"/>
                  <a:gd name="T72" fmla="*/ 144 w 758"/>
                  <a:gd name="T73" fmla="*/ 704 h 742"/>
                  <a:gd name="T74" fmla="*/ 134 w 758"/>
                  <a:gd name="T75" fmla="*/ 683 h 742"/>
                  <a:gd name="T76" fmla="*/ 56 w 758"/>
                  <a:gd name="T77" fmla="*/ 633 h 742"/>
                  <a:gd name="T78" fmla="*/ 35 w 758"/>
                  <a:gd name="T79" fmla="*/ 603 h 742"/>
                  <a:gd name="T80" fmla="*/ 7 w 758"/>
                  <a:gd name="T81" fmla="*/ 565 h 742"/>
                  <a:gd name="T82" fmla="*/ 4 w 758"/>
                  <a:gd name="T83" fmla="*/ 515 h 742"/>
                  <a:gd name="T84" fmla="*/ 38 w 758"/>
                  <a:gd name="T85" fmla="*/ 508 h 742"/>
                  <a:gd name="T86" fmla="*/ 54 w 758"/>
                  <a:gd name="T87" fmla="*/ 470 h 742"/>
                  <a:gd name="T88" fmla="*/ 61 w 758"/>
                  <a:gd name="T89" fmla="*/ 444 h 742"/>
                  <a:gd name="T90" fmla="*/ 73 w 758"/>
                  <a:gd name="T91" fmla="*/ 390 h 742"/>
                  <a:gd name="T92" fmla="*/ 97 w 758"/>
                  <a:gd name="T93" fmla="*/ 388 h 742"/>
                  <a:gd name="T94" fmla="*/ 106 w 758"/>
                  <a:gd name="T95" fmla="*/ 399 h 742"/>
                  <a:gd name="T96" fmla="*/ 118 w 758"/>
                  <a:gd name="T97" fmla="*/ 385 h 742"/>
                  <a:gd name="T98" fmla="*/ 113 w 758"/>
                  <a:gd name="T99" fmla="*/ 366 h 742"/>
                  <a:gd name="T100" fmla="*/ 120 w 758"/>
                  <a:gd name="T101" fmla="*/ 343 h 742"/>
                  <a:gd name="T102" fmla="*/ 137 w 758"/>
                  <a:gd name="T103" fmla="*/ 312 h 742"/>
                  <a:gd name="T104" fmla="*/ 160 w 758"/>
                  <a:gd name="T105" fmla="*/ 283 h 742"/>
                  <a:gd name="T106" fmla="*/ 189 w 758"/>
                  <a:gd name="T107" fmla="*/ 281 h 742"/>
                  <a:gd name="T108" fmla="*/ 241 w 758"/>
                  <a:gd name="T109" fmla="*/ 213 h 742"/>
                  <a:gd name="T110" fmla="*/ 257 w 758"/>
                  <a:gd name="T111" fmla="*/ 99 h 742"/>
                  <a:gd name="T112" fmla="*/ 253 w 758"/>
                  <a:gd name="T113" fmla="*/ 30 h 742"/>
                  <a:gd name="T114" fmla="*/ 264 w 758"/>
                  <a:gd name="T115" fmla="*/ 0 h 742"/>
                  <a:gd name="T116" fmla="*/ 276 w 758"/>
                  <a:gd name="T117" fmla="*/ 71 h 742"/>
                  <a:gd name="T118" fmla="*/ 288 w 758"/>
                  <a:gd name="T119" fmla="*/ 144 h 742"/>
                  <a:gd name="T120" fmla="*/ 316 w 758"/>
                  <a:gd name="T121" fmla="*/ 187 h 742"/>
                  <a:gd name="T122" fmla="*/ 380 w 758"/>
                  <a:gd name="T123" fmla="*/ 177 h 742"/>
                  <a:gd name="T124" fmla="*/ 442 w 758"/>
                  <a:gd name="T125" fmla="*/ 165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8" h="742">
                    <a:moveTo>
                      <a:pt x="463" y="161"/>
                    </a:moveTo>
                    <a:lnTo>
                      <a:pt x="468" y="187"/>
                    </a:lnTo>
                    <a:lnTo>
                      <a:pt x="472" y="215"/>
                    </a:lnTo>
                    <a:lnTo>
                      <a:pt x="477" y="241"/>
                    </a:lnTo>
                    <a:lnTo>
                      <a:pt x="480" y="267"/>
                    </a:lnTo>
                    <a:lnTo>
                      <a:pt x="498" y="248"/>
                    </a:lnTo>
                    <a:lnTo>
                      <a:pt x="508" y="241"/>
                    </a:lnTo>
                    <a:lnTo>
                      <a:pt x="536" y="201"/>
                    </a:lnTo>
                    <a:lnTo>
                      <a:pt x="541" y="198"/>
                    </a:lnTo>
                    <a:lnTo>
                      <a:pt x="555" y="201"/>
                    </a:lnTo>
                    <a:lnTo>
                      <a:pt x="574" y="172"/>
                    </a:lnTo>
                    <a:lnTo>
                      <a:pt x="576" y="163"/>
                    </a:lnTo>
                    <a:lnTo>
                      <a:pt x="579" y="161"/>
                    </a:lnTo>
                    <a:lnTo>
                      <a:pt x="581" y="161"/>
                    </a:lnTo>
                    <a:lnTo>
                      <a:pt x="584" y="163"/>
                    </a:lnTo>
                    <a:lnTo>
                      <a:pt x="584" y="168"/>
                    </a:lnTo>
                    <a:lnTo>
                      <a:pt x="586" y="170"/>
                    </a:lnTo>
                    <a:lnTo>
                      <a:pt x="598" y="172"/>
                    </a:lnTo>
                    <a:lnTo>
                      <a:pt x="612" y="172"/>
                    </a:lnTo>
                    <a:lnTo>
                      <a:pt x="614" y="172"/>
                    </a:lnTo>
                    <a:lnTo>
                      <a:pt x="626" y="170"/>
                    </a:lnTo>
                    <a:lnTo>
                      <a:pt x="631" y="165"/>
                    </a:lnTo>
                    <a:lnTo>
                      <a:pt x="633" y="156"/>
                    </a:lnTo>
                    <a:lnTo>
                      <a:pt x="638" y="149"/>
                    </a:lnTo>
                    <a:lnTo>
                      <a:pt x="650" y="144"/>
                    </a:lnTo>
                    <a:lnTo>
                      <a:pt x="671" y="130"/>
                    </a:lnTo>
                    <a:lnTo>
                      <a:pt x="685" y="127"/>
                    </a:lnTo>
                    <a:lnTo>
                      <a:pt x="697" y="135"/>
                    </a:lnTo>
                    <a:lnTo>
                      <a:pt x="711" y="137"/>
                    </a:lnTo>
                    <a:lnTo>
                      <a:pt x="721" y="135"/>
                    </a:lnTo>
                    <a:lnTo>
                      <a:pt x="725" y="137"/>
                    </a:lnTo>
                    <a:lnTo>
                      <a:pt x="725" y="142"/>
                    </a:lnTo>
                    <a:lnTo>
                      <a:pt x="730" y="146"/>
                    </a:lnTo>
                    <a:lnTo>
                      <a:pt x="740" y="151"/>
                    </a:lnTo>
                    <a:lnTo>
                      <a:pt x="744" y="158"/>
                    </a:lnTo>
                    <a:lnTo>
                      <a:pt x="742" y="163"/>
                    </a:lnTo>
                    <a:lnTo>
                      <a:pt x="744" y="168"/>
                    </a:lnTo>
                    <a:lnTo>
                      <a:pt x="749" y="168"/>
                    </a:lnTo>
                    <a:lnTo>
                      <a:pt x="751" y="175"/>
                    </a:lnTo>
                    <a:lnTo>
                      <a:pt x="756" y="184"/>
                    </a:lnTo>
                    <a:lnTo>
                      <a:pt x="758" y="184"/>
                    </a:lnTo>
                    <a:lnTo>
                      <a:pt x="751" y="213"/>
                    </a:lnTo>
                    <a:lnTo>
                      <a:pt x="749" y="229"/>
                    </a:lnTo>
                    <a:lnTo>
                      <a:pt x="728" y="220"/>
                    </a:lnTo>
                    <a:lnTo>
                      <a:pt x="697" y="203"/>
                    </a:lnTo>
                    <a:lnTo>
                      <a:pt x="683" y="194"/>
                    </a:lnTo>
                    <a:lnTo>
                      <a:pt x="659" y="182"/>
                    </a:lnTo>
                    <a:lnTo>
                      <a:pt x="654" y="191"/>
                    </a:lnTo>
                    <a:lnTo>
                      <a:pt x="657" y="208"/>
                    </a:lnTo>
                    <a:lnTo>
                      <a:pt x="652" y="224"/>
                    </a:lnTo>
                    <a:lnTo>
                      <a:pt x="652" y="246"/>
                    </a:lnTo>
                    <a:lnTo>
                      <a:pt x="636" y="283"/>
                    </a:lnTo>
                    <a:lnTo>
                      <a:pt x="619" y="302"/>
                    </a:lnTo>
                    <a:lnTo>
                      <a:pt x="614" y="302"/>
                    </a:lnTo>
                    <a:lnTo>
                      <a:pt x="610" y="307"/>
                    </a:lnTo>
                    <a:lnTo>
                      <a:pt x="605" y="319"/>
                    </a:lnTo>
                    <a:lnTo>
                      <a:pt x="595" y="331"/>
                    </a:lnTo>
                    <a:lnTo>
                      <a:pt x="576" y="333"/>
                    </a:lnTo>
                    <a:lnTo>
                      <a:pt x="569" y="340"/>
                    </a:lnTo>
                    <a:lnTo>
                      <a:pt x="565" y="352"/>
                    </a:lnTo>
                    <a:lnTo>
                      <a:pt x="562" y="366"/>
                    </a:lnTo>
                    <a:lnTo>
                      <a:pt x="558" y="380"/>
                    </a:lnTo>
                    <a:lnTo>
                      <a:pt x="553" y="399"/>
                    </a:lnTo>
                    <a:lnTo>
                      <a:pt x="548" y="411"/>
                    </a:lnTo>
                    <a:lnTo>
                      <a:pt x="539" y="418"/>
                    </a:lnTo>
                    <a:lnTo>
                      <a:pt x="524" y="421"/>
                    </a:lnTo>
                    <a:lnTo>
                      <a:pt x="506" y="416"/>
                    </a:lnTo>
                    <a:lnTo>
                      <a:pt x="501" y="409"/>
                    </a:lnTo>
                    <a:lnTo>
                      <a:pt x="494" y="404"/>
                    </a:lnTo>
                    <a:lnTo>
                      <a:pt x="487" y="402"/>
                    </a:lnTo>
                    <a:lnTo>
                      <a:pt x="480" y="404"/>
                    </a:lnTo>
                    <a:lnTo>
                      <a:pt x="477" y="411"/>
                    </a:lnTo>
                    <a:lnTo>
                      <a:pt x="475" y="442"/>
                    </a:lnTo>
                    <a:lnTo>
                      <a:pt x="465" y="456"/>
                    </a:lnTo>
                    <a:lnTo>
                      <a:pt x="463" y="473"/>
                    </a:lnTo>
                    <a:lnTo>
                      <a:pt x="451" y="492"/>
                    </a:lnTo>
                    <a:lnTo>
                      <a:pt x="446" y="522"/>
                    </a:lnTo>
                    <a:lnTo>
                      <a:pt x="418" y="574"/>
                    </a:lnTo>
                    <a:lnTo>
                      <a:pt x="411" y="591"/>
                    </a:lnTo>
                    <a:lnTo>
                      <a:pt x="409" y="607"/>
                    </a:lnTo>
                    <a:lnTo>
                      <a:pt x="413" y="615"/>
                    </a:lnTo>
                    <a:lnTo>
                      <a:pt x="416" y="619"/>
                    </a:lnTo>
                    <a:lnTo>
                      <a:pt x="411" y="631"/>
                    </a:lnTo>
                    <a:lnTo>
                      <a:pt x="409" y="643"/>
                    </a:lnTo>
                    <a:lnTo>
                      <a:pt x="402" y="652"/>
                    </a:lnTo>
                    <a:lnTo>
                      <a:pt x="387" y="664"/>
                    </a:lnTo>
                    <a:lnTo>
                      <a:pt x="383" y="657"/>
                    </a:lnTo>
                    <a:lnTo>
                      <a:pt x="378" y="657"/>
                    </a:lnTo>
                    <a:lnTo>
                      <a:pt x="347" y="678"/>
                    </a:lnTo>
                    <a:lnTo>
                      <a:pt x="338" y="678"/>
                    </a:lnTo>
                    <a:lnTo>
                      <a:pt x="328" y="676"/>
                    </a:lnTo>
                    <a:lnTo>
                      <a:pt x="326" y="676"/>
                    </a:lnTo>
                    <a:lnTo>
                      <a:pt x="321" y="678"/>
                    </a:lnTo>
                    <a:lnTo>
                      <a:pt x="321" y="683"/>
                    </a:lnTo>
                    <a:lnTo>
                      <a:pt x="324" y="695"/>
                    </a:lnTo>
                    <a:lnTo>
                      <a:pt x="316" y="702"/>
                    </a:lnTo>
                    <a:lnTo>
                      <a:pt x="312" y="704"/>
                    </a:lnTo>
                    <a:lnTo>
                      <a:pt x="293" y="709"/>
                    </a:lnTo>
                    <a:lnTo>
                      <a:pt x="274" y="719"/>
                    </a:lnTo>
                    <a:lnTo>
                      <a:pt x="267" y="721"/>
                    </a:lnTo>
                    <a:lnTo>
                      <a:pt x="243" y="709"/>
                    </a:lnTo>
                    <a:lnTo>
                      <a:pt x="234" y="721"/>
                    </a:lnTo>
                    <a:lnTo>
                      <a:pt x="224" y="728"/>
                    </a:lnTo>
                    <a:lnTo>
                      <a:pt x="212" y="740"/>
                    </a:lnTo>
                    <a:lnTo>
                      <a:pt x="208" y="742"/>
                    </a:lnTo>
                    <a:lnTo>
                      <a:pt x="196" y="740"/>
                    </a:lnTo>
                    <a:lnTo>
                      <a:pt x="179" y="733"/>
                    </a:lnTo>
                    <a:lnTo>
                      <a:pt x="165" y="728"/>
                    </a:lnTo>
                    <a:lnTo>
                      <a:pt x="158" y="723"/>
                    </a:lnTo>
                    <a:lnTo>
                      <a:pt x="149" y="716"/>
                    </a:lnTo>
                    <a:lnTo>
                      <a:pt x="144" y="704"/>
                    </a:lnTo>
                    <a:lnTo>
                      <a:pt x="137" y="697"/>
                    </a:lnTo>
                    <a:lnTo>
                      <a:pt x="137" y="688"/>
                    </a:lnTo>
                    <a:lnTo>
                      <a:pt x="134" y="683"/>
                    </a:lnTo>
                    <a:lnTo>
                      <a:pt x="111" y="678"/>
                    </a:lnTo>
                    <a:lnTo>
                      <a:pt x="78" y="659"/>
                    </a:lnTo>
                    <a:lnTo>
                      <a:pt x="56" y="633"/>
                    </a:lnTo>
                    <a:lnTo>
                      <a:pt x="47" y="619"/>
                    </a:lnTo>
                    <a:lnTo>
                      <a:pt x="40" y="612"/>
                    </a:lnTo>
                    <a:lnTo>
                      <a:pt x="35" y="603"/>
                    </a:lnTo>
                    <a:lnTo>
                      <a:pt x="14" y="581"/>
                    </a:lnTo>
                    <a:lnTo>
                      <a:pt x="9" y="572"/>
                    </a:lnTo>
                    <a:lnTo>
                      <a:pt x="7" y="565"/>
                    </a:lnTo>
                    <a:lnTo>
                      <a:pt x="12" y="551"/>
                    </a:lnTo>
                    <a:lnTo>
                      <a:pt x="12" y="546"/>
                    </a:lnTo>
                    <a:lnTo>
                      <a:pt x="4" y="515"/>
                    </a:lnTo>
                    <a:lnTo>
                      <a:pt x="0" y="510"/>
                    </a:lnTo>
                    <a:lnTo>
                      <a:pt x="21" y="513"/>
                    </a:lnTo>
                    <a:lnTo>
                      <a:pt x="38" y="508"/>
                    </a:lnTo>
                    <a:lnTo>
                      <a:pt x="47" y="496"/>
                    </a:lnTo>
                    <a:lnTo>
                      <a:pt x="49" y="480"/>
                    </a:lnTo>
                    <a:lnTo>
                      <a:pt x="54" y="470"/>
                    </a:lnTo>
                    <a:lnTo>
                      <a:pt x="61" y="466"/>
                    </a:lnTo>
                    <a:lnTo>
                      <a:pt x="66" y="458"/>
                    </a:lnTo>
                    <a:lnTo>
                      <a:pt x="61" y="444"/>
                    </a:lnTo>
                    <a:lnTo>
                      <a:pt x="56" y="432"/>
                    </a:lnTo>
                    <a:lnTo>
                      <a:pt x="61" y="416"/>
                    </a:lnTo>
                    <a:lnTo>
                      <a:pt x="73" y="390"/>
                    </a:lnTo>
                    <a:lnTo>
                      <a:pt x="82" y="378"/>
                    </a:lnTo>
                    <a:lnTo>
                      <a:pt x="92" y="380"/>
                    </a:lnTo>
                    <a:lnTo>
                      <a:pt x="97" y="388"/>
                    </a:lnTo>
                    <a:lnTo>
                      <a:pt x="101" y="397"/>
                    </a:lnTo>
                    <a:lnTo>
                      <a:pt x="104" y="399"/>
                    </a:lnTo>
                    <a:lnTo>
                      <a:pt x="106" y="399"/>
                    </a:lnTo>
                    <a:lnTo>
                      <a:pt x="111" y="390"/>
                    </a:lnTo>
                    <a:lnTo>
                      <a:pt x="116" y="385"/>
                    </a:lnTo>
                    <a:lnTo>
                      <a:pt x="118" y="385"/>
                    </a:lnTo>
                    <a:lnTo>
                      <a:pt x="120" y="385"/>
                    </a:lnTo>
                    <a:lnTo>
                      <a:pt x="120" y="380"/>
                    </a:lnTo>
                    <a:lnTo>
                      <a:pt x="113" y="366"/>
                    </a:lnTo>
                    <a:lnTo>
                      <a:pt x="111" y="357"/>
                    </a:lnTo>
                    <a:lnTo>
                      <a:pt x="116" y="354"/>
                    </a:lnTo>
                    <a:lnTo>
                      <a:pt x="120" y="343"/>
                    </a:lnTo>
                    <a:lnTo>
                      <a:pt x="123" y="324"/>
                    </a:lnTo>
                    <a:lnTo>
                      <a:pt x="130" y="314"/>
                    </a:lnTo>
                    <a:lnTo>
                      <a:pt x="137" y="312"/>
                    </a:lnTo>
                    <a:lnTo>
                      <a:pt x="144" y="305"/>
                    </a:lnTo>
                    <a:lnTo>
                      <a:pt x="153" y="288"/>
                    </a:lnTo>
                    <a:lnTo>
                      <a:pt x="160" y="283"/>
                    </a:lnTo>
                    <a:lnTo>
                      <a:pt x="168" y="288"/>
                    </a:lnTo>
                    <a:lnTo>
                      <a:pt x="179" y="288"/>
                    </a:lnTo>
                    <a:lnTo>
                      <a:pt x="189" y="281"/>
                    </a:lnTo>
                    <a:lnTo>
                      <a:pt x="205" y="262"/>
                    </a:lnTo>
                    <a:lnTo>
                      <a:pt x="231" y="234"/>
                    </a:lnTo>
                    <a:lnTo>
                      <a:pt x="241" y="213"/>
                    </a:lnTo>
                    <a:lnTo>
                      <a:pt x="238" y="198"/>
                    </a:lnTo>
                    <a:lnTo>
                      <a:pt x="246" y="161"/>
                    </a:lnTo>
                    <a:lnTo>
                      <a:pt x="257" y="99"/>
                    </a:lnTo>
                    <a:lnTo>
                      <a:pt x="260" y="61"/>
                    </a:lnTo>
                    <a:lnTo>
                      <a:pt x="257" y="42"/>
                    </a:lnTo>
                    <a:lnTo>
                      <a:pt x="253" y="30"/>
                    </a:lnTo>
                    <a:lnTo>
                      <a:pt x="246" y="21"/>
                    </a:lnTo>
                    <a:lnTo>
                      <a:pt x="246" y="12"/>
                    </a:lnTo>
                    <a:lnTo>
                      <a:pt x="264" y="0"/>
                    </a:lnTo>
                    <a:lnTo>
                      <a:pt x="267" y="23"/>
                    </a:lnTo>
                    <a:lnTo>
                      <a:pt x="272" y="47"/>
                    </a:lnTo>
                    <a:lnTo>
                      <a:pt x="276" y="71"/>
                    </a:lnTo>
                    <a:lnTo>
                      <a:pt x="281" y="94"/>
                    </a:lnTo>
                    <a:lnTo>
                      <a:pt x="283" y="118"/>
                    </a:lnTo>
                    <a:lnTo>
                      <a:pt x="288" y="144"/>
                    </a:lnTo>
                    <a:lnTo>
                      <a:pt x="293" y="168"/>
                    </a:lnTo>
                    <a:lnTo>
                      <a:pt x="298" y="191"/>
                    </a:lnTo>
                    <a:lnTo>
                      <a:pt x="316" y="187"/>
                    </a:lnTo>
                    <a:lnTo>
                      <a:pt x="338" y="184"/>
                    </a:lnTo>
                    <a:lnTo>
                      <a:pt x="359" y="179"/>
                    </a:lnTo>
                    <a:lnTo>
                      <a:pt x="380" y="177"/>
                    </a:lnTo>
                    <a:lnTo>
                      <a:pt x="402" y="172"/>
                    </a:lnTo>
                    <a:lnTo>
                      <a:pt x="420" y="168"/>
                    </a:lnTo>
                    <a:lnTo>
                      <a:pt x="442" y="165"/>
                    </a:lnTo>
                    <a:lnTo>
                      <a:pt x="463" y="16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54" name="Freeform 93">
                <a:extLst>
                  <a:ext uri="{FF2B5EF4-FFF2-40B4-BE49-F238E27FC236}">
                    <a16:creationId xmlns:a16="http://schemas.microsoft.com/office/drawing/2014/main" id="{044F5479-D734-7A59-8F9A-130CC6DF8A40}"/>
                  </a:ext>
                </a:extLst>
              </p:cNvPr>
              <p:cNvSpPr>
                <a:spLocks/>
              </p:cNvSpPr>
              <p:nvPr/>
            </p:nvSpPr>
            <p:spPr bwMode="auto">
              <a:xfrm>
                <a:off x="2321" y="-130"/>
                <a:ext cx="1182" cy="974"/>
              </a:xfrm>
              <a:custGeom>
                <a:avLst/>
                <a:gdLst>
                  <a:gd name="T0" fmla="*/ 1142 w 1182"/>
                  <a:gd name="T1" fmla="*/ 605 h 974"/>
                  <a:gd name="T2" fmla="*/ 1132 w 1182"/>
                  <a:gd name="T3" fmla="*/ 712 h 974"/>
                  <a:gd name="T4" fmla="*/ 1125 w 1182"/>
                  <a:gd name="T5" fmla="*/ 816 h 974"/>
                  <a:gd name="T6" fmla="*/ 1116 w 1182"/>
                  <a:gd name="T7" fmla="*/ 920 h 974"/>
                  <a:gd name="T8" fmla="*/ 1062 w 1182"/>
                  <a:gd name="T9" fmla="*/ 969 h 974"/>
                  <a:gd name="T10" fmla="*/ 962 w 1182"/>
                  <a:gd name="T11" fmla="*/ 960 h 974"/>
                  <a:gd name="T12" fmla="*/ 861 w 1182"/>
                  <a:gd name="T13" fmla="*/ 948 h 974"/>
                  <a:gd name="T14" fmla="*/ 761 w 1182"/>
                  <a:gd name="T15" fmla="*/ 939 h 974"/>
                  <a:gd name="T16" fmla="*/ 662 w 1182"/>
                  <a:gd name="T17" fmla="*/ 927 h 974"/>
                  <a:gd name="T18" fmla="*/ 563 w 1182"/>
                  <a:gd name="T19" fmla="*/ 915 h 974"/>
                  <a:gd name="T20" fmla="*/ 464 w 1182"/>
                  <a:gd name="T21" fmla="*/ 901 h 974"/>
                  <a:gd name="T22" fmla="*/ 364 w 1182"/>
                  <a:gd name="T23" fmla="*/ 887 h 974"/>
                  <a:gd name="T24" fmla="*/ 277 w 1182"/>
                  <a:gd name="T25" fmla="*/ 875 h 974"/>
                  <a:gd name="T26" fmla="*/ 196 w 1182"/>
                  <a:gd name="T27" fmla="*/ 863 h 974"/>
                  <a:gd name="T28" fmla="*/ 118 w 1182"/>
                  <a:gd name="T29" fmla="*/ 851 h 974"/>
                  <a:gd name="T30" fmla="*/ 40 w 1182"/>
                  <a:gd name="T31" fmla="*/ 837 h 974"/>
                  <a:gd name="T32" fmla="*/ 5 w 1182"/>
                  <a:gd name="T33" fmla="*/ 806 h 974"/>
                  <a:gd name="T34" fmla="*/ 14 w 1182"/>
                  <a:gd name="T35" fmla="*/ 754 h 974"/>
                  <a:gd name="T36" fmla="*/ 21 w 1182"/>
                  <a:gd name="T37" fmla="*/ 702 h 974"/>
                  <a:gd name="T38" fmla="*/ 31 w 1182"/>
                  <a:gd name="T39" fmla="*/ 650 h 974"/>
                  <a:gd name="T40" fmla="*/ 40 w 1182"/>
                  <a:gd name="T41" fmla="*/ 591 h 974"/>
                  <a:gd name="T42" fmla="*/ 52 w 1182"/>
                  <a:gd name="T43" fmla="*/ 527 h 974"/>
                  <a:gd name="T44" fmla="*/ 62 w 1182"/>
                  <a:gd name="T45" fmla="*/ 461 h 974"/>
                  <a:gd name="T46" fmla="*/ 73 w 1182"/>
                  <a:gd name="T47" fmla="*/ 397 h 974"/>
                  <a:gd name="T48" fmla="*/ 83 w 1182"/>
                  <a:gd name="T49" fmla="*/ 331 h 974"/>
                  <a:gd name="T50" fmla="*/ 95 w 1182"/>
                  <a:gd name="T51" fmla="*/ 267 h 974"/>
                  <a:gd name="T52" fmla="*/ 104 w 1182"/>
                  <a:gd name="T53" fmla="*/ 201 h 974"/>
                  <a:gd name="T54" fmla="*/ 116 w 1182"/>
                  <a:gd name="T55" fmla="*/ 137 h 974"/>
                  <a:gd name="T56" fmla="*/ 125 w 1182"/>
                  <a:gd name="T57" fmla="*/ 78 h 974"/>
                  <a:gd name="T58" fmla="*/ 135 w 1182"/>
                  <a:gd name="T59" fmla="*/ 26 h 974"/>
                  <a:gd name="T60" fmla="*/ 170 w 1182"/>
                  <a:gd name="T61" fmla="*/ 5 h 974"/>
                  <a:gd name="T62" fmla="*/ 237 w 1182"/>
                  <a:gd name="T63" fmla="*/ 14 h 974"/>
                  <a:gd name="T64" fmla="*/ 300 w 1182"/>
                  <a:gd name="T65" fmla="*/ 26 h 974"/>
                  <a:gd name="T66" fmla="*/ 367 w 1182"/>
                  <a:gd name="T67" fmla="*/ 35 h 974"/>
                  <a:gd name="T68" fmla="*/ 430 w 1182"/>
                  <a:gd name="T69" fmla="*/ 45 h 974"/>
                  <a:gd name="T70" fmla="*/ 497 w 1182"/>
                  <a:gd name="T71" fmla="*/ 54 h 974"/>
                  <a:gd name="T72" fmla="*/ 563 w 1182"/>
                  <a:gd name="T73" fmla="*/ 64 h 974"/>
                  <a:gd name="T74" fmla="*/ 627 w 1182"/>
                  <a:gd name="T75" fmla="*/ 71 h 974"/>
                  <a:gd name="T76" fmla="*/ 693 w 1182"/>
                  <a:gd name="T77" fmla="*/ 80 h 974"/>
                  <a:gd name="T78" fmla="*/ 757 w 1182"/>
                  <a:gd name="T79" fmla="*/ 87 h 974"/>
                  <a:gd name="T80" fmla="*/ 823 w 1182"/>
                  <a:gd name="T81" fmla="*/ 97 h 974"/>
                  <a:gd name="T82" fmla="*/ 889 w 1182"/>
                  <a:gd name="T83" fmla="*/ 104 h 974"/>
                  <a:gd name="T84" fmla="*/ 953 w 1182"/>
                  <a:gd name="T85" fmla="*/ 111 h 974"/>
                  <a:gd name="T86" fmla="*/ 1019 w 1182"/>
                  <a:gd name="T87" fmla="*/ 118 h 974"/>
                  <a:gd name="T88" fmla="*/ 1085 w 1182"/>
                  <a:gd name="T89" fmla="*/ 123 h 974"/>
                  <a:gd name="T90" fmla="*/ 1149 w 1182"/>
                  <a:gd name="T91" fmla="*/ 130 h 974"/>
                  <a:gd name="T92" fmla="*/ 1177 w 1182"/>
                  <a:gd name="T93" fmla="*/ 184 h 974"/>
                  <a:gd name="T94" fmla="*/ 1170 w 1182"/>
                  <a:gd name="T95" fmla="*/ 291 h 974"/>
                  <a:gd name="T96" fmla="*/ 1161 w 1182"/>
                  <a:gd name="T97" fmla="*/ 395 h 974"/>
                  <a:gd name="T98" fmla="*/ 1151 w 1182"/>
                  <a:gd name="T99" fmla="*/ 501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2" h="974">
                    <a:moveTo>
                      <a:pt x="1147" y="553"/>
                    </a:moveTo>
                    <a:lnTo>
                      <a:pt x="1142" y="605"/>
                    </a:lnTo>
                    <a:lnTo>
                      <a:pt x="1137" y="657"/>
                    </a:lnTo>
                    <a:lnTo>
                      <a:pt x="1132" y="712"/>
                    </a:lnTo>
                    <a:lnTo>
                      <a:pt x="1128" y="764"/>
                    </a:lnTo>
                    <a:lnTo>
                      <a:pt x="1125" y="816"/>
                    </a:lnTo>
                    <a:lnTo>
                      <a:pt x="1121" y="868"/>
                    </a:lnTo>
                    <a:lnTo>
                      <a:pt x="1116" y="920"/>
                    </a:lnTo>
                    <a:lnTo>
                      <a:pt x="1111" y="974"/>
                    </a:lnTo>
                    <a:lnTo>
                      <a:pt x="1062" y="969"/>
                    </a:lnTo>
                    <a:lnTo>
                      <a:pt x="1012" y="965"/>
                    </a:lnTo>
                    <a:lnTo>
                      <a:pt x="962" y="960"/>
                    </a:lnTo>
                    <a:lnTo>
                      <a:pt x="913" y="955"/>
                    </a:lnTo>
                    <a:lnTo>
                      <a:pt x="861" y="948"/>
                    </a:lnTo>
                    <a:lnTo>
                      <a:pt x="811" y="943"/>
                    </a:lnTo>
                    <a:lnTo>
                      <a:pt x="761" y="939"/>
                    </a:lnTo>
                    <a:lnTo>
                      <a:pt x="712" y="932"/>
                    </a:lnTo>
                    <a:lnTo>
                      <a:pt x="662" y="927"/>
                    </a:lnTo>
                    <a:lnTo>
                      <a:pt x="612" y="920"/>
                    </a:lnTo>
                    <a:lnTo>
                      <a:pt x="563" y="915"/>
                    </a:lnTo>
                    <a:lnTo>
                      <a:pt x="513" y="908"/>
                    </a:lnTo>
                    <a:lnTo>
                      <a:pt x="464" y="901"/>
                    </a:lnTo>
                    <a:lnTo>
                      <a:pt x="414" y="894"/>
                    </a:lnTo>
                    <a:lnTo>
                      <a:pt x="364" y="887"/>
                    </a:lnTo>
                    <a:lnTo>
                      <a:pt x="315" y="880"/>
                    </a:lnTo>
                    <a:lnTo>
                      <a:pt x="277" y="875"/>
                    </a:lnTo>
                    <a:lnTo>
                      <a:pt x="237" y="868"/>
                    </a:lnTo>
                    <a:lnTo>
                      <a:pt x="196" y="863"/>
                    </a:lnTo>
                    <a:lnTo>
                      <a:pt x="159" y="856"/>
                    </a:lnTo>
                    <a:lnTo>
                      <a:pt x="118" y="851"/>
                    </a:lnTo>
                    <a:lnTo>
                      <a:pt x="78" y="844"/>
                    </a:lnTo>
                    <a:lnTo>
                      <a:pt x="40" y="837"/>
                    </a:lnTo>
                    <a:lnTo>
                      <a:pt x="0" y="832"/>
                    </a:lnTo>
                    <a:lnTo>
                      <a:pt x="5" y="806"/>
                    </a:lnTo>
                    <a:lnTo>
                      <a:pt x="10" y="780"/>
                    </a:lnTo>
                    <a:lnTo>
                      <a:pt x="14" y="754"/>
                    </a:lnTo>
                    <a:lnTo>
                      <a:pt x="17" y="728"/>
                    </a:lnTo>
                    <a:lnTo>
                      <a:pt x="21" y="702"/>
                    </a:lnTo>
                    <a:lnTo>
                      <a:pt x="26" y="676"/>
                    </a:lnTo>
                    <a:lnTo>
                      <a:pt x="31" y="650"/>
                    </a:lnTo>
                    <a:lnTo>
                      <a:pt x="36" y="624"/>
                    </a:lnTo>
                    <a:lnTo>
                      <a:pt x="40" y="591"/>
                    </a:lnTo>
                    <a:lnTo>
                      <a:pt x="45" y="558"/>
                    </a:lnTo>
                    <a:lnTo>
                      <a:pt x="52" y="527"/>
                    </a:lnTo>
                    <a:lnTo>
                      <a:pt x="57" y="494"/>
                    </a:lnTo>
                    <a:lnTo>
                      <a:pt x="62" y="461"/>
                    </a:lnTo>
                    <a:lnTo>
                      <a:pt x="66" y="428"/>
                    </a:lnTo>
                    <a:lnTo>
                      <a:pt x="73" y="397"/>
                    </a:lnTo>
                    <a:lnTo>
                      <a:pt x="78" y="364"/>
                    </a:lnTo>
                    <a:lnTo>
                      <a:pt x="83" y="331"/>
                    </a:lnTo>
                    <a:lnTo>
                      <a:pt x="90" y="300"/>
                    </a:lnTo>
                    <a:lnTo>
                      <a:pt x="95" y="267"/>
                    </a:lnTo>
                    <a:lnTo>
                      <a:pt x="99" y="234"/>
                    </a:lnTo>
                    <a:lnTo>
                      <a:pt x="104" y="201"/>
                    </a:lnTo>
                    <a:lnTo>
                      <a:pt x="111" y="170"/>
                    </a:lnTo>
                    <a:lnTo>
                      <a:pt x="116" y="137"/>
                    </a:lnTo>
                    <a:lnTo>
                      <a:pt x="121" y="104"/>
                    </a:lnTo>
                    <a:lnTo>
                      <a:pt x="125" y="78"/>
                    </a:lnTo>
                    <a:lnTo>
                      <a:pt x="130" y="52"/>
                    </a:lnTo>
                    <a:lnTo>
                      <a:pt x="135" y="26"/>
                    </a:lnTo>
                    <a:lnTo>
                      <a:pt x="140" y="0"/>
                    </a:lnTo>
                    <a:lnTo>
                      <a:pt x="170" y="5"/>
                    </a:lnTo>
                    <a:lnTo>
                      <a:pt x="203" y="9"/>
                    </a:lnTo>
                    <a:lnTo>
                      <a:pt x="237" y="14"/>
                    </a:lnTo>
                    <a:lnTo>
                      <a:pt x="270" y="21"/>
                    </a:lnTo>
                    <a:lnTo>
                      <a:pt x="300" y="26"/>
                    </a:lnTo>
                    <a:lnTo>
                      <a:pt x="333" y="31"/>
                    </a:lnTo>
                    <a:lnTo>
                      <a:pt x="367" y="35"/>
                    </a:lnTo>
                    <a:lnTo>
                      <a:pt x="400" y="40"/>
                    </a:lnTo>
                    <a:lnTo>
                      <a:pt x="430" y="45"/>
                    </a:lnTo>
                    <a:lnTo>
                      <a:pt x="464" y="50"/>
                    </a:lnTo>
                    <a:lnTo>
                      <a:pt x="497" y="54"/>
                    </a:lnTo>
                    <a:lnTo>
                      <a:pt x="530" y="59"/>
                    </a:lnTo>
                    <a:lnTo>
                      <a:pt x="563" y="64"/>
                    </a:lnTo>
                    <a:lnTo>
                      <a:pt x="594" y="69"/>
                    </a:lnTo>
                    <a:lnTo>
                      <a:pt x="627" y="71"/>
                    </a:lnTo>
                    <a:lnTo>
                      <a:pt x="660" y="76"/>
                    </a:lnTo>
                    <a:lnTo>
                      <a:pt x="693" y="80"/>
                    </a:lnTo>
                    <a:lnTo>
                      <a:pt x="726" y="85"/>
                    </a:lnTo>
                    <a:lnTo>
                      <a:pt x="757" y="87"/>
                    </a:lnTo>
                    <a:lnTo>
                      <a:pt x="790" y="92"/>
                    </a:lnTo>
                    <a:lnTo>
                      <a:pt x="823" y="97"/>
                    </a:lnTo>
                    <a:lnTo>
                      <a:pt x="856" y="99"/>
                    </a:lnTo>
                    <a:lnTo>
                      <a:pt x="889" y="104"/>
                    </a:lnTo>
                    <a:lnTo>
                      <a:pt x="922" y="106"/>
                    </a:lnTo>
                    <a:lnTo>
                      <a:pt x="953" y="111"/>
                    </a:lnTo>
                    <a:lnTo>
                      <a:pt x="986" y="113"/>
                    </a:lnTo>
                    <a:lnTo>
                      <a:pt x="1019" y="118"/>
                    </a:lnTo>
                    <a:lnTo>
                      <a:pt x="1052" y="121"/>
                    </a:lnTo>
                    <a:lnTo>
                      <a:pt x="1085" y="123"/>
                    </a:lnTo>
                    <a:lnTo>
                      <a:pt x="1118" y="128"/>
                    </a:lnTo>
                    <a:lnTo>
                      <a:pt x="1149" y="130"/>
                    </a:lnTo>
                    <a:lnTo>
                      <a:pt x="1182" y="132"/>
                    </a:lnTo>
                    <a:lnTo>
                      <a:pt x="1177" y="184"/>
                    </a:lnTo>
                    <a:lnTo>
                      <a:pt x="1173" y="239"/>
                    </a:lnTo>
                    <a:lnTo>
                      <a:pt x="1170" y="291"/>
                    </a:lnTo>
                    <a:lnTo>
                      <a:pt x="1166" y="343"/>
                    </a:lnTo>
                    <a:lnTo>
                      <a:pt x="1161" y="395"/>
                    </a:lnTo>
                    <a:lnTo>
                      <a:pt x="1156" y="449"/>
                    </a:lnTo>
                    <a:lnTo>
                      <a:pt x="1151" y="501"/>
                    </a:lnTo>
                    <a:lnTo>
                      <a:pt x="1147" y="553"/>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grpSp>
        <p:grpSp>
          <p:nvGrpSpPr>
            <p:cNvPr id="581" name="Group 580">
              <a:extLst>
                <a:ext uri="{FF2B5EF4-FFF2-40B4-BE49-F238E27FC236}">
                  <a16:creationId xmlns:a16="http://schemas.microsoft.com/office/drawing/2014/main" id="{2DCBC466-7C8A-DA5E-6AF2-728FCD226DD7}"/>
                </a:ext>
              </a:extLst>
            </p:cNvPr>
            <p:cNvGrpSpPr/>
            <p:nvPr/>
          </p:nvGrpSpPr>
          <p:grpSpPr>
            <a:xfrm>
              <a:off x="1143000" y="2019300"/>
              <a:ext cx="1151176" cy="405809"/>
              <a:chOff x="960971" y="2191080"/>
              <a:chExt cx="1282438" cy="452081"/>
            </a:xfrm>
          </p:grpSpPr>
          <p:sp>
            <p:nvSpPr>
              <p:cNvPr id="56" name="Rectangular Callout 100">
                <a:extLst>
                  <a:ext uri="{FF2B5EF4-FFF2-40B4-BE49-F238E27FC236}">
                    <a16:creationId xmlns:a16="http://schemas.microsoft.com/office/drawing/2014/main" id="{6AB3463F-4F8F-0280-2198-D144F614C601}"/>
                  </a:ext>
                </a:extLst>
              </p:cNvPr>
              <p:cNvSpPr/>
              <p:nvPr/>
            </p:nvSpPr>
            <p:spPr bwMode="auto">
              <a:xfrm>
                <a:off x="960971" y="2191080"/>
                <a:ext cx="1282438" cy="452081"/>
              </a:xfrm>
              <a:prstGeom prst="wedgeRectCallout">
                <a:avLst>
                  <a:gd name="adj1" fmla="val 70580"/>
                  <a:gd name="adj2" fmla="val 90886"/>
                </a:avLst>
              </a:prstGeom>
              <a:solidFill>
                <a:schemeClr val="accent1"/>
              </a:solid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57" name="Rectangle 56">
                <a:extLst>
                  <a:ext uri="{FF2B5EF4-FFF2-40B4-BE49-F238E27FC236}">
                    <a16:creationId xmlns:a16="http://schemas.microsoft.com/office/drawing/2014/main" id="{358E3ECB-C261-2B03-93C3-8C39C8039CE3}"/>
                  </a:ext>
                </a:extLst>
              </p:cNvPr>
              <p:cNvSpPr/>
              <p:nvPr/>
            </p:nvSpPr>
            <p:spPr>
              <a:xfrm>
                <a:off x="1193247" y="2331404"/>
                <a:ext cx="817889" cy="171435"/>
              </a:xfrm>
              <a:prstGeom prst="rect">
                <a:avLst/>
              </a:prstGeom>
              <a:noFill/>
            </p:spPr>
            <p:txBody>
              <a:bodyPr wrap="none" lIns="0" tIns="0" rIns="0" bIns="0" anchor="ctr">
                <a:spAutoFit/>
              </a:bodyPr>
              <a:lstStyle/>
              <a:p>
                <a:pPr algn="ctr" defTabSz="1714414"/>
                <a:r>
                  <a:rPr lang="en-US" sz="1000" b="1" dirty="0">
                    <a:solidFill>
                      <a:schemeClr val="bg1"/>
                    </a:solidFill>
                  </a:rPr>
                  <a:t>Washington</a:t>
                </a:r>
              </a:p>
            </p:txBody>
          </p:sp>
        </p:grpSp>
        <p:grpSp>
          <p:nvGrpSpPr>
            <p:cNvPr id="580" name="Group 579">
              <a:extLst>
                <a:ext uri="{FF2B5EF4-FFF2-40B4-BE49-F238E27FC236}">
                  <a16:creationId xmlns:a16="http://schemas.microsoft.com/office/drawing/2014/main" id="{96DDC7C4-752E-449B-7E6B-B464ECBC26A7}"/>
                </a:ext>
              </a:extLst>
            </p:cNvPr>
            <p:cNvGrpSpPr/>
            <p:nvPr/>
          </p:nvGrpSpPr>
          <p:grpSpPr>
            <a:xfrm>
              <a:off x="2850316" y="2260757"/>
              <a:ext cx="1151176" cy="405809"/>
              <a:chOff x="2862963" y="2214542"/>
              <a:chExt cx="1282438" cy="452081"/>
            </a:xfrm>
          </p:grpSpPr>
          <p:sp>
            <p:nvSpPr>
              <p:cNvPr id="59" name="Rectangular Callout 103">
                <a:extLst>
                  <a:ext uri="{FF2B5EF4-FFF2-40B4-BE49-F238E27FC236}">
                    <a16:creationId xmlns:a16="http://schemas.microsoft.com/office/drawing/2014/main" id="{5BBD8EA0-E984-984C-336A-0C38FDCAFFB1}"/>
                  </a:ext>
                </a:extLst>
              </p:cNvPr>
              <p:cNvSpPr/>
              <p:nvPr/>
            </p:nvSpPr>
            <p:spPr bwMode="auto">
              <a:xfrm>
                <a:off x="2862963" y="2214542"/>
                <a:ext cx="1282438" cy="452081"/>
              </a:xfrm>
              <a:prstGeom prst="wedgeRectCallout">
                <a:avLst>
                  <a:gd name="adj1" fmla="val 9280"/>
                  <a:gd name="adj2" fmla="val 104687"/>
                </a:avLst>
              </a:prstGeom>
              <a:solidFill>
                <a:schemeClr val="accent1"/>
              </a:solid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60" name="Rectangle 59">
                <a:extLst>
                  <a:ext uri="{FF2B5EF4-FFF2-40B4-BE49-F238E27FC236}">
                    <a16:creationId xmlns:a16="http://schemas.microsoft.com/office/drawing/2014/main" id="{F551E9B9-44BD-2830-3B0A-B7C7659658C6}"/>
                  </a:ext>
                </a:extLst>
              </p:cNvPr>
              <p:cNvSpPr/>
              <p:nvPr/>
            </p:nvSpPr>
            <p:spPr>
              <a:xfrm>
                <a:off x="3210419" y="2354866"/>
                <a:ext cx="587522" cy="171435"/>
              </a:xfrm>
              <a:prstGeom prst="rect">
                <a:avLst/>
              </a:prstGeom>
              <a:noFill/>
            </p:spPr>
            <p:txBody>
              <a:bodyPr wrap="none" lIns="0" tIns="0" rIns="0" bIns="0" anchor="ctr">
                <a:spAutoFit/>
              </a:bodyPr>
              <a:lstStyle/>
              <a:p>
                <a:pPr algn="ctr" defTabSz="1714414"/>
                <a:r>
                  <a:rPr lang="en-US" sz="1000" b="1" dirty="0">
                    <a:solidFill>
                      <a:schemeClr val="bg1"/>
                    </a:solidFill>
                  </a:rPr>
                  <a:t>Montana</a:t>
                </a:r>
              </a:p>
            </p:txBody>
          </p:sp>
        </p:grpSp>
        <p:grpSp>
          <p:nvGrpSpPr>
            <p:cNvPr id="579" name="Group 578">
              <a:extLst>
                <a:ext uri="{FF2B5EF4-FFF2-40B4-BE49-F238E27FC236}">
                  <a16:creationId xmlns:a16="http://schemas.microsoft.com/office/drawing/2014/main" id="{347DAC50-AA01-FC33-0989-C5F1823A3ABF}"/>
                </a:ext>
              </a:extLst>
            </p:cNvPr>
            <p:cNvGrpSpPr/>
            <p:nvPr/>
          </p:nvGrpSpPr>
          <p:grpSpPr>
            <a:xfrm>
              <a:off x="4270999" y="2074696"/>
              <a:ext cx="1151176" cy="405809"/>
              <a:chOff x="4445634" y="2214546"/>
              <a:chExt cx="1282438" cy="452081"/>
            </a:xfrm>
          </p:grpSpPr>
          <p:sp>
            <p:nvSpPr>
              <p:cNvPr id="62" name="Rectangular Callout 106">
                <a:extLst>
                  <a:ext uri="{FF2B5EF4-FFF2-40B4-BE49-F238E27FC236}">
                    <a16:creationId xmlns:a16="http://schemas.microsoft.com/office/drawing/2014/main" id="{38A4219A-786F-2AA5-B287-C01A50C54FBB}"/>
                  </a:ext>
                </a:extLst>
              </p:cNvPr>
              <p:cNvSpPr/>
              <p:nvPr/>
            </p:nvSpPr>
            <p:spPr bwMode="auto">
              <a:xfrm>
                <a:off x="4445634" y="2214546"/>
                <a:ext cx="1282438" cy="452081"/>
              </a:xfrm>
              <a:prstGeom prst="wedgeRectCallout">
                <a:avLst>
                  <a:gd name="adj1" fmla="val -51242"/>
                  <a:gd name="adj2" fmla="val 175441"/>
                </a:avLst>
              </a:prstGeom>
              <a:solidFill>
                <a:schemeClr val="accent1"/>
              </a:solid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63" name="Rectangle 62">
                <a:extLst>
                  <a:ext uri="{FF2B5EF4-FFF2-40B4-BE49-F238E27FC236}">
                    <a16:creationId xmlns:a16="http://schemas.microsoft.com/office/drawing/2014/main" id="{FE39CC4C-1E49-E811-AF1C-277146F1825D}"/>
                  </a:ext>
                </a:extLst>
              </p:cNvPr>
              <p:cNvSpPr/>
              <p:nvPr/>
            </p:nvSpPr>
            <p:spPr>
              <a:xfrm>
                <a:off x="4849344" y="2269153"/>
                <a:ext cx="475019" cy="342871"/>
              </a:xfrm>
              <a:prstGeom prst="rect">
                <a:avLst/>
              </a:prstGeom>
              <a:noFill/>
            </p:spPr>
            <p:txBody>
              <a:bodyPr wrap="none" lIns="0" tIns="0" rIns="0" bIns="0" anchor="ctr">
                <a:spAutoFit/>
              </a:bodyPr>
              <a:lstStyle/>
              <a:p>
                <a:pPr algn="ctr" defTabSz="1714414"/>
                <a:r>
                  <a:rPr lang="en-US" sz="1000" b="1" dirty="0">
                    <a:solidFill>
                      <a:schemeClr val="bg1"/>
                    </a:solidFill>
                  </a:rPr>
                  <a:t>North</a:t>
                </a:r>
              </a:p>
              <a:p>
                <a:pPr algn="ctr" defTabSz="1714414"/>
                <a:r>
                  <a:rPr lang="en-US" sz="1000" b="1" dirty="0">
                    <a:solidFill>
                      <a:schemeClr val="bg1"/>
                    </a:solidFill>
                  </a:rPr>
                  <a:t>Dakota</a:t>
                </a:r>
              </a:p>
            </p:txBody>
          </p:sp>
        </p:grpSp>
        <p:grpSp>
          <p:nvGrpSpPr>
            <p:cNvPr id="578" name="Group 577">
              <a:extLst>
                <a:ext uri="{FF2B5EF4-FFF2-40B4-BE49-F238E27FC236}">
                  <a16:creationId xmlns:a16="http://schemas.microsoft.com/office/drawing/2014/main" id="{B0740A05-F4FE-AB5F-E449-657E8DB295F5}"/>
                </a:ext>
              </a:extLst>
            </p:cNvPr>
            <p:cNvGrpSpPr/>
            <p:nvPr/>
          </p:nvGrpSpPr>
          <p:grpSpPr>
            <a:xfrm>
              <a:off x="5591897" y="2440020"/>
              <a:ext cx="1151176" cy="405809"/>
              <a:chOff x="5891170" y="2645867"/>
              <a:chExt cx="1282438" cy="452081"/>
            </a:xfrm>
          </p:grpSpPr>
          <p:sp>
            <p:nvSpPr>
              <p:cNvPr id="940" name="Rectangular Callout 112">
                <a:extLst>
                  <a:ext uri="{FF2B5EF4-FFF2-40B4-BE49-F238E27FC236}">
                    <a16:creationId xmlns:a16="http://schemas.microsoft.com/office/drawing/2014/main" id="{3801DDCD-E8DD-8DA0-76A2-B6A81EF6B360}"/>
                  </a:ext>
                </a:extLst>
              </p:cNvPr>
              <p:cNvSpPr/>
              <p:nvPr/>
            </p:nvSpPr>
            <p:spPr bwMode="auto">
              <a:xfrm>
                <a:off x="5891170" y="2645867"/>
                <a:ext cx="1282438" cy="452081"/>
              </a:xfrm>
              <a:prstGeom prst="wedgeRectCallout">
                <a:avLst>
                  <a:gd name="adj1" fmla="val -45209"/>
                  <a:gd name="adj2" fmla="val 121248"/>
                </a:avLst>
              </a:prstGeom>
              <a:solidFill>
                <a:schemeClr val="accent1"/>
              </a:solid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941" name="Rectangle 940">
                <a:extLst>
                  <a:ext uri="{FF2B5EF4-FFF2-40B4-BE49-F238E27FC236}">
                    <a16:creationId xmlns:a16="http://schemas.microsoft.com/office/drawing/2014/main" id="{CC586AC0-329B-9530-6072-BEE30C573566}"/>
                  </a:ext>
                </a:extLst>
              </p:cNvPr>
              <p:cNvSpPr/>
              <p:nvPr/>
            </p:nvSpPr>
            <p:spPr>
              <a:xfrm>
                <a:off x="6223449" y="2786207"/>
                <a:ext cx="617881" cy="171435"/>
              </a:xfrm>
              <a:prstGeom prst="rect">
                <a:avLst/>
              </a:prstGeom>
              <a:noFill/>
            </p:spPr>
            <p:txBody>
              <a:bodyPr wrap="none" lIns="0" tIns="0" rIns="0" bIns="0" anchor="ctr">
                <a:spAutoFit/>
              </a:bodyPr>
              <a:lstStyle/>
              <a:p>
                <a:pPr algn="ctr" defTabSz="1714414"/>
                <a:r>
                  <a:rPr lang="en-US" sz="1000" b="1" dirty="0">
                    <a:solidFill>
                      <a:schemeClr val="bg1"/>
                    </a:solidFill>
                  </a:rPr>
                  <a:t>Michigan</a:t>
                </a:r>
              </a:p>
            </p:txBody>
          </p:sp>
        </p:grpSp>
      </p:grpSp>
      <p:grpSp>
        <p:nvGrpSpPr>
          <p:cNvPr id="1037" name="Group 1036">
            <a:extLst>
              <a:ext uri="{FF2B5EF4-FFF2-40B4-BE49-F238E27FC236}">
                <a16:creationId xmlns:a16="http://schemas.microsoft.com/office/drawing/2014/main" id="{5E6CBC14-24A9-EAE7-E4CB-F3F9130446D3}"/>
              </a:ext>
            </a:extLst>
          </p:cNvPr>
          <p:cNvGrpSpPr/>
          <p:nvPr/>
        </p:nvGrpSpPr>
        <p:grpSpPr>
          <a:xfrm>
            <a:off x="9471686" y="2352198"/>
            <a:ext cx="7911412" cy="4620102"/>
            <a:chOff x="10803484" y="2579274"/>
            <a:chExt cx="6739658" cy="3935818"/>
          </a:xfrm>
        </p:grpSpPr>
        <p:grpSp>
          <p:nvGrpSpPr>
            <p:cNvPr id="984" name="Group 4">
              <a:extLst>
                <a:ext uri="{FF2B5EF4-FFF2-40B4-BE49-F238E27FC236}">
                  <a16:creationId xmlns:a16="http://schemas.microsoft.com/office/drawing/2014/main" id="{3202641F-2A36-9F38-07AE-298952624EB0}"/>
                </a:ext>
              </a:extLst>
            </p:cNvPr>
            <p:cNvGrpSpPr>
              <a:grpSpLocks noChangeAspect="1"/>
            </p:cNvGrpSpPr>
            <p:nvPr/>
          </p:nvGrpSpPr>
          <p:grpSpPr bwMode="auto">
            <a:xfrm>
              <a:off x="10803484" y="2579274"/>
              <a:ext cx="5773362" cy="3935818"/>
              <a:chOff x="-1319" y="-1357"/>
              <a:chExt cx="10318" cy="7034"/>
            </a:xfrm>
            <a:solidFill>
              <a:schemeClr val="accent3"/>
            </a:solidFill>
          </p:grpSpPr>
          <p:sp>
            <p:nvSpPr>
              <p:cNvPr id="985" name="Freeform 39">
                <a:extLst>
                  <a:ext uri="{FF2B5EF4-FFF2-40B4-BE49-F238E27FC236}">
                    <a16:creationId xmlns:a16="http://schemas.microsoft.com/office/drawing/2014/main" id="{2EF7D111-2114-49EF-2523-AC2C2E062D3F}"/>
                  </a:ext>
                </a:extLst>
              </p:cNvPr>
              <p:cNvSpPr>
                <a:spLocks noEditPoints="1"/>
              </p:cNvSpPr>
              <p:nvPr/>
            </p:nvSpPr>
            <p:spPr bwMode="auto">
              <a:xfrm>
                <a:off x="-1319" y="3109"/>
                <a:ext cx="3929" cy="2568"/>
              </a:xfrm>
              <a:custGeom>
                <a:avLst/>
                <a:gdLst>
                  <a:gd name="T0" fmla="*/ 3212 w 3929"/>
                  <a:gd name="T1" fmla="*/ 1838 h 2568"/>
                  <a:gd name="T2" fmla="*/ 3581 w 3929"/>
                  <a:gd name="T3" fmla="*/ 1998 h 2568"/>
                  <a:gd name="T4" fmla="*/ 3914 w 3929"/>
                  <a:gd name="T5" fmla="*/ 2417 h 2568"/>
                  <a:gd name="T6" fmla="*/ 3761 w 3929"/>
                  <a:gd name="T7" fmla="*/ 2403 h 2568"/>
                  <a:gd name="T8" fmla="*/ 3619 w 3929"/>
                  <a:gd name="T9" fmla="*/ 2131 h 2568"/>
                  <a:gd name="T10" fmla="*/ 3508 w 3929"/>
                  <a:gd name="T11" fmla="*/ 2079 h 2568"/>
                  <a:gd name="T12" fmla="*/ 3409 w 3929"/>
                  <a:gd name="T13" fmla="*/ 2017 h 2568"/>
                  <a:gd name="T14" fmla="*/ 3175 w 3929"/>
                  <a:gd name="T15" fmla="*/ 1847 h 2568"/>
                  <a:gd name="T16" fmla="*/ 2844 w 3929"/>
                  <a:gd name="T17" fmla="*/ 1819 h 2568"/>
                  <a:gd name="T18" fmla="*/ 2683 w 3929"/>
                  <a:gd name="T19" fmla="*/ 1651 h 2568"/>
                  <a:gd name="T20" fmla="*/ 2558 w 3929"/>
                  <a:gd name="T21" fmla="*/ 1715 h 2568"/>
                  <a:gd name="T22" fmla="*/ 2446 w 3929"/>
                  <a:gd name="T23" fmla="*/ 1821 h 2568"/>
                  <a:gd name="T24" fmla="*/ 2333 w 3929"/>
                  <a:gd name="T25" fmla="*/ 1828 h 2568"/>
                  <a:gd name="T26" fmla="*/ 2470 w 3929"/>
                  <a:gd name="T27" fmla="*/ 1577 h 2568"/>
                  <a:gd name="T28" fmla="*/ 2205 w 3929"/>
                  <a:gd name="T29" fmla="*/ 1788 h 2568"/>
                  <a:gd name="T30" fmla="*/ 2049 w 3929"/>
                  <a:gd name="T31" fmla="*/ 2015 h 2568"/>
                  <a:gd name="T32" fmla="*/ 1768 w 3929"/>
                  <a:gd name="T33" fmla="*/ 2164 h 2568"/>
                  <a:gd name="T34" fmla="*/ 1546 w 3929"/>
                  <a:gd name="T35" fmla="*/ 2258 h 2568"/>
                  <a:gd name="T36" fmla="*/ 1357 w 3929"/>
                  <a:gd name="T37" fmla="*/ 2273 h 2568"/>
                  <a:gd name="T38" fmla="*/ 1520 w 3929"/>
                  <a:gd name="T39" fmla="*/ 2235 h 2568"/>
                  <a:gd name="T40" fmla="*/ 1822 w 3929"/>
                  <a:gd name="T41" fmla="*/ 2050 h 2568"/>
                  <a:gd name="T42" fmla="*/ 1754 w 3929"/>
                  <a:gd name="T43" fmla="*/ 1861 h 2568"/>
                  <a:gd name="T44" fmla="*/ 1596 w 3929"/>
                  <a:gd name="T45" fmla="*/ 1533 h 2568"/>
                  <a:gd name="T46" fmla="*/ 1503 w 3929"/>
                  <a:gd name="T47" fmla="*/ 1497 h 2568"/>
                  <a:gd name="T48" fmla="*/ 1378 w 3929"/>
                  <a:gd name="T49" fmla="*/ 1322 h 2568"/>
                  <a:gd name="T50" fmla="*/ 1596 w 3929"/>
                  <a:gd name="T51" fmla="*/ 1175 h 2568"/>
                  <a:gd name="T52" fmla="*/ 1662 w 3929"/>
                  <a:gd name="T53" fmla="*/ 958 h 2568"/>
                  <a:gd name="T54" fmla="*/ 1484 w 3929"/>
                  <a:gd name="T55" fmla="*/ 698 h 2568"/>
                  <a:gd name="T56" fmla="*/ 1860 w 3929"/>
                  <a:gd name="T57" fmla="*/ 731 h 2568"/>
                  <a:gd name="T58" fmla="*/ 1740 w 3929"/>
                  <a:gd name="T59" fmla="*/ 516 h 2568"/>
                  <a:gd name="T60" fmla="*/ 2075 w 3929"/>
                  <a:gd name="T61" fmla="*/ 90 h 2568"/>
                  <a:gd name="T62" fmla="*/ 2295 w 3929"/>
                  <a:gd name="T63" fmla="*/ 81 h 2568"/>
                  <a:gd name="T64" fmla="*/ 2676 w 3929"/>
                  <a:gd name="T65" fmla="*/ 220 h 2568"/>
                  <a:gd name="T66" fmla="*/ 1132 w 3929"/>
                  <a:gd name="T67" fmla="*/ 944 h 2568"/>
                  <a:gd name="T68" fmla="*/ 1083 w 3929"/>
                  <a:gd name="T69" fmla="*/ 963 h 2568"/>
                  <a:gd name="T70" fmla="*/ 2584 w 3929"/>
                  <a:gd name="T71" fmla="*/ 1778 h 2568"/>
                  <a:gd name="T72" fmla="*/ 1326 w 3929"/>
                  <a:gd name="T73" fmla="*/ 1528 h 2568"/>
                  <a:gd name="T74" fmla="*/ 2617 w 3929"/>
                  <a:gd name="T75" fmla="*/ 1797 h 2568"/>
                  <a:gd name="T76" fmla="*/ 2215 w 3929"/>
                  <a:gd name="T77" fmla="*/ 1979 h 2568"/>
                  <a:gd name="T78" fmla="*/ 2210 w 3929"/>
                  <a:gd name="T79" fmla="*/ 1986 h 2568"/>
                  <a:gd name="T80" fmla="*/ 3534 w 3929"/>
                  <a:gd name="T81" fmla="*/ 2102 h 2568"/>
                  <a:gd name="T82" fmla="*/ 3472 w 3929"/>
                  <a:gd name="T83" fmla="*/ 2173 h 2568"/>
                  <a:gd name="T84" fmla="*/ 2175 w 3929"/>
                  <a:gd name="T85" fmla="*/ 2128 h 2568"/>
                  <a:gd name="T86" fmla="*/ 2030 w 3929"/>
                  <a:gd name="T87" fmla="*/ 2133 h 2568"/>
                  <a:gd name="T88" fmla="*/ 2153 w 3929"/>
                  <a:gd name="T89" fmla="*/ 2046 h 2568"/>
                  <a:gd name="T90" fmla="*/ 3498 w 3929"/>
                  <a:gd name="T91" fmla="*/ 2277 h 2568"/>
                  <a:gd name="T92" fmla="*/ 3650 w 3929"/>
                  <a:gd name="T93" fmla="*/ 2247 h 2568"/>
                  <a:gd name="T94" fmla="*/ 3624 w 3929"/>
                  <a:gd name="T95" fmla="*/ 2299 h 2568"/>
                  <a:gd name="T96" fmla="*/ 901 w 3929"/>
                  <a:gd name="T97" fmla="*/ 1932 h 2568"/>
                  <a:gd name="T98" fmla="*/ 3744 w 3929"/>
                  <a:gd name="T99" fmla="*/ 2327 h 2568"/>
                  <a:gd name="T100" fmla="*/ 3754 w 3929"/>
                  <a:gd name="T101" fmla="*/ 2469 h 2568"/>
                  <a:gd name="T102" fmla="*/ 3664 w 3929"/>
                  <a:gd name="T103" fmla="*/ 2436 h 2568"/>
                  <a:gd name="T104" fmla="*/ 3796 w 3929"/>
                  <a:gd name="T105" fmla="*/ 2403 h 2568"/>
                  <a:gd name="T106" fmla="*/ 1496 w 3929"/>
                  <a:gd name="T107" fmla="*/ 2313 h 2568"/>
                  <a:gd name="T108" fmla="*/ 1560 w 3929"/>
                  <a:gd name="T109" fmla="*/ 2344 h 2568"/>
                  <a:gd name="T110" fmla="*/ 1591 w 3929"/>
                  <a:gd name="T111" fmla="*/ 2336 h 2568"/>
                  <a:gd name="T112" fmla="*/ 1281 w 3929"/>
                  <a:gd name="T113" fmla="*/ 2282 h 2568"/>
                  <a:gd name="T114" fmla="*/ 1078 w 3929"/>
                  <a:gd name="T115" fmla="*/ 2355 h 2568"/>
                  <a:gd name="T116" fmla="*/ 971 w 3929"/>
                  <a:gd name="T117" fmla="*/ 2386 h 2568"/>
                  <a:gd name="T118" fmla="*/ 792 w 3929"/>
                  <a:gd name="T119" fmla="*/ 2417 h 2568"/>
                  <a:gd name="T120" fmla="*/ 239 w 3929"/>
                  <a:gd name="T121" fmla="*/ 2360 h 2568"/>
                  <a:gd name="T122" fmla="*/ 355 w 3929"/>
                  <a:gd name="T123" fmla="*/ 2393 h 2568"/>
                  <a:gd name="T124" fmla="*/ 83 w 3929"/>
                  <a:gd name="T125" fmla="*/ 2306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9" h="2568">
                    <a:moveTo>
                      <a:pt x="3101" y="372"/>
                    </a:moveTo>
                    <a:lnTo>
                      <a:pt x="3099" y="419"/>
                    </a:lnTo>
                    <a:lnTo>
                      <a:pt x="3099" y="466"/>
                    </a:lnTo>
                    <a:lnTo>
                      <a:pt x="3099" y="513"/>
                    </a:lnTo>
                    <a:lnTo>
                      <a:pt x="3097" y="558"/>
                    </a:lnTo>
                    <a:lnTo>
                      <a:pt x="3097" y="606"/>
                    </a:lnTo>
                    <a:lnTo>
                      <a:pt x="3094" y="651"/>
                    </a:lnTo>
                    <a:lnTo>
                      <a:pt x="3094" y="695"/>
                    </a:lnTo>
                    <a:lnTo>
                      <a:pt x="3094" y="743"/>
                    </a:lnTo>
                    <a:lnTo>
                      <a:pt x="3092" y="788"/>
                    </a:lnTo>
                    <a:lnTo>
                      <a:pt x="3092" y="833"/>
                    </a:lnTo>
                    <a:lnTo>
                      <a:pt x="3089" y="878"/>
                    </a:lnTo>
                    <a:lnTo>
                      <a:pt x="3089" y="922"/>
                    </a:lnTo>
                    <a:lnTo>
                      <a:pt x="3089" y="967"/>
                    </a:lnTo>
                    <a:lnTo>
                      <a:pt x="3087" y="1012"/>
                    </a:lnTo>
                    <a:lnTo>
                      <a:pt x="3087" y="1057"/>
                    </a:lnTo>
                    <a:lnTo>
                      <a:pt x="3085" y="1100"/>
                    </a:lnTo>
                    <a:lnTo>
                      <a:pt x="3085" y="1145"/>
                    </a:lnTo>
                    <a:lnTo>
                      <a:pt x="3085" y="1190"/>
                    </a:lnTo>
                    <a:lnTo>
                      <a:pt x="3082" y="1232"/>
                    </a:lnTo>
                    <a:lnTo>
                      <a:pt x="3082" y="1277"/>
                    </a:lnTo>
                    <a:lnTo>
                      <a:pt x="3082" y="1320"/>
                    </a:lnTo>
                    <a:lnTo>
                      <a:pt x="3080" y="1365"/>
                    </a:lnTo>
                    <a:lnTo>
                      <a:pt x="3080" y="1407"/>
                    </a:lnTo>
                    <a:lnTo>
                      <a:pt x="3080" y="1450"/>
                    </a:lnTo>
                    <a:lnTo>
                      <a:pt x="3078" y="1492"/>
                    </a:lnTo>
                    <a:lnTo>
                      <a:pt x="3078" y="1535"/>
                    </a:lnTo>
                    <a:lnTo>
                      <a:pt x="3078" y="1580"/>
                    </a:lnTo>
                    <a:lnTo>
                      <a:pt x="3075" y="1622"/>
                    </a:lnTo>
                    <a:lnTo>
                      <a:pt x="3075" y="1665"/>
                    </a:lnTo>
                    <a:lnTo>
                      <a:pt x="3073" y="1707"/>
                    </a:lnTo>
                    <a:lnTo>
                      <a:pt x="3073" y="1748"/>
                    </a:lnTo>
                    <a:lnTo>
                      <a:pt x="3073" y="1790"/>
                    </a:lnTo>
                    <a:lnTo>
                      <a:pt x="3089" y="1797"/>
                    </a:lnTo>
                    <a:lnTo>
                      <a:pt x="3106" y="1804"/>
                    </a:lnTo>
                    <a:lnTo>
                      <a:pt x="3111" y="1793"/>
                    </a:lnTo>
                    <a:lnTo>
                      <a:pt x="3130" y="1802"/>
                    </a:lnTo>
                    <a:lnTo>
                      <a:pt x="3146" y="1809"/>
                    </a:lnTo>
                    <a:lnTo>
                      <a:pt x="3156" y="1800"/>
                    </a:lnTo>
                    <a:lnTo>
                      <a:pt x="3167" y="1788"/>
                    </a:lnTo>
                    <a:lnTo>
                      <a:pt x="3182" y="1788"/>
                    </a:lnTo>
                    <a:lnTo>
                      <a:pt x="3198" y="1788"/>
                    </a:lnTo>
                    <a:lnTo>
                      <a:pt x="3210" y="1786"/>
                    </a:lnTo>
                    <a:lnTo>
                      <a:pt x="3210" y="1795"/>
                    </a:lnTo>
                    <a:lnTo>
                      <a:pt x="3205" y="1812"/>
                    </a:lnTo>
                    <a:lnTo>
                      <a:pt x="3203" y="1823"/>
                    </a:lnTo>
                    <a:lnTo>
                      <a:pt x="3212" y="1835"/>
                    </a:lnTo>
                    <a:lnTo>
                      <a:pt x="3212" y="1838"/>
                    </a:lnTo>
                    <a:lnTo>
                      <a:pt x="3224" y="1845"/>
                    </a:lnTo>
                    <a:lnTo>
                      <a:pt x="3236" y="1849"/>
                    </a:lnTo>
                    <a:lnTo>
                      <a:pt x="3243" y="1868"/>
                    </a:lnTo>
                    <a:lnTo>
                      <a:pt x="3255" y="1880"/>
                    </a:lnTo>
                    <a:lnTo>
                      <a:pt x="3264" y="1892"/>
                    </a:lnTo>
                    <a:lnTo>
                      <a:pt x="3276" y="1901"/>
                    </a:lnTo>
                    <a:lnTo>
                      <a:pt x="3288" y="1916"/>
                    </a:lnTo>
                    <a:lnTo>
                      <a:pt x="3297" y="1925"/>
                    </a:lnTo>
                    <a:lnTo>
                      <a:pt x="3312" y="1939"/>
                    </a:lnTo>
                    <a:lnTo>
                      <a:pt x="3319" y="1946"/>
                    </a:lnTo>
                    <a:lnTo>
                      <a:pt x="3323" y="1960"/>
                    </a:lnTo>
                    <a:lnTo>
                      <a:pt x="3328" y="1979"/>
                    </a:lnTo>
                    <a:lnTo>
                      <a:pt x="3326" y="1991"/>
                    </a:lnTo>
                    <a:lnTo>
                      <a:pt x="3331" y="1991"/>
                    </a:lnTo>
                    <a:lnTo>
                      <a:pt x="3342" y="1979"/>
                    </a:lnTo>
                    <a:lnTo>
                      <a:pt x="3354" y="1972"/>
                    </a:lnTo>
                    <a:lnTo>
                      <a:pt x="3368" y="1963"/>
                    </a:lnTo>
                    <a:lnTo>
                      <a:pt x="3375" y="1956"/>
                    </a:lnTo>
                    <a:lnTo>
                      <a:pt x="3394" y="1956"/>
                    </a:lnTo>
                    <a:lnTo>
                      <a:pt x="3401" y="1937"/>
                    </a:lnTo>
                    <a:lnTo>
                      <a:pt x="3401" y="1911"/>
                    </a:lnTo>
                    <a:lnTo>
                      <a:pt x="3409" y="1911"/>
                    </a:lnTo>
                    <a:lnTo>
                      <a:pt x="3413" y="1906"/>
                    </a:lnTo>
                    <a:lnTo>
                      <a:pt x="3416" y="1899"/>
                    </a:lnTo>
                    <a:lnTo>
                      <a:pt x="3411" y="1890"/>
                    </a:lnTo>
                    <a:lnTo>
                      <a:pt x="3427" y="1885"/>
                    </a:lnTo>
                    <a:lnTo>
                      <a:pt x="3439" y="1880"/>
                    </a:lnTo>
                    <a:lnTo>
                      <a:pt x="3456" y="1871"/>
                    </a:lnTo>
                    <a:lnTo>
                      <a:pt x="3470" y="1861"/>
                    </a:lnTo>
                    <a:lnTo>
                      <a:pt x="3479" y="1868"/>
                    </a:lnTo>
                    <a:lnTo>
                      <a:pt x="3487" y="1873"/>
                    </a:lnTo>
                    <a:lnTo>
                      <a:pt x="3503" y="1890"/>
                    </a:lnTo>
                    <a:lnTo>
                      <a:pt x="3505" y="1894"/>
                    </a:lnTo>
                    <a:lnTo>
                      <a:pt x="3503" y="1901"/>
                    </a:lnTo>
                    <a:lnTo>
                      <a:pt x="3503" y="1908"/>
                    </a:lnTo>
                    <a:lnTo>
                      <a:pt x="3513" y="1930"/>
                    </a:lnTo>
                    <a:lnTo>
                      <a:pt x="3515" y="1932"/>
                    </a:lnTo>
                    <a:lnTo>
                      <a:pt x="3524" y="1937"/>
                    </a:lnTo>
                    <a:lnTo>
                      <a:pt x="3534" y="1942"/>
                    </a:lnTo>
                    <a:lnTo>
                      <a:pt x="3539" y="1949"/>
                    </a:lnTo>
                    <a:lnTo>
                      <a:pt x="3550" y="1958"/>
                    </a:lnTo>
                    <a:lnTo>
                      <a:pt x="3553" y="1963"/>
                    </a:lnTo>
                    <a:lnTo>
                      <a:pt x="3555" y="1970"/>
                    </a:lnTo>
                    <a:lnTo>
                      <a:pt x="3557" y="1975"/>
                    </a:lnTo>
                    <a:lnTo>
                      <a:pt x="3560" y="1979"/>
                    </a:lnTo>
                    <a:lnTo>
                      <a:pt x="3562" y="1984"/>
                    </a:lnTo>
                    <a:lnTo>
                      <a:pt x="3569" y="1991"/>
                    </a:lnTo>
                    <a:lnTo>
                      <a:pt x="3581" y="1998"/>
                    </a:lnTo>
                    <a:lnTo>
                      <a:pt x="3588" y="2003"/>
                    </a:lnTo>
                    <a:lnTo>
                      <a:pt x="3600" y="2010"/>
                    </a:lnTo>
                    <a:lnTo>
                      <a:pt x="3612" y="2024"/>
                    </a:lnTo>
                    <a:lnTo>
                      <a:pt x="3621" y="2036"/>
                    </a:lnTo>
                    <a:lnTo>
                      <a:pt x="3633" y="2050"/>
                    </a:lnTo>
                    <a:lnTo>
                      <a:pt x="3633" y="2060"/>
                    </a:lnTo>
                    <a:lnTo>
                      <a:pt x="3645" y="2076"/>
                    </a:lnTo>
                    <a:lnTo>
                      <a:pt x="3657" y="2095"/>
                    </a:lnTo>
                    <a:lnTo>
                      <a:pt x="3669" y="2114"/>
                    </a:lnTo>
                    <a:lnTo>
                      <a:pt x="3676" y="2124"/>
                    </a:lnTo>
                    <a:lnTo>
                      <a:pt x="3683" y="2138"/>
                    </a:lnTo>
                    <a:lnTo>
                      <a:pt x="3695" y="2154"/>
                    </a:lnTo>
                    <a:lnTo>
                      <a:pt x="3706" y="2173"/>
                    </a:lnTo>
                    <a:lnTo>
                      <a:pt x="3716" y="2187"/>
                    </a:lnTo>
                    <a:lnTo>
                      <a:pt x="3728" y="2204"/>
                    </a:lnTo>
                    <a:lnTo>
                      <a:pt x="3735" y="2213"/>
                    </a:lnTo>
                    <a:lnTo>
                      <a:pt x="3730" y="2223"/>
                    </a:lnTo>
                    <a:lnTo>
                      <a:pt x="3728" y="2232"/>
                    </a:lnTo>
                    <a:lnTo>
                      <a:pt x="3742" y="2235"/>
                    </a:lnTo>
                    <a:lnTo>
                      <a:pt x="3751" y="2237"/>
                    </a:lnTo>
                    <a:lnTo>
                      <a:pt x="3749" y="2249"/>
                    </a:lnTo>
                    <a:lnTo>
                      <a:pt x="3747" y="2261"/>
                    </a:lnTo>
                    <a:lnTo>
                      <a:pt x="3758" y="2266"/>
                    </a:lnTo>
                    <a:lnTo>
                      <a:pt x="3765" y="2270"/>
                    </a:lnTo>
                    <a:lnTo>
                      <a:pt x="3765" y="2277"/>
                    </a:lnTo>
                    <a:lnTo>
                      <a:pt x="3770" y="2284"/>
                    </a:lnTo>
                    <a:lnTo>
                      <a:pt x="3773" y="2299"/>
                    </a:lnTo>
                    <a:lnTo>
                      <a:pt x="3784" y="2296"/>
                    </a:lnTo>
                    <a:lnTo>
                      <a:pt x="3791" y="2294"/>
                    </a:lnTo>
                    <a:lnTo>
                      <a:pt x="3799" y="2301"/>
                    </a:lnTo>
                    <a:lnTo>
                      <a:pt x="3810" y="2306"/>
                    </a:lnTo>
                    <a:lnTo>
                      <a:pt x="3822" y="2313"/>
                    </a:lnTo>
                    <a:lnTo>
                      <a:pt x="3832" y="2318"/>
                    </a:lnTo>
                    <a:lnTo>
                      <a:pt x="3843" y="2320"/>
                    </a:lnTo>
                    <a:lnTo>
                      <a:pt x="3858" y="2325"/>
                    </a:lnTo>
                    <a:lnTo>
                      <a:pt x="3867" y="2334"/>
                    </a:lnTo>
                    <a:lnTo>
                      <a:pt x="3881" y="2339"/>
                    </a:lnTo>
                    <a:lnTo>
                      <a:pt x="3888" y="2353"/>
                    </a:lnTo>
                    <a:lnTo>
                      <a:pt x="3903" y="2358"/>
                    </a:lnTo>
                    <a:lnTo>
                      <a:pt x="3912" y="2353"/>
                    </a:lnTo>
                    <a:lnTo>
                      <a:pt x="3917" y="2358"/>
                    </a:lnTo>
                    <a:lnTo>
                      <a:pt x="3919" y="2365"/>
                    </a:lnTo>
                    <a:lnTo>
                      <a:pt x="3921" y="2374"/>
                    </a:lnTo>
                    <a:lnTo>
                      <a:pt x="3921" y="2381"/>
                    </a:lnTo>
                    <a:lnTo>
                      <a:pt x="3917" y="2391"/>
                    </a:lnTo>
                    <a:lnTo>
                      <a:pt x="3914" y="2398"/>
                    </a:lnTo>
                    <a:lnTo>
                      <a:pt x="3914" y="2407"/>
                    </a:lnTo>
                    <a:lnTo>
                      <a:pt x="3914" y="2417"/>
                    </a:lnTo>
                    <a:lnTo>
                      <a:pt x="3917" y="2426"/>
                    </a:lnTo>
                    <a:lnTo>
                      <a:pt x="3919" y="2433"/>
                    </a:lnTo>
                    <a:lnTo>
                      <a:pt x="3924" y="2448"/>
                    </a:lnTo>
                    <a:lnTo>
                      <a:pt x="3926" y="2457"/>
                    </a:lnTo>
                    <a:lnTo>
                      <a:pt x="3929" y="2464"/>
                    </a:lnTo>
                    <a:lnTo>
                      <a:pt x="3919" y="2488"/>
                    </a:lnTo>
                    <a:lnTo>
                      <a:pt x="3917" y="2500"/>
                    </a:lnTo>
                    <a:lnTo>
                      <a:pt x="3917" y="2504"/>
                    </a:lnTo>
                    <a:lnTo>
                      <a:pt x="3912" y="2516"/>
                    </a:lnTo>
                    <a:lnTo>
                      <a:pt x="3898" y="2533"/>
                    </a:lnTo>
                    <a:lnTo>
                      <a:pt x="3893" y="2542"/>
                    </a:lnTo>
                    <a:lnTo>
                      <a:pt x="3888" y="2540"/>
                    </a:lnTo>
                    <a:lnTo>
                      <a:pt x="3869" y="2537"/>
                    </a:lnTo>
                    <a:lnTo>
                      <a:pt x="3862" y="2519"/>
                    </a:lnTo>
                    <a:lnTo>
                      <a:pt x="3855" y="2504"/>
                    </a:lnTo>
                    <a:lnTo>
                      <a:pt x="3851" y="2493"/>
                    </a:lnTo>
                    <a:lnTo>
                      <a:pt x="3851" y="2488"/>
                    </a:lnTo>
                    <a:lnTo>
                      <a:pt x="3853" y="2478"/>
                    </a:lnTo>
                    <a:lnTo>
                      <a:pt x="3872" y="2469"/>
                    </a:lnTo>
                    <a:lnTo>
                      <a:pt x="3872" y="2466"/>
                    </a:lnTo>
                    <a:lnTo>
                      <a:pt x="3865" y="2466"/>
                    </a:lnTo>
                    <a:lnTo>
                      <a:pt x="3862" y="2462"/>
                    </a:lnTo>
                    <a:lnTo>
                      <a:pt x="3860" y="2448"/>
                    </a:lnTo>
                    <a:lnTo>
                      <a:pt x="3858" y="2436"/>
                    </a:lnTo>
                    <a:lnTo>
                      <a:pt x="3858" y="2426"/>
                    </a:lnTo>
                    <a:lnTo>
                      <a:pt x="3853" y="2410"/>
                    </a:lnTo>
                    <a:lnTo>
                      <a:pt x="3846" y="2400"/>
                    </a:lnTo>
                    <a:lnTo>
                      <a:pt x="3834" y="2381"/>
                    </a:lnTo>
                    <a:lnTo>
                      <a:pt x="3832" y="2377"/>
                    </a:lnTo>
                    <a:lnTo>
                      <a:pt x="3836" y="2370"/>
                    </a:lnTo>
                    <a:lnTo>
                      <a:pt x="3839" y="2362"/>
                    </a:lnTo>
                    <a:lnTo>
                      <a:pt x="3820" y="2374"/>
                    </a:lnTo>
                    <a:lnTo>
                      <a:pt x="3794" y="2388"/>
                    </a:lnTo>
                    <a:lnTo>
                      <a:pt x="3782" y="2396"/>
                    </a:lnTo>
                    <a:lnTo>
                      <a:pt x="3782" y="2400"/>
                    </a:lnTo>
                    <a:lnTo>
                      <a:pt x="3780" y="2403"/>
                    </a:lnTo>
                    <a:lnTo>
                      <a:pt x="3782" y="2410"/>
                    </a:lnTo>
                    <a:lnTo>
                      <a:pt x="3782" y="2412"/>
                    </a:lnTo>
                    <a:lnTo>
                      <a:pt x="3782" y="2417"/>
                    </a:lnTo>
                    <a:lnTo>
                      <a:pt x="3780" y="2429"/>
                    </a:lnTo>
                    <a:lnTo>
                      <a:pt x="3775" y="2443"/>
                    </a:lnTo>
                    <a:lnTo>
                      <a:pt x="3770" y="2445"/>
                    </a:lnTo>
                    <a:lnTo>
                      <a:pt x="3761" y="2440"/>
                    </a:lnTo>
                    <a:lnTo>
                      <a:pt x="3756" y="2438"/>
                    </a:lnTo>
                    <a:lnTo>
                      <a:pt x="3751" y="2422"/>
                    </a:lnTo>
                    <a:lnTo>
                      <a:pt x="3751" y="2417"/>
                    </a:lnTo>
                    <a:lnTo>
                      <a:pt x="3756" y="2412"/>
                    </a:lnTo>
                    <a:lnTo>
                      <a:pt x="3761" y="2403"/>
                    </a:lnTo>
                    <a:lnTo>
                      <a:pt x="3765" y="2391"/>
                    </a:lnTo>
                    <a:lnTo>
                      <a:pt x="3775" y="2358"/>
                    </a:lnTo>
                    <a:lnTo>
                      <a:pt x="3784" y="2358"/>
                    </a:lnTo>
                    <a:lnTo>
                      <a:pt x="3799" y="2348"/>
                    </a:lnTo>
                    <a:lnTo>
                      <a:pt x="3775" y="2348"/>
                    </a:lnTo>
                    <a:lnTo>
                      <a:pt x="3770" y="2346"/>
                    </a:lnTo>
                    <a:lnTo>
                      <a:pt x="3768" y="2341"/>
                    </a:lnTo>
                    <a:lnTo>
                      <a:pt x="3763" y="2334"/>
                    </a:lnTo>
                    <a:lnTo>
                      <a:pt x="3758" y="2327"/>
                    </a:lnTo>
                    <a:lnTo>
                      <a:pt x="3751" y="2325"/>
                    </a:lnTo>
                    <a:lnTo>
                      <a:pt x="3747" y="2322"/>
                    </a:lnTo>
                    <a:lnTo>
                      <a:pt x="3739" y="2313"/>
                    </a:lnTo>
                    <a:lnTo>
                      <a:pt x="3735" y="2310"/>
                    </a:lnTo>
                    <a:lnTo>
                      <a:pt x="3732" y="2306"/>
                    </a:lnTo>
                    <a:lnTo>
                      <a:pt x="3732" y="2299"/>
                    </a:lnTo>
                    <a:lnTo>
                      <a:pt x="3730" y="2296"/>
                    </a:lnTo>
                    <a:lnTo>
                      <a:pt x="3725" y="2294"/>
                    </a:lnTo>
                    <a:lnTo>
                      <a:pt x="3721" y="2292"/>
                    </a:lnTo>
                    <a:lnTo>
                      <a:pt x="3718" y="2277"/>
                    </a:lnTo>
                    <a:lnTo>
                      <a:pt x="3706" y="2273"/>
                    </a:lnTo>
                    <a:lnTo>
                      <a:pt x="3702" y="2270"/>
                    </a:lnTo>
                    <a:lnTo>
                      <a:pt x="3692" y="2261"/>
                    </a:lnTo>
                    <a:lnTo>
                      <a:pt x="3690" y="2256"/>
                    </a:lnTo>
                    <a:lnTo>
                      <a:pt x="3690" y="2251"/>
                    </a:lnTo>
                    <a:lnTo>
                      <a:pt x="3690" y="2240"/>
                    </a:lnTo>
                    <a:lnTo>
                      <a:pt x="3690" y="2237"/>
                    </a:lnTo>
                    <a:lnTo>
                      <a:pt x="3683" y="2240"/>
                    </a:lnTo>
                    <a:lnTo>
                      <a:pt x="3640" y="2225"/>
                    </a:lnTo>
                    <a:lnTo>
                      <a:pt x="3640" y="2202"/>
                    </a:lnTo>
                    <a:lnTo>
                      <a:pt x="3631" y="2171"/>
                    </a:lnTo>
                    <a:lnTo>
                      <a:pt x="3621" y="2159"/>
                    </a:lnTo>
                    <a:lnTo>
                      <a:pt x="3624" y="2154"/>
                    </a:lnTo>
                    <a:lnTo>
                      <a:pt x="3626" y="2152"/>
                    </a:lnTo>
                    <a:lnTo>
                      <a:pt x="3628" y="2152"/>
                    </a:lnTo>
                    <a:lnTo>
                      <a:pt x="3645" y="2159"/>
                    </a:lnTo>
                    <a:lnTo>
                      <a:pt x="3661" y="2169"/>
                    </a:lnTo>
                    <a:lnTo>
                      <a:pt x="3664" y="2166"/>
                    </a:lnTo>
                    <a:lnTo>
                      <a:pt x="3638" y="2147"/>
                    </a:lnTo>
                    <a:lnTo>
                      <a:pt x="3631" y="2140"/>
                    </a:lnTo>
                    <a:lnTo>
                      <a:pt x="3628" y="2131"/>
                    </a:lnTo>
                    <a:lnTo>
                      <a:pt x="3628" y="2128"/>
                    </a:lnTo>
                    <a:lnTo>
                      <a:pt x="3631" y="2126"/>
                    </a:lnTo>
                    <a:lnTo>
                      <a:pt x="3652" y="2126"/>
                    </a:lnTo>
                    <a:lnTo>
                      <a:pt x="3654" y="2124"/>
                    </a:lnTo>
                    <a:lnTo>
                      <a:pt x="3631" y="2119"/>
                    </a:lnTo>
                    <a:lnTo>
                      <a:pt x="3626" y="2119"/>
                    </a:lnTo>
                    <a:lnTo>
                      <a:pt x="3621" y="2128"/>
                    </a:lnTo>
                    <a:lnTo>
                      <a:pt x="3619" y="2131"/>
                    </a:lnTo>
                    <a:lnTo>
                      <a:pt x="3614" y="2131"/>
                    </a:lnTo>
                    <a:lnTo>
                      <a:pt x="3612" y="2128"/>
                    </a:lnTo>
                    <a:lnTo>
                      <a:pt x="3607" y="2119"/>
                    </a:lnTo>
                    <a:lnTo>
                      <a:pt x="3600" y="2109"/>
                    </a:lnTo>
                    <a:lnTo>
                      <a:pt x="3591" y="2100"/>
                    </a:lnTo>
                    <a:lnTo>
                      <a:pt x="3588" y="2093"/>
                    </a:lnTo>
                    <a:lnTo>
                      <a:pt x="3586" y="2081"/>
                    </a:lnTo>
                    <a:lnTo>
                      <a:pt x="3586" y="2069"/>
                    </a:lnTo>
                    <a:lnTo>
                      <a:pt x="3593" y="2043"/>
                    </a:lnTo>
                    <a:lnTo>
                      <a:pt x="3598" y="2039"/>
                    </a:lnTo>
                    <a:lnTo>
                      <a:pt x="3598" y="2036"/>
                    </a:lnTo>
                    <a:lnTo>
                      <a:pt x="3595" y="2036"/>
                    </a:lnTo>
                    <a:lnTo>
                      <a:pt x="3593" y="2039"/>
                    </a:lnTo>
                    <a:lnTo>
                      <a:pt x="3586" y="2050"/>
                    </a:lnTo>
                    <a:lnTo>
                      <a:pt x="3581" y="2072"/>
                    </a:lnTo>
                    <a:lnTo>
                      <a:pt x="3574" y="2079"/>
                    </a:lnTo>
                    <a:lnTo>
                      <a:pt x="3572" y="2076"/>
                    </a:lnTo>
                    <a:lnTo>
                      <a:pt x="3565" y="2069"/>
                    </a:lnTo>
                    <a:lnTo>
                      <a:pt x="3553" y="2060"/>
                    </a:lnTo>
                    <a:lnTo>
                      <a:pt x="3541" y="2057"/>
                    </a:lnTo>
                    <a:lnTo>
                      <a:pt x="3531" y="2048"/>
                    </a:lnTo>
                    <a:lnTo>
                      <a:pt x="3517" y="2022"/>
                    </a:lnTo>
                    <a:lnTo>
                      <a:pt x="3515" y="2008"/>
                    </a:lnTo>
                    <a:lnTo>
                      <a:pt x="3513" y="2005"/>
                    </a:lnTo>
                    <a:lnTo>
                      <a:pt x="3505" y="2001"/>
                    </a:lnTo>
                    <a:lnTo>
                      <a:pt x="3503" y="1994"/>
                    </a:lnTo>
                    <a:lnTo>
                      <a:pt x="3494" y="1960"/>
                    </a:lnTo>
                    <a:lnTo>
                      <a:pt x="3484" y="1939"/>
                    </a:lnTo>
                    <a:lnTo>
                      <a:pt x="3482" y="1925"/>
                    </a:lnTo>
                    <a:lnTo>
                      <a:pt x="3482" y="1913"/>
                    </a:lnTo>
                    <a:lnTo>
                      <a:pt x="3482" y="1913"/>
                    </a:lnTo>
                    <a:lnTo>
                      <a:pt x="3479" y="1923"/>
                    </a:lnTo>
                    <a:lnTo>
                      <a:pt x="3479" y="1927"/>
                    </a:lnTo>
                    <a:lnTo>
                      <a:pt x="3472" y="1930"/>
                    </a:lnTo>
                    <a:lnTo>
                      <a:pt x="3479" y="1939"/>
                    </a:lnTo>
                    <a:lnTo>
                      <a:pt x="3479" y="1944"/>
                    </a:lnTo>
                    <a:lnTo>
                      <a:pt x="3477" y="1942"/>
                    </a:lnTo>
                    <a:lnTo>
                      <a:pt x="3472" y="1944"/>
                    </a:lnTo>
                    <a:lnTo>
                      <a:pt x="3482" y="1960"/>
                    </a:lnTo>
                    <a:lnTo>
                      <a:pt x="3487" y="1986"/>
                    </a:lnTo>
                    <a:lnTo>
                      <a:pt x="3494" y="2003"/>
                    </a:lnTo>
                    <a:lnTo>
                      <a:pt x="3498" y="2020"/>
                    </a:lnTo>
                    <a:lnTo>
                      <a:pt x="3501" y="2031"/>
                    </a:lnTo>
                    <a:lnTo>
                      <a:pt x="3503" y="2041"/>
                    </a:lnTo>
                    <a:lnTo>
                      <a:pt x="3510" y="2065"/>
                    </a:lnTo>
                    <a:lnTo>
                      <a:pt x="3513" y="2069"/>
                    </a:lnTo>
                    <a:lnTo>
                      <a:pt x="3510" y="2074"/>
                    </a:lnTo>
                    <a:lnTo>
                      <a:pt x="3508" y="2079"/>
                    </a:lnTo>
                    <a:lnTo>
                      <a:pt x="3505" y="2081"/>
                    </a:lnTo>
                    <a:lnTo>
                      <a:pt x="3494" y="2079"/>
                    </a:lnTo>
                    <a:lnTo>
                      <a:pt x="3489" y="2072"/>
                    </a:lnTo>
                    <a:lnTo>
                      <a:pt x="3482" y="2062"/>
                    </a:lnTo>
                    <a:lnTo>
                      <a:pt x="3472" y="2057"/>
                    </a:lnTo>
                    <a:lnTo>
                      <a:pt x="3449" y="2060"/>
                    </a:lnTo>
                    <a:lnTo>
                      <a:pt x="3449" y="2060"/>
                    </a:lnTo>
                    <a:lnTo>
                      <a:pt x="3449" y="2050"/>
                    </a:lnTo>
                    <a:lnTo>
                      <a:pt x="3449" y="2034"/>
                    </a:lnTo>
                    <a:lnTo>
                      <a:pt x="3446" y="2029"/>
                    </a:lnTo>
                    <a:lnTo>
                      <a:pt x="3435" y="2005"/>
                    </a:lnTo>
                    <a:lnTo>
                      <a:pt x="3435" y="2001"/>
                    </a:lnTo>
                    <a:lnTo>
                      <a:pt x="3451" y="1989"/>
                    </a:lnTo>
                    <a:lnTo>
                      <a:pt x="3442" y="1989"/>
                    </a:lnTo>
                    <a:lnTo>
                      <a:pt x="3437" y="1994"/>
                    </a:lnTo>
                    <a:lnTo>
                      <a:pt x="3435" y="1989"/>
                    </a:lnTo>
                    <a:lnTo>
                      <a:pt x="3430" y="1975"/>
                    </a:lnTo>
                    <a:lnTo>
                      <a:pt x="3427" y="1970"/>
                    </a:lnTo>
                    <a:lnTo>
                      <a:pt x="3425" y="1968"/>
                    </a:lnTo>
                    <a:lnTo>
                      <a:pt x="3425" y="1982"/>
                    </a:lnTo>
                    <a:lnTo>
                      <a:pt x="3427" y="1989"/>
                    </a:lnTo>
                    <a:lnTo>
                      <a:pt x="3430" y="1994"/>
                    </a:lnTo>
                    <a:lnTo>
                      <a:pt x="3430" y="2001"/>
                    </a:lnTo>
                    <a:lnTo>
                      <a:pt x="3427" y="2005"/>
                    </a:lnTo>
                    <a:lnTo>
                      <a:pt x="3425" y="2008"/>
                    </a:lnTo>
                    <a:lnTo>
                      <a:pt x="3423" y="2008"/>
                    </a:lnTo>
                    <a:lnTo>
                      <a:pt x="3416" y="2005"/>
                    </a:lnTo>
                    <a:lnTo>
                      <a:pt x="3411" y="2001"/>
                    </a:lnTo>
                    <a:lnTo>
                      <a:pt x="3404" y="1998"/>
                    </a:lnTo>
                    <a:lnTo>
                      <a:pt x="3404" y="1996"/>
                    </a:lnTo>
                    <a:lnTo>
                      <a:pt x="3399" y="1989"/>
                    </a:lnTo>
                    <a:lnTo>
                      <a:pt x="3397" y="1984"/>
                    </a:lnTo>
                    <a:lnTo>
                      <a:pt x="3375" y="1979"/>
                    </a:lnTo>
                    <a:lnTo>
                      <a:pt x="3364" y="1972"/>
                    </a:lnTo>
                    <a:lnTo>
                      <a:pt x="3364" y="1972"/>
                    </a:lnTo>
                    <a:lnTo>
                      <a:pt x="3368" y="1982"/>
                    </a:lnTo>
                    <a:lnTo>
                      <a:pt x="3368" y="1986"/>
                    </a:lnTo>
                    <a:lnTo>
                      <a:pt x="3366" y="1986"/>
                    </a:lnTo>
                    <a:lnTo>
                      <a:pt x="3359" y="1994"/>
                    </a:lnTo>
                    <a:lnTo>
                      <a:pt x="3361" y="1996"/>
                    </a:lnTo>
                    <a:lnTo>
                      <a:pt x="3366" y="1994"/>
                    </a:lnTo>
                    <a:lnTo>
                      <a:pt x="3373" y="1994"/>
                    </a:lnTo>
                    <a:lnTo>
                      <a:pt x="3383" y="1998"/>
                    </a:lnTo>
                    <a:lnTo>
                      <a:pt x="3392" y="2003"/>
                    </a:lnTo>
                    <a:lnTo>
                      <a:pt x="3397" y="2005"/>
                    </a:lnTo>
                    <a:lnTo>
                      <a:pt x="3397" y="2010"/>
                    </a:lnTo>
                    <a:lnTo>
                      <a:pt x="3399" y="2013"/>
                    </a:lnTo>
                    <a:lnTo>
                      <a:pt x="3409" y="2017"/>
                    </a:lnTo>
                    <a:lnTo>
                      <a:pt x="3409" y="2020"/>
                    </a:lnTo>
                    <a:lnTo>
                      <a:pt x="3404" y="2029"/>
                    </a:lnTo>
                    <a:lnTo>
                      <a:pt x="3416" y="2029"/>
                    </a:lnTo>
                    <a:lnTo>
                      <a:pt x="3423" y="2031"/>
                    </a:lnTo>
                    <a:lnTo>
                      <a:pt x="3432" y="2046"/>
                    </a:lnTo>
                    <a:lnTo>
                      <a:pt x="3435" y="2053"/>
                    </a:lnTo>
                    <a:lnTo>
                      <a:pt x="3437" y="2062"/>
                    </a:lnTo>
                    <a:lnTo>
                      <a:pt x="3435" y="2065"/>
                    </a:lnTo>
                    <a:lnTo>
                      <a:pt x="3430" y="2067"/>
                    </a:lnTo>
                    <a:lnTo>
                      <a:pt x="3406" y="2072"/>
                    </a:lnTo>
                    <a:lnTo>
                      <a:pt x="3397" y="2083"/>
                    </a:lnTo>
                    <a:lnTo>
                      <a:pt x="3397" y="2083"/>
                    </a:lnTo>
                    <a:lnTo>
                      <a:pt x="3390" y="2081"/>
                    </a:lnTo>
                    <a:lnTo>
                      <a:pt x="3375" y="2072"/>
                    </a:lnTo>
                    <a:lnTo>
                      <a:pt x="3361" y="2062"/>
                    </a:lnTo>
                    <a:lnTo>
                      <a:pt x="3323" y="2036"/>
                    </a:lnTo>
                    <a:lnTo>
                      <a:pt x="3323" y="2036"/>
                    </a:lnTo>
                    <a:lnTo>
                      <a:pt x="3323" y="2031"/>
                    </a:lnTo>
                    <a:lnTo>
                      <a:pt x="3321" y="2027"/>
                    </a:lnTo>
                    <a:lnTo>
                      <a:pt x="3316" y="2027"/>
                    </a:lnTo>
                    <a:lnTo>
                      <a:pt x="3309" y="2020"/>
                    </a:lnTo>
                    <a:lnTo>
                      <a:pt x="3300" y="2008"/>
                    </a:lnTo>
                    <a:lnTo>
                      <a:pt x="3295" y="1998"/>
                    </a:lnTo>
                    <a:lnTo>
                      <a:pt x="3293" y="1994"/>
                    </a:lnTo>
                    <a:lnTo>
                      <a:pt x="3288" y="1986"/>
                    </a:lnTo>
                    <a:lnTo>
                      <a:pt x="3271" y="1970"/>
                    </a:lnTo>
                    <a:lnTo>
                      <a:pt x="3264" y="1965"/>
                    </a:lnTo>
                    <a:lnTo>
                      <a:pt x="3257" y="1963"/>
                    </a:lnTo>
                    <a:lnTo>
                      <a:pt x="3250" y="1960"/>
                    </a:lnTo>
                    <a:lnTo>
                      <a:pt x="3248" y="1960"/>
                    </a:lnTo>
                    <a:lnTo>
                      <a:pt x="3253" y="1956"/>
                    </a:lnTo>
                    <a:lnTo>
                      <a:pt x="3253" y="1953"/>
                    </a:lnTo>
                    <a:lnTo>
                      <a:pt x="3238" y="1951"/>
                    </a:lnTo>
                    <a:lnTo>
                      <a:pt x="3224" y="1944"/>
                    </a:lnTo>
                    <a:lnTo>
                      <a:pt x="3191" y="1925"/>
                    </a:lnTo>
                    <a:lnTo>
                      <a:pt x="3175" y="1911"/>
                    </a:lnTo>
                    <a:lnTo>
                      <a:pt x="3165" y="1906"/>
                    </a:lnTo>
                    <a:lnTo>
                      <a:pt x="3160" y="1901"/>
                    </a:lnTo>
                    <a:lnTo>
                      <a:pt x="3158" y="1899"/>
                    </a:lnTo>
                    <a:lnTo>
                      <a:pt x="3160" y="1897"/>
                    </a:lnTo>
                    <a:lnTo>
                      <a:pt x="3167" y="1894"/>
                    </a:lnTo>
                    <a:lnTo>
                      <a:pt x="3172" y="1890"/>
                    </a:lnTo>
                    <a:lnTo>
                      <a:pt x="3179" y="1878"/>
                    </a:lnTo>
                    <a:lnTo>
                      <a:pt x="3179" y="1873"/>
                    </a:lnTo>
                    <a:lnTo>
                      <a:pt x="3175" y="1866"/>
                    </a:lnTo>
                    <a:lnTo>
                      <a:pt x="3175" y="1856"/>
                    </a:lnTo>
                    <a:lnTo>
                      <a:pt x="3175" y="1852"/>
                    </a:lnTo>
                    <a:lnTo>
                      <a:pt x="3175" y="1847"/>
                    </a:lnTo>
                    <a:lnTo>
                      <a:pt x="3177" y="1845"/>
                    </a:lnTo>
                    <a:lnTo>
                      <a:pt x="3179" y="1842"/>
                    </a:lnTo>
                    <a:lnTo>
                      <a:pt x="3182" y="1840"/>
                    </a:lnTo>
                    <a:lnTo>
                      <a:pt x="3184" y="1840"/>
                    </a:lnTo>
                    <a:lnTo>
                      <a:pt x="3191" y="1852"/>
                    </a:lnTo>
                    <a:lnTo>
                      <a:pt x="3193" y="1856"/>
                    </a:lnTo>
                    <a:lnTo>
                      <a:pt x="3193" y="1873"/>
                    </a:lnTo>
                    <a:lnTo>
                      <a:pt x="3196" y="1890"/>
                    </a:lnTo>
                    <a:lnTo>
                      <a:pt x="3196" y="1890"/>
                    </a:lnTo>
                    <a:lnTo>
                      <a:pt x="3196" y="1882"/>
                    </a:lnTo>
                    <a:lnTo>
                      <a:pt x="3198" y="1871"/>
                    </a:lnTo>
                    <a:lnTo>
                      <a:pt x="3198" y="1866"/>
                    </a:lnTo>
                    <a:lnTo>
                      <a:pt x="3201" y="1861"/>
                    </a:lnTo>
                    <a:lnTo>
                      <a:pt x="3203" y="1859"/>
                    </a:lnTo>
                    <a:lnTo>
                      <a:pt x="3212" y="1859"/>
                    </a:lnTo>
                    <a:lnTo>
                      <a:pt x="3217" y="1859"/>
                    </a:lnTo>
                    <a:lnTo>
                      <a:pt x="3198" y="1849"/>
                    </a:lnTo>
                    <a:lnTo>
                      <a:pt x="3186" y="1835"/>
                    </a:lnTo>
                    <a:lnTo>
                      <a:pt x="3184" y="1833"/>
                    </a:lnTo>
                    <a:lnTo>
                      <a:pt x="3179" y="1833"/>
                    </a:lnTo>
                    <a:lnTo>
                      <a:pt x="3172" y="1838"/>
                    </a:lnTo>
                    <a:lnTo>
                      <a:pt x="3153" y="1859"/>
                    </a:lnTo>
                    <a:lnTo>
                      <a:pt x="3149" y="1864"/>
                    </a:lnTo>
                    <a:lnTo>
                      <a:pt x="3127" y="1873"/>
                    </a:lnTo>
                    <a:lnTo>
                      <a:pt x="3113" y="1875"/>
                    </a:lnTo>
                    <a:lnTo>
                      <a:pt x="3097" y="1873"/>
                    </a:lnTo>
                    <a:lnTo>
                      <a:pt x="3082" y="1871"/>
                    </a:lnTo>
                    <a:lnTo>
                      <a:pt x="3047" y="1852"/>
                    </a:lnTo>
                    <a:lnTo>
                      <a:pt x="3042" y="1847"/>
                    </a:lnTo>
                    <a:lnTo>
                      <a:pt x="3049" y="1835"/>
                    </a:lnTo>
                    <a:lnTo>
                      <a:pt x="3052" y="1833"/>
                    </a:lnTo>
                    <a:lnTo>
                      <a:pt x="3047" y="1821"/>
                    </a:lnTo>
                    <a:lnTo>
                      <a:pt x="3047" y="1819"/>
                    </a:lnTo>
                    <a:lnTo>
                      <a:pt x="3042" y="1816"/>
                    </a:lnTo>
                    <a:lnTo>
                      <a:pt x="3042" y="1816"/>
                    </a:lnTo>
                    <a:lnTo>
                      <a:pt x="3042" y="1821"/>
                    </a:lnTo>
                    <a:lnTo>
                      <a:pt x="3042" y="1826"/>
                    </a:lnTo>
                    <a:lnTo>
                      <a:pt x="3040" y="1830"/>
                    </a:lnTo>
                    <a:lnTo>
                      <a:pt x="3033" y="1833"/>
                    </a:lnTo>
                    <a:lnTo>
                      <a:pt x="3023" y="1838"/>
                    </a:lnTo>
                    <a:lnTo>
                      <a:pt x="2993" y="1826"/>
                    </a:lnTo>
                    <a:lnTo>
                      <a:pt x="2959" y="1819"/>
                    </a:lnTo>
                    <a:lnTo>
                      <a:pt x="2931" y="1814"/>
                    </a:lnTo>
                    <a:lnTo>
                      <a:pt x="2891" y="1819"/>
                    </a:lnTo>
                    <a:lnTo>
                      <a:pt x="2870" y="1823"/>
                    </a:lnTo>
                    <a:lnTo>
                      <a:pt x="2858" y="1823"/>
                    </a:lnTo>
                    <a:lnTo>
                      <a:pt x="2846" y="1823"/>
                    </a:lnTo>
                    <a:lnTo>
                      <a:pt x="2844" y="1819"/>
                    </a:lnTo>
                    <a:lnTo>
                      <a:pt x="2851" y="1816"/>
                    </a:lnTo>
                    <a:lnTo>
                      <a:pt x="2851" y="1814"/>
                    </a:lnTo>
                    <a:lnTo>
                      <a:pt x="2844" y="1802"/>
                    </a:lnTo>
                    <a:lnTo>
                      <a:pt x="2834" y="1797"/>
                    </a:lnTo>
                    <a:lnTo>
                      <a:pt x="2820" y="1793"/>
                    </a:lnTo>
                    <a:lnTo>
                      <a:pt x="2811" y="1790"/>
                    </a:lnTo>
                    <a:lnTo>
                      <a:pt x="2808" y="1788"/>
                    </a:lnTo>
                    <a:lnTo>
                      <a:pt x="2803" y="1783"/>
                    </a:lnTo>
                    <a:lnTo>
                      <a:pt x="2796" y="1778"/>
                    </a:lnTo>
                    <a:lnTo>
                      <a:pt x="2794" y="1774"/>
                    </a:lnTo>
                    <a:lnTo>
                      <a:pt x="2796" y="1755"/>
                    </a:lnTo>
                    <a:lnTo>
                      <a:pt x="2801" y="1745"/>
                    </a:lnTo>
                    <a:lnTo>
                      <a:pt x="2803" y="1738"/>
                    </a:lnTo>
                    <a:lnTo>
                      <a:pt x="2811" y="1726"/>
                    </a:lnTo>
                    <a:lnTo>
                      <a:pt x="2808" y="1726"/>
                    </a:lnTo>
                    <a:lnTo>
                      <a:pt x="2799" y="1736"/>
                    </a:lnTo>
                    <a:lnTo>
                      <a:pt x="2789" y="1743"/>
                    </a:lnTo>
                    <a:lnTo>
                      <a:pt x="2780" y="1755"/>
                    </a:lnTo>
                    <a:lnTo>
                      <a:pt x="2775" y="1760"/>
                    </a:lnTo>
                    <a:lnTo>
                      <a:pt x="2770" y="1764"/>
                    </a:lnTo>
                    <a:lnTo>
                      <a:pt x="2761" y="1764"/>
                    </a:lnTo>
                    <a:lnTo>
                      <a:pt x="2747" y="1755"/>
                    </a:lnTo>
                    <a:lnTo>
                      <a:pt x="2737" y="1750"/>
                    </a:lnTo>
                    <a:lnTo>
                      <a:pt x="2728" y="1750"/>
                    </a:lnTo>
                    <a:lnTo>
                      <a:pt x="2723" y="1748"/>
                    </a:lnTo>
                    <a:lnTo>
                      <a:pt x="2730" y="1741"/>
                    </a:lnTo>
                    <a:lnTo>
                      <a:pt x="2735" y="1736"/>
                    </a:lnTo>
                    <a:lnTo>
                      <a:pt x="2740" y="1729"/>
                    </a:lnTo>
                    <a:lnTo>
                      <a:pt x="2742" y="1724"/>
                    </a:lnTo>
                    <a:lnTo>
                      <a:pt x="2709" y="1719"/>
                    </a:lnTo>
                    <a:lnTo>
                      <a:pt x="2707" y="1715"/>
                    </a:lnTo>
                    <a:lnTo>
                      <a:pt x="2707" y="1712"/>
                    </a:lnTo>
                    <a:lnTo>
                      <a:pt x="2707" y="1710"/>
                    </a:lnTo>
                    <a:lnTo>
                      <a:pt x="2702" y="1707"/>
                    </a:lnTo>
                    <a:lnTo>
                      <a:pt x="2695" y="1707"/>
                    </a:lnTo>
                    <a:lnTo>
                      <a:pt x="2683" y="1712"/>
                    </a:lnTo>
                    <a:lnTo>
                      <a:pt x="2678" y="1707"/>
                    </a:lnTo>
                    <a:lnTo>
                      <a:pt x="2681" y="1705"/>
                    </a:lnTo>
                    <a:lnTo>
                      <a:pt x="2685" y="1705"/>
                    </a:lnTo>
                    <a:lnTo>
                      <a:pt x="2692" y="1698"/>
                    </a:lnTo>
                    <a:lnTo>
                      <a:pt x="2683" y="1693"/>
                    </a:lnTo>
                    <a:lnTo>
                      <a:pt x="2678" y="1686"/>
                    </a:lnTo>
                    <a:lnTo>
                      <a:pt x="2676" y="1684"/>
                    </a:lnTo>
                    <a:lnTo>
                      <a:pt x="2678" y="1670"/>
                    </a:lnTo>
                    <a:lnTo>
                      <a:pt x="2681" y="1660"/>
                    </a:lnTo>
                    <a:lnTo>
                      <a:pt x="2704" y="1653"/>
                    </a:lnTo>
                    <a:lnTo>
                      <a:pt x="2697" y="1651"/>
                    </a:lnTo>
                    <a:lnTo>
                      <a:pt x="2683" y="1651"/>
                    </a:lnTo>
                    <a:lnTo>
                      <a:pt x="2673" y="1658"/>
                    </a:lnTo>
                    <a:lnTo>
                      <a:pt x="2662" y="1667"/>
                    </a:lnTo>
                    <a:lnTo>
                      <a:pt x="2652" y="1670"/>
                    </a:lnTo>
                    <a:lnTo>
                      <a:pt x="2650" y="1667"/>
                    </a:lnTo>
                    <a:lnTo>
                      <a:pt x="2645" y="1665"/>
                    </a:lnTo>
                    <a:lnTo>
                      <a:pt x="2638" y="1665"/>
                    </a:lnTo>
                    <a:lnTo>
                      <a:pt x="2633" y="1667"/>
                    </a:lnTo>
                    <a:lnTo>
                      <a:pt x="2631" y="1672"/>
                    </a:lnTo>
                    <a:lnTo>
                      <a:pt x="2629" y="1674"/>
                    </a:lnTo>
                    <a:lnTo>
                      <a:pt x="2626" y="1677"/>
                    </a:lnTo>
                    <a:lnTo>
                      <a:pt x="2624" y="1677"/>
                    </a:lnTo>
                    <a:lnTo>
                      <a:pt x="2621" y="1670"/>
                    </a:lnTo>
                    <a:lnTo>
                      <a:pt x="2614" y="1667"/>
                    </a:lnTo>
                    <a:lnTo>
                      <a:pt x="2612" y="1663"/>
                    </a:lnTo>
                    <a:lnTo>
                      <a:pt x="2610" y="1665"/>
                    </a:lnTo>
                    <a:lnTo>
                      <a:pt x="2607" y="1672"/>
                    </a:lnTo>
                    <a:lnTo>
                      <a:pt x="2605" y="1674"/>
                    </a:lnTo>
                    <a:lnTo>
                      <a:pt x="2593" y="1677"/>
                    </a:lnTo>
                    <a:lnTo>
                      <a:pt x="2588" y="1677"/>
                    </a:lnTo>
                    <a:lnTo>
                      <a:pt x="2581" y="1667"/>
                    </a:lnTo>
                    <a:lnTo>
                      <a:pt x="2581" y="1665"/>
                    </a:lnTo>
                    <a:lnTo>
                      <a:pt x="2584" y="1658"/>
                    </a:lnTo>
                    <a:lnTo>
                      <a:pt x="2603" y="1629"/>
                    </a:lnTo>
                    <a:lnTo>
                      <a:pt x="2600" y="1629"/>
                    </a:lnTo>
                    <a:lnTo>
                      <a:pt x="2595" y="1634"/>
                    </a:lnTo>
                    <a:lnTo>
                      <a:pt x="2584" y="1644"/>
                    </a:lnTo>
                    <a:lnTo>
                      <a:pt x="2579" y="1648"/>
                    </a:lnTo>
                    <a:lnTo>
                      <a:pt x="2572" y="1646"/>
                    </a:lnTo>
                    <a:lnTo>
                      <a:pt x="2569" y="1646"/>
                    </a:lnTo>
                    <a:lnTo>
                      <a:pt x="2565" y="1646"/>
                    </a:lnTo>
                    <a:lnTo>
                      <a:pt x="2560" y="1648"/>
                    </a:lnTo>
                    <a:lnTo>
                      <a:pt x="2555" y="1651"/>
                    </a:lnTo>
                    <a:lnTo>
                      <a:pt x="2553" y="1655"/>
                    </a:lnTo>
                    <a:lnTo>
                      <a:pt x="2555" y="1655"/>
                    </a:lnTo>
                    <a:lnTo>
                      <a:pt x="2562" y="1653"/>
                    </a:lnTo>
                    <a:lnTo>
                      <a:pt x="2567" y="1651"/>
                    </a:lnTo>
                    <a:lnTo>
                      <a:pt x="2567" y="1653"/>
                    </a:lnTo>
                    <a:lnTo>
                      <a:pt x="2560" y="1667"/>
                    </a:lnTo>
                    <a:lnTo>
                      <a:pt x="2555" y="1679"/>
                    </a:lnTo>
                    <a:lnTo>
                      <a:pt x="2553" y="1681"/>
                    </a:lnTo>
                    <a:lnTo>
                      <a:pt x="2546" y="1679"/>
                    </a:lnTo>
                    <a:lnTo>
                      <a:pt x="2541" y="1681"/>
                    </a:lnTo>
                    <a:lnTo>
                      <a:pt x="2541" y="1684"/>
                    </a:lnTo>
                    <a:lnTo>
                      <a:pt x="2550" y="1696"/>
                    </a:lnTo>
                    <a:lnTo>
                      <a:pt x="2555" y="1698"/>
                    </a:lnTo>
                    <a:lnTo>
                      <a:pt x="2560" y="1700"/>
                    </a:lnTo>
                    <a:lnTo>
                      <a:pt x="2560" y="1705"/>
                    </a:lnTo>
                    <a:lnTo>
                      <a:pt x="2558" y="1715"/>
                    </a:lnTo>
                    <a:lnTo>
                      <a:pt x="2555" y="1717"/>
                    </a:lnTo>
                    <a:lnTo>
                      <a:pt x="2553" y="1719"/>
                    </a:lnTo>
                    <a:lnTo>
                      <a:pt x="2543" y="1719"/>
                    </a:lnTo>
                    <a:lnTo>
                      <a:pt x="2541" y="1719"/>
                    </a:lnTo>
                    <a:lnTo>
                      <a:pt x="2534" y="1724"/>
                    </a:lnTo>
                    <a:lnTo>
                      <a:pt x="2529" y="1729"/>
                    </a:lnTo>
                    <a:lnTo>
                      <a:pt x="2532" y="1729"/>
                    </a:lnTo>
                    <a:lnTo>
                      <a:pt x="2536" y="1726"/>
                    </a:lnTo>
                    <a:lnTo>
                      <a:pt x="2543" y="1724"/>
                    </a:lnTo>
                    <a:lnTo>
                      <a:pt x="2555" y="1726"/>
                    </a:lnTo>
                    <a:lnTo>
                      <a:pt x="2562" y="1724"/>
                    </a:lnTo>
                    <a:lnTo>
                      <a:pt x="2567" y="1719"/>
                    </a:lnTo>
                    <a:lnTo>
                      <a:pt x="2572" y="1722"/>
                    </a:lnTo>
                    <a:lnTo>
                      <a:pt x="2576" y="1729"/>
                    </a:lnTo>
                    <a:lnTo>
                      <a:pt x="2576" y="1733"/>
                    </a:lnTo>
                    <a:lnTo>
                      <a:pt x="2574" y="1738"/>
                    </a:lnTo>
                    <a:lnTo>
                      <a:pt x="2572" y="1743"/>
                    </a:lnTo>
                    <a:lnTo>
                      <a:pt x="2565" y="1743"/>
                    </a:lnTo>
                    <a:lnTo>
                      <a:pt x="2560" y="1745"/>
                    </a:lnTo>
                    <a:lnTo>
                      <a:pt x="2558" y="1750"/>
                    </a:lnTo>
                    <a:lnTo>
                      <a:pt x="2558" y="1755"/>
                    </a:lnTo>
                    <a:lnTo>
                      <a:pt x="2555" y="1764"/>
                    </a:lnTo>
                    <a:lnTo>
                      <a:pt x="2555" y="1778"/>
                    </a:lnTo>
                    <a:lnTo>
                      <a:pt x="2555" y="1781"/>
                    </a:lnTo>
                    <a:lnTo>
                      <a:pt x="2553" y="1781"/>
                    </a:lnTo>
                    <a:lnTo>
                      <a:pt x="2548" y="1781"/>
                    </a:lnTo>
                    <a:lnTo>
                      <a:pt x="2546" y="1783"/>
                    </a:lnTo>
                    <a:lnTo>
                      <a:pt x="2536" y="1802"/>
                    </a:lnTo>
                    <a:lnTo>
                      <a:pt x="2534" y="1804"/>
                    </a:lnTo>
                    <a:lnTo>
                      <a:pt x="2532" y="1802"/>
                    </a:lnTo>
                    <a:lnTo>
                      <a:pt x="2529" y="1802"/>
                    </a:lnTo>
                    <a:lnTo>
                      <a:pt x="2527" y="1804"/>
                    </a:lnTo>
                    <a:lnTo>
                      <a:pt x="2522" y="1804"/>
                    </a:lnTo>
                    <a:lnTo>
                      <a:pt x="2513" y="1807"/>
                    </a:lnTo>
                    <a:lnTo>
                      <a:pt x="2508" y="1804"/>
                    </a:lnTo>
                    <a:lnTo>
                      <a:pt x="2496" y="1800"/>
                    </a:lnTo>
                    <a:lnTo>
                      <a:pt x="2491" y="1795"/>
                    </a:lnTo>
                    <a:lnTo>
                      <a:pt x="2489" y="1790"/>
                    </a:lnTo>
                    <a:lnTo>
                      <a:pt x="2477" y="1795"/>
                    </a:lnTo>
                    <a:lnTo>
                      <a:pt x="2475" y="1793"/>
                    </a:lnTo>
                    <a:lnTo>
                      <a:pt x="2470" y="1778"/>
                    </a:lnTo>
                    <a:lnTo>
                      <a:pt x="2468" y="1778"/>
                    </a:lnTo>
                    <a:lnTo>
                      <a:pt x="2465" y="1793"/>
                    </a:lnTo>
                    <a:lnTo>
                      <a:pt x="2463" y="1797"/>
                    </a:lnTo>
                    <a:lnTo>
                      <a:pt x="2456" y="1807"/>
                    </a:lnTo>
                    <a:lnTo>
                      <a:pt x="2449" y="1823"/>
                    </a:lnTo>
                    <a:lnTo>
                      <a:pt x="2449" y="1826"/>
                    </a:lnTo>
                    <a:lnTo>
                      <a:pt x="2446" y="1821"/>
                    </a:lnTo>
                    <a:lnTo>
                      <a:pt x="2446" y="1807"/>
                    </a:lnTo>
                    <a:lnTo>
                      <a:pt x="2444" y="1802"/>
                    </a:lnTo>
                    <a:lnTo>
                      <a:pt x="2437" y="1812"/>
                    </a:lnTo>
                    <a:lnTo>
                      <a:pt x="2437" y="1814"/>
                    </a:lnTo>
                    <a:lnTo>
                      <a:pt x="2437" y="1826"/>
                    </a:lnTo>
                    <a:lnTo>
                      <a:pt x="2435" y="1828"/>
                    </a:lnTo>
                    <a:lnTo>
                      <a:pt x="2423" y="1819"/>
                    </a:lnTo>
                    <a:lnTo>
                      <a:pt x="2420" y="1819"/>
                    </a:lnTo>
                    <a:lnTo>
                      <a:pt x="2420" y="1819"/>
                    </a:lnTo>
                    <a:lnTo>
                      <a:pt x="2423" y="1830"/>
                    </a:lnTo>
                    <a:lnTo>
                      <a:pt x="2423" y="1833"/>
                    </a:lnTo>
                    <a:lnTo>
                      <a:pt x="2404" y="1849"/>
                    </a:lnTo>
                    <a:lnTo>
                      <a:pt x="2399" y="1847"/>
                    </a:lnTo>
                    <a:lnTo>
                      <a:pt x="2397" y="1845"/>
                    </a:lnTo>
                    <a:lnTo>
                      <a:pt x="2392" y="1845"/>
                    </a:lnTo>
                    <a:lnTo>
                      <a:pt x="2383" y="1849"/>
                    </a:lnTo>
                    <a:lnTo>
                      <a:pt x="2378" y="1849"/>
                    </a:lnTo>
                    <a:lnTo>
                      <a:pt x="2376" y="1845"/>
                    </a:lnTo>
                    <a:lnTo>
                      <a:pt x="2373" y="1845"/>
                    </a:lnTo>
                    <a:lnTo>
                      <a:pt x="2371" y="1849"/>
                    </a:lnTo>
                    <a:lnTo>
                      <a:pt x="2371" y="1856"/>
                    </a:lnTo>
                    <a:lnTo>
                      <a:pt x="2366" y="1864"/>
                    </a:lnTo>
                    <a:lnTo>
                      <a:pt x="2352" y="1875"/>
                    </a:lnTo>
                    <a:lnTo>
                      <a:pt x="2347" y="1880"/>
                    </a:lnTo>
                    <a:lnTo>
                      <a:pt x="2345" y="1887"/>
                    </a:lnTo>
                    <a:lnTo>
                      <a:pt x="2342" y="1887"/>
                    </a:lnTo>
                    <a:lnTo>
                      <a:pt x="2335" y="1880"/>
                    </a:lnTo>
                    <a:lnTo>
                      <a:pt x="2326" y="1878"/>
                    </a:lnTo>
                    <a:lnTo>
                      <a:pt x="2326" y="1878"/>
                    </a:lnTo>
                    <a:lnTo>
                      <a:pt x="2328" y="1882"/>
                    </a:lnTo>
                    <a:lnTo>
                      <a:pt x="2326" y="1887"/>
                    </a:lnTo>
                    <a:lnTo>
                      <a:pt x="2324" y="1887"/>
                    </a:lnTo>
                    <a:lnTo>
                      <a:pt x="2319" y="1885"/>
                    </a:lnTo>
                    <a:lnTo>
                      <a:pt x="2312" y="1882"/>
                    </a:lnTo>
                    <a:lnTo>
                      <a:pt x="2305" y="1885"/>
                    </a:lnTo>
                    <a:lnTo>
                      <a:pt x="2293" y="1890"/>
                    </a:lnTo>
                    <a:lnTo>
                      <a:pt x="2283" y="1887"/>
                    </a:lnTo>
                    <a:lnTo>
                      <a:pt x="2274" y="1875"/>
                    </a:lnTo>
                    <a:lnTo>
                      <a:pt x="2272" y="1875"/>
                    </a:lnTo>
                    <a:lnTo>
                      <a:pt x="2269" y="1871"/>
                    </a:lnTo>
                    <a:lnTo>
                      <a:pt x="2274" y="1864"/>
                    </a:lnTo>
                    <a:lnTo>
                      <a:pt x="2279" y="1859"/>
                    </a:lnTo>
                    <a:lnTo>
                      <a:pt x="2281" y="1854"/>
                    </a:lnTo>
                    <a:lnTo>
                      <a:pt x="2293" y="1849"/>
                    </a:lnTo>
                    <a:lnTo>
                      <a:pt x="2307" y="1847"/>
                    </a:lnTo>
                    <a:lnTo>
                      <a:pt x="2314" y="1845"/>
                    </a:lnTo>
                    <a:lnTo>
                      <a:pt x="2326" y="1835"/>
                    </a:lnTo>
                    <a:lnTo>
                      <a:pt x="2333" y="1828"/>
                    </a:lnTo>
                    <a:lnTo>
                      <a:pt x="2345" y="1812"/>
                    </a:lnTo>
                    <a:lnTo>
                      <a:pt x="2345" y="1809"/>
                    </a:lnTo>
                    <a:lnTo>
                      <a:pt x="2342" y="1809"/>
                    </a:lnTo>
                    <a:lnTo>
                      <a:pt x="2319" y="1823"/>
                    </a:lnTo>
                    <a:lnTo>
                      <a:pt x="2314" y="1823"/>
                    </a:lnTo>
                    <a:lnTo>
                      <a:pt x="2309" y="1823"/>
                    </a:lnTo>
                    <a:lnTo>
                      <a:pt x="2293" y="1814"/>
                    </a:lnTo>
                    <a:lnTo>
                      <a:pt x="2288" y="1812"/>
                    </a:lnTo>
                    <a:lnTo>
                      <a:pt x="2288" y="1802"/>
                    </a:lnTo>
                    <a:lnTo>
                      <a:pt x="2295" y="1783"/>
                    </a:lnTo>
                    <a:lnTo>
                      <a:pt x="2300" y="1774"/>
                    </a:lnTo>
                    <a:lnTo>
                      <a:pt x="2312" y="1760"/>
                    </a:lnTo>
                    <a:lnTo>
                      <a:pt x="2326" y="1745"/>
                    </a:lnTo>
                    <a:lnTo>
                      <a:pt x="2331" y="1736"/>
                    </a:lnTo>
                    <a:lnTo>
                      <a:pt x="2340" y="1710"/>
                    </a:lnTo>
                    <a:lnTo>
                      <a:pt x="2340" y="1696"/>
                    </a:lnTo>
                    <a:lnTo>
                      <a:pt x="2340" y="1681"/>
                    </a:lnTo>
                    <a:lnTo>
                      <a:pt x="2342" y="1672"/>
                    </a:lnTo>
                    <a:lnTo>
                      <a:pt x="2345" y="1670"/>
                    </a:lnTo>
                    <a:lnTo>
                      <a:pt x="2373" y="1658"/>
                    </a:lnTo>
                    <a:lnTo>
                      <a:pt x="2385" y="1651"/>
                    </a:lnTo>
                    <a:lnTo>
                      <a:pt x="2411" y="1637"/>
                    </a:lnTo>
                    <a:lnTo>
                      <a:pt x="2418" y="1639"/>
                    </a:lnTo>
                    <a:lnTo>
                      <a:pt x="2423" y="1644"/>
                    </a:lnTo>
                    <a:lnTo>
                      <a:pt x="2428" y="1648"/>
                    </a:lnTo>
                    <a:lnTo>
                      <a:pt x="2432" y="1653"/>
                    </a:lnTo>
                    <a:lnTo>
                      <a:pt x="2442" y="1653"/>
                    </a:lnTo>
                    <a:lnTo>
                      <a:pt x="2451" y="1651"/>
                    </a:lnTo>
                    <a:lnTo>
                      <a:pt x="2468" y="1653"/>
                    </a:lnTo>
                    <a:lnTo>
                      <a:pt x="2498" y="1667"/>
                    </a:lnTo>
                    <a:lnTo>
                      <a:pt x="2506" y="1670"/>
                    </a:lnTo>
                    <a:lnTo>
                      <a:pt x="2506" y="1667"/>
                    </a:lnTo>
                    <a:lnTo>
                      <a:pt x="2501" y="1660"/>
                    </a:lnTo>
                    <a:lnTo>
                      <a:pt x="2480" y="1653"/>
                    </a:lnTo>
                    <a:lnTo>
                      <a:pt x="2470" y="1648"/>
                    </a:lnTo>
                    <a:lnTo>
                      <a:pt x="2446" y="1627"/>
                    </a:lnTo>
                    <a:lnTo>
                      <a:pt x="2442" y="1620"/>
                    </a:lnTo>
                    <a:lnTo>
                      <a:pt x="2444" y="1615"/>
                    </a:lnTo>
                    <a:lnTo>
                      <a:pt x="2451" y="1613"/>
                    </a:lnTo>
                    <a:lnTo>
                      <a:pt x="2454" y="1611"/>
                    </a:lnTo>
                    <a:lnTo>
                      <a:pt x="2454" y="1606"/>
                    </a:lnTo>
                    <a:lnTo>
                      <a:pt x="2458" y="1601"/>
                    </a:lnTo>
                    <a:lnTo>
                      <a:pt x="2465" y="1594"/>
                    </a:lnTo>
                    <a:lnTo>
                      <a:pt x="2477" y="1587"/>
                    </a:lnTo>
                    <a:lnTo>
                      <a:pt x="2496" y="1577"/>
                    </a:lnTo>
                    <a:lnTo>
                      <a:pt x="2489" y="1575"/>
                    </a:lnTo>
                    <a:lnTo>
                      <a:pt x="2477" y="1577"/>
                    </a:lnTo>
                    <a:lnTo>
                      <a:pt x="2470" y="1577"/>
                    </a:lnTo>
                    <a:lnTo>
                      <a:pt x="2461" y="1585"/>
                    </a:lnTo>
                    <a:lnTo>
                      <a:pt x="2458" y="1592"/>
                    </a:lnTo>
                    <a:lnTo>
                      <a:pt x="2451" y="1601"/>
                    </a:lnTo>
                    <a:lnTo>
                      <a:pt x="2449" y="1603"/>
                    </a:lnTo>
                    <a:lnTo>
                      <a:pt x="2439" y="1603"/>
                    </a:lnTo>
                    <a:lnTo>
                      <a:pt x="2413" y="1603"/>
                    </a:lnTo>
                    <a:lnTo>
                      <a:pt x="2411" y="1596"/>
                    </a:lnTo>
                    <a:lnTo>
                      <a:pt x="2409" y="1594"/>
                    </a:lnTo>
                    <a:lnTo>
                      <a:pt x="2404" y="1594"/>
                    </a:lnTo>
                    <a:lnTo>
                      <a:pt x="2380" y="1608"/>
                    </a:lnTo>
                    <a:lnTo>
                      <a:pt x="2371" y="1613"/>
                    </a:lnTo>
                    <a:lnTo>
                      <a:pt x="2364" y="1622"/>
                    </a:lnTo>
                    <a:lnTo>
                      <a:pt x="2354" y="1627"/>
                    </a:lnTo>
                    <a:lnTo>
                      <a:pt x="2340" y="1629"/>
                    </a:lnTo>
                    <a:lnTo>
                      <a:pt x="2331" y="1632"/>
                    </a:lnTo>
                    <a:lnTo>
                      <a:pt x="2319" y="1641"/>
                    </a:lnTo>
                    <a:lnTo>
                      <a:pt x="2314" y="1648"/>
                    </a:lnTo>
                    <a:lnTo>
                      <a:pt x="2314" y="1651"/>
                    </a:lnTo>
                    <a:lnTo>
                      <a:pt x="2314" y="1663"/>
                    </a:lnTo>
                    <a:lnTo>
                      <a:pt x="2312" y="1665"/>
                    </a:lnTo>
                    <a:lnTo>
                      <a:pt x="2307" y="1665"/>
                    </a:lnTo>
                    <a:lnTo>
                      <a:pt x="2295" y="1672"/>
                    </a:lnTo>
                    <a:lnTo>
                      <a:pt x="2274" y="1691"/>
                    </a:lnTo>
                    <a:lnTo>
                      <a:pt x="2269" y="1698"/>
                    </a:lnTo>
                    <a:lnTo>
                      <a:pt x="2269" y="1700"/>
                    </a:lnTo>
                    <a:lnTo>
                      <a:pt x="2272" y="1707"/>
                    </a:lnTo>
                    <a:lnTo>
                      <a:pt x="2269" y="1712"/>
                    </a:lnTo>
                    <a:lnTo>
                      <a:pt x="2262" y="1717"/>
                    </a:lnTo>
                    <a:lnTo>
                      <a:pt x="2248" y="1726"/>
                    </a:lnTo>
                    <a:lnTo>
                      <a:pt x="2241" y="1729"/>
                    </a:lnTo>
                    <a:lnTo>
                      <a:pt x="2236" y="1726"/>
                    </a:lnTo>
                    <a:lnTo>
                      <a:pt x="2231" y="1724"/>
                    </a:lnTo>
                    <a:lnTo>
                      <a:pt x="2222" y="1717"/>
                    </a:lnTo>
                    <a:lnTo>
                      <a:pt x="2215" y="1717"/>
                    </a:lnTo>
                    <a:lnTo>
                      <a:pt x="2215" y="1717"/>
                    </a:lnTo>
                    <a:lnTo>
                      <a:pt x="2224" y="1724"/>
                    </a:lnTo>
                    <a:lnTo>
                      <a:pt x="2231" y="1736"/>
                    </a:lnTo>
                    <a:lnTo>
                      <a:pt x="2236" y="1743"/>
                    </a:lnTo>
                    <a:lnTo>
                      <a:pt x="2238" y="1750"/>
                    </a:lnTo>
                    <a:lnTo>
                      <a:pt x="2238" y="1757"/>
                    </a:lnTo>
                    <a:lnTo>
                      <a:pt x="2234" y="1762"/>
                    </a:lnTo>
                    <a:lnTo>
                      <a:pt x="2227" y="1771"/>
                    </a:lnTo>
                    <a:lnTo>
                      <a:pt x="2220" y="1774"/>
                    </a:lnTo>
                    <a:lnTo>
                      <a:pt x="2201" y="1776"/>
                    </a:lnTo>
                    <a:lnTo>
                      <a:pt x="2194" y="1776"/>
                    </a:lnTo>
                    <a:lnTo>
                      <a:pt x="2191" y="1778"/>
                    </a:lnTo>
                    <a:lnTo>
                      <a:pt x="2203" y="1786"/>
                    </a:lnTo>
                    <a:lnTo>
                      <a:pt x="2205" y="1788"/>
                    </a:lnTo>
                    <a:lnTo>
                      <a:pt x="2201" y="1797"/>
                    </a:lnTo>
                    <a:lnTo>
                      <a:pt x="2198" y="1800"/>
                    </a:lnTo>
                    <a:lnTo>
                      <a:pt x="2186" y="1802"/>
                    </a:lnTo>
                    <a:lnTo>
                      <a:pt x="2177" y="1802"/>
                    </a:lnTo>
                    <a:lnTo>
                      <a:pt x="2175" y="1802"/>
                    </a:lnTo>
                    <a:lnTo>
                      <a:pt x="2179" y="1795"/>
                    </a:lnTo>
                    <a:lnTo>
                      <a:pt x="2179" y="1793"/>
                    </a:lnTo>
                    <a:lnTo>
                      <a:pt x="2175" y="1790"/>
                    </a:lnTo>
                    <a:lnTo>
                      <a:pt x="2170" y="1793"/>
                    </a:lnTo>
                    <a:lnTo>
                      <a:pt x="2156" y="1802"/>
                    </a:lnTo>
                    <a:lnTo>
                      <a:pt x="2153" y="1802"/>
                    </a:lnTo>
                    <a:lnTo>
                      <a:pt x="2158" y="1807"/>
                    </a:lnTo>
                    <a:lnTo>
                      <a:pt x="2158" y="1809"/>
                    </a:lnTo>
                    <a:lnTo>
                      <a:pt x="2149" y="1814"/>
                    </a:lnTo>
                    <a:lnTo>
                      <a:pt x="2146" y="1819"/>
                    </a:lnTo>
                    <a:lnTo>
                      <a:pt x="2139" y="1823"/>
                    </a:lnTo>
                    <a:lnTo>
                      <a:pt x="2118" y="1835"/>
                    </a:lnTo>
                    <a:lnTo>
                      <a:pt x="2118" y="1840"/>
                    </a:lnTo>
                    <a:lnTo>
                      <a:pt x="2111" y="1854"/>
                    </a:lnTo>
                    <a:lnTo>
                      <a:pt x="2106" y="1864"/>
                    </a:lnTo>
                    <a:lnTo>
                      <a:pt x="2108" y="1871"/>
                    </a:lnTo>
                    <a:lnTo>
                      <a:pt x="2125" y="1878"/>
                    </a:lnTo>
                    <a:lnTo>
                      <a:pt x="2132" y="1882"/>
                    </a:lnTo>
                    <a:lnTo>
                      <a:pt x="2142" y="1887"/>
                    </a:lnTo>
                    <a:lnTo>
                      <a:pt x="2158" y="1901"/>
                    </a:lnTo>
                    <a:lnTo>
                      <a:pt x="2163" y="1908"/>
                    </a:lnTo>
                    <a:lnTo>
                      <a:pt x="2163" y="1913"/>
                    </a:lnTo>
                    <a:lnTo>
                      <a:pt x="2160" y="1916"/>
                    </a:lnTo>
                    <a:lnTo>
                      <a:pt x="2158" y="1920"/>
                    </a:lnTo>
                    <a:lnTo>
                      <a:pt x="2151" y="1930"/>
                    </a:lnTo>
                    <a:lnTo>
                      <a:pt x="2137" y="1942"/>
                    </a:lnTo>
                    <a:lnTo>
                      <a:pt x="2130" y="1944"/>
                    </a:lnTo>
                    <a:lnTo>
                      <a:pt x="2120" y="1946"/>
                    </a:lnTo>
                    <a:lnTo>
                      <a:pt x="2116" y="1949"/>
                    </a:lnTo>
                    <a:lnTo>
                      <a:pt x="2104" y="1960"/>
                    </a:lnTo>
                    <a:lnTo>
                      <a:pt x="2099" y="1965"/>
                    </a:lnTo>
                    <a:lnTo>
                      <a:pt x="2097" y="1972"/>
                    </a:lnTo>
                    <a:lnTo>
                      <a:pt x="2094" y="1977"/>
                    </a:lnTo>
                    <a:lnTo>
                      <a:pt x="2078" y="1982"/>
                    </a:lnTo>
                    <a:lnTo>
                      <a:pt x="2078" y="1984"/>
                    </a:lnTo>
                    <a:lnTo>
                      <a:pt x="2085" y="1986"/>
                    </a:lnTo>
                    <a:lnTo>
                      <a:pt x="2080" y="1994"/>
                    </a:lnTo>
                    <a:lnTo>
                      <a:pt x="2078" y="2003"/>
                    </a:lnTo>
                    <a:lnTo>
                      <a:pt x="2075" y="2005"/>
                    </a:lnTo>
                    <a:lnTo>
                      <a:pt x="2066" y="2003"/>
                    </a:lnTo>
                    <a:lnTo>
                      <a:pt x="2054" y="2005"/>
                    </a:lnTo>
                    <a:lnTo>
                      <a:pt x="2052" y="2008"/>
                    </a:lnTo>
                    <a:lnTo>
                      <a:pt x="2049" y="2015"/>
                    </a:lnTo>
                    <a:lnTo>
                      <a:pt x="2019" y="2015"/>
                    </a:lnTo>
                    <a:lnTo>
                      <a:pt x="2009" y="2027"/>
                    </a:lnTo>
                    <a:lnTo>
                      <a:pt x="2004" y="2031"/>
                    </a:lnTo>
                    <a:lnTo>
                      <a:pt x="1990" y="2039"/>
                    </a:lnTo>
                    <a:lnTo>
                      <a:pt x="1983" y="2043"/>
                    </a:lnTo>
                    <a:lnTo>
                      <a:pt x="1974" y="2043"/>
                    </a:lnTo>
                    <a:lnTo>
                      <a:pt x="1969" y="2046"/>
                    </a:lnTo>
                    <a:lnTo>
                      <a:pt x="1967" y="2050"/>
                    </a:lnTo>
                    <a:lnTo>
                      <a:pt x="1964" y="2055"/>
                    </a:lnTo>
                    <a:lnTo>
                      <a:pt x="1955" y="2060"/>
                    </a:lnTo>
                    <a:lnTo>
                      <a:pt x="1950" y="2067"/>
                    </a:lnTo>
                    <a:lnTo>
                      <a:pt x="1948" y="2067"/>
                    </a:lnTo>
                    <a:lnTo>
                      <a:pt x="1934" y="2067"/>
                    </a:lnTo>
                    <a:lnTo>
                      <a:pt x="1929" y="2069"/>
                    </a:lnTo>
                    <a:lnTo>
                      <a:pt x="1926" y="2079"/>
                    </a:lnTo>
                    <a:lnTo>
                      <a:pt x="1924" y="2079"/>
                    </a:lnTo>
                    <a:lnTo>
                      <a:pt x="1919" y="2076"/>
                    </a:lnTo>
                    <a:lnTo>
                      <a:pt x="1912" y="2076"/>
                    </a:lnTo>
                    <a:lnTo>
                      <a:pt x="1896" y="2086"/>
                    </a:lnTo>
                    <a:lnTo>
                      <a:pt x="1891" y="2091"/>
                    </a:lnTo>
                    <a:lnTo>
                      <a:pt x="1891" y="2093"/>
                    </a:lnTo>
                    <a:lnTo>
                      <a:pt x="1893" y="2095"/>
                    </a:lnTo>
                    <a:lnTo>
                      <a:pt x="1896" y="2102"/>
                    </a:lnTo>
                    <a:lnTo>
                      <a:pt x="1893" y="2107"/>
                    </a:lnTo>
                    <a:lnTo>
                      <a:pt x="1886" y="2121"/>
                    </a:lnTo>
                    <a:lnTo>
                      <a:pt x="1884" y="2124"/>
                    </a:lnTo>
                    <a:lnTo>
                      <a:pt x="1874" y="2124"/>
                    </a:lnTo>
                    <a:lnTo>
                      <a:pt x="1872" y="2131"/>
                    </a:lnTo>
                    <a:lnTo>
                      <a:pt x="1865" y="2131"/>
                    </a:lnTo>
                    <a:lnTo>
                      <a:pt x="1860" y="2131"/>
                    </a:lnTo>
                    <a:lnTo>
                      <a:pt x="1856" y="2135"/>
                    </a:lnTo>
                    <a:lnTo>
                      <a:pt x="1851" y="2138"/>
                    </a:lnTo>
                    <a:lnTo>
                      <a:pt x="1846" y="2138"/>
                    </a:lnTo>
                    <a:lnTo>
                      <a:pt x="1841" y="2140"/>
                    </a:lnTo>
                    <a:lnTo>
                      <a:pt x="1834" y="2145"/>
                    </a:lnTo>
                    <a:lnTo>
                      <a:pt x="1827" y="2150"/>
                    </a:lnTo>
                    <a:lnTo>
                      <a:pt x="1822" y="2150"/>
                    </a:lnTo>
                    <a:lnTo>
                      <a:pt x="1818" y="2150"/>
                    </a:lnTo>
                    <a:lnTo>
                      <a:pt x="1813" y="2147"/>
                    </a:lnTo>
                    <a:lnTo>
                      <a:pt x="1808" y="2147"/>
                    </a:lnTo>
                    <a:lnTo>
                      <a:pt x="1804" y="2150"/>
                    </a:lnTo>
                    <a:lnTo>
                      <a:pt x="1799" y="2154"/>
                    </a:lnTo>
                    <a:lnTo>
                      <a:pt x="1794" y="2164"/>
                    </a:lnTo>
                    <a:lnTo>
                      <a:pt x="1789" y="2169"/>
                    </a:lnTo>
                    <a:lnTo>
                      <a:pt x="1787" y="2171"/>
                    </a:lnTo>
                    <a:lnTo>
                      <a:pt x="1782" y="2169"/>
                    </a:lnTo>
                    <a:lnTo>
                      <a:pt x="1775" y="2164"/>
                    </a:lnTo>
                    <a:lnTo>
                      <a:pt x="1768" y="2164"/>
                    </a:lnTo>
                    <a:lnTo>
                      <a:pt x="1754" y="2169"/>
                    </a:lnTo>
                    <a:lnTo>
                      <a:pt x="1749" y="2173"/>
                    </a:lnTo>
                    <a:lnTo>
                      <a:pt x="1756" y="2176"/>
                    </a:lnTo>
                    <a:lnTo>
                      <a:pt x="1759" y="2178"/>
                    </a:lnTo>
                    <a:lnTo>
                      <a:pt x="1759" y="2180"/>
                    </a:lnTo>
                    <a:lnTo>
                      <a:pt x="1756" y="2180"/>
                    </a:lnTo>
                    <a:lnTo>
                      <a:pt x="1749" y="2178"/>
                    </a:lnTo>
                    <a:lnTo>
                      <a:pt x="1744" y="2178"/>
                    </a:lnTo>
                    <a:lnTo>
                      <a:pt x="1737" y="2180"/>
                    </a:lnTo>
                    <a:lnTo>
                      <a:pt x="1726" y="2183"/>
                    </a:lnTo>
                    <a:lnTo>
                      <a:pt x="1721" y="2183"/>
                    </a:lnTo>
                    <a:lnTo>
                      <a:pt x="1709" y="2195"/>
                    </a:lnTo>
                    <a:lnTo>
                      <a:pt x="1707" y="2197"/>
                    </a:lnTo>
                    <a:lnTo>
                      <a:pt x="1707" y="2199"/>
                    </a:lnTo>
                    <a:lnTo>
                      <a:pt x="1714" y="2199"/>
                    </a:lnTo>
                    <a:lnTo>
                      <a:pt x="1718" y="2202"/>
                    </a:lnTo>
                    <a:lnTo>
                      <a:pt x="1721" y="2206"/>
                    </a:lnTo>
                    <a:lnTo>
                      <a:pt x="1723" y="2209"/>
                    </a:lnTo>
                    <a:lnTo>
                      <a:pt x="1723" y="2216"/>
                    </a:lnTo>
                    <a:lnTo>
                      <a:pt x="1723" y="2218"/>
                    </a:lnTo>
                    <a:lnTo>
                      <a:pt x="1709" y="2228"/>
                    </a:lnTo>
                    <a:lnTo>
                      <a:pt x="1704" y="2232"/>
                    </a:lnTo>
                    <a:lnTo>
                      <a:pt x="1702" y="2232"/>
                    </a:lnTo>
                    <a:lnTo>
                      <a:pt x="1702" y="2230"/>
                    </a:lnTo>
                    <a:lnTo>
                      <a:pt x="1702" y="2218"/>
                    </a:lnTo>
                    <a:lnTo>
                      <a:pt x="1702" y="2216"/>
                    </a:lnTo>
                    <a:lnTo>
                      <a:pt x="1700" y="2213"/>
                    </a:lnTo>
                    <a:lnTo>
                      <a:pt x="1695" y="2218"/>
                    </a:lnTo>
                    <a:lnTo>
                      <a:pt x="1685" y="2232"/>
                    </a:lnTo>
                    <a:lnTo>
                      <a:pt x="1678" y="2240"/>
                    </a:lnTo>
                    <a:lnTo>
                      <a:pt x="1624" y="2247"/>
                    </a:lnTo>
                    <a:lnTo>
                      <a:pt x="1617" y="2249"/>
                    </a:lnTo>
                    <a:lnTo>
                      <a:pt x="1612" y="2258"/>
                    </a:lnTo>
                    <a:lnTo>
                      <a:pt x="1610" y="2266"/>
                    </a:lnTo>
                    <a:lnTo>
                      <a:pt x="1605" y="2270"/>
                    </a:lnTo>
                    <a:lnTo>
                      <a:pt x="1600" y="2273"/>
                    </a:lnTo>
                    <a:lnTo>
                      <a:pt x="1600" y="2270"/>
                    </a:lnTo>
                    <a:lnTo>
                      <a:pt x="1605" y="2249"/>
                    </a:lnTo>
                    <a:lnTo>
                      <a:pt x="1605" y="2244"/>
                    </a:lnTo>
                    <a:lnTo>
                      <a:pt x="1600" y="2242"/>
                    </a:lnTo>
                    <a:lnTo>
                      <a:pt x="1598" y="2242"/>
                    </a:lnTo>
                    <a:lnTo>
                      <a:pt x="1596" y="2242"/>
                    </a:lnTo>
                    <a:lnTo>
                      <a:pt x="1588" y="2244"/>
                    </a:lnTo>
                    <a:lnTo>
                      <a:pt x="1586" y="2247"/>
                    </a:lnTo>
                    <a:lnTo>
                      <a:pt x="1581" y="2244"/>
                    </a:lnTo>
                    <a:lnTo>
                      <a:pt x="1574" y="2247"/>
                    </a:lnTo>
                    <a:lnTo>
                      <a:pt x="1558" y="2258"/>
                    </a:lnTo>
                    <a:lnTo>
                      <a:pt x="1546" y="2258"/>
                    </a:lnTo>
                    <a:lnTo>
                      <a:pt x="1544" y="2261"/>
                    </a:lnTo>
                    <a:lnTo>
                      <a:pt x="1536" y="2268"/>
                    </a:lnTo>
                    <a:lnTo>
                      <a:pt x="1534" y="2270"/>
                    </a:lnTo>
                    <a:lnTo>
                      <a:pt x="1529" y="2268"/>
                    </a:lnTo>
                    <a:lnTo>
                      <a:pt x="1525" y="2266"/>
                    </a:lnTo>
                    <a:lnTo>
                      <a:pt x="1520" y="2266"/>
                    </a:lnTo>
                    <a:lnTo>
                      <a:pt x="1515" y="2270"/>
                    </a:lnTo>
                    <a:lnTo>
                      <a:pt x="1510" y="2273"/>
                    </a:lnTo>
                    <a:lnTo>
                      <a:pt x="1501" y="2266"/>
                    </a:lnTo>
                    <a:lnTo>
                      <a:pt x="1496" y="2268"/>
                    </a:lnTo>
                    <a:lnTo>
                      <a:pt x="1489" y="2273"/>
                    </a:lnTo>
                    <a:lnTo>
                      <a:pt x="1482" y="2277"/>
                    </a:lnTo>
                    <a:lnTo>
                      <a:pt x="1475" y="2277"/>
                    </a:lnTo>
                    <a:lnTo>
                      <a:pt x="1458" y="2275"/>
                    </a:lnTo>
                    <a:lnTo>
                      <a:pt x="1454" y="2273"/>
                    </a:lnTo>
                    <a:lnTo>
                      <a:pt x="1454" y="2270"/>
                    </a:lnTo>
                    <a:lnTo>
                      <a:pt x="1456" y="2261"/>
                    </a:lnTo>
                    <a:lnTo>
                      <a:pt x="1458" y="2256"/>
                    </a:lnTo>
                    <a:lnTo>
                      <a:pt x="1463" y="2254"/>
                    </a:lnTo>
                    <a:lnTo>
                      <a:pt x="1466" y="2251"/>
                    </a:lnTo>
                    <a:lnTo>
                      <a:pt x="1470" y="2251"/>
                    </a:lnTo>
                    <a:lnTo>
                      <a:pt x="1480" y="2256"/>
                    </a:lnTo>
                    <a:lnTo>
                      <a:pt x="1480" y="2254"/>
                    </a:lnTo>
                    <a:lnTo>
                      <a:pt x="1477" y="2249"/>
                    </a:lnTo>
                    <a:lnTo>
                      <a:pt x="1470" y="2244"/>
                    </a:lnTo>
                    <a:lnTo>
                      <a:pt x="1463" y="2240"/>
                    </a:lnTo>
                    <a:lnTo>
                      <a:pt x="1458" y="2240"/>
                    </a:lnTo>
                    <a:lnTo>
                      <a:pt x="1451" y="2242"/>
                    </a:lnTo>
                    <a:lnTo>
                      <a:pt x="1444" y="2244"/>
                    </a:lnTo>
                    <a:lnTo>
                      <a:pt x="1442" y="2249"/>
                    </a:lnTo>
                    <a:lnTo>
                      <a:pt x="1435" y="2263"/>
                    </a:lnTo>
                    <a:lnTo>
                      <a:pt x="1432" y="2266"/>
                    </a:lnTo>
                    <a:lnTo>
                      <a:pt x="1406" y="2287"/>
                    </a:lnTo>
                    <a:lnTo>
                      <a:pt x="1399" y="2294"/>
                    </a:lnTo>
                    <a:lnTo>
                      <a:pt x="1392" y="2292"/>
                    </a:lnTo>
                    <a:lnTo>
                      <a:pt x="1388" y="2294"/>
                    </a:lnTo>
                    <a:lnTo>
                      <a:pt x="1380" y="2299"/>
                    </a:lnTo>
                    <a:lnTo>
                      <a:pt x="1376" y="2301"/>
                    </a:lnTo>
                    <a:lnTo>
                      <a:pt x="1371" y="2299"/>
                    </a:lnTo>
                    <a:lnTo>
                      <a:pt x="1369" y="2299"/>
                    </a:lnTo>
                    <a:lnTo>
                      <a:pt x="1366" y="2294"/>
                    </a:lnTo>
                    <a:lnTo>
                      <a:pt x="1366" y="2294"/>
                    </a:lnTo>
                    <a:lnTo>
                      <a:pt x="1371" y="2292"/>
                    </a:lnTo>
                    <a:lnTo>
                      <a:pt x="1371" y="2287"/>
                    </a:lnTo>
                    <a:lnTo>
                      <a:pt x="1369" y="2277"/>
                    </a:lnTo>
                    <a:lnTo>
                      <a:pt x="1366" y="2270"/>
                    </a:lnTo>
                    <a:lnTo>
                      <a:pt x="1359" y="2268"/>
                    </a:lnTo>
                    <a:lnTo>
                      <a:pt x="1357" y="2273"/>
                    </a:lnTo>
                    <a:lnTo>
                      <a:pt x="1354" y="2292"/>
                    </a:lnTo>
                    <a:lnTo>
                      <a:pt x="1352" y="2296"/>
                    </a:lnTo>
                    <a:lnTo>
                      <a:pt x="1347" y="2301"/>
                    </a:lnTo>
                    <a:lnTo>
                      <a:pt x="1333" y="2306"/>
                    </a:lnTo>
                    <a:lnTo>
                      <a:pt x="1331" y="2303"/>
                    </a:lnTo>
                    <a:lnTo>
                      <a:pt x="1324" y="2289"/>
                    </a:lnTo>
                    <a:lnTo>
                      <a:pt x="1314" y="2282"/>
                    </a:lnTo>
                    <a:lnTo>
                      <a:pt x="1312" y="2287"/>
                    </a:lnTo>
                    <a:lnTo>
                      <a:pt x="1312" y="2296"/>
                    </a:lnTo>
                    <a:lnTo>
                      <a:pt x="1310" y="2303"/>
                    </a:lnTo>
                    <a:lnTo>
                      <a:pt x="1300" y="2308"/>
                    </a:lnTo>
                    <a:lnTo>
                      <a:pt x="1293" y="2310"/>
                    </a:lnTo>
                    <a:lnTo>
                      <a:pt x="1291" y="2308"/>
                    </a:lnTo>
                    <a:lnTo>
                      <a:pt x="1291" y="2303"/>
                    </a:lnTo>
                    <a:lnTo>
                      <a:pt x="1298" y="2294"/>
                    </a:lnTo>
                    <a:lnTo>
                      <a:pt x="1300" y="2287"/>
                    </a:lnTo>
                    <a:lnTo>
                      <a:pt x="1300" y="2280"/>
                    </a:lnTo>
                    <a:lnTo>
                      <a:pt x="1302" y="2275"/>
                    </a:lnTo>
                    <a:lnTo>
                      <a:pt x="1305" y="2273"/>
                    </a:lnTo>
                    <a:lnTo>
                      <a:pt x="1319" y="2266"/>
                    </a:lnTo>
                    <a:lnTo>
                      <a:pt x="1326" y="2266"/>
                    </a:lnTo>
                    <a:lnTo>
                      <a:pt x="1328" y="2268"/>
                    </a:lnTo>
                    <a:lnTo>
                      <a:pt x="1331" y="2270"/>
                    </a:lnTo>
                    <a:lnTo>
                      <a:pt x="1336" y="2270"/>
                    </a:lnTo>
                    <a:lnTo>
                      <a:pt x="1338" y="2268"/>
                    </a:lnTo>
                    <a:lnTo>
                      <a:pt x="1340" y="2263"/>
                    </a:lnTo>
                    <a:lnTo>
                      <a:pt x="1347" y="2258"/>
                    </a:lnTo>
                    <a:lnTo>
                      <a:pt x="1359" y="2254"/>
                    </a:lnTo>
                    <a:lnTo>
                      <a:pt x="1376" y="2244"/>
                    </a:lnTo>
                    <a:lnTo>
                      <a:pt x="1392" y="2228"/>
                    </a:lnTo>
                    <a:lnTo>
                      <a:pt x="1411" y="2213"/>
                    </a:lnTo>
                    <a:lnTo>
                      <a:pt x="1432" y="2204"/>
                    </a:lnTo>
                    <a:lnTo>
                      <a:pt x="1454" y="2197"/>
                    </a:lnTo>
                    <a:lnTo>
                      <a:pt x="1494" y="2192"/>
                    </a:lnTo>
                    <a:lnTo>
                      <a:pt x="1496" y="2192"/>
                    </a:lnTo>
                    <a:lnTo>
                      <a:pt x="1492" y="2197"/>
                    </a:lnTo>
                    <a:lnTo>
                      <a:pt x="1492" y="2202"/>
                    </a:lnTo>
                    <a:lnTo>
                      <a:pt x="1496" y="2202"/>
                    </a:lnTo>
                    <a:lnTo>
                      <a:pt x="1510" y="2204"/>
                    </a:lnTo>
                    <a:lnTo>
                      <a:pt x="1518" y="2202"/>
                    </a:lnTo>
                    <a:lnTo>
                      <a:pt x="1518" y="2204"/>
                    </a:lnTo>
                    <a:lnTo>
                      <a:pt x="1515" y="2209"/>
                    </a:lnTo>
                    <a:lnTo>
                      <a:pt x="1506" y="2211"/>
                    </a:lnTo>
                    <a:lnTo>
                      <a:pt x="1506" y="2213"/>
                    </a:lnTo>
                    <a:lnTo>
                      <a:pt x="1513" y="2232"/>
                    </a:lnTo>
                    <a:lnTo>
                      <a:pt x="1515" y="2235"/>
                    </a:lnTo>
                    <a:lnTo>
                      <a:pt x="1520" y="2237"/>
                    </a:lnTo>
                    <a:lnTo>
                      <a:pt x="1520" y="2235"/>
                    </a:lnTo>
                    <a:lnTo>
                      <a:pt x="1522" y="2223"/>
                    </a:lnTo>
                    <a:lnTo>
                      <a:pt x="1527" y="2221"/>
                    </a:lnTo>
                    <a:lnTo>
                      <a:pt x="1536" y="2223"/>
                    </a:lnTo>
                    <a:lnTo>
                      <a:pt x="1541" y="2225"/>
                    </a:lnTo>
                    <a:lnTo>
                      <a:pt x="1541" y="2230"/>
                    </a:lnTo>
                    <a:lnTo>
                      <a:pt x="1546" y="2235"/>
                    </a:lnTo>
                    <a:lnTo>
                      <a:pt x="1553" y="2237"/>
                    </a:lnTo>
                    <a:lnTo>
                      <a:pt x="1558" y="2237"/>
                    </a:lnTo>
                    <a:lnTo>
                      <a:pt x="1560" y="2235"/>
                    </a:lnTo>
                    <a:lnTo>
                      <a:pt x="1558" y="2230"/>
                    </a:lnTo>
                    <a:lnTo>
                      <a:pt x="1546" y="2216"/>
                    </a:lnTo>
                    <a:lnTo>
                      <a:pt x="1544" y="2211"/>
                    </a:lnTo>
                    <a:lnTo>
                      <a:pt x="1544" y="2206"/>
                    </a:lnTo>
                    <a:lnTo>
                      <a:pt x="1548" y="2199"/>
                    </a:lnTo>
                    <a:lnTo>
                      <a:pt x="1555" y="2190"/>
                    </a:lnTo>
                    <a:lnTo>
                      <a:pt x="1565" y="2178"/>
                    </a:lnTo>
                    <a:lnTo>
                      <a:pt x="1572" y="2169"/>
                    </a:lnTo>
                    <a:lnTo>
                      <a:pt x="1586" y="2159"/>
                    </a:lnTo>
                    <a:lnTo>
                      <a:pt x="1596" y="2157"/>
                    </a:lnTo>
                    <a:lnTo>
                      <a:pt x="1619" y="2143"/>
                    </a:lnTo>
                    <a:lnTo>
                      <a:pt x="1662" y="2135"/>
                    </a:lnTo>
                    <a:lnTo>
                      <a:pt x="1674" y="2126"/>
                    </a:lnTo>
                    <a:lnTo>
                      <a:pt x="1688" y="2117"/>
                    </a:lnTo>
                    <a:lnTo>
                      <a:pt x="1695" y="2114"/>
                    </a:lnTo>
                    <a:lnTo>
                      <a:pt x="1692" y="2119"/>
                    </a:lnTo>
                    <a:lnTo>
                      <a:pt x="1695" y="2124"/>
                    </a:lnTo>
                    <a:lnTo>
                      <a:pt x="1702" y="2128"/>
                    </a:lnTo>
                    <a:lnTo>
                      <a:pt x="1707" y="2131"/>
                    </a:lnTo>
                    <a:lnTo>
                      <a:pt x="1709" y="2131"/>
                    </a:lnTo>
                    <a:lnTo>
                      <a:pt x="1711" y="2126"/>
                    </a:lnTo>
                    <a:lnTo>
                      <a:pt x="1711" y="2117"/>
                    </a:lnTo>
                    <a:lnTo>
                      <a:pt x="1714" y="2109"/>
                    </a:lnTo>
                    <a:lnTo>
                      <a:pt x="1716" y="2102"/>
                    </a:lnTo>
                    <a:lnTo>
                      <a:pt x="1718" y="2098"/>
                    </a:lnTo>
                    <a:lnTo>
                      <a:pt x="1726" y="2088"/>
                    </a:lnTo>
                    <a:lnTo>
                      <a:pt x="1737" y="2079"/>
                    </a:lnTo>
                    <a:lnTo>
                      <a:pt x="1752" y="2067"/>
                    </a:lnTo>
                    <a:lnTo>
                      <a:pt x="1761" y="2062"/>
                    </a:lnTo>
                    <a:lnTo>
                      <a:pt x="1768" y="2060"/>
                    </a:lnTo>
                    <a:lnTo>
                      <a:pt x="1775" y="2055"/>
                    </a:lnTo>
                    <a:lnTo>
                      <a:pt x="1789" y="2043"/>
                    </a:lnTo>
                    <a:lnTo>
                      <a:pt x="1794" y="2043"/>
                    </a:lnTo>
                    <a:lnTo>
                      <a:pt x="1804" y="2041"/>
                    </a:lnTo>
                    <a:lnTo>
                      <a:pt x="1806" y="2043"/>
                    </a:lnTo>
                    <a:lnTo>
                      <a:pt x="1806" y="2048"/>
                    </a:lnTo>
                    <a:lnTo>
                      <a:pt x="1808" y="2050"/>
                    </a:lnTo>
                    <a:lnTo>
                      <a:pt x="1815" y="2053"/>
                    </a:lnTo>
                    <a:lnTo>
                      <a:pt x="1822" y="2050"/>
                    </a:lnTo>
                    <a:lnTo>
                      <a:pt x="1822" y="2050"/>
                    </a:lnTo>
                    <a:lnTo>
                      <a:pt x="1818" y="2048"/>
                    </a:lnTo>
                    <a:lnTo>
                      <a:pt x="1815" y="2046"/>
                    </a:lnTo>
                    <a:lnTo>
                      <a:pt x="1813" y="2036"/>
                    </a:lnTo>
                    <a:lnTo>
                      <a:pt x="1808" y="2029"/>
                    </a:lnTo>
                    <a:lnTo>
                      <a:pt x="1808" y="2024"/>
                    </a:lnTo>
                    <a:lnTo>
                      <a:pt x="1813" y="2015"/>
                    </a:lnTo>
                    <a:lnTo>
                      <a:pt x="1820" y="1996"/>
                    </a:lnTo>
                    <a:lnTo>
                      <a:pt x="1827" y="1975"/>
                    </a:lnTo>
                    <a:lnTo>
                      <a:pt x="1832" y="1963"/>
                    </a:lnTo>
                    <a:lnTo>
                      <a:pt x="1841" y="1960"/>
                    </a:lnTo>
                    <a:lnTo>
                      <a:pt x="1860" y="1960"/>
                    </a:lnTo>
                    <a:lnTo>
                      <a:pt x="1851" y="1953"/>
                    </a:lnTo>
                    <a:lnTo>
                      <a:pt x="1848" y="1951"/>
                    </a:lnTo>
                    <a:lnTo>
                      <a:pt x="1841" y="1946"/>
                    </a:lnTo>
                    <a:lnTo>
                      <a:pt x="1841" y="1932"/>
                    </a:lnTo>
                    <a:lnTo>
                      <a:pt x="1844" y="1923"/>
                    </a:lnTo>
                    <a:lnTo>
                      <a:pt x="1851" y="1913"/>
                    </a:lnTo>
                    <a:lnTo>
                      <a:pt x="1872" y="1897"/>
                    </a:lnTo>
                    <a:lnTo>
                      <a:pt x="1891" y="1887"/>
                    </a:lnTo>
                    <a:lnTo>
                      <a:pt x="1891" y="1885"/>
                    </a:lnTo>
                    <a:lnTo>
                      <a:pt x="1889" y="1882"/>
                    </a:lnTo>
                    <a:lnTo>
                      <a:pt x="1903" y="1856"/>
                    </a:lnTo>
                    <a:lnTo>
                      <a:pt x="1915" y="1835"/>
                    </a:lnTo>
                    <a:lnTo>
                      <a:pt x="1900" y="1852"/>
                    </a:lnTo>
                    <a:lnTo>
                      <a:pt x="1884" y="1866"/>
                    </a:lnTo>
                    <a:lnTo>
                      <a:pt x="1841" y="1875"/>
                    </a:lnTo>
                    <a:lnTo>
                      <a:pt x="1813" y="1885"/>
                    </a:lnTo>
                    <a:lnTo>
                      <a:pt x="1801" y="1887"/>
                    </a:lnTo>
                    <a:lnTo>
                      <a:pt x="1794" y="1880"/>
                    </a:lnTo>
                    <a:lnTo>
                      <a:pt x="1789" y="1866"/>
                    </a:lnTo>
                    <a:lnTo>
                      <a:pt x="1787" y="1859"/>
                    </a:lnTo>
                    <a:lnTo>
                      <a:pt x="1785" y="1849"/>
                    </a:lnTo>
                    <a:lnTo>
                      <a:pt x="1789" y="1838"/>
                    </a:lnTo>
                    <a:lnTo>
                      <a:pt x="1794" y="1828"/>
                    </a:lnTo>
                    <a:lnTo>
                      <a:pt x="1804" y="1830"/>
                    </a:lnTo>
                    <a:lnTo>
                      <a:pt x="1811" y="1835"/>
                    </a:lnTo>
                    <a:lnTo>
                      <a:pt x="1820" y="1838"/>
                    </a:lnTo>
                    <a:lnTo>
                      <a:pt x="1811" y="1828"/>
                    </a:lnTo>
                    <a:lnTo>
                      <a:pt x="1799" y="1816"/>
                    </a:lnTo>
                    <a:lnTo>
                      <a:pt x="1792" y="1819"/>
                    </a:lnTo>
                    <a:lnTo>
                      <a:pt x="1782" y="1828"/>
                    </a:lnTo>
                    <a:lnTo>
                      <a:pt x="1775" y="1835"/>
                    </a:lnTo>
                    <a:lnTo>
                      <a:pt x="1768" y="1830"/>
                    </a:lnTo>
                    <a:lnTo>
                      <a:pt x="1766" y="1826"/>
                    </a:lnTo>
                    <a:lnTo>
                      <a:pt x="1766" y="1838"/>
                    </a:lnTo>
                    <a:lnTo>
                      <a:pt x="1759" y="1852"/>
                    </a:lnTo>
                    <a:lnTo>
                      <a:pt x="1754" y="1861"/>
                    </a:lnTo>
                    <a:lnTo>
                      <a:pt x="1756" y="1890"/>
                    </a:lnTo>
                    <a:lnTo>
                      <a:pt x="1752" y="1901"/>
                    </a:lnTo>
                    <a:lnTo>
                      <a:pt x="1740" y="1904"/>
                    </a:lnTo>
                    <a:lnTo>
                      <a:pt x="1730" y="1892"/>
                    </a:lnTo>
                    <a:lnTo>
                      <a:pt x="1718" y="1854"/>
                    </a:lnTo>
                    <a:lnTo>
                      <a:pt x="1714" y="1842"/>
                    </a:lnTo>
                    <a:lnTo>
                      <a:pt x="1702" y="1821"/>
                    </a:lnTo>
                    <a:lnTo>
                      <a:pt x="1697" y="1823"/>
                    </a:lnTo>
                    <a:lnTo>
                      <a:pt x="1688" y="1830"/>
                    </a:lnTo>
                    <a:lnTo>
                      <a:pt x="1681" y="1830"/>
                    </a:lnTo>
                    <a:lnTo>
                      <a:pt x="1666" y="1814"/>
                    </a:lnTo>
                    <a:lnTo>
                      <a:pt x="1662" y="1804"/>
                    </a:lnTo>
                    <a:lnTo>
                      <a:pt x="1657" y="1790"/>
                    </a:lnTo>
                    <a:lnTo>
                      <a:pt x="1645" y="1795"/>
                    </a:lnTo>
                    <a:lnTo>
                      <a:pt x="1633" y="1800"/>
                    </a:lnTo>
                    <a:lnTo>
                      <a:pt x="1619" y="1807"/>
                    </a:lnTo>
                    <a:lnTo>
                      <a:pt x="1612" y="1807"/>
                    </a:lnTo>
                    <a:lnTo>
                      <a:pt x="1588" y="1812"/>
                    </a:lnTo>
                    <a:lnTo>
                      <a:pt x="1586" y="1809"/>
                    </a:lnTo>
                    <a:lnTo>
                      <a:pt x="1581" y="1814"/>
                    </a:lnTo>
                    <a:lnTo>
                      <a:pt x="1577" y="1816"/>
                    </a:lnTo>
                    <a:lnTo>
                      <a:pt x="1572" y="1826"/>
                    </a:lnTo>
                    <a:lnTo>
                      <a:pt x="1544" y="1826"/>
                    </a:lnTo>
                    <a:lnTo>
                      <a:pt x="1515" y="1816"/>
                    </a:lnTo>
                    <a:lnTo>
                      <a:pt x="1527" y="1812"/>
                    </a:lnTo>
                    <a:lnTo>
                      <a:pt x="1539" y="1812"/>
                    </a:lnTo>
                    <a:lnTo>
                      <a:pt x="1551" y="1802"/>
                    </a:lnTo>
                    <a:lnTo>
                      <a:pt x="1551" y="1788"/>
                    </a:lnTo>
                    <a:lnTo>
                      <a:pt x="1553" y="1778"/>
                    </a:lnTo>
                    <a:lnTo>
                      <a:pt x="1555" y="1771"/>
                    </a:lnTo>
                    <a:lnTo>
                      <a:pt x="1567" y="1760"/>
                    </a:lnTo>
                    <a:lnTo>
                      <a:pt x="1558" y="1757"/>
                    </a:lnTo>
                    <a:lnTo>
                      <a:pt x="1548" y="1760"/>
                    </a:lnTo>
                    <a:lnTo>
                      <a:pt x="1546" y="1748"/>
                    </a:lnTo>
                    <a:lnTo>
                      <a:pt x="1548" y="1729"/>
                    </a:lnTo>
                    <a:lnTo>
                      <a:pt x="1558" y="1719"/>
                    </a:lnTo>
                    <a:lnTo>
                      <a:pt x="1562" y="1712"/>
                    </a:lnTo>
                    <a:lnTo>
                      <a:pt x="1570" y="1700"/>
                    </a:lnTo>
                    <a:lnTo>
                      <a:pt x="1572" y="1691"/>
                    </a:lnTo>
                    <a:lnTo>
                      <a:pt x="1570" y="1672"/>
                    </a:lnTo>
                    <a:lnTo>
                      <a:pt x="1565" y="1629"/>
                    </a:lnTo>
                    <a:lnTo>
                      <a:pt x="1565" y="1601"/>
                    </a:lnTo>
                    <a:lnTo>
                      <a:pt x="1555" y="1582"/>
                    </a:lnTo>
                    <a:lnTo>
                      <a:pt x="1572" y="1561"/>
                    </a:lnTo>
                    <a:lnTo>
                      <a:pt x="1586" y="1542"/>
                    </a:lnTo>
                    <a:lnTo>
                      <a:pt x="1603" y="1535"/>
                    </a:lnTo>
                    <a:lnTo>
                      <a:pt x="1603" y="1533"/>
                    </a:lnTo>
                    <a:lnTo>
                      <a:pt x="1596" y="1533"/>
                    </a:lnTo>
                    <a:lnTo>
                      <a:pt x="1588" y="1533"/>
                    </a:lnTo>
                    <a:lnTo>
                      <a:pt x="1584" y="1537"/>
                    </a:lnTo>
                    <a:lnTo>
                      <a:pt x="1577" y="1542"/>
                    </a:lnTo>
                    <a:lnTo>
                      <a:pt x="1555" y="1566"/>
                    </a:lnTo>
                    <a:lnTo>
                      <a:pt x="1544" y="1577"/>
                    </a:lnTo>
                    <a:lnTo>
                      <a:pt x="1536" y="1580"/>
                    </a:lnTo>
                    <a:lnTo>
                      <a:pt x="1544" y="1587"/>
                    </a:lnTo>
                    <a:lnTo>
                      <a:pt x="1546" y="1592"/>
                    </a:lnTo>
                    <a:lnTo>
                      <a:pt x="1544" y="1603"/>
                    </a:lnTo>
                    <a:lnTo>
                      <a:pt x="1539" y="1615"/>
                    </a:lnTo>
                    <a:lnTo>
                      <a:pt x="1534" y="1620"/>
                    </a:lnTo>
                    <a:lnTo>
                      <a:pt x="1522" y="1618"/>
                    </a:lnTo>
                    <a:lnTo>
                      <a:pt x="1510" y="1625"/>
                    </a:lnTo>
                    <a:lnTo>
                      <a:pt x="1484" y="1629"/>
                    </a:lnTo>
                    <a:lnTo>
                      <a:pt x="1449" y="1627"/>
                    </a:lnTo>
                    <a:lnTo>
                      <a:pt x="1435" y="1620"/>
                    </a:lnTo>
                    <a:lnTo>
                      <a:pt x="1421" y="1603"/>
                    </a:lnTo>
                    <a:lnTo>
                      <a:pt x="1423" y="1596"/>
                    </a:lnTo>
                    <a:lnTo>
                      <a:pt x="1425" y="1592"/>
                    </a:lnTo>
                    <a:lnTo>
                      <a:pt x="1409" y="1563"/>
                    </a:lnTo>
                    <a:lnTo>
                      <a:pt x="1402" y="1537"/>
                    </a:lnTo>
                    <a:lnTo>
                      <a:pt x="1392" y="1535"/>
                    </a:lnTo>
                    <a:lnTo>
                      <a:pt x="1385" y="1525"/>
                    </a:lnTo>
                    <a:lnTo>
                      <a:pt x="1378" y="1514"/>
                    </a:lnTo>
                    <a:lnTo>
                      <a:pt x="1380" y="1507"/>
                    </a:lnTo>
                    <a:lnTo>
                      <a:pt x="1385" y="1502"/>
                    </a:lnTo>
                    <a:lnTo>
                      <a:pt x="1378" y="1497"/>
                    </a:lnTo>
                    <a:lnTo>
                      <a:pt x="1371" y="1495"/>
                    </a:lnTo>
                    <a:lnTo>
                      <a:pt x="1364" y="1490"/>
                    </a:lnTo>
                    <a:lnTo>
                      <a:pt x="1395" y="1469"/>
                    </a:lnTo>
                    <a:lnTo>
                      <a:pt x="1409" y="1452"/>
                    </a:lnTo>
                    <a:lnTo>
                      <a:pt x="1416" y="1452"/>
                    </a:lnTo>
                    <a:lnTo>
                      <a:pt x="1423" y="1457"/>
                    </a:lnTo>
                    <a:lnTo>
                      <a:pt x="1432" y="1469"/>
                    </a:lnTo>
                    <a:lnTo>
                      <a:pt x="1442" y="1473"/>
                    </a:lnTo>
                    <a:lnTo>
                      <a:pt x="1444" y="1478"/>
                    </a:lnTo>
                    <a:lnTo>
                      <a:pt x="1444" y="1488"/>
                    </a:lnTo>
                    <a:lnTo>
                      <a:pt x="1437" y="1497"/>
                    </a:lnTo>
                    <a:lnTo>
                      <a:pt x="1432" y="1502"/>
                    </a:lnTo>
                    <a:lnTo>
                      <a:pt x="1437" y="1502"/>
                    </a:lnTo>
                    <a:lnTo>
                      <a:pt x="1454" y="1495"/>
                    </a:lnTo>
                    <a:lnTo>
                      <a:pt x="1466" y="1485"/>
                    </a:lnTo>
                    <a:lnTo>
                      <a:pt x="1468" y="1488"/>
                    </a:lnTo>
                    <a:lnTo>
                      <a:pt x="1470" y="1490"/>
                    </a:lnTo>
                    <a:lnTo>
                      <a:pt x="1473" y="1502"/>
                    </a:lnTo>
                    <a:lnTo>
                      <a:pt x="1477" y="1516"/>
                    </a:lnTo>
                    <a:lnTo>
                      <a:pt x="1494" y="1509"/>
                    </a:lnTo>
                    <a:lnTo>
                      <a:pt x="1503" y="1497"/>
                    </a:lnTo>
                    <a:lnTo>
                      <a:pt x="1499" y="1490"/>
                    </a:lnTo>
                    <a:lnTo>
                      <a:pt x="1494" y="1485"/>
                    </a:lnTo>
                    <a:lnTo>
                      <a:pt x="1475" y="1476"/>
                    </a:lnTo>
                    <a:lnTo>
                      <a:pt x="1480" y="1473"/>
                    </a:lnTo>
                    <a:lnTo>
                      <a:pt x="1494" y="1476"/>
                    </a:lnTo>
                    <a:lnTo>
                      <a:pt x="1499" y="1473"/>
                    </a:lnTo>
                    <a:lnTo>
                      <a:pt x="1494" y="1469"/>
                    </a:lnTo>
                    <a:lnTo>
                      <a:pt x="1489" y="1462"/>
                    </a:lnTo>
                    <a:lnTo>
                      <a:pt x="1470" y="1471"/>
                    </a:lnTo>
                    <a:lnTo>
                      <a:pt x="1440" y="1462"/>
                    </a:lnTo>
                    <a:lnTo>
                      <a:pt x="1421" y="1447"/>
                    </a:lnTo>
                    <a:lnTo>
                      <a:pt x="1399" y="1443"/>
                    </a:lnTo>
                    <a:lnTo>
                      <a:pt x="1395" y="1440"/>
                    </a:lnTo>
                    <a:lnTo>
                      <a:pt x="1392" y="1436"/>
                    </a:lnTo>
                    <a:lnTo>
                      <a:pt x="1409" y="1428"/>
                    </a:lnTo>
                    <a:lnTo>
                      <a:pt x="1418" y="1424"/>
                    </a:lnTo>
                    <a:lnTo>
                      <a:pt x="1421" y="1421"/>
                    </a:lnTo>
                    <a:lnTo>
                      <a:pt x="1416" y="1419"/>
                    </a:lnTo>
                    <a:lnTo>
                      <a:pt x="1404" y="1419"/>
                    </a:lnTo>
                    <a:lnTo>
                      <a:pt x="1402" y="1412"/>
                    </a:lnTo>
                    <a:lnTo>
                      <a:pt x="1406" y="1405"/>
                    </a:lnTo>
                    <a:lnTo>
                      <a:pt x="1404" y="1405"/>
                    </a:lnTo>
                    <a:lnTo>
                      <a:pt x="1399" y="1407"/>
                    </a:lnTo>
                    <a:lnTo>
                      <a:pt x="1395" y="1405"/>
                    </a:lnTo>
                    <a:lnTo>
                      <a:pt x="1390" y="1400"/>
                    </a:lnTo>
                    <a:lnTo>
                      <a:pt x="1395" y="1395"/>
                    </a:lnTo>
                    <a:lnTo>
                      <a:pt x="1402" y="1391"/>
                    </a:lnTo>
                    <a:lnTo>
                      <a:pt x="1399" y="1391"/>
                    </a:lnTo>
                    <a:lnTo>
                      <a:pt x="1395" y="1391"/>
                    </a:lnTo>
                    <a:lnTo>
                      <a:pt x="1388" y="1395"/>
                    </a:lnTo>
                    <a:lnTo>
                      <a:pt x="1388" y="1402"/>
                    </a:lnTo>
                    <a:lnTo>
                      <a:pt x="1385" y="1412"/>
                    </a:lnTo>
                    <a:lnTo>
                      <a:pt x="1378" y="1410"/>
                    </a:lnTo>
                    <a:lnTo>
                      <a:pt x="1373" y="1407"/>
                    </a:lnTo>
                    <a:lnTo>
                      <a:pt x="1371" y="1398"/>
                    </a:lnTo>
                    <a:lnTo>
                      <a:pt x="1371" y="1379"/>
                    </a:lnTo>
                    <a:lnTo>
                      <a:pt x="1362" y="1369"/>
                    </a:lnTo>
                    <a:lnTo>
                      <a:pt x="1362" y="1360"/>
                    </a:lnTo>
                    <a:lnTo>
                      <a:pt x="1373" y="1348"/>
                    </a:lnTo>
                    <a:lnTo>
                      <a:pt x="1371" y="1341"/>
                    </a:lnTo>
                    <a:lnTo>
                      <a:pt x="1364" y="1336"/>
                    </a:lnTo>
                    <a:lnTo>
                      <a:pt x="1354" y="1341"/>
                    </a:lnTo>
                    <a:lnTo>
                      <a:pt x="1352" y="1334"/>
                    </a:lnTo>
                    <a:lnTo>
                      <a:pt x="1352" y="1327"/>
                    </a:lnTo>
                    <a:lnTo>
                      <a:pt x="1354" y="1320"/>
                    </a:lnTo>
                    <a:lnTo>
                      <a:pt x="1357" y="1320"/>
                    </a:lnTo>
                    <a:lnTo>
                      <a:pt x="1359" y="1322"/>
                    </a:lnTo>
                    <a:lnTo>
                      <a:pt x="1378" y="1322"/>
                    </a:lnTo>
                    <a:lnTo>
                      <a:pt x="1380" y="1320"/>
                    </a:lnTo>
                    <a:lnTo>
                      <a:pt x="1369" y="1308"/>
                    </a:lnTo>
                    <a:lnTo>
                      <a:pt x="1366" y="1301"/>
                    </a:lnTo>
                    <a:lnTo>
                      <a:pt x="1373" y="1296"/>
                    </a:lnTo>
                    <a:lnTo>
                      <a:pt x="1385" y="1301"/>
                    </a:lnTo>
                    <a:lnTo>
                      <a:pt x="1402" y="1301"/>
                    </a:lnTo>
                    <a:lnTo>
                      <a:pt x="1397" y="1289"/>
                    </a:lnTo>
                    <a:lnTo>
                      <a:pt x="1397" y="1284"/>
                    </a:lnTo>
                    <a:lnTo>
                      <a:pt x="1399" y="1277"/>
                    </a:lnTo>
                    <a:lnTo>
                      <a:pt x="1404" y="1265"/>
                    </a:lnTo>
                    <a:lnTo>
                      <a:pt x="1430" y="1242"/>
                    </a:lnTo>
                    <a:lnTo>
                      <a:pt x="1454" y="1223"/>
                    </a:lnTo>
                    <a:lnTo>
                      <a:pt x="1461" y="1218"/>
                    </a:lnTo>
                    <a:lnTo>
                      <a:pt x="1468" y="1218"/>
                    </a:lnTo>
                    <a:lnTo>
                      <a:pt x="1475" y="1223"/>
                    </a:lnTo>
                    <a:lnTo>
                      <a:pt x="1482" y="1230"/>
                    </a:lnTo>
                    <a:lnTo>
                      <a:pt x="1482" y="1227"/>
                    </a:lnTo>
                    <a:lnTo>
                      <a:pt x="1482" y="1225"/>
                    </a:lnTo>
                    <a:lnTo>
                      <a:pt x="1482" y="1213"/>
                    </a:lnTo>
                    <a:lnTo>
                      <a:pt x="1492" y="1213"/>
                    </a:lnTo>
                    <a:lnTo>
                      <a:pt x="1501" y="1204"/>
                    </a:lnTo>
                    <a:lnTo>
                      <a:pt x="1503" y="1201"/>
                    </a:lnTo>
                    <a:lnTo>
                      <a:pt x="1494" y="1204"/>
                    </a:lnTo>
                    <a:lnTo>
                      <a:pt x="1487" y="1209"/>
                    </a:lnTo>
                    <a:lnTo>
                      <a:pt x="1487" y="1201"/>
                    </a:lnTo>
                    <a:lnTo>
                      <a:pt x="1489" y="1183"/>
                    </a:lnTo>
                    <a:lnTo>
                      <a:pt x="1499" y="1168"/>
                    </a:lnTo>
                    <a:lnTo>
                      <a:pt x="1501" y="1161"/>
                    </a:lnTo>
                    <a:lnTo>
                      <a:pt x="1510" y="1154"/>
                    </a:lnTo>
                    <a:lnTo>
                      <a:pt x="1527" y="1157"/>
                    </a:lnTo>
                    <a:lnTo>
                      <a:pt x="1529" y="1159"/>
                    </a:lnTo>
                    <a:lnTo>
                      <a:pt x="1532" y="1157"/>
                    </a:lnTo>
                    <a:lnTo>
                      <a:pt x="1525" y="1142"/>
                    </a:lnTo>
                    <a:lnTo>
                      <a:pt x="1529" y="1135"/>
                    </a:lnTo>
                    <a:lnTo>
                      <a:pt x="1534" y="1133"/>
                    </a:lnTo>
                    <a:lnTo>
                      <a:pt x="1555" y="1131"/>
                    </a:lnTo>
                    <a:lnTo>
                      <a:pt x="1567" y="1135"/>
                    </a:lnTo>
                    <a:lnTo>
                      <a:pt x="1577" y="1147"/>
                    </a:lnTo>
                    <a:lnTo>
                      <a:pt x="1581" y="1159"/>
                    </a:lnTo>
                    <a:lnTo>
                      <a:pt x="1579" y="1164"/>
                    </a:lnTo>
                    <a:lnTo>
                      <a:pt x="1577" y="1166"/>
                    </a:lnTo>
                    <a:lnTo>
                      <a:pt x="1572" y="1168"/>
                    </a:lnTo>
                    <a:lnTo>
                      <a:pt x="1570" y="1171"/>
                    </a:lnTo>
                    <a:lnTo>
                      <a:pt x="1570" y="1173"/>
                    </a:lnTo>
                    <a:lnTo>
                      <a:pt x="1577" y="1168"/>
                    </a:lnTo>
                    <a:lnTo>
                      <a:pt x="1588" y="1164"/>
                    </a:lnTo>
                    <a:lnTo>
                      <a:pt x="1593" y="1168"/>
                    </a:lnTo>
                    <a:lnTo>
                      <a:pt x="1596" y="1175"/>
                    </a:lnTo>
                    <a:lnTo>
                      <a:pt x="1600" y="1175"/>
                    </a:lnTo>
                    <a:lnTo>
                      <a:pt x="1617" y="1175"/>
                    </a:lnTo>
                    <a:lnTo>
                      <a:pt x="1626" y="1173"/>
                    </a:lnTo>
                    <a:lnTo>
                      <a:pt x="1638" y="1161"/>
                    </a:lnTo>
                    <a:lnTo>
                      <a:pt x="1652" y="1157"/>
                    </a:lnTo>
                    <a:lnTo>
                      <a:pt x="1676" y="1135"/>
                    </a:lnTo>
                    <a:lnTo>
                      <a:pt x="1683" y="1123"/>
                    </a:lnTo>
                    <a:lnTo>
                      <a:pt x="1690" y="1123"/>
                    </a:lnTo>
                    <a:lnTo>
                      <a:pt x="1695" y="1126"/>
                    </a:lnTo>
                    <a:lnTo>
                      <a:pt x="1697" y="1138"/>
                    </a:lnTo>
                    <a:lnTo>
                      <a:pt x="1702" y="1140"/>
                    </a:lnTo>
                    <a:lnTo>
                      <a:pt x="1733" y="1147"/>
                    </a:lnTo>
                    <a:lnTo>
                      <a:pt x="1749" y="1145"/>
                    </a:lnTo>
                    <a:lnTo>
                      <a:pt x="1761" y="1140"/>
                    </a:lnTo>
                    <a:lnTo>
                      <a:pt x="1775" y="1128"/>
                    </a:lnTo>
                    <a:lnTo>
                      <a:pt x="1785" y="1119"/>
                    </a:lnTo>
                    <a:lnTo>
                      <a:pt x="1792" y="1107"/>
                    </a:lnTo>
                    <a:lnTo>
                      <a:pt x="1792" y="1088"/>
                    </a:lnTo>
                    <a:lnTo>
                      <a:pt x="1792" y="1074"/>
                    </a:lnTo>
                    <a:lnTo>
                      <a:pt x="1794" y="1041"/>
                    </a:lnTo>
                    <a:lnTo>
                      <a:pt x="1785" y="1017"/>
                    </a:lnTo>
                    <a:lnTo>
                      <a:pt x="1775" y="1008"/>
                    </a:lnTo>
                    <a:lnTo>
                      <a:pt x="1768" y="1005"/>
                    </a:lnTo>
                    <a:lnTo>
                      <a:pt x="1775" y="993"/>
                    </a:lnTo>
                    <a:lnTo>
                      <a:pt x="1789" y="998"/>
                    </a:lnTo>
                    <a:lnTo>
                      <a:pt x="1799" y="998"/>
                    </a:lnTo>
                    <a:lnTo>
                      <a:pt x="1808" y="993"/>
                    </a:lnTo>
                    <a:lnTo>
                      <a:pt x="1813" y="989"/>
                    </a:lnTo>
                    <a:lnTo>
                      <a:pt x="1818" y="979"/>
                    </a:lnTo>
                    <a:lnTo>
                      <a:pt x="1820" y="970"/>
                    </a:lnTo>
                    <a:lnTo>
                      <a:pt x="1820" y="963"/>
                    </a:lnTo>
                    <a:lnTo>
                      <a:pt x="1815" y="956"/>
                    </a:lnTo>
                    <a:lnTo>
                      <a:pt x="1811" y="944"/>
                    </a:lnTo>
                    <a:lnTo>
                      <a:pt x="1808" y="939"/>
                    </a:lnTo>
                    <a:lnTo>
                      <a:pt x="1806" y="939"/>
                    </a:lnTo>
                    <a:lnTo>
                      <a:pt x="1782" y="953"/>
                    </a:lnTo>
                    <a:lnTo>
                      <a:pt x="1773" y="951"/>
                    </a:lnTo>
                    <a:lnTo>
                      <a:pt x="1766" y="946"/>
                    </a:lnTo>
                    <a:lnTo>
                      <a:pt x="1756" y="956"/>
                    </a:lnTo>
                    <a:lnTo>
                      <a:pt x="1735" y="960"/>
                    </a:lnTo>
                    <a:lnTo>
                      <a:pt x="1721" y="967"/>
                    </a:lnTo>
                    <a:lnTo>
                      <a:pt x="1697" y="986"/>
                    </a:lnTo>
                    <a:lnTo>
                      <a:pt x="1690" y="996"/>
                    </a:lnTo>
                    <a:lnTo>
                      <a:pt x="1683" y="993"/>
                    </a:lnTo>
                    <a:lnTo>
                      <a:pt x="1683" y="972"/>
                    </a:lnTo>
                    <a:lnTo>
                      <a:pt x="1669" y="946"/>
                    </a:lnTo>
                    <a:lnTo>
                      <a:pt x="1662" y="951"/>
                    </a:lnTo>
                    <a:lnTo>
                      <a:pt x="1662" y="958"/>
                    </a:lnTo>
                    <a:lnTo>
                      <a:pt x="1666" y="965"/>
                    </a:lnTo>
                    <a:lnTo>
                      <a:pt x="1674" y="967"/>
                    </a:lnTo>
                    <a:lnTo>
                      <a:pt x="1669" y="972"/>
                    </a:lnTo>
                    <a:lnTo>
                      <a:pt x="1664" y="982"/>
                    </a:lnTo>
                    <a:lnTo>
                      <a:pt x="1657" y="972"/>
                    </a:lnTo>
                    <a:lnTo>
                      <a:pt x="1648" y="956"/>
                    </a:lnTo>
                    <a:lnTo>
                      <a:pt x="1633" y="946"/>
                    </a:lnTo>
                    <a:lnTo>
                      <a:pt x="1598" y="937"/>
                    </a:lnTo>
                    <a:lnTo>
                      <a:pt x="1570" y="941"/>
                    </a:lnTo>
                    <a:lnTo>
                      <a:pt x="1570" y="939"/>
                    </a:lnTo>
                    <a:lnTo>
                      <a:pt x="1567" y="937"/>
                    </a:lnTo>
                    <a:lnTo>
                      <a:pt x="1562" y="939"/>
                    </a:lnTo>
                    <a:lnTo>
                      <a:pt x="1558" y="941"/>
                    </a:lnTo>
                    <a:lnTo>
                      <a:pt x="1555" y="944"/>
                    </a:lnTo>
                    <a:lnTo>
                      <a:pt x="1551" y="944"/>
                    </a:lnTo>
                    <a:lnTo>
                      <a:pt x="1541" y="939"/>
                    </a:lnTo>
                    <a:lnTo>
                      <a:pt x="1525" y="927"/>
                    </a:lnTo>
                    <a:lnTo>
                      <a:pt x="1484" y="904"/>
                    </a:lnTo>
                    <a:lnTo>
                      <a:pt x="1475" y="894"/>
                    </a:lnTo>
                    <a:lnTo>
                      <a:pt x="1468" y="878"/>
                    </a:lnTo>
                    <a:lnTo>
                      <a:pt x="1473" y="866"/>
                    </a:lnTo>
                    <a:lnTo>
                      <a:pt x="1477" y="863"/>
                    </a:lnTo>
                    <a:lnTo>
                      <a:pt x="1482" y="849"/>
                    </a:lnTo>
                    <a:lnTo>
                      <a:pt x="1475" y="842"/>
                    </a:lnTo>
                    <a:lnTo>
                      <a:pt x="1463" y="816"/>
                    </a:lnTo>
                    <a:lnTo>
                      <a:pt x="1461" y="807"/>
                    </a:lnTo>
                    <a:lnTo>
                      <a:pt x="1463" y="807"/>
                    </a:lnTo>
                    <a:lnTo>
                      <a:pt x="1466" y="809"/>
                    </a:lnTo>
                    <a:lnTo>
                      <a:pt x="1470" y="811"/>
                    </a:lnTo>
                    <a:lnTo>
                      <a:pt x="1484" y="814"/>
                    </a:lnTo>
                    <a:lnTo>
                      <a:pt x="1494" y="802"/>
                    </a:lnTo>
                    <a:lnTo>
                      <a:pt x="1506" y="802"/>
                    </a:lnTo>
                    <a:lnTo>
                      <a:pt x="1515" y="807"/>
                    </a:lnTo>
                    <a:lnTo>
                      <a:pt x="1513" y="802"/>
                    </a:lnTo>
                    <a:lnTo>
                      <a:pt x="1513" y="797"/>
                    </a:lnTo>
                    <a:lnTo>
                      <a:pt x="1489" y="783"/>
                    </a:lnTo>
                    <a:lnTo>
                      <a:pt x="1484" y="785"/>
                    </a:lnTo>
                    <a:lnTo>
                      <a:pt x="1444" y="759"/>
                    </a:lnTo>
                    <a:lnTo>
                      <a:pt x="1416" y="726"/>
                    </a:lnTo>
                    <a:lnTo>
                      <a:pt x="1414" y="721"/>
                    </a:lnTo>
                    <a:lnTo>
                      <a:pt x="1414" y="712"/>
                    </a:lnTo>
                    <a:lnTo>
                      <a:pt x="1423" y="703"/>
                    </a:lnTo>
                    <a:lnTo>
                      <a:pt x="1428" y="700"/>
                    </a:lnTo>
                    <a:lnTo>
                      <a:pt x="1428" y="705"/>
                    </a:lnTo>
                    <a:lnTo>
                      <a:pt x="1425" y="712"/>
                    </a:lnTo>
                    <a:lnTo>
                      <a:pt x="1449" y="707"/>
                    </a:lnTo>
                    <a:lnTo>
                      <a:pt x="1466" y="695"/>
                    </a:lnTo>
                    <a:lnTo>
                      <a:pt x="1484" y="698"/>
                    </a:lnTo>
                    <a:lnTo>
                      <a:pt x="1492" y="695"/>
                    </a:lnTo>
                    <a:lnTo>
                      <a:pt x="1499" y="691"/>
                    </a:lnTo>
                    <a:lnTo>
                      <a:pt x="1513" y="679"/>
                    </a:lnTo>
                    <a:lnTo>
                      <a:pt x="1527" y="677"/>
                    </a:lnTo>
                    <a:lnTo>
                      <a:pt x="1536" y="672"/>
                    </a:lnTo>
                    <a:lnTo>
                      <a:pt x="1551" y="672"/>
                    </a:lnTo>
                    <a:lnTo>
                      <a:pt x="1558" y="681"/>
                    </a:lnTo>
                    <a:lnTo>
                      <a:pt x="1560" y="684"/>
                    </a:lnTo>
                    <a:lnTo>
                      <a:pt x="1577" y="688"/>
                    </a:lnTo>
                    <a:lnTo>
                      <a:pt x="1584" y="688"/>
                    </a:lnTo>
                    <a:lnTo>
                      <a:pt x="1586" y="686"/>
                    </a:lnTo>
                    <a:lnTo>
                      <a:pt x="1588" y="684"/>
                    </a:lnTo>
                    <a:lnTo>
                      <a:pt x="1574" y="667"/>
                    </a:lnTo>
                    <a:lnTo>
                      <a:pt x="1579" y="662"/>
                    </a:lnTo>
                    <a:lnTo>
                      <a:pt x="1581" y="658"/>
                    </a:lnTo>
                    <a:lnTo>
                      <a:pt x="1605" y="651"/>
                    </a:lnTo>
                    <a:lnTo>
                      <a:pt x="1622" y="651"/>
                    </a:lnTo>
                    <a:lnTo>
                      <a:pt x="1629" y="653"/>
                    </a:lnTo>
                    <a:lnTo>
                      <a:pt x="1657" y="641"/>
                    </a:lnTo>
                    <a:lnTo>
                      <a:pt x="1671" y="641"/>
                    </a:lnTo>
                    <a:lnTo>
                      <a:pt x="1697" y="643"/>
                    </a:lnTo>
                    <a:lnTo>
                      <a:pt x="1716" y="648"/>
                    </a:lnTo>
                    <a:lnTo>
                      <a:pt x="1721" y="658"/>
                    </a:lnTo>
                    <a:lnTo>
                      <a:pt x="1709" y="653"/>
                    </a:lnTo>
                    <a:lnTo>
                      <a:pt x="1704" y="653"/>
                    </a:lnTo>
                    <a:lnTo>
                      <a:pt x="1707" y="655"/>
                    </a:lnTo>
                    <a:lnTo>
                      <a:pt x="1709" y="660"/>
                    </a:lnTo>
                    <a:lnTo>
                      <a:pt x="1707" y="667"/>
                    </a:lnTo>
                    <a:lnTo>
                      <a:pt x="1697" y="681"/>
                    </a:lnTo>
                    <a:lnTo>
                      <a:pt x="1692" y="695"/>
                    </a:lnTo>
                    <a:lnTo>
                      <a:pt x="1688" y="698"/>
                    </a:lnTo>
                    <a:lnTo>
                      <a:pt x="1681" y="703"/>
                    </a:lnTo>
                    <a:lnTo>
                      <a:pt x="1697" y="729"/>
                    </a:lnTo>
                    <a:lnTo>
                      <a:pt x="1728" y="738"/>
                    </a:lnTo>
                    <a:lnTo>
                      <a:pt x="1747" y="738"/>
                    </a:lnTo>
                    <a:lnTo>
                      <a:pt x="1754" y="748"/>
                    </a:lnTo>
                    <a:lnTo>
                      <a:pt x="1761" y="752"/>
                    </a:lnTo>
                    <a:lnTo>
                      <a:pt x="1785" y="755"/>
                    </a:lnTo>
                    <a:lnTo>
                      <a:pt x="1801" y="762"/>
                    </a:lnTo>
                    <a:lnTo>
                      <a:pt x="1808" y="762"/>
                    </a:lnTo>
                    <a:lnTo>
                      <a:pt x="1832" y="738"/>
                    </a:lnTo>
                    <a:lnTo>
                      <a:pt x="1839" y="733"/>
                    </a:lnTo>
                    <a:lnTo>
                      <a:pt x="1844" y="740"/>
                    </a:lnTo>
                    <a:lnTo>
                      <a:pt x="1851" y="748"/>
                    </a:lnTo>
                    <a:lnTo>
                      <a:pt x="1858" y="745"/>
                    </a:lnTo>
                    <a:lnTo>
                      <a:pt x="1860" y="755"/>
                    </a:lnTo>
                    <a:lnTo>
                      <a:pt x="1863" y="738"/>
                    </a:lnTo>
                    <a:lnTo>
                      <a:pt x="1860" y="731"/>
                    </a:lnTo>
                    <a:lnTo>
                      <a:pt x="1839" y="714"/>
                    </a:lnTo>
                    <a:lnTo>
                      <a:pt x="1820" y="714"/>
                    </a:lnTo>
                    <a:lnTo>
                      <a:pt x="1815" y="707"/>
                    </a:lnTo>
                    <a:lnTo>
                      <a:pt x="1820" y="695"/>
                    </a:lnTo>
                    <a:lnTo>
                      <a:pt x="1811" y="662"/>
                    </a:lnTo>
                    <a:lnTo>
                      <a:pt x="1804" y="653"/>
                    </a:lnTo>
                    <a:lnTo>
                      <a:pt x="1796" y="651"/>
                    </a:lnTo>
                    <a:lnTo>
                      <a:pt x="1794" y="639"/>
                    </a:lnTo>
                    <a:lnTo>
                      <a:pt x="1794" y="625"/>
                    </a:lnTo>
                    <a:lnTo>
                      <a:pt x="1804" y="622"/>
                    </a:lnTo>
                    <a:lnTo>
                      <a:pt x="1811" y="622"/>
                    </a:lnTo>
                    <a:lnTo>
                      <a:pt x="1815" y="627"/>
                    </a:lnTo>
                    <a:lnTo>
                      <a:pt x="1818" y="646"/>
                    </a:lnTo>
                    <a:lnTo>
                      <a:pt x="1825" y="651"/>
                    </a:lnTo>
                    <a:lnTo>
                      <a:pt x="1818" y="667"/>
                    </a:lnTo>
                    <a:lnTo>
                      <a:pt x="1822" y="686"/>
                    </a:lnTo>
                    <a:lnTo>
                      <a:pt x="1837" y="705"/>
                    </a:lnTo>
                    <a:lnTo>
                      <a:pt x="1853" y="705"/>
                    </a:lnTo>
                    <a:lnTo>
                      <a:pt x="1865" y="707"/>
                    </a:lnTo>
                    <a:lnTo>
                      <a:pt x="1870" y="712"/>
                    </a:lnTo>
                    <a:lnTo>
                      <a:pt x="1882" y="729"/>
                    </a:lnTo>
                    <a:lnTo>
                      <a:pt x="1891" y="733"/>
                    </a:lnTo>
                    <a:lnTo>
                      <a:pt x="1917" y="731"/>
                    </a:lnTo>
                    <a:lnTo>
                      <a:pt x="1919" y="719"/>
                    </a:lnTo>
                    <a:lnTo>
                      <a:pt x="1919" y="707"/>
                    </a:lnTo>
                    <a:lnTo>
                      <a:pt x="1917" y="700"/>
                    </a:lnTo>
                    <a:lnTo>
                      <a:pt x="1898" y="698"/>
                    </a:lnTo>
                    <a:lnTo>
                      <a:pt x="1889" y="684"/>
                    </a:lnTo>
                    <a:lnTo>
                      <a:pt x="1877" y="684"/>
                    </a:lnTo>
                    <a:lnTo>
                      <a:pt x="1853" y="695"/>
                    </a:lnTo>
                    <a:lnTo>
                      <a:pt x="1844" y="686"/>
                    </a:lnTo>
                    <a:lnTo>
                      <a:pt x="1839" y="677"/>
                    </a:lnTo>
                    <a:lnTo>
                      <a:pt x="1830" y="665"/>
                    </a:lnTo>
                    <a:lnTo>
                      <a:pt x="1832" y="651"/>
                    </a:lnTo>
                    <a:lnTo>
                      <a:pt x="1846" y="634"/>
                    </a:lnTo>
                    <a:lnTo>
                      <a:pt x="1856" y="627"/>
                    </a:lnTo>
                    <a:lnTo>
                      <a:pt x="1851" y="620"/>
                    </a:lnTo>
                    <a:lnTo>
                      <a:pt x="1837" y="613"/>
                    </a:lnTo>
                    <a:lnTo>
                      <a:pt x="1811" y="610"/>
                    </a:lnTo>
                    <a:lnTo>
                      <a:pt x="1811" y="603"/>
                    </a:lnTo>
                    <a:lnTo>
                      <a:pt x="1813" y="596"/>
                    </a:lnTo>
                    <a:lnTo>
                      <a:pt x="1799" y="608"/>
                    </a:lnTo>
                    <a:lnTo>
                      <a:pt x="1789" y="601"/>
                    </a:lnTo>
                    <a:lnTo>
                      <a:pt x="1775" y="599"/>
                    </a:lnTo>
                    <a:lnTo>
                      <a:pt x="1747" y="580"/>
                    </a:lnTo>
                    <a:lnTo>
                      <a:pt x="1740" y="563"/>
                    </a:lnTo>
                    <a:lnTo>
                      <a:pt x="1740" y="549"/>
                    </a:lnTo>
                    <a:lnTo>
                      <a:pt x="1740" y="516"/>
                    </a:lnTo>
                    <a:lnTo>
                      <a:pt x="1735" y="495"/>
                    </a:lnTo>
                    <a:lnTo>
                      <a:pt x="1683" y="407"/>
                    </a:lnTo>
                    <a:lnTo>
                      <a:pt x="1655" y="381"/>
                    </a:lnTo>
                    <a:lnTo>
                      <a:pt x="1645" y="357"/>
                    </a:lnTo>
                    <a:lnTo>
                      <a:pt x="1636" y="350"/>
                    </a:lnTo>
                    <a:lnTo>
                      <a:pt x="1629" y="346"/>
                    </a:lnTo>
                    <a:lnTo>
                      <a:pt x="1619" y="336"/>
                    </a:lnTo>
                    <a:lnTo>
                      <a:pt x="1629" y="331"/>
                    </a:lnTo>
                    <a:lnTo>
                      <a:pt x="1633" y="331"/>
                    </a:lnTo>
                    <a:lnTo>
                      <a:pt x="1626" y="336"/>
                    </a:lnTo>
                    <a:lnTo>
                      <a:pt x="1631" y="341"/>
                    </a:lnTo>
                    <a:lnTo>
                      <a:pt x="1638" y="338"/>
                    </a:lnTo>
                    <a:lnTo>
                      <a:pt x="1643" y="334"/>
                    </a:lnTo>
                    <a:lnTo>
                      <a:pt x="1657" y="312"/>
                    </a:lnTo>
                    <a:lnTo>
                      <a:pt x="1671" y="279"/>
                    </a:lnTo>
                    <a:lnTo>
                      <a:pt x="1674" y="268"/>
                    </a:lnTo>
                    <a:lnTo>
                      <a:pt x="1711" y="282"/>
                    </a:lnTo>
                    <a:lnTo>
                      <a:pt x="1737" y="286"/>
                    </a:lnTo>
                    <a:lnTo>
                      <a:pt x="1747" y="286"/>
                    </a:lnTo>
                    <a:lnTo>
                      <a:pt x="1782" y="289"/>
                    </a:lnTo>
                    <a:lnTo>
                      <a:pt x="1792" y="289"/>
                    </a:lnTo>
                    <a:lnTo>
                      <a:pt x="1811" y="282"/>
                    </a:lnTo>
                    <a:lnTo>
                      <a:pt x="1834" y="265"/>
                    </a:lnTo>
                    <a:lnTo>
                      <a:pt x="1858" y="242"/>
                    </a:lnTo>
                    <a:lnTo>
                      <a:pt x="1860" y="237"/>
                    </a:lnTo>
                    <a:lnTo>
                      <a:pt x="1863" y="239"/>
                    </a:lnTo>
                    <a:lnTo>
                      <a:pt x="1863" y="237"/>
                    </a:lnTo>
                    <a:lnTo>
                      <a:pt x="1867" y="227"/>
                    </a:lnTo>
                    <a:lnTo>
                      <a:pt x="1877" y="204"/>
                    </a:lnTo>
                    <a:lnTo>
                      <a:pt x="1891" y="182"/>
                    </a:lnTo>
                    <a:lnTo>
                      <a:pt x="1936" y="140"/>
                    </a:lnTo>
                    <a:lnTo>
                      <a:pt x="1957" y="121"/>
                    </a:lnTo>
                    <a:lnTo>
                      <a:pt x="1964" y="114"/>
                    </a:lnTo>
                    <a:lnTo>
                      <a:pt x="1971" y="109"/>
                    </a:lnTo>
                    <a:lnTo>
                      <a:pt x="1974" y="116"/>
                    </a:lnTo>
                    <a:lnTo>
                      <a:pt x="1974" y="119"/>
                    </a:lnTo>
                    <a:lnTo>
                      <a:pt x="1974" y="121"/>
                    </a:lnTo>
                    <a:lnTo>
                      <a:pt x="1971" y="121"/>
                    </a:lnTo>
                    <a:lnTo>
                      <a:pt x="1964" y="128"/>
                    </a:lnTo>
                    <a:lnTo>
                      <a:pt x="1957" y="130"/>
                    </a:lnTo>
                    <a:lnTo>
                      <a:pt x="1955" y="133"/>
                    </a:lnTo>
                    <a:lnTo>
                      <a:pt x="1957" y="133"/>
                    </a:lnTo>
                    <a:lnTo>
                      <a:pt x="1971" y="130"/>
                    </a:lnTo>
                    <a:lnTo>
                      <a:pt x="1981" y="126"/>
                    </a:lnTo>
                    <a:lnTo>
                      <a:pt x="2016" y="123"/>
                    </a:lnTo>
                    <a:lnTo>
                      <a:pt x="2040" y="111"/>
                    </a:lnTo>
                    <a:lnTo>
                      <a:pt x="2042" y="107"/>
                    </a:lnTo>
                    <a:lnTo>
                      <a:pt x="2075" y="90"/>
                    </a:lnTo>
                    <a:lnTo>
                      <a:pt x="2078" y="93"/>
                    </a:lnTo>
                    <a:lnTo>
                      <a:pt x="2082" y="95"/>
                    </a:lnTo>
                    <a:lnTo>
                      <a:pt x="2071" y="109"/>
                    </a:lnTo>
                    <a:lnTo>
                      <a:pt x="2075" y="114"/>
                    </a:lnTo>
                    <a:lnTo>
                      <a:pt x="2066" y="130"/>
                    </a:lnTo>
                    <a:lnTo>
                      <a:pt x="2075" y="133"/>
                    </a:lnTo>
                    <a:lnTo>
                      <a:pt x="2078" y="142"/>
                    </a:lnTo>
                    <a:lnTo>
                      <a:pt x="2078" y="135"/>
                    </a:lnTo>
                    <a:lnTo>
                      <a:pt x="2080" y="126"/>
                    </a:lnTo>
                    <a:lnTo>
                      <a:pt x="2085" y="116"/>
                    </a:lnTo>
                    <a:lnTo>
                      <a:pt x="2087" y="109"/>
                    </a:lnTo>
                    <a:lnTo>
                      <a:pt x="2094" y="114"/>
                    </a:lnTo>
                    <a:lnTo>
                      <a:pt x="2111" y="109"/>
                    </a:lnTo>
                    <a:lnTo>
                      <a:pt x="2092" y="104"/>
                    </a:lnTo>
                    <a:lnTo>
                      <a:pt x="2085" y="85"/>
                    </a:lnTo>
                    <a:lnTo>
                      <a:pt x="2078" y="83"/>
                    </a:lnTo>
                    <a:lnTo>
                      <a:pt x="2106" y="64"/>
                    </a:lnTo>
                    <a:lnTo>
                      <a:pt x="2127" y="55"/>
                    </a:lnTo>
                    <a:lnTo>
                      <a:pt x="2132" y="55"/>
                    </a:lnTo>
                    <a:lnTo>
                      <a:pt x="2134" y="59"/>
                    </a:lnTo>
                    <a:lnTo>
                      <a:pt x="2132" y="62"/>
                    </a:lnTo>
                    <a:lnTo>
                      <a:pt x="2127" y="64"/>
                    </a:lnTo>
                    <a:lnTo>
                      <a:pt x="2123" y="69"/>
                    </a:lnTo>
                    <a:lnTo>
                      <a:pt x="2123" y="74"/>
                    </a:lnTo>
                    <a:lnTo>
                      <a:pt x="2125" y="76"/>
                    </a:lnTo>
                    <a:lnTo>
                      <a:pt x="2137" y="74"/>
                    </a:lnTo>
                    <a:lnTo>
                      <a:pt x="2142" y="69"/>
                    </a:lnTo>
                    <a:lnTo>
                      <a:pt x="2160" y="74"/>
                    </a:lnTo>
                    <a:lnTo>
                      <a:pt x="2168" y="74"/>
                    </a:lnTo>
                    <a:lnTo>
                      <a:pt x="2170" y="69"/>
                    </a:lnTo>
                    <a:lnTo>
                      <a:pt x="2196" y="74"/>
                    </a:lnTo>
                    <a:lnTo>
                      <a:pt x="2201" y="74"/>
                    </a:lnTo>
                    <a:lnTo>
                      <a:pt x="2220" y="64"/>
                    </a:lnTo>
                    <a:lnTo>
                      <a:pt x="2238" y="50"/>
                    </a:lnTo>
                    <a:lnTo>
                      <a:pt x="2246" y="43"/>
                    </a:lnTo>
                    <a:lnTo>
                      <a:pt x="2262" y="24"/>
                    </a:lnTo>
                    <a:lnTo>
                      <a:pt x="2274" y="10"/>
                    </a:lnTo>
                    <a:lnTo>
                      <a:pt x="2293" y="0"/>
                    </a:lnTo>
                    <a:lnTo>
                      <a:pt x="2298" y="3"/>
                    </a:lnTo>
                    <a:lnTo>
                      <a:pt x="2290" y="5"/>
                    </a:lnTo>
                    <a:lnTo>
                      <a:pt x="2286" y="10"/>
                    </a:lnTo>
                    <a:lnTo>
                      <a:pt x="2290" y="19"/>
                    </a:lnTo>
                    <a:lnTo>
                      <a:pt x="2321" y="41"/>
                    </a:lnTo>
                    <a:lnTo>
                      <a:pt x="2331" y="45"/>
                    </a:lnTo>
                    <a:lnTo>
                      <a:pt x="2331" y="55"/>
                    </a:lnTo>
                    <a:lnTo>
                      <a:pt x="2326" y="64"/>
                    </a:lnTo>
                    <a:lnTo>
                      <a:pt x="2316" y="74"/>
                    </a:lnTo>
                    <a:lnTo>
                      <a:pt x="2295" y="81"/>
                    </a:lnTo>
                    <a:lnTo>
                      <a:pt x="2300" y="85"/>
                    </a:lnTo>
                    <a:lnTo>
                      <a:pt x="2302" y="97"/>
                    </a:lnTo>
                    <a:lnTo>
                      <a:pt x="2307" y="97"/>
                    </a:lnTo>
                    <a:lnTo>
                      <a:pt x="2316" y="97"/>
                    </a:lnTo>
                    <a:lnTo>
                      <a:pt x="2326" y="93"/>
                    </a:lnTo>
                    <a:lnTo>
                      <a:pt x="2342" y="74"/>
                    </a:lnTo>
                    <a:lnTo>
                      <a:pt x="2350" y="64"/>
                    </a:lnTo>
                    <a:lnTo>
                      <a:pt x="2352" y="62"/>
                    </a:lnTo>
                    <a:lnTo>
                      <a:pt x="2364" y="67"/>
                    </a:lnTo>
                    <a:lnTo>
                      <a:pt x="2368" y="74"/>
                    </a:lnTo>
                    <a:lnTo>
                      <a:pt x="2376" y="85"/>
                    </a:lnTo>
                    <a:lnTo>
                      <a:pt x="2371" y="95"/>
                    </a:lnTo>
                    <a:lnTo>
                      <a:pt x="2366" y="100"/>
                    </a:lnTo>
                    <a:lnTo>
                      <a:pt x="2376" y="109"/>
                    </a:lnTo>
                    <a:lnTo>
                      <a:pt x="2385" y="111"/>
                    </a:lnTo>
                    <a:lnTo>
                      <a:pt x="2394" y="119"/>
                    </a:lnTo>
                    <a:lnTo>
                      <a:pt x="2413" y="109"/>
                    </a:lnTo>
                    <a:lnTo>
                      <a:pt x="2425" y="109"/>
                    </a:lnTo>
                    <a:lnTo>
                      <a:pt x="2435" y="111"/>
                    </a:lnTo>
                    <a:lnTo>
                      <a:pt x="2451" y="107"/>
                    </a:lnTo>
                    <a:lnTo>
                      <a:pt x="2472" y="119"/>
                    </a:lnTo>
                    <a:lnTo>
                      <a:pt x="2480" y="119"/>
                    </a:lnTo>
                    <a:lnTo>
                      <a:pt x="2489" y="121"/>
                    </a:lnTo>
                    <a:lnTo>
                      <a:pt x="2498" y="128"/>
                    </a:lnTo>
                    <a:lnTo>
                      <a:pt x="2501" y="135"/>
                    </a:lnTo>
                    <a:lnTo>
                      <a:pt x="2487" y="145"/>
                    </a:lnTo>
                    <a:lnTo>
                      <a:pt x="2484" y="159"/>
                    </a:lnTo>
                    <a:lnTo>
                      <a:pt x="2487" y="163"/>
                    </a:lnTo>
                    <a:lnTo>
                      <a:pt x="2494" y="166"/>
                    </a:lnTo>
                    <a:lnTo>
                      <a:pt x="2494" y="173"/>
                    </a:lnTo>
                    <a:lnTo>
                      <a:pt x="2498" y="175"/>
                    </a:lnTo>
                    <a:lnTo>
                      <a:pt x="2520" y="178"/>
                    </a:lnTo>
                    <a:lnTo>
                      <a:pt x="2517" y="182"/>
                    </a:lnTo>
                    <a:lnTo>
                      <a:pt x="2515" y="185"/>
                    </a:lnTo>
                    <a:lnTo>
                      <a:pt x="2508" y="194"/>
                    </a:lnTo>
                    <a:lnTo>
                      <a:pt x="2546" y="206"/>
                    </a:lnTo>
                    <a:lnTo>
                      <a:pt x="2553" y="201"/>
                    </a:lnTo>
                    <a:lnTo>
                      <a:pt x="2560" y="199"/>
                    </a:lnTo>
                    <a:lnTo>
                      <a:pt x="2579" y="194"/>
                    </a:lnTo>
                    <a:lnTo>
                      <a:pt x="2584" y="199"/>
                    </a:lnTo>
                    <a:lnTo>
                      <a:pt x="2591" y="206"/>
                    </a:lnTo>
                    <a:lnTo>
                      <a:pt x="2598" y="208"/>
                    </a:lnTo>
                    <a:lnTo>
                      <a:pt x="2605" y="208"/>
                    </a:lnTo>
                    <a:lnTo>
                      <a:pt x="2621" y="199"/>
                    </a:lnTo>
                    <a:lnTo>
                      <a:pt x="2638" y="201"/>
                    </a:lnTo>
                    <a:lnTo>
                      <a:pt x="2645" y="206"/>
                    </a:lnTo>
                    <a:lnTo>
                      <a:pt x="2652" y="204"/>
                    </a:lnTo>
                    <a:lnTo>
                      <a:pt x="2676" y="220"/>
                    </a:lnTo>
                    <a:lnTo>
                      <a:pt x="2683" y="223"/>
                    </a:lnTo>
                    <a:lnTo>
                      <a:pt x="2692" y="239"/>
                    </a:lnTo>
                    <a:lnTo>
                      <a:pt x="2699" y="239"/>
                    </a:lnTo>
                    <a:lnTo>
                      <a:pt x="2707" y="234"/>
                    </a:lnTo>
                    <a:lnTo>
                      <a:pt x="2711" y="234"/>
                    </a:lnTo>
                    <a:lnTo>
                      <a:pt x="2716" y="242"/>
                    </a:lnTo>
                    <a:lnTo>
                      <a:pt x="2725" y="244"/>
                    </a:lnTo>
                    <a:lnTo>
                      <a:pt x="2730" y="256"/>
                    </a:lnTo>
                    <a:lnTo>
                      <a:pt x="2735" y="260"/>
                    </a:lnTo>
                    <a:lnTo>
                      <a:pt x="2768" y="270"/>
                    </a:lnTo>
                    <a:lnTo>
                      <a:pt x="2787" y="268"/>
                    </a:lnTo>
                    <a:lnTo>
                      <a:pt x="2811" y="272"/>
                    </a:lnTo>
                    <a:lnTo>
                      <a:pt x="2822" y="277"/>
                    </a:lnTo>
                    <a:lnTo>
                      <a:pt x="2837" y="277"/>
                    </a:lnTo>
                    <a:lnTo>
                      <a:pt x="2855" y="296"/>
                    </a:lnTo>
                    <a:lnTo>
                      <a:pt x="2867" y="301"/>
                    </a:lnTo>
                    <a:lnTo>
                      <a:pt x="2870" y="305"/>
                    </a:lnTo>
                    <a:lnTo>
                      <a:pt x="2900" y="310"/>
                    </a:lnTo>
                    <a:lnTo>
                      <a:pt x="2912" y="303"/>
                    </a:lnTo>
                    <a:lnTo>
                      <a:pt x="2931" y="301"/>
                    </a:lnTo>
                    <a:lnTo>
                      <a:pt x="2950" y="294"/>
                    </a:lnTo>
                    <a:lnTo>
                      <a:pt x="2959" y="294"/>
                    </a:lnTo>
                    <a:lnTo>
                      <a:pt x="2971" y="296"/>
                    </a:lnTo>
                    <a:lnTo>
                      <a:pt x="2976" y="296"/>
                    </a:lnTo>
                    <a:lnTo>
                      <a:pt x="2978" y="294"/>
                    </a:lnTo>
                    <a:lnTo>
                      <a:pt x="3007" y="308"/>
                    </a:lnTo>
                    <a:lnTo>
                      <a:pt x="3021" y="324"/>
                    </a:lnTo>
                    <a:lnTo>
                      <a:pt x="3028" y="336"/>
                    </a:lnTo>
                    <a:lnTo>
                      <a:pt x="3061" y="353"/>
                    </a:lnTo>
                    <a:lnTo>
                      <a:pt x="3071" y="362"/>
                    </a:lnTo>
                    <a:lnTo>
                      <a:pt x="3078" y="372"/>
                    </a:lnTo>
                    <a:lnTo>
                      <a:pt x="3080" y="372"/>
                    </a:lnTo>
                    <a:lnTo>
                      <a:pt x="3085" y="369"/>
                    </a:lnTo>
                    <a:lnTo>
                      <a:pt x="3097" y="372"/>
                    </a:lnTo>
                    <a:lnTo>
                      <a:pt x="3101" y="372"/>
                    </a:lnTo>
                    <a:close/>
                    <a:moveTo>
                      <a:pt x="1558" y="665"/>
                    </a:moveTo>
                    <a:lnTo>
                      <a:pt x="1555" y="665"/>
                    </a:lnTo>
                    <a:lnTo>
                      <a:pt x="1558" y="662"/>
                    </a:lnTo>
                    <a:lnTo>
                      <a:pt x="1565" y="660"/>
                    </a:lnTo>
                    <a:lnTo>
                      <a:pt x="1581" y="655"/>
                    </a:lnTo>
                    <a:lnTo>
                      <a:pt x="1579" y="658"/>
                    </a:lnTo>
                    <a:lnTo>
                      <a:pt x="1572" y="662"/>
                    </a:lnTo>
                    <a:lnTo>
                      <a:pt x="1558" y="665"/>
                    </a:lnTo>
                    <a:close/>
                    <a:moveTo>
                      <a:pt x="1109" y="927"/>
                    </a:moveTo>
                    <a:lnTo>
                      <a:pt x="1109" y="930"/>
                    </a:lnTo>
                    <a:lnTo>
                      <a:pt x="1116" y="932"/>
                    </a:lnTo>
                    <a:lnTo>
                      <a:pt x="1123" y="937"/>
                    </a:lnTo>
                    <a:lnTo>
                      <a:pt x="1132" y="944"/>
                    </a:lnTo>
                    <a:lnTo>
                      <a:pt x="1144" y="946"/>
                    </a:lnTo>
                    <a:lnTo>
                      <a:pt x="1158" y="941"/>
                    </a:lnTo>
                    <a:lnTo>
                      <a:pt x="1168" y="941"/>
                    </a:lnTo>
                    <a:lnTo>
                      <a:pt x="1175" y="941"/>
                    </a:lnTo>
                    <a:lnTo>
                      <a:pt x="1184" y="946"/>
                    </a:lnTo>
                    <a:lnTo>
                      <a:pt x="1189" y="956"/>
                    </a:lnTo>
                    <a:lnTo>
                      <a:pt x="1191" y="960"/>
                    </a:lnTo>
                    <a:lnTo>
                      <a:pt x="1191" y="967"/>
                    </a:lnTo>
                    <a:lnTo>
                      <a:pt x="1191" y="974"/>
                    </a:lnTo>
                    <a:lnTo>
                      <a:pt x="1191" y="979"/>
                    </a:lnTo>
                    <a:lnTo>
                      <a:pt x="1203" y="991"/>
                    </a:lnTo>
                    <a:lnTo>
                      <a:pt x="1213" y="998"/>
                    </a:lnTo>
                    <a:lnTo>
                      <a:pt x="1215" y="1001"/>
                    </a:lnTo>
                    <a:lnTo>
                      <a:pt x="1215" y="1008"/>
                    </a:lnTo>
                    <a:lnTo>
                      <a:pt x="1222" y="1012"/>
                    </a:lnTo>
                    <a:lnTo>
                      <a:pt x="1229" y="1015"/>
                    </a:lnTo>
                    <a:lnTo>
                      <a:pt x="1234" y="1017"/>
                    </a:lnTo>
                    <a:lnTo>
                      <a:pt x="1248" y="1022"/>
                    </a:lnTo>
                    <a:lnTo>
                      <a:pt x="1265" y="1034"/>
                    </a:lnTo>
                    <a:lnTo>
                      <a:pt x="1258" y="1045"/>
                    </a:lnTo>
                    <a:lnTo>
                      <a:pt x="1250" y="1050"/>
                    </a:lnTo>
                    <a:lnTo>
                      <a:pt x="1234" y="1043"/>
                    </a:lnTo>
                    <a:lnTo>
                      <a:pt x="1217" y="1038"/>
                    </a:lnTo>
                    <a:lnTo>
                      <a:pt x="1208" y="1043"/>
                    </a:lnTo>
                    <a:lnTo>
                      <a:pt x="1198" y="1050"/>
                    </a:lnTo>
                    <a:lnTo>
                      <a:pt x="1196" y="1060"/>
                    </a:lnTo>
                    <a:lnTo>
                      <a:pt x="1191" y="1062"/>
                    </a:lnTo>
                    <a:lnTo>
                      <a:pt x="1187" y="1062"/>
                    </a:lnTo>
                    <a:lnTo>
                      <a:pt x="1187" y="1057"/>
                    </a:lnTo>
                    <a:lnTo>
                      <a:pt x="1187" y="1041"/>
                    </a:lnTo>
                    <a:lnTo>
                      <a:pt x="1187" y="1036"/>
                    </a:lnTo>
                    <a:lnTo>
                      <a:pt x="1184" y="1034"/>
                    </a:lnTo>
                    <a:lnTo>
                      <a:pt x="1177" y="1027"/>
                    </a:lnTo>
                    <a:lnTo>
                      <a:pt x="1170" y="1019"/>
                    </a:lnTo>
                    <a:lnTo>
                      <a:pt x="1165" y="1017"/>
                    </a:lnTo>
                    <a:lnTo>
                      <a:pt x="1165" y="1012"/>
                    </a:lnTo>
                    <a:lnTo>
                      <a:pt x="1165" y="1003"/>
                    </a:lnTo>
                    <a:lnTo>
                      <a:pt x="1163" y="998"/>
                    </a:lnTo>
                    <a:lnTo>
                      <a:pt x="1158" y="991"/>
                    </a:lnTo>
                    <a:lnTo>
                      <a:pt x="1153" y="984"/>
                    </a:lnTo>
                    <a:lnTo>
                      <a:pt x="1137" y="967"/>
                    </a:lnTo>
                    <a:lnTo>
                      <a:pt x="1130" y="965"/>
                    </a:lnTo>
                    <a:lnTo>
                      <a:pt x="1123" y="963"/>
                    </a:lnTo>
                    <a:lnTo>
                      <a:pt x="1116" y="965"/>
                    </a:lnTo>
                    <a:lnTo>
                      <a:pt x="1106" y="967"/>
                    </a:lnTo>
                    <a:lnTo>
                      <a:pt x="1097" y="970"/>
                    </a:lnTo>
                    <a:lnTo>
                      <a:pt x="1090" y="967"/>
                    </a:lnTo>
                    <a:lnTo>
                      <a:pt x="1083" y="963"/>
                    </a:lnTo>
                    <a:lnTo>
                      <a:pt x="1078" y="956"/>
                    </a:lnTo>
                    <a:lnTo>
                      <a:pt x="1078" y="948"/>
                    </a:lnTo>
                    <a:lnTo>
                      <a:pt x="1078" y="941"/>
                    </a:lnTo>
                    <a:lnTo>
                      <a:pt x="1080" y="934"/>
                    </a:lnTo>
                    <a:lnTo>
                      <a:pt x="1085" y="927"/>
                    </a:lnTo>
                    <a:lnTo>
                      <a:pt x="1094" y="911"/>
                    </a:lnTo>
                    <a:lnTo>
                      <a:pt x="1101" y="911"/>
                    </a:lnTo>
                    <a:lnTo>
                      <a:pt x="1109" y="927"/>
                    </a:lnTo>
                    <a:close/>
                    <a:moveTo>
                      <a:pt x="2584" y="1686"/>
                    </a:moveTo>
                    <a:lnTo>
                      <a:pt x="2574" y="1686"/>
                    </a:lnTo>
                    <a:lnTo>
                      <a:pt x="2572" y="1684"/>
                    </a:lnTo>
                    <a:lnTo>
                      <a:pt x="2572" y="1681"/>
                    </a:lnTo>
                    <a:lnTo>
                      <a:pt x="2574" y="1674"/>
                    </a:lnTo>
                    <a:lnTo>
                      <a:pt x="2574" y="1672"/>
                    </a:lnTo>
                    <a:lnTo>
                      <a:pt x="2579" y="1672"/>
                    </a:lnTo>
                    <a:lnTo>
                      <a:pt x="2584" y="1674"/>
                    </a:lnTo>
                    <a:lnTo>
                      <a:pt x="2584" y="1679"/>
                    </a:lnTo>
                    <a:lnTo>
                      <a:pt x="2584" y="1686"/>
                    </a:lnTo>
                    <a:close/>
                    <a:moveTo>
                      <a:pt x="860" y="1332"/>
                    </a:moveTo>
                    <a:lnTo>
                      <a:pt x="872" y="1346"/>
                    </a:lnTo>
                    <a:lnTo>
                      <a:pt x="882" y="1348"/>
                    </a:lnTo>
                    <a:lnTo>
                      <a:pt x="886" y="1360"/>
                    </a:lnTo>
                    <a:lnTo>
                      <a:pt x="886" y="1367"/>
                    </a:lnTo>
                    <a:lnTo>
                      <a:pt x="877" y="1358"/>
                    </a:lnTo>
                    <a:lnTo>
                      <a:pt x="860" y="1353"/>
                    </a:lnTo>
                    <a:lnTo>
                      <a:pt x="846" y="1324"/>
                    </a:lnTo>
                    <a:lnTo>
                      <a:pt x="841" y="1317"/>
                    </a:lnTo>
                    <a:lnTo>
                      <a:pt x="846" y="1308"/>
                    </a:lnTo>
                    <a:lnTo>
                      <a:pt x="856" y="1308"/>
                    </a:lnTo>
                    <a:lnTo>
                      <a:pt x="856" y="1322"/>
                    </a:lnTo>
                    <a:lnTo>
                      <a:pt x="860" y="1332"/>
                    </a:lnTo>
                    <a:close/>
                    <a:moveTo>
                      <a:pt x="2288" y="1719"/>
                    </a:moveTo>
                    <a:lnTo>
                      <a:pt x="2283" y="1719"/>
                    </a:lnTo>
                    <a:lnTo>
                      <a:pt x="2288" y="1712"/>
                    </a:lnTo>
                    <a:lnTo>
                      <a:pt x="2295" y="1698"/>
                    </a:lnTo>
                    <a:lnTo>
                      <a:pt x="2298" y="1700"/>
                    </a:lnTo>
                    <a:lnTo>
                      <a:pt x="2298" y="1703"/>
                    </a:lnTo>
                    <a:lnTo>
                      <a:pt x="2290" y="1717"/>
                    </a:lnTo>
                    <a:lnTo>
                      <a:pt x="2288" y="1719"/>
                    </a:lnTo>
                    <a:close/>
                    <a:moveTo>
                      <a:pt x="2598" y="1743"/>
                    </a:moveTo>
                    <a:lnTo>
                      <a:pt x="2598" y="1745"/>
                    </a:lnTo>
                    <a:lnTo>
                      <a:pt x="2595" y="1750"/>
                    </a:lnTo>
                    <a:lnTo>
                      <a:pt x="2598" y="1757"/>
                    </a:lnTo>
                    <a:lnTo>
                      <a:pt x="2593" y="1767"/>
                    </a:lnTo>
                    <a:lnTo>
                      <a:pt x="2591" y="1774"/>
                    </a:lnTo>
                    <a:lnTo>
                      <a:pt x="2588" y="1778"/>
                    </a:lnTo>
                    <a:lnTo>
                      <a:pt x="2586" y="1781"/>
                    </a:lnTo>
                    <a:lnTo>
                      <a:pt x="2584" y="1778"/>
                    </a:lnTo>
                    <a:lnTo>
                      <a:pt x="2584" y="1776"/>
                    </a:lnTo>
                    <a:lnTo>
                      <a:pt x="2584" y="1774"/>
                    </a:lnTo>
                    <a:lnTo>
                      <a:pt x="2579" y="1774"/>
                    </a:lnTo>
                    <a:lnTo>
                      <a:pt x="2579" y="1762"/>
                    </a:lnTo>
                    <a:lnTo>
                      <a:pt x="2584" y="1760"/>
                    </a:lnTo>
                    <a:lnTo>
                      <a:pt x="2584" y="1755"/>
                    </a:lnTo>
                    <a:lnTo>
                      <a:pt x="2584" y="1752"/>
                    </a:lnTo>
                    <a:lnTo>
                      <a:pt x="2588" y="1741"/>
                    </a:lnTo>
                    <a:lnTo>
                      <a:pt x="2591" y="1738"/>
                    </a:lnTo>
                    <a:lnTo>
                      <a:pt x="2591" y="1743"/>
                    </a:lnTo>
                    <a:lnTo>
                      <a:pt x="2591" y="1743"/>
                    </a:lnTo>
                    <a:lnTo>
                      <a:pt x="2593" y="1743"/>
                    </a:lnTo>
                    <a:lnTo>
                      <a:pt x="2595" y="1736"/>
                    </a:lnTo>
                    <a:lnTo>
                      <a:pt x="2598" y="1736"/>
                    </a:lnTo>
                    <a:lnTo>
                      <a:pt x="2598" y="1743"/>
                    </a:lnTo>
                    <a:close/>
                    <a:moveTo>
                      <a:pt x="2688" y="1750"/>
                    </a:moveTo>
                    <a:lnTo>
                      <a:pt x="2690" y="1755"/>
                    </a:lnTo>
                    <a:lnTo>
                      <a:pt x="2704" y="1755"/>
                    </a:lnTo>
                    <a:lnTo>
                      <a:pt x="2707" y="1755"/>
                    </a:lnTo>
                    <a:lnTo>
                      <a:pt x="2709" y="1757"/>
                    </a:lnTo>
                    <a:lnTo>
                      <a:pt x="2707" y="1760"/>
                    </a:lnTo>
                    <a:lnTo>
                      <a:pt x="2702" y="1762"/>
                    </a:lnTo>
                    <a:lnTo>
                      <a:pt x="2685" y="1769"/>
                    </a:lnTo>
                    <a:lnTo>
                      <a:pt x="2671" y="1776"/>
                    </a:lnTo>
                    <a:lnTo>
                      <a:pt x="2671" y="1774"/>
                    </a:lnTo>
                    <a:lnTo>
                      <a:pt x="2669" y="1764"/>
                    </a:lnTo>
                    <a:lnTo>
                      <a:pt x="2666" y="1762"/>
                    </a:lnTo>
                    <a:lnTo>
                      <a:pt x="2666" y="1757"/>
                    </a:lnTo>
                    <a:lnTo>
                      <a:pt x="2666" y="1755"/>
                    </a:lnTo>
                    <a:lnTo>
                      <a:pt x="2669" y="1750"/>
                    </a:lnTo>
                    <a:lnTo>
                      <a:pt x="2673" y="1745"/>
                    </a:lnTo>
                    <a:lnTo>
                      <a:pt x="2676" y="1745"/>
                    </a:lnTo>
                    <a:lnTo>
                      <a:pt x="2688" y="1750"/>
                    </a:lnTo>
                    <a:close/>
                    <a:moveTo>
                      <a:pt x="2777" y="1774"/>
                    </a:moveTo>
                    <a:lnTo>
                      <a:pt x="2775" y="1776"/>
                    </a:lnTo>
                    <a:lnTo>
                      <a:pt x="2770" y="1774"/>
                    </a:lnTo>
                    <a:lnTo>
                      <a:pt x="2766" y="1771"/>
                    </a:lnTo>
                    <a:lnTo>
                      <a:pt x="2777" y="1764"/>
                    </a:lnTo>
                    <a:lnTo>
                      <a:pt x="2780" y="1767"/>
                    </a:lnTo>
                    <a:lnTo>
                      <a:pt x="2777" y="1774"/>
                    </a:lnTo>
                    <a:close/>
                    <a:moveTo>
                      <a:pt x="1302" y="1497"/>
                    </a:moveTo>
                    <a:lnTo>
                      <a:pt x="1307" y="1504"/>
                    </a:lnTo>
                    <a:lnTo>
                      <a:pt x="1312" y="1507"/>
                    </a:lnTo>
                    <a:lnTo>
                      <a:pt x="1321" y="1507"/>
                    </a:lnTo>
                    <a:lnTo>
                      <a:pt x="1326" y="1511"/>
                    </a:lnTo>
                    <a:lnTo>
                      <a:pt x="1328" y="1514"/>
                    </a:lnTo>
                    <a:lnTo>
                      <a:pt x="1328" y="1518"/>
                    </a:lnTo>
                    <a:lnTo>
                      <a:pt x="1326" y="1528"/>
                    </a:lnTo>
                    <a:lnTo>
                      <a:pt x="1324" y="1535"/>
                    </a:lnTo>
                    <a:lnTo>
                      <a:pt x="1321" y="1544"/>
                    </a:lnTo>
                    <a:lnTo>
                      <a:pt x="1319" y="1549"/>
                    </a:lnTo>
                    <a:lnTo>
                      <a:pt x="1324" y="1556"/>
                    </a:lnTo>
                    <a:lnTo>
                      <a:pt x="1321" y="1563"/>
                    </a:lnTo>
                    <a:lnTo>
                      <a:pt x="1321" y="1573"/>
                    </a:lnTo>
                    <a:lnTo>
                      <a:pt x="1307" y="1570"/>
                    </a:lnTo>
                    <a:lnTo>
                      <a:pt x="1295" y="1568"/>
                    </a:lnTo>
                    <a:lnTo>
                      <a:pt x="1284" y="1570"/>
                    </a:lnTo>
                    <a:lnTo>
                      <a:pt x="1279" y="1575"/>
                    </a:lnTo>
                    <a:lnTo>
                      <a:pt x="1279" y="1580"/>
                    </a:lnTo>
                    <a:lnTo>
                      <a:pt x="1276" y="1582"/>
                    </a:lnTo>
                    <a:lnTo>
                      <a:pt x="1274" y="1580"/>
                    </a:lnTo>
                    <a:lnTo>
                      <a:pt x="1269" y="1573"/>
                    </a:lnTo>
                    <a:lnTo>
                      <a:pt x="1265" y="1568"/>
                    </a:lnTo>
                    <a:lnTo>
                      <a:pt x="1248" y="1556"/>
                    </a:lnTo>
                    <a:lnTo>
                      <a:pt x="1227" y="1533"/>
                    </a:lnTo>
                    <a:lnTo>
                      <a:pt x="1217" y="1525"/>
                    </a:lnTo>
                    <a:lnTo>
                      <a:pt x="1213" y="1511"/>
                    </a:lnTo>
                    <a:lnTo>
                      <a:pt x="1206" y="1492"/>
                    </a:lnTo>
                    <a:lnTo>
                      <a:pt x="1213" y="1492"/>
                    </a:lnTo>
                    <a:lnTo>
                      <a:pt x="1220" y="1492"/>
                    </a:lnTo>
                    <a:lnTo>
                      <a:pt x="1248" y="1504"/>
                    </a:lnTo>
                    <a:lnTo>
                      <a:pt x="1255" y="1495"/>
                    </a:lnTo>
                    <a:lnTo>
                      <a:pt x="1260" y="1492"/>
                    </a:lnTo>
                    <a:lnTo>
                      <a:pt x="1269" y="1492"/>
                    </a:lnTo>
                    <a:lnTo>
                      <a:pt x="1281" y="1490"/>
                    </a:lnTo>
                    <a:lnTo>
                      <a:pt x="1284" y="1490"/>
                    </a:lnTo>
                    <a:lnTo>
                      <a:pt x="1286" y="1495"/>
                    </a:lnTo>
                    <a:lnTo>
                      <a:pt x="1295" y="1492"/>
                    </a:lnTo>
                    <a:lnTo>
                      <a:pt x="1300" y="1492"/>
                    </a:lnTo>
                    <a:lnTo>
                      <a:pt x="1302" y="1497"/>
                    </a:lnTo>
                    <a:close/>
                    <a:moveTo>
                      <a:pt x="2584" y="1833"/>
                    </a:moveTo>
                    <a:lnTo>
                      <a:pt x="2576" y="1835"/>
                    </a:lnTo>
                    <a:lnTo>
                      <a:pt x="2574" y="1830"/>
                    </a:lnTo>
                    <a:lnTo>
                      <a:pt x="2579" y="1821"/>
                    </a:lnTo>
                    <a:lnTo>
                      <a:pt x="2584" y="1814"/>
                    </a:lnTo>
                    <a:lnTo>
                      <a:pt x="2586" y="1814"/>
                    </a:lnTo>
                    <a:lnTo>
                      <a:pt x="2595" y="1802"/>
                    </a:lnTo>
                    <a:lnTo>
                      <a:pt x="2607" y="1795"/>
                    </a:lnTo>
                    <a:lnTo>
                      <a:pt x="2617" y="1783"/>
                    </a:lnTo>
                    <a:lnTo>
                      <a:pt x="2629" y="1764"/>
                    </a:lnTo>
                    <a:lnTo>
                      <a:pt x="2631" y="1760"/>
                    </a:lnTo>
                    <a:lnTo>
                      <a:pt x="2636" y="1757"/>
                    </a:lnTo>
                    <a:lnTo>
                      <a:pt x="2643" y="1764"/>
                    </a:lnTo>
                    <a:lnTo>
                      <a:pt x="2645" y="1769"/>
                    </a:lnTo>
                    <a:lnTo>
                      <a:pt x="2643" y="1774"/>
                    </a:lnTo>
                    <a:lnTo>
                      <a:pt x="2617" y="1797"/>
                    </a:lnTo>
                    <a:lnTo>
                      <a:pt x="2614" y="1802"/>
                    </a:lnTo>
                    <a:lnTo>
                      <a:pt x="2612" y="1809"/>
                    </a:lnTo>
                    <a:lnTo>
                      <a:pt x="2610" y="1814"/>
                    </a:lnTo>
                    <a:lnTo>
                      <a:pt x="2607" y="1814"/>
                    </a:lnTo>
                    <a:lnTo>
                      <a:pt x="2605" y="1819"/>
                    </a:lnTo>
                    <a:lnTo>
                      <a:pt x="2603" y="1823"/>
                    </a:lnTo>
                    <a:lnTo>
                      <a:pt x="2598" y="1826"/>
                    </a:lnTo>
                    <a:lnTo>
                      <a:pt x="2595" y="1826"/>
                    </a:lnTo>
                    <a:lnTo>
                      <a:pt x="2591" y="1828"/>
                    </a:lnTo>
                    <a:lnTo>
                      <a:pt x="2588" y="1830"/>
                    </a:lnTo>
                    <a:lnTo>
                      <a:pt x="2584" y="1833"/>
                    </a:lnTo>
                    <a:close/>
                    <a:moveTo>
                      <a:pt x="2567" y="1795"/>
                    </a:moveTo>
                    <a:lnTo>
                      <a:pt x="2562" y="1800"/>
                    </a:lnTo>
                    <a:lnTo>
                      <a:pt x="2548" y="1795"/>
                    </a:lnTo>
                    <a:lnTo>
                      <a:pt x="2553" y="1788"/>
                    </a:lnTo>
                    <a:lnTo>
                      <a:pt x="2565" y="1783"/>
                    </a:lnTo>
                    <a:lnTo>
                      <a:pt x="2574" y="1793"/>
                    </a:lnTo>
                    <a:lnTo>
                      <a:pt x="2567" y="1795"/>
                    </a:lnTo>
                    <a:close/>
                    <a:moveTo>
                      <a:pt x="2813" y="1849"/>
                    </a:moveTo>
                    <a:lnTo>
                      <a:pt x="2811" y="1852"/>
                    </a:lnTo>
                    <a:lnTo>
                      <a:pt x="2815" y="1842"/>
                    </a:lnTo>
                    <a:lnTo>
                      <a:pt x="2822" y="1830"/>
                    </a:lnTo>
                    <a:lnTo>
                      <a:pt x="2829" y="1826"/>
                    </a:lnTo>
                    <a:lnTo>
                      <a:pt x="2839" y="1823"/>
                    </a:lnTo>
                    <a:lnTo>
                      <a:pt x="2837" y="1828"/>
                    </a:lnTo>
                    <a:lnTo>
                      <a:pt x="2825" y="1835"/>
                    </a:lnTo>
                    <a:lnTo>
                      <a:pt x="2813" y="1849"/>
                    </a:lnTo>
                    <a:close/>
                    <a:moveTo>
                      <a:pt x="1603" y="1847"/>
                    </a:moveTo>
                    <a:lnTo>
                      <a:pt x="1596" y="1847"/>
                    </a:lnTo>
                    <a:lnTo>
                      <a:pt x="1591" y="1845"/>
                    </a:lnTo>
                    <a:lnTo>
                      <a:pt x="1588" y="1830"/>
                    </a:lnTo>
                    <a:lnTo>
                      <a:pt x="1593" y="1830"/>
                    </a:lnTo>
                    <a:lnTo>
                      <a:pt x="1603" y="1823"/>
                    </a:lnTo>
                    <a:lnTo>
                      <a:pt x="1619" y="1821"/>
                    </a:lnTo>
                    <a:lnTo>
                      <a:pt x="1624" y="1821"/>
                    </a:lnTo>
                    <a:lnTo>
                      <a:pt x="1603" y="1847"/>
                    </a:lnTo>
                    <a:close/>
                    <a:moveTo>
                      <a:pt x="2215" y="1979"/>
                    </a:moveTo>
                    <a:lnTo>
                      <a:pt x="2212" y="1979"/>
                    </a:lnTo>
                    <a:lnTo>
                      <a:pt x="2208" y="1975"/>
                    </a:lnTo>
                    <a:lnTo>
                      <a:pt x="2205" y="1970"/>
                    </a:lnTo>
                    <a:lnTo>
                      <a:pt x="2208" y="1968"/>
                    </a:lnTo>
                    <a:lnTo>
                      <a:pt x="2220" y="1960"/>
                    </a:lnTo>
                    <a:lnTo>
                      <a:pt x="2224" y="1963"/>
                    </a:lnTo>
                    <a:lnTo>
                      <a:pt x="2227" y="1963"/>
                    </a:lnTo>
                    <a:lnTo>
                      <a:pt x="2227" y="1965"/>
                    </a:lnTo>
                    <a:lnTo>
                      <a:pt x="2227" y="1970"/>
                    </a:lnTo>
                    <a:lnTo>
                      <a:pt x="2224" y="1972"/>
                    </a:lnTo>
                    <a:lnTo>
                      <a:pt x="2215" y="1979"/>
                    </a:lnTo>
                    <a:close/>
                    <a:moveTo>
                      <a:pt x="2217" y="1998"/>
                    </a:moveTo>
                    <a:lnTo>
                      <a:pt x="2220" y="2001"/>
                    </a:lnTo>
                    <a:lnTo>
                      <a:pt x="2224" y="1991"/>
                    </a:lnTo>
                    <a:lnTo>
                      <a:pt x="2227" y="1991"/>
                    </a:lnTo>
                    <a:lnTo>
                      <a:pt x="2234" y="2001"/>
                    </a:lnTo>
                    <a:lnTo>
                      <a:pt x="2238" y="1998"/>
                    </a:lnTo>
                    <a:lnTo>
                      <a:pt x="2241" y="2008"/>
                    </a:lnTo>
                    <a:lnTo>
                      <a:pt x="2246" y="2010"/>
                    </a:lnTo>
                    <a:lnTo>
                      <a:pt x="2248" y="2010"/>
                    </a:lnTo>
                    <a:lnTo>
                      <a:pt x="2248" y="2010"/>
                    </a:lnTo>
                    <a:lnTo>
                      <a:pt x="2248" y="2020"/>
                    </a:lnTo>
                    <a:lnTo>
                      <a:pt x="2238" y="2027"/>
                    </a:lnTo>
                    <a:lnTo>
                      <a:pt x="2236" y="2029"/>
                    </a:lnTo>
                    <a:lnTo>
                      <a:pt x="2231" y="2027"/>
                    </a:lnTo>
                    <a:lnTo>
                      <a:pt x="2231" y="2024"/>
                    </a:lnTo>
                    <a:lnTo>
                      <a:pt x="2229" y="2020"/>
                    </a:lnTo>
                    <a:lnTo>
                      <a:pt x="2227" y="2015"/>
                    </a:lnTo>
                    <a:lnTo>
                      <a:pt x="2227" y="2015"/>
                    </a:lnTo>
                    <a:lnTo>
                      <a:pt x="2220" y="2020"/>
                    </a:lnTo>
                    <a:lnTo>
                      <a:pt x="2220" y="2024"/>
                    </a:lnTo>
                    <a:lnTo>
                      <a:pt x="2222" y="2029"/>
                    </a:lnTo>
                    <a:lnTo>
                      <a:pt x="2220" y="2031"/>
                    </a:lnTo>
                    <a:lnTo>
                      <a:pt x="2215" y="2031"/>
                    </a:lnTo>
                    <a:lnTo>
                      <a:pt x="2210" y="2029"/>
                    </a:lnTo>
                    <a:lnTo>
                      <a:pt x="2203" y="2034"/>
                    </a:lnTo>
                    <a:lnTo>
                      <a:pt x="2203" y="2029"/>
                    </a:lnTo>
                    <a:lnTo>
                      <a:pt x="2203" y="2022"/>
                    </a:lnTo>
                    <a:lnTo>
                      <a:pt x="2201" y="2024"/>
                    </a:lnTo>
                    <a:lnTo>
                      <a:pt x="2196" y="2031"/>
                    </a:lnTo>
                    <a:lnTo>
                      <a:pt x="2191" y="2036"/>
                    </a:lnTo>
                    <a:lnTo>
                      <a:pt x="2184" y="2041"/>
                    </a:lnTo>
                    <a:lnTo>
                      <a:pt x="2184" y="2041"/>
                    </a:lnTo>
                    <a:lnTo>
                      <a:pt x="2179" y="2041"/>
                    </a:lnTo>
                    <a:lnTo>
                      <a:pt x="2172" y="2043"/>
                    </a:lnTo>
                    <a:lnTo>
                      <a:pt x="2168" y="2043"/>
                    </a:lnTo>
                    <a:lnTo>
                      <a:pt x="2146" y="2029"/>
                    </a:lnTo>
                    <a:lnTo>
                      <a:pt x="2139" y="2024"/>
                    </a:lnTo>
                    <a:lnTo>
                      <a:pt x="2163" y="2008"/>
                    </a:lnTo>
                    <a:lnTo>
                      <a:pt x="2175" y="2001"/>
                    </a:lnTo>
                    <a:lnTo>
                      <a:pt x="2182" y="2001"/>
                    </a:lnTo>
                    <a:lnTo>
                      <a:pt x="2186" y="2005"/>
                    </a:lnTo>
                    <a:lnTo>
                      <a:pt x="2189" y="2005"/>
                    </a:lnTo>
                    <a:lnTo>
                      <a:pt x="2191" y="1996"/>
                    </a:lnTo>
                    <a:lnTo>
                      <a:pt x="2186" y="1989"/>
                    </a:lnTo>
                    <a:lnTo>
                      <a:pt x="2186" y="1984"/>
                    </a:lnTo>
                    <a:lnTo>
                      <a:pt x="2201" y="1982"/>
                    </a:lnTo>
                    <a:lnTo>
                      <a:pt x="2205" y="1984"/>
                    </a:lnTo>
                    <a:lnTo>
                      <a:pt x="2210" y="1986"/>
                    </a:lnTo>
                    <a:lnTo>
                      <a:pt x="2215" y="1991"/>
                    </a:lnTo>
                    <a:lnTo>
                      <a:pt x="2217" y="1998"/>
                    </a:lnTo>
                    <a:close/>
                    <a:moveTo>
                      <a:pt x="3541" y="2091"/>
                    </a:moveTo>
                    <a:lnTo>
                      <a:pt x="3560" y="2093"/>
                    </a:lnTo>
                    <a:lnTo>
                      <a:pt x="3574" y="2091"/>
                    </a:lnTo>
                    <a:lnTo>
                      <a:pt x="3588" y="2112"/>
                    </a:lnTo>
                    <a:lnTo>
                      <a:pt x="3595" y="2128"/>
                    </a:lnTo>
                    <a:lnTo>
                      <a:pt x="3602" y="2140"/>
                    </a:lnTo>
                    <a:lnTo>
                      <a:pt x="3605" y="2152"/>
                    </a:lnTo>
                    <a:lnTo>
                      <a:pt x="3609" y="2161"/>
                    </a:lnTo>
                    <a:lnTo>
                      <a:pt x="3609" y="2164"/>
                    </a:lnTo>
                    <a:lnTo>
                      <a:pt x="3600" y="2157"/>
                    </a:lnTo>
                    <a:lnTo>
                      <a:pt x="3595" y="2143"/>
                    </a:lnTo>
                    <a:lnTo>
                      <a:pt x="3591" y="2135"/>
                    </a:lnTo>
                    <a:lnTo>
                      <a:pt x="3588" y="2133"/>
                    </a:lnTo>
                    <a:lnTo>
                      <a:pt x="3586" y="2128"/>
                    </a:lnTo>
                    <a:lnTo>
                      <a:pt x="3579" y="2114"/>
                    </a:lnTo>
                    <a:lnTo>
                      <a:pt x="3579" y="2109"/>
                    </a:lnTo>
                    <a:lnTo>
                      <a:pt x="3576" y="2105"/>
                    </a:lnTo>
                    <a:lnTo>
                      <a:pt x="3574" y="2105"/>
                    </a:lnTo>
                    <a:lnTo>
                      <a:pt x="3569" y="2105"/>
                    </a:lnTo>
                    <a:lnTo>
                      <a:pt x="3569" y="2107"/>
                    </a:lnTo>
                    <a:lnTo>
                      <a:pt x="3569" y="2117"/>
                    </a:lnTo>
                    <a:lnTo>
                      <a:pt x="3574" y="2128"/>
                    </a:lnTo>
                    <a:lnTo>
                      <a:pt x="3588" y="2152"/>
                    </a:lnTo>
                    <a:lnTo>
                      <a:pt x="3598" y="2164"/>
                    </a:lnTo>
                    <a:lnTo>
                      <a:pt x="3600" y="2169"/>
                    </a:lnTo>
                    <a:lnTo>
                      <a:pt x="3602" y="2183"/>
                    </a:lnTo>
                    <a:lnTo>
                      <a:pt x="3598" y="2187"/>
                    </a:lnTo>
                    <a:lnTo>
                      <a:pt x="3605" y="2199"/>
                    </a:lnTo>
                    <a:lnTo>
                      <a:pt x="3605" y="2202"/>
                    </a:lnTo>
                    <a:lnTo>
                      <a:pt x="3602" y="2204"/>
                    </a:lnTo>
                    <a:lnTo>
                      <a:pt x="3591" y="2209"/>
                    </a:lnTo>
                    <a:lnTo>
                      <a:pt x="3579" y="2232"/>
                    </a:lnTo>
                    <a:lnTo>
                      <a:pt x="3567" y="2244"/>
                    </a:lnTo>
                    <a:lnTo>
                      <a:pt x="3560" y="2247"/>
                    </a:lnTo>
                    <a:lnTo>
                      <a:pt x="3557" y="2244"/>
                    </a:lnTo>
                    <a:lnTo>
                      <a:pt x="3555" y="2240"/>
                    </a:lnTo>
                    <a:lnTo>
                      <a:pt x="3553" y="2235"/>
                    </a:lnTo>
                    <a:lnTo>
                      <a:pt x="3550" y="2225"/>
                    </a:lnTo>
                    <a:lnTo>
                      <a:pt x="3555" y="2221"/>
                    </a:lnTo>
                    <a:lnTo>
                      <a:pt x="3560" y="2195"/>
                    </a:lnTo>
                    <a:lnTo>
                      <a:pt x="3560" y="2185"/>
                    </a:lnTo>
                    <a:lnTo>
                      <a:pt x="3550" y="2173"/>
                    </a:lnTo>
                    <a:lnTo>
                      <a:pt x="3546" y="2164"/>
                    </a:lnTo>
                    <a:lnTo>
                      <a:pt x="3541" y="2150"/>
                    </a:lnTo>
                    <a:lnTo>
                      <a:pt x="3536" y="2114"/>
                    </a:lnTo>
                    <a:lnTo>
                      <a:pt x="3534" y="2102"/>
                    </a:lnTo>
                    <a:lnTo>
                      <a:pt x="3529" y="2093"/>
                    </a:lnTo>
                    <a:lnTo>
                      <a:pt x="3527" y="2086"/>
                    </a:lnTo>
                    <a:lnTo>
                      <a:pt x="3522" y="2076"/>
                    </a:lnTo>
                    <a:lnTo>
                      <a:pt x="3520" y="2067"/>
                    </a:lnTo>
                    <a:lnTo>
                      <a:pt x="3520" y="2065"/>
                    </a:lnTo>
                    <a:lnTo>
                      <a:pt x="3527" y="2067"/>
                    </a:lnTo>
                    <a:lnTo>
                      <a:pt x="3536" y="2081"/>
                    </a:lnTo>
                    <a:lnTo>
                      <a:pt x="3541" y="2091"/>
                    </a:lnTo>
                    <a:close/>
                    <a:moveTo>
                      <a:pt x="3567" y="2079"/>
                    </a:moveTo>
                    <a:lnTo>
                      <a:pt x="3567" y="2083"/>
                    </a:lnTo>
                    <a:lnTo>
                      <a:pt x="3557" y="2083"/>
                    </a:lnTo>
                    <a:lnTo>
                      <a:pt x="3546" y="2079"/>
                    </a:lnTo>
                    <a:lnTo>
                      <a:pt x="3541" y="2072"/>
                    </a:lnTo>
                    <a:lnTo>
                      <a:pt x="3541" y="2069"/>
                    </a:lnTo>
                    <a:lnTo>
                      <a:pt x="3550" y="2065"/>
                    </a:lnTo>
                    <a:lnTo>
                      <a:pt x="3560" y="2072"/>
                    </a:lnTo>
                    <a:lnTo>
                      <a:pt x="3567" y="2079"/>
                    </a:lnTo>
                    <a:close/>
                    <a:moveTo>
                      <a:pt x="3461" y="2081"/>
                    </a:moveTo>
                    <a:lnTo>
                      <a:pt x="3472" y="2095"/>
                    </a:lnTo>
                    <a:lnTo>
                      <a:pt x="3472" y="2098"/>
                    </a:lnTo>
                    <a:lnTo>
                      <a:pt x="3470" y="2107"/>
                    </a:lnTo>
                    <a:lnTo>
                      <a:pt x="3465" y="2112"/>
                    </a:lnTo>
                    <a:lnTo>
                      <a:pt x="3468" y="2114"/>
                    </a:lnTo>
                    <a:lnTo>
                      <a:pt x="3470" y="2117"/>
                    </a:lnTo>
                    <a:lnTo>
                      <a:pt x="3475" y="2114"/>
                    </a:lnTo>
                    <a:lnTo>
                      <a:pt x="3484" y="2100"/>
                    </a:lnTo>
                    <a:lnTo>
                      <a:pt x="3489" y="2098"/>
                    </a:lnTo>
                    <a:lnTo>
                      <a:pt x="3491" y="2098"/>
                    </a:lnTo>
                    <a:lnTo>
                      <a:pt x="3505" y="2100"/>
                    </a:lnTo>
                    <a:lnTo>
                      <a:pt x="3517" y="2107"/>
                    </a:lnTo>
                    <a:lnTo>
                      <a:pt x="3520" y="2112"/>
                    </a:lnTo>
                    <a:lnTo>
                      <a:pt x="3522" y="2121"/>
                    </a:lnTo>
                    <a:lnTo>
                      <a:pt x="3520" y="2140"/>
                    </a:lnTo>
                    <a:lnTo>
                      <a:pt x="3510" y="2143"/>
                    </a:lnTo>
                    <a:lnTo>
                      <a:pt x="3505" y="2143"/>
                    </a:lnTo>
                    <a:lnTo>
                      <a:pt x="3501" y="2140"/>
                    </a:lnTo>
                    <a:lnTo>
                      <a:pt x="3494" y="2147"/>
                    </a:lnTo>
                    <a:lnTo>
                      <a:pt x="3501" y="2152"/>
                    </a:lnTo>
                    <a:lnTo>
                      <a:pt x="3520" y="2152"/>
                    </a:lnTo>
                    <a:lnTo>
                      <a:pt x="3527" y="2164"/>
                    </a:lnTo>
                    <a:lnTo>
                      <a:pt x="3529" y="2171"/>
                    </a:lnTo>
                    <a:lnTo>
                      <a:pt x="3527" y="2187"/>
                    </a:lnTo>
                    <a:lnTo>
                      <a:pt x="3515" y="2183"/>
                    </a:lnTo>
                    <a:lnTo>
                      <a:pt x="3503" y="2176"/>
                    </a:lnTo>
                    <a:lnTo>
                      <a:pt x="3482" y="2164"/>
                    </a:lnTo>
                    <a:lnTo>
                      <a:pt x="3477" y="2164"/>
                    </a:lnTo>
                    <a:lnTo>
                      <a:pt x="3472" y="2166"/>
                    </a:lnTo>
                    <a:lnTo>
                      <a:pt x="3472" y="2173"/>
                    </a:lnTo>
                    <a:lnTo>
                      <a:pt x="3472" y="2190"/>
                    </a:lnTo>
                    <a:lnTo>
                      <a:pt x="3468" y="2199"/>
                    </a:lnTo>
                    <a:lnTo>
                      <a:pt x="3451" y="2195"/>
                    </a:lnTo>
                    <a:lnTo>
                      <a:pt x="3444" y="2183"/>
                    </a:lnTo>
                    <a:lnTo>
                      <a:pt x="3437" y="2164"/>
                    </a:lnTo>
                    <a:lnTo>
                      <a:pt x="3413" y="2140"/>
                    </a:lnTo>
                    <a:lnTo>
                      <a:pt x="3409" y="2135"/>
                    </a:lnTo>
                    <a:lnTo>
                      <a:pt x="3399" y="2121"/>
                    </a:lnTo>
                    <a:lnTo>
                      <a:pt x="3401" y="2112"/>
                    </a:lnTo>
                    <a:lnTo>
                      <a:pt x="3404" y="2105"/>
                    </a:lnTo>
                    <a:lnTo>
                      <a:pt x="3406" y="2102"/>
                    </a:lnTo>
                    <a:lnTo>
                      <a:pt x="3413" y="2098"/>
                    </a:lnTo>
                    <a:lnTo>
                      <a:pt x="3416" y="2086"/>
                    </a:lnTo>
                    <a:lnTo>
                      <a:pt x="3423" y="2095"/>
                    </a:lnTo>
                    <a:lnTo>
                      <a:pt x="3430" y="2102"/>
                    </a:lnTo>
                    <a:lnTo>
                      <a:pt x="3430" y="2095"/>
                    </a:lnTo>
                    <a:lnTo>
                      <a:pt x="3435" y="2088"/>
                    </a:lnTo>
                    <a:lnTo>
                      <a:pt x="3442" y="2088"/>
                    </a:lnTo>
                    <a:lnTo>
                      <a:pt x="3444" y="2088"/>
                    </a:lnTo>
                    <a:lnTo>
                      <a:pt x="3449" y="2081"/>
                    </a:lnTo>
                    <a:lnTo>
                      <a:pt x="3456" y="2079"/>
                    </a:lnTo>
                    <a:lnTo>
                      <a:pt x="3461" y="2081"/>
                    </a:lnTo>
                    <a:close/>
                    <a:moveTo>
                      <a:pt x="2170" y="2069"/>
                    </a:moveTo>
                    <a:lnTo>
                      <a:pt x="2170" y="2076"/>
                    </a:lnTo>
                    <a:lnTo>
                      <a:pt x="2172" y="2076"/>
                    </a:lnTo>
                    <a:lnTo>
                      <a:pt x="2186" y="2069"/>
                    </a:lnTo>
                    <a:lnTo>
                      <a:pt x="2191" y="2067"/>
                    </a:lnTo>
                    <a:lnTo>
                      <a:pt x="2201" y="2069"/>
                    </a:lnTo>
                    <a:lnTo>
                      <a:pt x="2205" y="2074"/>
                    </a:lnTo>
                    <a:lnTo>
                      <a:pt x="2205" y="2076"/>
                    </a:lnTo>
                    <a:lnTo>
                      <a:pt x="2205" y="2079"/>
                    </a:lnTo>
                    <a:lnTo>
                      <a:pt x="2198" y="2086"/>
                    </a:lnTo>
                    <a:lnTo>
                      <a:pt x="2198" y="2091"/>
                    </a:lnTo>
                    <a:lnTo>
                      <a:pt x="2203" y="2098"/>
                    </a:lnTo>
                    <a:lnTo>
                      <a:pt x="2215" y="2105"/>
                    </a:lnTo>
                    <a:lnTo>
                      <a:pt x="2217" y="2107"/>
                    </a:lnTo>
                    <a:lnTo>
                      <a:pt x="2217" y="2109"/>
                    </a:lnTo>
                    <a:lnTo>
                      <a:pt x="2205" y="2121"/>
                    </a:lnTo>
                    <a:lnTo>
                      <a:pt x="2201" y="2124"/>
                    </a:lnTo>
                    <a:lnTo>
                      <a:pt x="2198" y="2126"/>
                    </a:lnTo>
                    <a:lnTo>
                      <a:pt x="2184" y="2121"/>
                    </a:lnTo>
                    <a:lnTo>
                      <a:pt x="2168" y="2114"/>
                    </a:lnTo>
                    <a:lnTo>
                      <a:pt x="2163" y="2112"/>
                    </a:lnTo>
                    <a:lnTo>
                      <a:pt x="2160" y="2112"/>
                    </a:lnTo>
                    <a:lnTo>
                      <a:pt x="2156" y="2117"/>
                    </a:lnTo>
                    <a:lnTo>
                      <a:pt x="2158" y="2119"/>
                    </a:lnTo>
                    <a:lnTo>
                      <a:pt x="2172" y="2121"/>
                    </a:lnTo>
                    <a:lnTo>
                      <a:pt x="2175" y="2128"/>
                    </a:lnTo>
                    <a:lnTo>
                      <a:pt x="2177" y="2133"/>
                    </a:lnTo>
                    <a:lnTo>
                      <a:pt x="2177" y="2138"/>
                    </a:lnTo>
                    <a:lnTo>
                      <a:pt x="2175" y="2138"/>
                    </a:lnTo>
                    <a:lnTo>
                      <a:pt x="2168" y="2140"/>
                    </a:lnTo>
                    <a:lnTo>
                      <a:pt x="2160" y="2138"/>
                    </a:lnTo>
                    <a:lnTo>
                      <a:pt x="2151" y="2143"/>
                    </a:lnTo>
                    <a:lnTo>
                      <a:pt x="2146" y="2147"/>
                    </a:lnTo>
                    <a:lnTo>
                      <a:pt x="2130" y="2147"/>
                    </a:lnTo>
                    <a:lnTo>
                      <a:pt x="2116" y="2154"/>
                    </a:lnTo>
                    <a:lnTo>
                      <a:pt x="2111" y="2157"/>
                    </a:lnTo>
                    <a:lnTo>
                      <a:pt x="2108" y="2161"/>
                    </a:lnTo>
                    <a:lnTo>
                      <a:pt x="2101" y="2164"/>
                    </a:lnTo>
                    <a:lnTo>
                      <a:pt x="2090" y="2166"/>
                    </a:lnTo>
                    <a:lnTo>
                      <a:pt x="2097" y="2171"/>
                    </a:lnTo>
                    <a:lnTo>
                      <a:pt x="2097" y="2173"/>
                    </a:lnTo>
                    <a:lnTo>
                      <a:pt x="2097" y="2176"/>
                    </a:lnTo>
                    <a:lnTo>
                      <a:pt x="2094" y="2180"/>
                    </a:lnTo>
                    <a:lnTo>
                      <a:pt x="2085" y="2192"/>
                    </a:lnTo>
                    <a:lnTo>
                      <a:pt x="2066" y="2202"/>
                    </a:lnTo>
                    <a:lnTo>
                      <a:pt x="2061" y="2199"/>
                    </a:lnTo>
                    <a:lnTo>
                      <a:pt x="2061" y="2199"/>
                    </a:lnTo>
                    <a:lnTo>
                      <a:pt x="2059" y="2197"/>
                    </a:lnTo>
                    <a:lnTo>
                      <a:pt x="2059" y="2195"/>
                    </a:lnTo>
                    <a:lnTo>
                      <a:pt x="2085" y="2173"/>
                    </a:lnTo>
                    <a:lnTo>
                      <a:pt x="2085" y="2173"/>
                    </a:lnTo>
                    <a:lnTo>
                      <a:pt x="2078" y="2171"/>
                    </a:lnTo>
                    <a:lnTo>
                      <a:pt x="2071" y="2164"/>
                    </a:lnTo>
                    <a:lnTo>
                      <a:pt x="2064" y="2166"/>
                    </a:lnTo>
                    <a:lnTo>
                      <a:pt x="2061" y="2166"/>
                    </a:lnTo>
                    <a:lnTo>
                      <a:pt x="2064" y="2161"/>
                    </a:lnTo>
                    <a:lnTo>
                      <a:pt x="2071" y="2154"/>
                    </a:lnTo>
                    <a:lnTo>
                      <a:pt x="2068" y="2152"/>
                    </a:lnTo>
                    <a:lnTo>
                      <a:pt x="2068" y="2150"/>
                    </a:lnTo>
                    <a:lnTo>
                      <a:pt x="2061" y="2150"/>
                    </a:lnTo>
                    <a:lnTo>
                      <a:pt x="2054" y="2147"/>
                    </a:lnTo>
                    <a:lnTo>
                      <a:pt x="2047" y="2147"/>
                    </a:lnTo>
                    <a:lnTo>
                      <a:pt x="2042" y="2150"/>
                    </a:lnTo>
                    <a:lnTo>
                      <a:pt x="2042" y="2152"/>
                    </a:lnTo>
                    <a:lnTo>
                      <a:pt x="2052" y="2152"/>
                    </a:lnTo>
                    <a:lnTo>
                      <a:pt x="2054" y="2154"/>
                    </a:lnTo>
                    <a:lnTo>
                      <a:pt x="2054" y="2159"/>
                    </a:lnTo>
                    <a:lnTo>
                      <a:pt x="2056" y="2161"/>
                    </a:lnTo>
                    <a:lnTo>
                      <a:pt x="2056" y="2166"/>
                    </a:lnTo>
                    <a:lnTo>
                      <a:pt x="2052" y="2173"/>
                    </a:lnTo>
                    <a:lnTo>
                      <a:pt x="2047" y="2178"/>
                    </a:lnTo>
                    <a:lnTo>
                      <a:pt x="2042" y="2176"/>
                    </a:lnTo>
                    <a:lnTo>
                      <a:pt x="2033" y="2159"/>
                    </a:lnTo>
                    <a:lnTo>
                      <a:pt x="2030" y="2133"/>
                    </a:lnTo>
                    <a:lnTo>
                      <a:pt x="2023" y="2114"/>
                    </a:lnTo>
                    <a:lnTo>
                      <a:pt x="2023" y="2109"/>
                    </a:lnTo>
                    <a:lnTo>
                      <a:pt x="2028" y="2100"/>
                    </a:lnTo>
                    <a:lnTo>
                      <a:pt x="2042" y="2086"/>
                    </a:lnTo>
                    <a:lnTo>
                      <a:pt x="2054" y="2083"/>
                    </a:lnTo>
                    <a:lnTo>
                      <a:pt x="2064" y="2079"/>
                    </a:lnTo>
                    <a:lnTo>
                      <a:pt x="2071" y="2076"/>
                    </a:lnTo>
                    <a:lnTo>
                      <a:pt x="2075" y="2079"/>
                    </a:lnTo>
                    <a:lnTo>
                      <a:pt x="2082" y="2081"/>
                    </a:lnTo>
                    <a:lnTo>
                      <a:pt x="2082" y="2088"/>
                    </a:lnTo>
                    <a:lnTo>
                      <a:pt x="2080" y="2091"/>
                    </a:lnTo>
                    <a:lnTo>
                      <a:pt x="2082" y="2093"/>
                    </a:lnTo>
                    <a:lnTo>
                      <a:pt x="2085" y="2098"/>
                    </a:lnTo>
                    <a:lnTo>
                      <a:pt x="2087" y="2109"/>
                    </a:lnTo>
                    <a:lnTo>
                      <a:pt x="2092" y="2124"/>
                    </a:lnTo>
                    <a:lnTo>
                      <a:pt x="2094" y="2128"/>
                    </a:lnTo>
                    <a:lnTo>
                      <a:pt x="2099" y="2131"/>
                    </a:lnTo>
                    <a:lnTo>
                      <a:pt x="2097" y="2121"/>
                    </a:lnTo>
                    <a:lnTo>
                      <a:pt x="2094" y="2112"/>
                    </a:lnTo>
                    <a:lnTo>
                      <a:pt x="2097" y="2088"/>
                    </a:lnTo>
                    <a:lnTo>
                      <a:pt x="2097" y="2083"/>
                    </a:lnTo>
                    <a:lnTo>
                      <a:pt x="2099" y="2083"/>
                    </a:lnTo>
                    <a:lnTo>
                      <a:pt x="2106" y="2083"/>
                    </a:lnTo>
                    <a:lnTo>
                      <a:pt x="2108" y="2081"/>
                    </a:lnTo>
                    <a:lnTo>
                      <a:pt x="2099" y="2072"/>
                    </a:lnTo>
                    <a:lnTo>
                      <a:pt x="2097" y="2067"/>
                    </a:lnTo>
                    <a:lnTo>
                      <a:pt x="2094" y="2060"/>
                    </a:lnTo>
                    <a:lnTo>
                      <a:pt x="2094" y="2057"/>
                    </a:lnTo>
                    <a:lnTo>
                      <a:pt x="2101" y="2053"/>
                    </a:lnTo>
                    <a:lnTo>
                      <a:pt x="2104" y="2050"/>
                    </a:lnTo>
                    <a:lnTo>
                      <a:pt x="2106" y="2050"/>
                    </a:lnTo>
                    <a:lnTo>
                      <a:pt x="2111" y="2053"/>
                    </a:lnTo>
                    <a:lnTo>
                      <a:pt x="2113" y="2055"/>
                    </a:lnTo>
                    <a:lnTo>
                      <a:pt x="2118" y="2069"/>
                    </a:lnTo>
                    <a:lnTo>
                      <a:pt x="2123" y="2074"/>
                    </a:lnTo>
                    <a:lnTo>
                      <a:pt x="2125" y="2074"/>
                    </a:lnTo>
                    <a:lnTo>
                      <a:pt x="2127" y="2072"/>
                    </a:lnTo>
                    <a:lnTo>
                      <a:pt x="2130" y="2069"/>
                    </a:lnTo>
                    <a:lnTo>
                      <a:pt x="2132" y="2067"/>
                    </a:lnTo>
                    <a:lnTo>
                      <a:pt x="2137" y="2065"/>
                    </a:lnTo>
                    <a:lnTo>
                      <a:pt x="2144" y="2069"/>
                    </a:lnTo>
                    <a:lnTo>
                      <a:pt x="2146" y="2069"/>
                    </a:lnTo>
                    <a:lnTo>
                      <a:pt x="2149" y="2065"/>
                    </a:lnTo>
                    <a:lnTo>
                      <a:pt x="2149" y="2060"/>
                    </a:lnTo>
                    <a:lnTo>
                      <a:pt x="2151" y="2057"/>
                    </a:lnTo>
                    <a:lnTo>
                      <a:pt x="2151" y="2053"/>
                    </a:lnTo>
                    <a:lnTo>
                      <a:pt x="2149" y="2046"/>
                    </a:lnTo>
                    <a:lnTo>
                      <a:pt x="2153" y="2046"/>
                    </a:lnTo>
                    <a:lnTo>
                      <a:pt x="2170" y="2053"/>
                    </a:lnTo>
                    <a:lnTo>
                      <a:pt x="2175" y="2057"/>
                    </a:lnTo>
                    <a:lnTo>
                      <a:pt x="2170" y="2069"/>
                    </a:lnTo>
                    <a:close/>
                    <a:moveTo>
                      <a:pt x="2146" y="2060"/>
                    </a:moveTo>
                    <a:lnTo>
                      <a:pt x="2144" y="2065"/>
                    </a:lnTo>
                    <a:lnTo>
                      <a:pt x="2142" y="2062"/>
                    </a:lnTo>
                    <a:lnTo>
                      <a:pt x="2137" y="2057"/>
                    </a:lnTo>
                    <a:lnTo>
                      <a:pt x="2130" y="2050"/>
                    </a:lnTo>
                    <a:lnTo>
                      <a:pt x="2127" y="2043"/>
                    </a:lnTo>
                    <a:lnTo>
                      <a:pt x="2127" y="2043"/>
                    </a:lnTo>
                    <a:lnTo>
                      <a:pt x="2130" y="2041"/>
                    </a:lnTo>
                    <a:lnTo>
                      <a:pt x="2139" y="2048"/>
                    </a:lnTo>
                    <a:lnTo>
                      <a:pt x="2144" y="2053"/>
                    </a:lnTo>
                    <a:lnTo>
                      <a:pt x="2146" y="2060"/>
                    </a:lnTo>
                    <a:close/>
                    <a:moveTo>
                      <a:pt x="3524" y="2206"/>
                    </a:moveTo>
                    <a:lnTo>
                      <a:pt x="3531" y="2221"/>
                    </a:lnTo>
                    <a:lnTo>
                      <a:pt x="3536" y="2232"/>
                    </a:lnTo>
                    <a:lnTo>
                      <a:pt x="3541" y="2247"/>
                    </a:lnTo>
                    <a:lnTo>
                      <a:pt x="3550" y="2275"/>
                    </a:lnTo>
                    <a:lnTo>
                      <a:pt x="3553" y="2287"/>
                    </a:lnTo>
                    <a:lnTo>
                      <a:pt x="3555" y="2294"/>
                    </a:lnTo>
                    <a:lnTo>
                      <a:pt x="3557" y="2310"/>
                    </a:lnTo>
                    <a:lnTo>
                      <a:pt x="3555" y="2313"/>
                    </a:lnTo>
                    <a:lnTo>
                      <a:pt x="3553" y="2315"/>
                    </a:lnTo>
                    <a:lnTo>
                      <a:pt x="3553" y="2320"/>
                    </a:lnTo>
                    <a:lnTo>
                      <a:pt x="3555" y="2334"/>
                    </a:lnTo>
                    <a:lnTo>
                      <a:pt x="3557" y="2351"/>
                    </a:lnTo>
                    <a:lnTo>
                      <a:pt x="3555" y="2362"/>
                    </a:lnTo>
                    <a:lnTo>
                      <a:pt x="3553" y="2365"/>
                    </a:lnTo>
                    <a:lnTo>
                      <a:pt x="3548" y="2360"/>
                    </a:lnTo>
                    <a:lnTo>
                      <a:pt x="3543" y="2355"/>
                    </a:lnTo>
                    <a:lnTo>
                      <a:pt x="3541" y="2348"/>
                    </a:lnTo>
                    <a:lnTo>
                      <a:pt x="3531" y="2332"/>
                    </a:lnTo>
                    <a:lnTo>
                      <a:pt x="3529" y="2322"/>
                    </a:lnTo>
                    <a:lnTo>
                      <a:pt x="3529" y="2315"/>
                    </a:lnTo>
                    <a:lnTo>
                      <a:pt x="3529" y="2310"/>
                    </a:lnTo>
                    <a:lnTo>
                      <a:pt x="3531" y="2308"/>
                    </a:lnTo>
                    <a:lnTo>
                      <a:pt x="3536" y="2301"/>
                    </a:lnTo>
                    <a:lnTo>
                      <a:pt x="3534" y="2299"/>
                    </a:lnTo>
                    <a:lnTo>
                      <a:pt x="3531" y="2301"/>
                    </a:lnTo>
                    <a:lnTo>
                      <a:pt x="3524" y="2303"/>
                    </a:lnTo>
                    <a:lnTo>
                      <a:pt x="3517" y="2296"/>
                    </a:lnTo>
                    <a:lnTo>
                      <a:pt x="3513" y="2294"/>
                    </a:lnTo>
                    <a:lnTo>
                      <a:pt x="3515" y="2284"/>
                    </a:lnTo>
                    <a:lnTo>
                      <a:pt x="3513" y="2280"/>
                    </a:lnTo>
                    <a:lnTo>
                      <a:pt x="3503" y="2284"/>
                    </a:lnTo>
                    <a:lnTo>
                      <a:pt x="3498" y="2282"/>
                    </a:lnTo>
                    <a:lnTo>
                      <a:pt x="3498" y="2277"/>
                    </a:lnTo>
                    <a:lnTo>
                      <a:pt x="3498" y="2270"/>
                    </a:lnTo>
                    <a:lnTo>
                      <a:pt x="3501" y="2266"/>
                    </a:lnTo>
                    <a:lnTo>
                      <a:pt x="3508" y="2251"/>
                    </a:lnTo>
                    <a:lnTo>
                      <a:pt x="3508" y="2249"/>
                    </a:lnTo>
                    <a:lnTo>
                      <a:pt x="3503" y="2249"/>
                    </a:lnTo>
                    <a:lnTo>
                      <a:pt x="3496" y="2244"/>
                    </a:lnTo>
                    <a:lnTo>
                      <a:pt x="3494" y="2230"/>
                    </a:lnTo>
                    <a:lnTo>
                      <a:pt x="3487" y="2221"/>
                    </a:lnTo>
                    <a:lnTo>
                      <a:pt x="3484" y="2223"/>
                    </a:lnTo>
                    <a:lnTo>
                      <a:pt x="3477" y="2247"/>
                    </a:lnTo>
                    <a:lnTo>
                      <a:pt x="3472" y="2251"/>
                    </a:lnTo>
                    <a:lnTo>
                      <a:pt x="3461" y="2256"/>
                    </a:lnTo>
                    <a:lnTo>
                      <a:pt x="3463" y="2249"/>
                    </a:lnTo>
                    <a:lnTo>
                      <a:pt x="3465" y="2244"/>
                    </a:lnTo>
                    <a:lnTo>
                      <a:pt x="3461" y="2225"/>
                    </a:lnTo>
                    <a:lnTo>
                      <a:pt x="3458" y="2218"/>
                    </a:lnTo>
                    <a:lnTo>
                      <a:pt x="3463" y="2213"/>
                    </a:lnTo>
                    <a:lnTo>
                      <a:pt x="3470" y="2211"/>
                    </a:lnTo>
                    <a:lnTo>
                      <a:pt x="3475" y="2206"/>
                    </a:lnTo>
                    <a:lnTo>
                      <a:pt x="3477" y="2202"/>
                    </a:lnTo>
                    <a:lnTo>
                      <a:pt x="3477" y="2197"/>
                    </a:lnTo>
                    <a:lnTo>
                      <a:pt x="3484" y="2183"/>
                    </a:lnTo>
                    <a:lnTo>
                      <a:pt x="3487" y="2180"/>
                    </a:lnTo>
                    <a:lnTo>
                      <a:pt x="3494" y="2180"/>
                    </a:lnTo>
                    <a:lnTo>
                      <a:pt x="3510" y="2195"/>
                    </a:lnTo>
                    <a:lnTo>
                      <a:pt x="3517" y="2197"/>
                    </a:lnTo>
                    <a:lnTo>
                      <a:pt x="3524" y="2206"/>
                    </a:lnTo>
                    <a:close/>
                    <a:moveTo>
                      <a:pt x="877" y="1835"/>
                    </a:moveTo>
                    <a:lnTo>
                      <a:pt x="867" y="1840"/>
                    </a:lnTo>
                    <a:lnTo>
                      <a:pt x="863" y="1835"/>
                    </a:lnTo>
                    <a:lnTo>
                      <a:pt x="860" y="1830"/>
                    </a:lnTo>
                    <a:lnTo>
                      <a:pt x="863" y="1828"/>
                    </a:lnTo>
                    <a:lnTo>
                      <a:pt x="884" y="1830"/>
                    </a:lnTo>
                    <a:lnTo>
                      <a:pt x="877" y="1835"/>
                    </a:lnTo>
                    <a:close/>
                    <a:moveTo>
                      <a:pt x="2146" y="2164"/>
                    </a:moveTo>
                    <a:lnTo>
                      <a:pt x="2137" y="2169"/>
                    </a:lnTo>
                    <a:lnTo>
                      <a:pt x="2134" y="2166"/>
                    </a:lnTo>
                    <a:lnTo>
                      <a:pt x="2127" y="2176"/>
                    </a:lnTo>
                    <a:lnTo>
                      <a:pt x="2123" y="2178"/>
                    </a:lnTo>
                    <a:lnTo>
                      <a:pt x="2118" y="2171"/>
                    </a:lnTo>
                    <a:lnTo>
                      <a:pt x="2120" y="2159"/>
                    </a:lnTo>
                    <a:lnTo>
                      <a:pt x="2127" y="2152"/>
                    </a:lnTo>
                    <a:lnTo>
                      <a:pt x="2153" y="2159"/>
                    </a:lnTo>
                    <a:lnTo>
                      <a:pt x="2156" y="2161"/>
                    </a:lnTo>
                    <a:lnTo>
                      <a:pt x="2156" y="2164"/>
                    </a:lnTo>
                    <a:lnTo>
                      <a:pt x="2153" y="2164"/>
                    </a:lnTo>
                    <a:lnTo>
                      <a:pt x="2146" y="2164"/>
                    </a:lnTo>
                    <a:close/>
                    <a:moveTo>
                      <a:pt x="3650" y="2247"/>
                    </a:moveTo>
                    <a:lnTo>
                      <a:pt x="3654" y="2251"/>
                    </a:lnTo>
                    <a:lnTo>
                      <a:pt x="3657" y="2247"/>
                    </a:lnTo>
                    <a:lnTo>
                      <a:pt x="3661" y="2247"/>
                    </a:lnTo>
                    <a:lnTo>
                      <a:pt x="3671" y="2251"/>
                    </a:lnTo>
                    <a:lnTo>
                      <a:pt x="3678" y="2256"/>
                    </a:lnTo>
                    <a:lnTo>
                      <a:pt x="3683" y="2263"/>
                    </a:lnTo>
                    <a:lnTo>
                      <a:pt x="3683" y="2268"/>
                    </a:lnTo>
                    <a:lnTo>
                      <a:pt x="3683" y="2277"/>
                    </a:lnTo>
                    <a:lnTo>
                      <a:pt x="3683" y="2287"/>
                    </a:lnTo>
                    <a:lnTo>
                      <a:pt x="3683" y="2292"/>
                    </a:lnTo>
                    <a:lnTo>
                      <a:pt x="3683" y="2296"/>
                    </a:lnTo>
                    <a:lnTo>
                      <a:pt x="3680" y="2299"/>
                    </a:lnTo>
                    <a:lnTo>
                      <a:pt x="3678" y="2301"/>
                    </a:lnTo>
                    <a:lnTo>
                      <a:pt x="3669" y="2292"/>
                    </a:lnTo>
                    <a:lnTo>
                      <a:pt x="3659" y="2277"/>
                    </a:lnTo>
                    <a:lnTo>
                      <a:pt x="3654" y="2273"/>
                    </a:lnTo>
                    <a:lnTo>
                      <a:pt x="3652" y="2273"/>
                    </a:lnTo>
                    <a:lnTo>
                      <a:pt x="3654" y="2277"/>
                    </a:lnTo>
                    <a:lnTo>
                      <a:pt x="3661" y="2287"/>
                    </a:lnTo>
                    <a:lnTo>
                      <a:pt x="3661" y="2292"/>
                    </a:lnTo>
                    <a:lnTo>
                      <a:pt x="3666" y="2296"/>
                    </a:lnTo>
                    <a:lnTo>
                      <a:pt x="3669" y="2301"/>
                    </a:lnTo>
                    <a:lnTo>
                      <a:pt x="3671" y="2308"/>
                    </a:lnTo>
                    <a:lnTo>
                      <a:pt x="3671" y="2313"/>
                    </a:lnTo>
                    <a:lnTo>
                      <a:pt x="3669" y="2318"/>
                    </a:lnTo>
                    <a:lnTo>
                      <a:pt x="3669" y="2322"/>
                    </a:lnTo>
                    <a:lnTo>
                      <a:pt x="3666" y="2322"/>
                    </a:lnTo>
                    <a:lnTo>
                      <a:pt x="3652" y="2322"/>
                    </a:lnTo>
                    <a:lnTo>
                      <a:pt x="3645" y="2327"/>
                    </a:lnTo>
                    <a:lnTo>
                      <a:pt x="3635" y="2325"/>
                    </a:lnTo>
                    <a:lnTo>
                      <a:pt x="3633" y="2322"/>
                    </a:lnTo>
                    <a:lnTo>
                      <a:pt x="3631" y="2318"/>
                    </a:lnTo>
                    <a:lnTo>
                      <a:pt x="3631" y="2306"/>
                    </a:lnTo>
                    <a:lnTo>
                      <a:pt x="3626" y="2292"/>
                    </a:lnTo>
                    <a:lnTo>
                      <a:pt x="3626" y="2277"/>
                    </a:lnTo>
                    <a:lnTo>
                      <a:pt x="3619" y="2268"/>
                    </a:lnTo>
                    <a:lnTo>
                      <a:pt x="3614" y="2261"/>
                    </a:lnTo>
                    <a:lnTo>
                      <a:pt x="3607" y="2256"/>
                    </a:lnTo>
                    <a:lnTo>
                      <a:pt x="3602" y="2249"/>
                    </a:lnTo>
                    <a:lnTo>
                      <a:pt x="3602" y="2244"/>
                    </a:lnTo>
                    <a:lnTo>
                      <a:pt x="3609" y="2242"/>
                    </a:lnTo>
                    <a:lnTo>
                      <a:pt x="3621" y="2242"/>
                    </a:lnTo>
                    <a:lnTo>
                      <a:pt x="3650" y="2247"/>
                    </a:lnTo>
                    <a:close/>
                    <a:moveTo>
                      <a:pt x="3602" y="2273"/>
                    </a:moveTo>
                    <a:lnTo>
                      <a:pt x="3607" y="2282"/>
                    </a:lnTo>
                    <a:lnTo>
                      <a:pt x="3614" y="2282"/>
                    </a:lnTo>
                    <a:lnTo>
                      <a:pt x="3619" y="2289"/>
                    </a:lnTo>
                    <a:lnTo>
                      <a:pt x="3624" y="2299"/>
                    </a:lnTo>
                    <a:lnTo>
                      <a:pt x="3621" y="2306"/>
                    </a:lnTo>
                    <a:lnTo>
                      <a:pt x="3619" y="2306"/>
                    </a:lnTo>
                    <a:lnTo>
                      <a:pt x="3614" y="2308"/>
                    </a:lnTo>
                    <a:lnTo>
                      <a:pt x="3614" y="2322"/>
                    </a:lnTo>
                    <a:lnTo>
                      <a:pt x="3614" y="2336"/>
                    </a:lnTo>
                    <a:lnTo>
                      <a:pt x="3614" y="2351"/>
                    </a:lnTo>
                    <a:lnTo>
                      <a:pt x="3612" y="2365"/>
                    </a:lnTo>
                    <a:lnTo>
                      <a:pt x="3612" y="2372"/>
                    </a:lnTo>
                    <a:lnTo>
                      <a:pt x="3609" y="2377"/>
                    </a:lnTo>
                    <a:lnTo>
                      <a:pt x="3607" y="2377"/>
                    </a:lnTo>
                    <a:lnTo>
                      <a:pt x="3605" y="2374"/>
                    </a:lnTo>
                    <a:lnTo>
                      <a:pt x="3602" y="2372"/>
                    </a:lnTo>
                    <a:lnTo>
                      <a:pt x="3598" y="2381"/>
                    </a:lnTo>
                    <a:lnTo>
                      <a:pt x="3593" y="2381"/>
                    </a:lnTo>
                    <a:lnTo>
                      <a:pt x="3588" y="2365"/>
                    </a:lnTo>
                    <a:lnTo>
                      <a:pt x="3591" y="2334"/>
                    </a:lnTo>
                    <a:lnTo>
                      <a:pt x="3598" y="2327"/>
                    </a:lnTo>
                    <a:lnTo>
                      <a:pt x="3593" y="2320"/>
                    </a:lnTo>
                    <a:lnTo>
                      <a:pt x="3581" y="2310"/>
                    </a:lnTo>
                    <a:lnTo>
                      <a:pt x="3581" y="2306"/>
                    </a:lnTo>
                    <a:lnTo>
                      <a:pt x="3574" y="2292"/>
                    </a:lnTo>
                    <a:lnTo>
                      <a:pt x="3572" y="2287"/>
                    </a:lnTo>
                    <a:lnTo>
                      <a:pt x="3574" y="2275"/>
                    </a:lnTo>
                    <a:lnTo>
                      <a:pt x="3581" y="2263"/>
                    </a:lnTo>
                    <a:lnTo>
                      <a:pt x="3591" y="2261"/>
                    </a:lnTo>
                    <a:lnTo>
                      <a:pt x="3598" y="2266"/>
                    </a:lnTo>
                    <a:lnTo>
                      <a:pt x="3602" y="2270"/>
                    </a:lnTo>
                    <a:lnTo>
                      <a:pt x="3602" y="2273"/>
                    </a:lnTo>
                    <a:close/>
                    <a:moveTo>
                      <a:pt x="3702" y="2310"/>
                    </a:moveTo>
                    <a:lnTo>
                      <a:pt x="3699" y="2313"/>
                    </a:lnTo>
                    <a:lnTo>
                      <a:pt x="3690" y="2315"/>
                    </a:lnTo>
                    <a:lnTo>
                      <a:pt x="3687" y="2313"/>
                    </a:lnTo>
                    <a:lnTo>
                      <a:pt x="3685" y="2306"/>
                    </a:lnTo>
                    <a:lnTo>
                      <a:pt x="3685" y="2301"/>
                    </a:lnTo>
                    <a:lnTo>
                      <a:pt x="3687" y="2296"/>
                    </a:lnTo>
                    <a:lnTo>
                      <a:pt x="3690" y="2289"/>
                    </a:lnTo>
                    <a:lnTo>
                      <a:pt x="3692" y="2275"/>
                    </a:lnTo>
                    <a:lnTo>
                      <a:pt x="3706" y="2289"/>
                    </a:lnTo>
                    <a:lnTo>
                      <a:pt x="3711" y="2296"/>
                    </a:lnTo>
                    <a:lnTo>
                      <a:pt x="3713" y="2303"/>
                    </a:lnTo>
                    <a:lnTo>
                      <a:pt x="3709" y="2308"/>
                    </a:lnTo>
                    <a:lnTo>
                      <a:pt x="3704" y="2308"/>
                    </a:lnTo>
                    <a:lnTo>
                      <a:pt x="3702" y="2310"/>
                    </a:lnTo>
                    <a:close/>
                    <a:moveTo>
                      <a:pt x="882" y="1920"/>
                    </a:moveTo>
                    <a:lnTo>
                      <a:pt x="889" y="1925"/>
                    </a:lnTo>
                    <a:lnTo>
                      <a:pt x="896" y="1925"/>
                    </a:lnTo>
                    <a:lnTo>
                      <a:pt x="901" y="1930"/>
                    </a:lnTo>
                    <a:lnTo>
                      <a:pt x="901" y="1932"/>
                    </a:lnTo>
                    <a:lnTo>
                      <a:pt x="889" y="1937"/>
                    </a:lnTo>
                    <a:lnTo>
                      <a:pt x="886" y="1934"/>
                    </a:lnTo>
                    <a:lnTo>
                      <a:pt x="879" y="1923"/>
                    </a:lnTo>
                    <a:lnTo>
                      <a:pt x="882" y="1920"/>
                    </a:lnTo>
                    <a:close/>
                    <a:moveTo>
                      <a:pt x="2042" y="2235"/>
                    </a:moveTo>
                    <a:lnTo>
                      <a:pt x="2038" y="2235"/>
                    </a:lnTo>
                    <a:lnTo>
                      <a:pt x="2033" y="2230"/>
                    </a:lnTo>
                    <a:lnTo>
                      <a:pt x="2035" y="2225"/>
                    </a:lnTo>
                    <a:lnTo>
                      <a:pt x="2045" y="2221"/>
                    </a:lnTo>
                    <a:lnTo>
                      <a:pt x="2052" y="2223"/>
                    </a:lnTo>
                    <a:lnTo>
                      <a:pt x="2052" y="2228"/>
                    </a:lnTo>
                    <a:lnTo>
                      <a:pt x="2052" y="2230"/>
                    </a:lnTo>
                    <a:lnTo>
                      <a:pt x="2049" y="2232"/>
                    </a:lnTo>
                    <a:lnTo>
                      <a:pt x="2047" y="2232"/>
                    </a:lnTo>
                    <a:lnTo>
                      <a:pt x="2042" y="2235"/>
                    </a:lnTo>
                    <a:close/>
                    <a:moveTo>
                      <a:pt x="2004" y="2240"/>
                    </a:moveTo>
                    <a:lnTo>
                      <a:pt x="1997" y="2242"/>
                    </a:lnTo>
                    <a:lnTo>
                      <a:pt x="1997" y="2240"/>
                    </a:lnTo>
                    <a:lnTo>
                      <a:pt x="1997" y="2237"/>
                    </a:lnTo>
                    <a:lnTo>
                      <a:pt x="2000" y="2232"/>
                    </a:lnTo>
                    <a:lnTo>
                      <a:pt x="2002" y="2230"/>
                    </a:lnTo>
                    <a:lnTo>
                      <a:pt x="2012" y="2223"/>
                    </a:lnTo>
                    <a:lnTo>
                      <a:pt x="2021" y="2218"/>
                    </a:lnTo>
                    <a:lnTo>
                      <a:pt x="2026" y="2221"/>
                    </a:lnTo>
                    <a:lnTo>
                      <a:pt x="2026" y="2223"/>
                    </a:lnTo>
                    <a:lnTo>
                      <a:pt x="2019" y="2230"/>
                    </a:lnTo>
                    <a:lnTo>
                      <a:pt x="2004" y="2240"/>
                    </a:lnTo>
                    <a:close/>
                    <a:moveTo>
                      <a:pt x="3754" y="2367"/>
                    </a:moveTo>
                    <a:lnTo>
                      <a:pt x="3756" y="2388"/>
                    </a:lnTo>
                    <a:lnTo>
                      <a:pt x="3751" y="2388"/>
                    </a:lnTo>
                    <a:lnTo>
                      <a:pt x="3749" y="2388"/>
                    </a:lnTo>
                    <a:lnTo>
                      <a:pt x="3742" y="2393"/>
                    </a:lnTo>
                    <a:lnTo>
                      <a:pt x="3737" y="2391"/>
                    </a:lnTo>
                    <a:lnTo>
                      <a:pt x="3732" y="2388"/>
                    </a:lnTo>
                    <a:lnTo>
                      <a:pt x="3732" y="2386"/>
                    </a:lnTo>
                    <a:lnTo>
                      <a:pt x="3732" y="2379"/>
                    </a:lnTo>
                    <a:lnTo>
                      <a:pt x="3730" y="2374"/>
                    </a:lnTo>
                    <a:lnTo>
                      <a:pt x="3718" y="2374"/>
                    </a:lnTo>
                    <a:lnTo>
                      <a:pt x="3713" y="2374"/>
                    </a:lnTo>
                    <a:lnTo>
                      <a:pt x="3709" y="2367"/>
                    </a:lnTo>
                    <a:lnTo>
                      <a:pt x="3709" y="2358"/>
                    </a:lnTo>
                    <a:lnTo>
                      <a:pt x="3711" y="2353"/>
                    </a:lnTo>
                    <a:lnTo>
                      <a:pt x="3716" y="2351"/>
                    </a:lnTo>
                    <a:lnTo>
                      <a:pt x="3721" y="2339"/>
                    </a:lnTo>
                    <a:lnTo>
                      <a:pt x="3723" y="2336"/>
                    </a:lnTo>
                    <a:lnTo>
                      <a:pt x="3730" y="2313"/>
                    </a:lnTo>
                    <a:lnTo>
                      <a:pt x="3735" y="2315"/>
                    </a:lnTo>
                    <a:lnTo>
                      <a:pt x="3744" y="2327"/>
                    </a:lnTo>
                    <a:lnTo>
                      <a:pt x="3756" y="2346"/>
                    </a:lnTo>
                    <a:lnTo>
                      <a:pt x="3754" y="2367"/>
                    </a:lnTo>
                    <a:close/>
                    <a:moveTo>
                      <a:pt x="3702" y="2351"/>
                    </a:moveTo>
                    <a:lnTo>
                      <a:pt x="3697" y="2351"/>
                    </a:lnTo>
                    <a:lnTo>
                      <a:pt x="3692" y="2351"/>
                    </a:lnTo>
                    <a:lnTo>
                      <a:pt x="3680" y="2339"/>
                    </a:lnTo>
                    <a:lnTo>
                      <a:pt x="3680" y="2336"/>
                    </a:lnTo>
                    <a:lnTo>
                      <a:pt x="3680" y="2332"/>
                    </a:lnTo>
                    <a:lnTo>
                      <a:pt x="3687" y="2325"/>
                    </a:lnTo>
                    <a:lnTo>
                      <a:pt x="3690" y="2322"/>
                    </a:lnTo>
                    <a:lnTo>
                      <a:pt x="3704" y="2322"/>
                    </a:lnTo>
                    <a:lnTo>
                      <a:pt x="3711" y="2325"/>
                    </a:lnTo>
                    <a:lnTo>
                      <a:pt x="3711" y="2327"/>
                    </a:lnTo>
                    <a:lnTo>
                      <a:pt x="3711" y="2329"/>
                    </a:lnTo>
                    <a:lnTo>
                      <a:pt x="3711" y="2334"/>
                    </a:lnTo>
                    <a:lnTo>
                      <a:pt x="3709" y="2336"/>
                    </a:lnTo>
                    <a:lnTo>
                      <a:pt x="3711" y="2341"/>
                    </a:lnTo>
                    <a:lnTo>
                      <a:pt x="3709" y="2344"/>
                    </a:lnTo>
                    <a:lnTo>
                      <a:pt x="3702" y="2351"/>
                    </a:lnTo>
                    <a:close/>
                    <a:moveTo>
                      <a:pt x="3640" y="2341"/>
                    </a:moveTo>
                    <a:lnTo>
                      <a:pt x="3654" y="2344"/>
                    </a:lnTo>
                    <a:lnTo>
                      <a:pt x="3669" y="2344"/>
                    </a:lnTo>
                    <a:lnTo>
                      <a:pt x="3673" y="2348"/>
                    </a:lnTo>
                    <a:lnTo>
                      <a:pt x="3676" y="2353"/>
                    </a:lnTo>
                    <a:lnTo>
                      <a:pt x="3678" y="2360"/>
                    </a:lnTo>
                    <a:lnTo>
                      <a:pt x="3680" y="2365"/>
                    </a:lnTo>
                    <a:lnTo>
                      <a:pt x="3680" y="2370"/>
                    </a:lnTo>
                    <a:lnTo>
                      <a:pt x="3678" y="2372"/>
                    </a:lnTo>
                    <a:lnTo>
                      <a:pt x="3678" y="2374"/>
                    </a:lnTo>
                    <a:lnTo>
                      <a:pt x="3706" y="2386"/>
                    </a:lnTo>
                    <a:lnTo>
                      <a:pt x="3718" y="2398"/>
                    </a:lnTo>
                    <a:lnTo>
                      <a:pt x="3725" y="2405"/>
                    </a:lnTo>
                    <a:lnTo>
                      <a:pt x="3728" y="2412"/>
                    </a:lnTo>
                    <a:lnTo>
                      <a:pt x="3735" y="2426"/>
                    </a:lnTo>
                    <a:lnTo>
                      <a:pt x="3747" y="2443"/>
                    </a:lnTo>
                    <a:lnTo>
                      <a:pt x="3754" y="2450"/>
                    </a:lnTo>
                    <a:lnTo>
                      <a:pt x="3756" y="2455"/>
                    </a:lnTo>
                    <a:lnTo>
                      <a:pt x="3756" y="2455"/>
                    </a:lnTo>
                    <a:lnTo>
                      <a:pt x="3747" y="2450"/>
                    </a:lnTo>
                    <a:lnTo>
                      <a:pt x="3730" y="2440"/>
                    </a:lnTo>
                    <a:lnTo>
                      <a:pt x="3728" y="2440"/>
                    </a:lnTo>
                    <a:lnTo>
                      <a:pt x="3728" y="2448"/>
                    </a:lnTo>
                    <a:lnTo>
                      <a:pt x="3725" y="2452"/>
                    </a:lnTo>
                    <a:lnTo>
                      <a:pt x="3721" y="2457"/>
                    </a:lnTo>
                    <a:lnTo>
                      <a:pt x="3725" y="2459"/>
                    </a:lnTo>
                    <a:lnTo>
                      <a:pt x="3737" y="2455"/>
                    </a:lnTo>
                    <a:lnTo>
                      <a:pt x="3749" y="2466"/>
                    </a:lnTo>
                    <a:lnTo>
                      <a:pt x="3754" y="2469"/>
                    </a:lnTo>
                    <a:lnTo>
                      <a:pt x="3761" y="2476"/>
                    </a:lnTo>
                    <a:lnTo>
                      <a:pt x="3761" y="2478"/>
                    </a:lnTo>
                    <a:lnTo>
                      <a:pt x="3758" y="2485"/>
                    </a:lnTo>
                    <a:lnTo>
                      <a:pt x="3756" y="2488"/>
                    </a:lnTo>
                    <a:lnTo>
                      <a:pt x="3756" y="2490"/>
                    </a:lnTo>
                    <a:lnTo>
                      <a:pt x="3761" y="2490"/>
                    </a:lnTo>
                    <a:lnTo>
                      <a:pt x="3773" y="2488"/>
                    </a:lnTo>
                    <a:lnTo>
                      <a:pt x="3775" y="2490"/>
                    </a:lnTo>
                    <a:lnTo>
                      <a:pt x="3775" y="2514"/>
                    </a:lnTo>
                    <a:lnTo>
                      <a:pt x="3777" y="2523"/>
                    </a:lnTo>
                    <a:lnTo>
                      <a:pt x="3777" y="2528"/>
                    </a:lnTo>
                    <a:lnTo>
                      <a:pt x="3777" y="2533"/>
                    </a:lnTo>
                    <a:lnTo>
                      <a:pt x="3777" y="2537"/>
                    </a:lnTo>
                    <a:lnTo>
                      <a:pt x="3780" y="2542"/>
                    </a:lnTo>
                    <a:lnTo>
                      <a:pt x="3780" y="2547"/>
                    </a:lnTo>
                    <a:lnTo>
                      <a:pt x="3777" y="2559"/>
                    </a:lnTo>
                    <a:lnTo>
                      <a:pt x="3775" y="2559"/>
                    </a:lnTo>
                    <a:lnTo>
                      <a:pt x="3768" y="2561"/>
                    </a:lnTo>
                    <a:lnTo>
                      <a:pt x="3763" y="2556"/>
                    </a:lnTo>
                    <a:lnTo>
                      <a:pt x="3756" y="2549"/>
                    </a:lnTo>
                    <a:lnTo>
                      <a:pt x="3749" y="2535"/>
                    </a:lnTo>
                    <a:lnTo>
                      <a:pt x="3747" y="2533"/>
                    </a:lnTo>
                    <a:lnTo>
                      <a:pt x="3739" y="2530"/>
                    </a:lnTo>
                    <a:lnTo>
                      <a:pt x="3737" y="2530"/>
                    </a:lnTo>
                    <a:lnTo>
                      <a:pt x="3732" y="2530"/>
                    </a:lnTo>
                    <a:lnTo>
                      <a:pt x="3728" y="2523"/>
                    </a:lnTo>
                    <a:lnTo>
                      <a:pt x="3728" y="2516"/>
                    </a:lnTo>
                    <a:lnTo>
                      <a:pt x="3725" y="2509"/>
                    </a:lnTo>
                    <a:lnTo>
                      <a:pt x="3725" y="2504"/>
                    </a:lnTo>
                    <a:lnTo>
                      <a:pt x="3721" y="2504"/>
                    </a:lnTo>
                    <a:lnTo>
                      <a:pt x="3718" y="2507"/>
                    </a:lnTo>
                    <a:lnTo>
                      <a:pt x="3721" y="2514"/>
                    </a:lnTo>
                    <a:lnTo>
                      <a:pt x="3721" y="2521"/>
                    </a:lnTo>
                    <a:lnTo>
                      <a:pt x="3713" y="2519"/>
                    </a:lnTo>
                    <a:lnTo>
                      <a:pt x="3702" y="2500"/>
                    </a:lnTo>
                    <a:lnTo>
                      <a:pt x="3690" y="2483"/>
                    </a:lnTo>
                    <a:lnTo>
                      <a:pt x="3683" y="2481"/>
                    </a:lnTo>
                    <a:lnTo>
                      <a:pt x="3685" y="2476"/>
                    </a:lnTo>
                    <a:lnTo>
                      <a:pt x="3690" y="2474"/>
                    </a:lnTo>
                    <a:lnTo>
                      <a:pt x="3695" y="2474"/>
                    </a:lnTo>
                    <a:lnTo>
                      <a:pt x="3697" y="2471"/>
                    </a:lnTo>
                    <a:lnTo>
                      <a:pt x="3685" y="2457"/>
                    </a:lnTo>
                    <a:lnTo>
                      <a:pt x="3685" y="2452"/>
                    </a:lnTo>
                    <a:lnTo>
                      <a:pt x="3687" y="2443"/>
                    </a:lnTo>
                    <a:lnTo>
                      <a:pt x="3683" y="2440"/>
                    </a:lnTo>
                    <a:lnTo>
                      <a:pt x="3671" y="2443"/>
                    </a:lnTo>
                    <a:lnTo>
                      <a:pt x="3666" y="2443"/>
                    </a:lnTo>
                    <a:lnTo>
                      <a:pt x="3664" y="2436"/>
                    </a:lnTo>
                    <a:lnTo>
                      <a:pt x="3661" y="2431"/>
                    </a:lnTo>
                    <a:lnTo>
                      <a:pt x="3650" y="2431"/>
                    </a:lnTo>
                    <a:lnTo>
                      <a:pt x="3647" y="2433"/>
                    </a:lnTo>
                    <a:lnTo>
                      <a:pt x="3638" y="2424"/>
                    </a:lnTo>
                    <a:lnTo>
                      <a:pt x="3635" y="2419"/>
                    </a:lnTo>
                    <a:lnTo>
                      <a:pt x="3635" y="2417"/>
                    </a:lnTo>
                    <a:lnTo>
                      <a:pt x="3643" y="2412"/>
                    </a:lnTo>
                    <a:lnTo>
                      <a:pt x="3647" y="2412"/>
                    </a:lnTo>
                    <a:lnTo>
                      <a:pt x="3654" y="2417"/>
                    </a:lnTo>
                    <a:lnTo>
                      <a:pt x="3657" y="2417"/>
                    </a:lnTo>
                    <a:lnTo>
                      <a:pt x="3664" y="2410"/>
                    </a:lnTo>
                    <a:lnTo>
                      <a:pt x="3664" y="2405"/>
                    </a:lnTo>
                    <a:lnTo>
                      <a:pt x="3669" y="2398"/>
                    </a:lnTo>
                    <a:lnTo>
                      <a:pt x="3669" y="2393"/>
                    </a:lnTo>
                    <a:lnTo>
                      <a:pt x="3664" y="2386"/>
                    </a:lnTo>
                    <a:lnTo>
                      <a:pt x="3657" y="2384"/>
                    </a:lnTo>
                    <a:lnTo>
                      <a:pt x="3645" y="2388"/>
                    </a:lnTo>
                    <a:lnTo>
                      <a:pt x="3633" y="2398"/>
                    </a:lnTo>
                    <a:lnTo>
                      <a:pt x="3628" y="2396"/>
                    </a:lnTo>
                    <a:lnTo>
                      <a:pt x="3628" y="2391"/>
                    </a:lnTo>
                    <a:lnTo>
                      <a:pt x="3640" y="2377"/>
                    </a:lnTo>
                    <a:lnTo>
                      <a:pt x="3645" y="2370"/>
                    </a:lnTo>
                    <a:lnTo>
                      <a:pt x="3643" y="2365"/>
                    </a:lnTo>
                    <a:lnTo>
                      <a:pt x="3638" y="2360"/>
                    </a:lnTo>
                    <a:lnTo>
                      <a:pt x="3638" y="2346"/>
                    </a:lnTo>
                    <a:lnTo>
                      <a:pt x="3640" y="2341"/>
                    </a:lnTo>
                    <a:close/>
                    <a:moveTo>
                      <a:pt x="3851" y="2445"/>
                    </a:moveTo>
                    <a:lnTo>
                      <a:pt x="3851" y="2459"/>
                    </a:lnTo>
                    <a:lnTo>
                      <a:pt x="3846" y="2476"/>
                    </a:lnTo>
                    <a:lnTo>
                      <a:pt x="3839" y="2485"/>
                    </a:lnTo>
                    <a:lnTo>
                      <a:pt x="3832" y="2485"/>
                    </a:lnTo>
                    <a:lnTo>
                      <a:pt x="3827" y="2478"/>
                    </a:lnTo>
                    <a:lnTo>
                      <a:pt x="3822" y="2478"/>
                    </a:lnTo>
                    <a:lnTo>
                      <a:pt x="3817" y="2478"/>
                    </a:lnTo>
                    <a:lnTo>
                      <a:pt x="3815" y="2471"/>
                    </a:lnTo>
                    <a:lnTo>
                      <a:pt x="3817" y="2464"/>
                    </a:lnTo>
                    <a:lnTo>
                      <a:pt x="3815" y="2459"/>
                    </a:lnTo>
                    <a:lnTo>
                      <a:pt x="3813" y="2464"/>
                    </a:lnTo>
                    <a:lnTo>
                      <a:pt x="3810" y="2469"/>
                    </a:lnTo>
                    <a:lnTo>
                      <a:pt x="3801" y="2476"/>
                    </a:lnTo>
                    <a:lnTo>
                      <a:pt x="3796" y="2488"/>
                    </a:lnTo>
                    <a:lnTo>
                      <a:pt x="3794" y="2495"/>
                    </a:lnTo>
                    <a:lnTo>
                      <a:pt x="3789" y="2488"/>
                    </a:lnTo>
                    <a:lnTo>
                      <a:pt x="3784" y="2469"/>
                    </a:lnTo>
                    <a:lnTo>
                      <a:pt x="3784" y="2462"/>
                    </a:lnTo>
                    <a:lnTo>
                      <a:pt x="3789" y="2448"/>
                    </a:lnTo>
                    <a:lnTo>
                      <a:pt x="3796" y="2436"/>
                    </a:lnTo>
                    <a:lnTo>
                      <a:pt x="3796" y="2403"/>
                    </a:lnTo>
                    <a:lnTo>
                      <a:pt x="3822" y="2381"/>
                    </a:lnTo>
                    <a:lnTo>
                      <a:pt x="3825" y="2384"/>
                    </a:lnTo>
                    <a:lnTo>
                      <a:pt x="3836" y="2396"/>
                    </a:lnTo>
                    <a:lnTo>
                      <a:pt x="3846" y="2412"/>
                    </a:lnTo>
                    <a:lnTo>
                      <a:pt x="3851" y="2419"/>
                    </a:lnTo>
                    <a:lnTo>
                      <a:pt x="3851" y="2433"/>
                    </a:lnTo>
                    <a:lnTo>
                      <a:pt x="3851" y="2445"/>
                    </a:lnTo>
                    <a:close/>
                    <a:moveTo>
                      <a:pt x="1922" y="2313"/>
                    </a:moveTo>
                    <a:lnTo>
                      <a:pt x="1917" y="2315"/>
                    </a:lnTo>
                    <a:lnTo>
                      <a:pt x="1912" y="2315"/>
                    </a:lnTo>
                    <a:lnTo>
                      <a:pt x="1908" y="2313"/>
                    </a:lnTo>
                    <a:lnTo>
                      <a:pt x="1908" y="2308"/>
                    </a:lnTo>
                    <a:lnTo>
                      <a:pt x="1919" y="2299"/>
                    </a:lnTo>
                    <a:lnTo>
                      <a:pt x="1922" y="2296"/>
                    </a:lnTo>
                    <a:lnTo>
                      <a:pt x="1924" y="2299"/>
                    </a:lnTo>
                    <a:lnTo>
                      <a:pt x="1924" y="2303"/>
                    </a:lnTo>
                    <a:lnTo>
                      <a:pt x="1922" y="2313"/>
                    </a:lnTo>
                    <a:close/>
                    <a:moveTo>
                      <a:pt x="3666" y="2452"/>
                    </a:moveTo>
                    <a:lnTo>
                      <a:pt x="3669" y="2455"/>
                    </a:lnTo>
                    <a:lnTo>
                      <a:pt x="3669" y="2457"/>
                    </a:lnTo>
                    <a:lnTo>
                      <a:pt x="3659" y="2469"/>
                    </a:lnTo>
                    <a:lnTo>
                      <a:pt x="3659" y="2469"/>
                    </a:lnTo>
                    <a:lnTo>
                      <a:pt x="3657" y="2476"/>
                    </a:lnTo>
                    <a:lnTo>
                      <a:pt x="3654" y="2478"/>
                    </a:lnTo>
                    <a:lnTo>
                      <a:pt x="3650" y="2483"/>
                    </a:lnTo>
                    <a:lnTo>
                      <a:pt x="3643" y="2493"/>
                    </a:lnTo>
                    <a:lnTo>
                      <a:pt x="3643" y="2471"/>
                    </a:lnTo>
                    <a:lnTo>
                      <a:pt x="3633" y="2459"/>
                    </a:lnTo>
                    <a:lnTo>
                      <a:pt x="3640" y="2455"/>
                    </a:lnTo>
                    <a:lnTo>
                      <a:pt x="3647" y="2455"/>
                    </a:lnTo>
                    <a:lnTo>
                      <a:pt x="3654" y="2455"/>
                    </a:lnTo>
                    <a:lnTo>
                      <a:pt x="3664" y="2450"/>
                    </a:lnTo>
                    <a:lnTo>
                      <a:pt x="3666" y="2452"/>
                    </a:lnTo>
                    <a:close/>
                    <a:moveTo>
                      <a:pt x="1510" y="2296"/>
                    </a:moveTo>
                    <a:lnTo>
                      <a:pt x="1513" y="2299"/>
                    </a:lnTo>
                    <a:lnTo>
                      <a:pt x="1515" y="2296"/>
                    </a:lnTo>
                    <a:lnTo>
                      <a:pt x="1522" y="2292"/>
                    </a:lnTo>
                    <a:lnTo>
                      <a:pt x="1522" y="2292"/>
                    </a:lnTo>
                    <a:lnTo>
                      <a:pt x="1522" y="2294"/>
                    </a:lnTo>
                    <a:lnTo>
                      <a:pt x="1518" y="2301"/>
                    </a:lnTo>
                    <a:lnTo>
                      <a:pt x="1520" y="2310"/>
                    </a:lnTo>
                    <a:lnTo>
                      <a:pt x="1522" y="2318"/>
                    </a:lnTo>
                    <a:lnTo>
                      <a:pt x="1522" y="2318"/>
                    </a:lnTo>
                    <a:lnTo>
                      <a:pt x="1513" y="2320"/>
                    </a:lnTo>
                    <a:lnTo>
                      <a:pt x="1506" y="2315"/>
                    </a:lnTo>
                    <a:lnTo>
                      <a:pt x="1501" y="2315"/>
                    </a:lnTo>
                    <a:lnTo>
                      <a:pt x="1496" y="2318"/>
                    </a:lnTo>
                    <a:lnTo>
                      <a:pt x="1496" y="2313"/>
                    </a:lnTo>
                    <a:lnTo>
                      <a:pt x="1499" y="2294"/>
                    </a:lnTo>
                    <a:lnTo>
                      <a:pt x="1499" y="2292"/>
                    </a:lnTo>
                    <a:lnTo>
                      <a:pt x="1506" y="2287"/>
                    </a:lnTo>
                    <a:lnTo>
                      <a:pt x="1510" y="2284"/>
                    </a:lnTo>
                    <a:lnTo>
                      <a:pt x="1513" y="2287"/>
                    </a:lnTo>
                    <a:lnTo>
                      <a:pt x="1515" y="2289"/>
                    </a:lnTo>
                    <a:lnTo>
                      <a:pt x="1513" y="2292"/>
                    </a:lnTo>
                    <a:lnTo>
                      <a:pt x="1510" y="2296"/>
                    </a:lnTo>
                    <a:close/>
                    <a:moveTo>
                      <a:pt x="1539" y="2301"/>
                    </a:moveTo>
                    <a:lnTo>
                      <a:pt x="1536" y="2310"/>
                    </a:lnTo>
                    <a:lnTo>
                      <a:pt x="1527" y="2301"/>
                    </a:lnTo>
                    <a:lnTo>
                      <a:pt x="1525" y="2299"/>
                    </a:lnTo>
                    <a:lnTo>
                      <a:pt x="1527" y="2296"/>
                    </a:lnTo>
                    <a:lnTo>
                      <a:pt x="1536" y="2296"/>
                    </a:lnTo>
                    <a:lnTo>
                      <a:pt x="1539" y="2301"/>
                    </a:lnTo>
                    <a:close/>
                    <a:moveTo>
                      <a:pt x="3709" y="2540"/>
                    </a:moveTo>
                    <a:lnTo>
                      <a:pt x="3711" y="2542"/>
                    </a:lnTo>
                    <a:lnTo>
                      <a:pt x="3711" y="2540"/>
                    </a:lnTo>
                    <a:lnTo>
                      <a:pt x="3716" y="2535"/>
                    </a:lnTo>
                    <a:lnTo>
                      <a:pt x="3721" y="2535"/>
                    </a:lnTo>
                    <a:lnTo>
                      <a:pt x="3725" y="2537"/>
                    </a:lnTo>
                    <a:lnTo>
                      <a:pt x="3728" y="2537"/>
                    </a:lnTo>
                    <a:lnTo>
                      <a:pt x="3728" y="2545"/>
                    </a:lnTo>
                    <a:lnTo>
                      <a:pt x="3728" y="2556"/>
                    </a:lnTo>
                    <a:lnTo>
                      <a:pt x="3725" y="2561"/>
                    </a:lnTo>
                    <a:lnTo>
                      <a:pt x="3723" y="2568"/>
                    </a:lnTo>
                    <a:lnTo>
                      <a:pt x="3713" y="2566"/>
                    </a:lnTo>
                    <a:lnTo>
                      <a:pt x="3706" y="2559"/>
                    </a:lnTo>
                    <a:lnTo>
                      <a:pt x="3697" y="2545"/>
                    </a:lnTo>
                    <a:lnTo>
                      <a:pt x="3690" y="2537"/>
                    </a:lnTo>
                    <a:lnTo>
                      <a:pt x="3690" y="2533"/>
                    </a:lnTo>
                    <a:lnTo>
                      <a:pt x="3687" y="2530"/>
                    </a:lnTo>
                    <a:lnTo>
                      <a:pt x="3678" y="2514"/>
                    </a:lnTo>
                    <a:lnTo>
                      <a:pt x="3673" y="2502"/>
                    </a:lnTo>
                    <a:lnTo>
                      <a:pt x="3669" y="2502"/>
                    </a:lnTo>
                    <a:lnTo>
                      <a:pt x="3661" y="2497"/>
                    </a:lnTo>
                    <a:lnTo>
                      <a:pt x="3657" y="2493"/>
                    </a:lnTo>
                    <a:lnTo>
                      <a:pt x="3659" y="2485"/>
                    </a:lnTo>
                    <a:lnTo>
                      <a:pt x="3669" y="2481"/>
                    </a:lnTo>
                    <a:lnTo>
                      <a:pt x="3685" y="2497"/>
                    </a:lnTo>
                    <a:lnTo>
                      <a:pt x="3690" y="2502"/>
                    </a:lnTo>
                    <a:lnTo>
                      <a:pt x="3695" y="2509"/>
                    </a:lnTo>
                    <a:lnTo>
                      <a:pt x="3697" y="2521"/>
                    </a:lnTo>
                    <a:lnTo>
                      <a:pt x="3699" y="2526"/>
                    </a:lnTo>
                    <a:lnTo>
                      <a:pt x="3709" y="2540"/>
                    </a:lnTo>
                    <a:close/>
                    <a:moveTo>
                      <a:pt x="1567" y="2336"/>
                    </a:moveTo>
                    <a:lnTo>
                      <a:pt x="1562" y="2339"/>
                    </a:lnTo>
                    <a:lnTo>
                      <a:pt x="1560" y="2344"/>
                    </a:lnTo>
                    <a:lnTo>
                      <a:pt x="1555" y="2344"/>
                    </a:lnTo>
                    <a:lnTo>
                      <a:pt x="1553" y="2346"/>
                    </a:lnTo>
                    <a:lnTo>
                      <a:pt x="1539" y="2358"/>
                    </a:lnTo>
                    <a:lnTo>
                      <a:pt x="1534" y="2358"/>
                    </a:lnTo>
                    <a:lnTo>
                      <a:pt x="1541" y="2348"/>
                    </a:lnTo>
                    <a:lnTo>
                      <a:pt x="1544" y="2344"/>
                    </a:lnTo>
                    <a:lnTo>
                      <a:pt x="1544" y="2341"/>
                    </a:lnTo>
                    <a:lnTo>
                      <a:pt x="1544" y="2332"/>
                    </a:lnTo>
                    <a:lnTo>
                      <a:pt x="1548" y="2334"/>
                    </a:lnTo>
                    <a:lnTo>
                      <a:pt x="1551" y="2332"/>
                    </a:lnTo>
                    <a:lnTo>
                      <a:pt x="1558" y="2325"/>
                    </a:lnTo>
                    <a:lnTo>
                      <a:pt x="1562" y="2327"/>
                    </a:lnTo>
                    <a:lnTo>
                      <a:pt x="1570" y="2318"/>
                    </a:lnTo>
                    <a:lnTo>
                      <a:pt x="1572" y="2318"/>
                    </a:lnTo>
                    <a:lnTo>
                      <a:pt x="1572" y="2320"/>
                    </a:lnTo>
                    <a:lnTo>
                      <a:pt x="1570" y="2325"/>
                    </a:lnTo>
                    <a:lnTo>
                      <a:pt x="1572" y="2332"/>
                    </a:lnTo>
                    <a:lnTo>
                      <a:pt x="1570" y="2336"/>
                    </a:lnTo>
                    <a:lnTo>
                      <a:pt x="1567" y="2336"/>
                    </a:lnTo>
                    <a:close/>
                    <a:moveTo>
                      <a:pt x="3827" y="2504"/>
                    </a:moveTo>
                    <a:lnTo>
                      <a:pt x="3836" y="2521"/>
                    </a:lnTo>
                    <a:lnTo>
                      <a:pt x="3839" y="2528"/>
                    </a:lnTo>
                    <a:lnTo>
                      <a:pt x="3829" y="2530"/>
                    </a:lnTo>
                    <a:lnTo>
                      <a:pt x="3825" y="2530"/>
                    </a:lnTo>
                    <a:lnTo>
                      <a:pt x="3820" y="2528"/>
                    </a:lnTo>
                    <a:lnTo>
                      <a:pt x="3820" y="2526"/>
                    </a:lnTo>
                    <a:lnTo>
                      <a:pt x="3822" y="2516"/>
                    </a:lnTo>
                    <a:lnTo>
                      <a:pt x="3817" y="2511"/>
                    </a:lnTo>
                    <a:lnTo>
                      <a:pt x="3813" y="2509"/>
                    </a:lnTo>
                    <a:lnTo>
                      <a:pt x="3808" y="2514"/>
                    </a:lnTo>
                    <a:lnTo>
                      <a:pt x="3808" y="2504"/>
                    </a:lnTo>
                    <a:lnTo>
                      <a:pt x="3810" y="2497"/>
                    </a:lnTo>
                    <a:lnTo>
                      <a:pt x="3808" y="2490"/>
                    </a:lnTo>
                    <a:lnTo>
                      <a:pt x="3806" y="2483"/>
                    </a:lnTo>
                    <a:lnTo>
                      <a:pt x="3808" y="2481"/>
                    </a:lnTo>
                    <a:lnTo>
                      <a:pt x="3810" y="2481"/>
                    </a:lnTo>
                    <a:lnTo>
                      <a:pt x="3820" y="2485"/>
                    </a:lnTo>
                    <a:lnTo>
                      <a:pt x="3827" y="2504"/>
                    </a:lnTo>
                    <a:close/>
                    <a:moveTo>
                      <a:pt x="1596" y="2341"/>
                    </a:moveTo>
                    <a:lnTo>
                      <a:pt x="1593" y="2351"/>
                    </a:lnTo>
                    <a:lnTo>
                      <a:pt x="1591" y="2353"/>
                    </a:lnTo>
                    <a:lnTo>
                      <a:pt x="1591" y="2348"/>
                    </a:lnTo>
                    <a:lnTo>
                      <a:pt x="1586" y="2351"/>
                    </a:lnTo>
                    <a:lnTo>
                      <a:pt x="1584" y="2348"/>
                    </a:lnTo>
                    <a:lnTo>
                      <a:pt x="1586" y="2346"/>
                    </a:lnTo>
                    <a:lnTo>
                      <a:pt x="1586" y="2341"/>
                    </a:lnTo>
                    <a:lnTo>
                      <a:pt x="1588" y="2344"/>
                    </a:lnTo>
                    <a:lnTo>
                      <a:pt x="1591" y="2336"/>
                    </a:lnTo>
                    <a:lnTo>
                      <a:pt x="1591" y="2334"/>
                    </a:lnTo>
                    <a:lnTo>
                      <a:pt x="1593" y="2329"/>
                    </a:lnTo>
                    <a:lnTo>
                      <a:pt x="1596" y="2329"/>
                    </a:lnTo>
                    <a:lnTo>
                      <a:pt x="1596" y="2341"/>
                    </a:lnTo>
                    <a:close/>
                    <a:moveTo>
                      <a:pt x="1603" y="2367"/>
                    </a:moveTo>
                    <a:lnTo>
                      <a:pt x="1600" y="2367"/>
                    </a:lnTo>
                    <a:lnTo>
                      <a:pt x="1598" y="2365"/>
                    </a:lnTo>
                    <a:lnTo>
                      <a:pt x="1598" y="2358"/>
                    </a:lnTo>
                    <a:lnTo>
                      <a:pt x="1598" y="2353"/>
                    </a:lnTo>
                    <a:lnTo>
                      <a:pt x="1603" y="2358"/>
                    </a:lnTo>
                    <a:lnTo>
                      <a:pt x="1603" y="2365"/>
                    </a:lnTo>
                    <a:lnTo>
                      <a:pt x="1603" y="2367"/>
                    </a:lnTo>
                    <a:close/>
                    <a:moveTo>
                      <a:pt x="1284" y="2287"/>
                    </a:moveTo>
                    <a:lnTo>
                      <a:pt x="1286" y="2310"/>
                    </a:lnTo>
                    <a:lnTo>
                      <a:pt x="1288" y="2315"/>
                    </a:lnTo>
                    <a:lnTo>
                      <a:pt x="1291" y="2320"/>
                    </a:lnTo>
                    <a:lnTo>
                      <a:pt x="1298" y="2325"/>
                    </a:lnTo>
                    <a:lnTo>
                      <a:pt x="1300" y="2329"/>
                    </a:lnTo>
                    <a:lnTo>
                      <a:pt x="1302" y="2334"/>
                    </a:lnTo>
                    <a:lnTo>
                      <a:pt x="1302" y="2336"/>
                    </a:lnTo>
                    <a:lnTo>
                      <a:pt x="1284" y="2322"/>
                    </a:lnTo>
                    <a:lnTo>
                      <a:pt x="1267" y="2332"/>
                    </a:lnTo>
                    <a:lnTo>
                      <a:pt x="1262" y="2332"/>
                    </a:lnTo>
                    <a:lnTo>
                      <a:pt x="1224" y="2322"/>
                    </a:lnTo>
                    <a:lnTo>
                      <a:pt x="1215" y="2322"/>
                    </a:lnTo>
                    <a:lnTo>
                      <a:pt x="1210" y="2325"/>
                    </a:lnTo>
                    <a:lnTo>
                      <a:pt x="1198" y="2334"/>
                    </a:lnTo>
                    <a:lnTo>
                      <a:pt x="1191" y="2339"/>
                    </a:lnTo>
                    <a:lnTo>
                      <a:pt x="1187" y="2339"/>
                    </a:lnTo>
                    <a:lnTo>
                      <a:pt x="1177" y="2339"/>
                    </a:lnTo>
                    <a:lnTo>
                      <a:pt x="1165" y="2336"/>
                    </a:lnTo>
                    <a:lnTo>
                      <a:pt x="1158" y="2332"/>
                    </a:lnTo>
                    <a:lnTo>
                      <a:pt x="1156" y="2325"/>
                    </a:lnTo>
                    <a:lnTo>
                      <a:pt x="1158" y="2313"/>
                    </a:lnTo>
                    <a:lnTo>
                      <a:pt x="1158" y="2310"/>
                    </a:lnTo>
                    <a:lnTo>
                      <a:pt x="1161" y="2306"/>
                    </a:lnTo>
                    <a:lnTo>
                      <a:pt x="1172" y="2301"/>
                    </a:lnTo>
                    <a:lnTo>
                      <a:pt x="1177" y="2299"/>
                    </a:lnTo>
                    <a:lnTo>
                      <a:pt x="1198" y="2277"/>
                    </a:lnTo>
                    <a:lnTo>
                      <a:pt x="1203" y="2275"/>
                    </a:lnTo>
                    <a:lnTo>
                      <a:pt x="1208" y="2275"/>
                    </a:lnTo>
                    <a:lnTo>
                      <a:pt x="1220" y="2280"/>
                    </a:lnTo>
                    <a:lnTo>
                      <a:pt x="1232" y="2275"/>
                    </a:lnTo>
                    <a:lnTo>
                      <a:pt x="1255" y="2270"/>
                    </a:lnTo>
                    <a:lnTo>
                      <a:pt x="1260" y="2270"/>
                    </a:lnTo>
                    <a:lnTo>
                      <a:pt x="1276" y="2275"/>
                    </a:lnTo>
                    <a:lnTo>
                      <a:pt x="1279" y="2277"/>
                    </a:lnTo>
                    <a:lnTo>
                      <a:pt x="1281" y="2282"/>
                    </a:lnTo>
                    <a:lnTo>
                      <a:pt x="1284" y="2287"/>
                    </a:lnTo>
                    <a:close/>
                    <a:moveTo>
                      <a:pt x="1371" y="2329"/>
                    </a:moveTo>
                    <a:lnTo>
                      <a:pt x="1369" y="2329"/>
                    </a:lnTo>
                    <a:lnTo>
                      <a:pt x="1364" y="2325"/>
                    </a:lnTo>
                    <a:lnTo>
                      <a:pt x="1364" y="2320"/>
                    </a:lnTo>
                    <a:lnTo>
                      <a:pt x="1362" y="2315"/>
                    </a:lnTo>
                    <a:lnTo>
                      <a:pt x="1376" y="2310"/>
                    </a:lnTo>
                    <a:lnTo>
                      <a:pt x="1378" y="2310"/>
                    </a:lnTo>
                    <a:lnTo>
                      <a:pt x="1378" y="2315"/>
                    </a:lnTo>
                    <a:lnTo>
                      <a:pt x="1378" y="2320"/>
                    </a:lnTo>
                    <a:lnTo>
                      <a:pt x="1373" y="2327"/>
                    </a:lnTo>
                    <a:lnTo>
                      <a:pt x="1371" y="2329"/>
                    </a:lnTo>
                    <a:close/>
                    <a:moveTo>
                      <a:pt x="1336" y="2384"/>
                    </a:moveTo>
                    <a:lnTo>
                      <a:pt x="1326" y="2384"/>
                    </a:lnTo>
                    <a:lnTo>
                      <a:pt x="1321" y="2379"/>
                    </a:lnTo>
                    <a:lnTo>
                      <a:pt x="1317" y="2372"/>
                    </a:lnTo>
                    <a:lnTo>
                      <a:pt x="1317" y="2365"/>
                    </a:lnTo>
                    <a:lnTo>
                      <a:pt x="1331" y="2374"/>
                    </a:lnTo>
                    <a:lnTo>
                      <a:pt x="1333" y="2377"/>
                    </a:lnTo>
                    <a:lnTo>
                      <a:pt x="1336" y="2384"/>
                    </a:lnTo>
                    <a:close/>
                    <a:moveTo>
                      <a:pt x="1090" y="2353"/>
                    </a:moveTo>
                    <a:lnTo>
                      <a:pt x="1087" y="2353"/>
                    </a:lnTo>
                    <a:lnTo>
                      <a:pt x="1087" y="2351"/>
                    </a:lnTo>
                    <a:lnTo>
                      <a:pt x="1087" y="2346"/>
                    </a:lnTo>
                    <a:lnTo>
                      <a:pt x="1087" y="2336"/>
                    </a:lnTo>
                    <a:lnTo>
                      <a:pt x="1094" y="2334"/>
                    </a:lnTo>
                    <a:lnTo>
                      <a:pt x="1097" y="2334"/>
                    </a:lnTo>
                    <a:lnTo>
                      <a:pt x="1097" y="2336"/>
                    </a:lnTo>
                    <a:lnTo>
                      <a:pt x="1099" y="2344"/>
                    </a:lnTo>
                    <a:lnTo>
                      <a:pt x="1101" y="2346"/>
                    </a:lnTo>
                    <a:lnTo>
                      <a:pt x="1104" y="2348"/>
                    </a:lnTo>
                    <a:lnTo>
                      <a:pt x="1099" y="2348"/>
                    </a:lnTo>
                    <a:lnTo>
                      <a:pt x="1090" y="2353"/>
                    </a:lnTo>
                    <a:close/>
                    <a:moveTo>
                      <a:pt x="1066" y="2355"/>
                    </a:moveTo>
                    <a:lnTo>
                      <a:pt x="1061" y="2358"/>
                    </a:lnTo>
                    <a:lnTo>
                      <a:pt x="1059" y="2355"/>
                    </a:lnTo>
                    <a:lnTo>
                      <a:pt x="1059" y="2355"/>
                    </a:lnTo>
                    <a:lnTo>
                      <a:pt x="1049" y="2353"/>
                    </a:lnTo>
                    <a:lnTo>
                      <a:pt x="1049" y="2353"/>
                    </a:lnTo>
                    <a:lnTo>
                      <a:pt x="1047" y="2344"/>
                    </a:lnTo>
                    <a:lnTo>
                      <a:pt x="1047" y="2339"/>
                    </a:lnTo>
                    <a:lnTo>
                      <a:pt x="1049" y="2336"/>
                    </a:lnTo>
                    <a:lnTo>
                      <a:pt x="1054" y="2334"/>
                    </a:lnTo>
                    <a:lnTo>
                      <a:pt x="1061" y="2334"/>
                    </a:lnTo>
                    <a:lnTo>
                      <a:pt x="1068" y="2336"/>
                    </a:lnTo>
                    <a:lnTo>
                      <a:pt x="1075" y="2346"/>
                    </a:lnTo>
                    <a:lnTo>
                      <a:pt x="1078" y="2353"/>
                    </a:lnTo>
                    <a:lnTo>
                      <a:pt x="1078" y="2355"/>
                    </a:lnTo>
                    <a:lnTo>
                      <a:pt x="1073" y="2355"/>
                    </a:lnTo>
                    <a:lnTo>
                      <a:pt x="1066" y="2355"/>
                    </a:lnTo>
                    <a:close/>
                    <a:moveTo>
                      <a:pt x="1000" y="2360"/>
                    </a:moveTo>
                    <a:lnTo>
                      <a:pt x="1000" y="2367"/>
                    </a:lnTo>
                    <a:lnTo>
                      <a:pt x="1007" y="2365"/>
                    </a:lnTo>
                    <a:lnTo>
                      <a:pt x="1014" y="2360"/>
                    </a:lnTo>
                    <a:lnTo>
                      <a:pt x="1019" y="2355"/>
                    </a:lnTo>
                    <a:lnTo>
                      <a:pt x="1021" y="2353"/>
                    </a:lnTo>
                    <a:lnTo>
                      <a:pt x="1023" y="2358"/>
                    </a:lnTo>
                    <a:lnTo>
                      <a:pt x="1031" y="2365"/>
                    </a:lnTo>
                    <a:lnTo>
                      <a:pt x="1021" y="2370"/>
                    </a:lnTo>
                    <a:lnTo>
                      <a:pt x="1005" y="2377"/>
                    </a:lnTo>
                    <a:lnTo>
                      <a:pt x="997" y="2384"/>
                    </a:lnTo>
                    <a:lnTo>
                      <a:pt x="995" y="2388"/>
                    </a:lnTo>
                    <a:lnTo>
                      <a:pt x="1009" y="2388"/>
                    </a:lnTo>
                    <a:lnTo>
                      <a:pt x="1012" y="2391"/>
                    </a:lnTo>
                    <a:lnTo>
                      <a:pt x="1014" y="2393"/>
                    </a:lnTo>
                    <a:lnTo>
                      <a:pt x="1009" y="2396"/>
                    </a:lnTo>
                    <a:lnTo>
                      <a:pt x="1002" y="2396"/>
                    </a:lnTo>
                    <a:lnTo>
                      <a:pt x="995" y="2400"/>
                    </a:lnTo>
                    <a:lnTo>
                      <a:pt x="976" y="2405"/>
                    </a:lnTo>
                    <a:lnTo>
                      <a:pt x="969" y="2412"/>
                    </a:lnTo>
                    <a:lnTo>
                      <a:pt x="962" y="2412"/>
                    </a:lnTo>
                    <a:lnTo>
                      <a:pt x="953" y="2410"/>
                    </a:lnTo>
                    <a:lnTo>
                      <a:pt x="936" y="2412"/>
                    </a:lnTo>
                    <a:lnTo>
                      <a:pt x="927" y="2412"/>
                    </a:lnTo>
                    <a:lnTo>
                      <a:pt x="922" y="2414"/>
                    </a:lnTo>
                    <a:lnTo>
                      <a:pt x="919" y="2414"/>
                    </a:lnTo>
                    <a:lnTo>
                      <a:pt x="915" y="2414"/>
                    </a:lnTo>
                    <a:lnTo>
                      <a:pt x="912" y="2414"/>
                    </a:lnTo>
                    <a:lnTo>
                      <a:pt x="905" y="2419"/>
                    </a:lnTo>
                    <a:lnTo>
                      <a:pt x="903" y="2419"/>
                    </a:lnTo>
                    <a:lnTo>
                      <a:pt x="896" y="2417"/>
                    </a:lnTo>
                    <a:lnTo>
                      <a:pt x="893" y="2419"/>
                    </a:lnTo>
                    <a:lnTo>
                      <a:pt x="889" y="2417"/>
                    </a:lnTo>
                    <a:lnTo>
                      <a:pt x="882" y="2410"/>
                    </a:lnTo>
                    <a:lnTo>
                      <a:pt x="882" y="2405"/>
                    </a:lnTo>
                    <a:lnTo>
                      <a:pt x="891" y="2403"/>
                    </a:lnTo>
                    <a:lnTo>
                      <a:pt x="898" y="2403"/>
                    </a:lnTo>
                    <a:lnTo>
                      <a:pt x="905" y="2403"/>
                    </a:lnTo>
                    <a:lnTo>
                      <a:pt x="917" y="2400"/>
                    </a:lnTo>
                    <a:lnTo>
                      <a:pt x="936" y="2398"/>
                    </a:lnTo>
                    <a:lnTo>
                      <a:pt x="943" y="2396"/>
                    </a:lnTo>
                    <a:lnTo>
                      <a:pt x="950" y="2381"/>
                    </a:lnTo>
                    <a:lnTo>
                      <a:pt x="955" y="2381"/>
                    </a:lnTo>
                    <a:lnTo>
                      <a:pt x="960" y="2377"/>
                    </a:lnTo>
                    <a:lnTo>
                      <a:pt x="969" y="2379"/>
                    </a:lnTo>
                    <a:lnTo>
                      <a:pt x="971" y="2386"/>
                    </a:lnTo>
                    <a:lnTo>
                      <a:pt x="971" y="2388"/>
                    </a:lnTo>
                    <a:lnTo>
                      <a:pt x="974" y="2388"/>
                    </a:lnTo>
                    <a:lnTo>
                      <a:pt x="976" y="2384"/>
                    </a:lnTo>
                    <a:lnTo>
                      <a:pt x="981" y="2381"/>
                    </a:lnTo>
                    <a:lnTo>
                      <a:pt x="979" y="2377"/>
                    </a:lnTo>
                    <a:lnTo>
                      <a:pt x="971" y="2372"/>
                    </a:lnTo>
                    <a:lnTo>
                      <a:pt x="967" y="2367"/>
                    </a:lnTo>
                    <a:lnTo>
                      <a:pt x="962" y="2367"/>
                    </a:lnTo>
                    <a:lnTo>
                      <a:pt x="960" y="2362"/>
                    </a:lnTo>
                    <a:lnTo>
                      <a:pt x="957" y="2358"/>
                    </a:lnTo>
                    <a:lnTo>
                      <a:pt x="957" y="2355"/>
                    </a:lnTo>
                    <a:lnTo>
                      <a:pt x="960" y="2351"/>
                    </a:lnTo>
                    <a:lnTo>
                      <a:pt x="962" y="2346"/>
                    </a:lnTo>
                    <a:lnTo>
                      <a:pt x="967" y="2344"/>
                    </a:lnTo>
                    <a:lnTo>
                      <a:pt x="974" y="2341"/>
                    </a:lnTo>
                    <a:lnTo>
                      <a:pt x="983" y="2344"/>
                    </a:lnTo>
                    <a:lnTo>
                      <a:pt x="993" y="2344"/>
                    </a:lnTo>
                    <a:lnTo>
                      <a:pt x="1000" y="2344"/>
                    </a:lnTo>
                    <a:lnTo>
                      <a:pt x="1002" y="2346"/>
                    </a:lnTo>
                    <a:lnTo>
                      <a:pt x="1000" y="2360"/>
                    </a:lnTo>
                    <a:close/>
                    <a:moveTo>
                      <a:pt x="1023" y="2393"/>
                    </a:moveTo>
                    <a:lnTo>
                      <a:pt x="1021" y="2393"/>
                    </a:lnTo>
                    <a:lnTo>
                      <a:pt x="1021" y="2388"/>
                    </a:lnTo>
                    <a:lnTo>
                      <a:pt x="1021" y="2386"/>
                    </a:lnTo>
                    <a:lnTo>
                      <a:pt x="1023" y="2384"/>
                    </a:lnTo>
                    <a:lnTo>
                      <a:pt x="1028" y="2379"/>
                    </a:lnTo>
                    <a:lnTo>
                      <a:pt x="1033" y="2379"/>
                    </a:lnTo>
                    <a:lnTo>
                      <a:pt x="1035" y="2379"/>
                    </a:lnTo>
                    <a:lnTo>
                      <a:pt x="1035" y="2381"/>
                    </a:lnTo>
                    <a:lnTo>
                      <a:pt x="1031" y="2386"/>
                    </a:lnTo>
                    <a:lnTo>
                      <a:pt x="1026" y="2388"/>
                    </a:lnTo>
                    <a:lnTo>
                      <a:pt x="1023" y="2393"/>
                    </a:lnTo>
                    <a:close/>
                    <a:moveTo>
                      <a:pt x="870" y="2398"/>
                    </a:moveTo>
                    <a:lnTo>
                      <a:pt x="841" y="2405"/>
                    </a:lnTo>
                    <a:lnTo>
                      <a:pt x="830" y="2412"/>
                    </a:lnTo>
                    <a:lnTo>
                      <a:pt x="820" y="2419"/>
                    </a:lnTo>
                    <a:lnTo>
                      <a:pt x="815" y="2424"/>
                    </a:lnTo>
                    <a:lnTo>
                      <a:pt x="811" y="2424"/>
                    </a:lnTo>
                    <a:lnTo>
                      <a:pt x="806" y="2424"/>
                    </a:lnTo>
                    <a:lnTo>
                      <a:pt x="797" y="2429"/>
                    </a:lnTo>
                    <a:lnTo>
                      <a:pt x="792" y="2429"/>
                    </a:lnTo>
                    <a:lnTo>
                      <a:pt x="761" y="2436"/>
                    </a:lnTo>
                    <a:lnTo>
                      <a:pt x="759" y="2436"/>
                    </a:lnTo>
                    <a:lnTo>
                      <a:pt x="761" y="2431"/>
                    </a:lnTo>
                    <a:lnTo>
                      <a:pt x="773" y="2429"/>
                    </a:lnTo>
                    <a:lnTo>
                      <a:pt x="778" y="2426"/>
                    </a:lnTo>
                    <a:lnTo>
                      <a:pt x="787" y="2419"/>
                    </a:lnTo>
                    <a:lnTo>
                      <a:pt x="792" y="2417"/>
                    </a:lnTo>
                    <a:lnTo>
                      <a:pt x="794" y="2412"/>
                    </a:lnTo>
                    <a:lnTo>
                      <a:pt x="799" y="2403"/>
                    </a:lnTo>
                    <a:lnTo>
                      <a:pt x="801" y="2400"/>
                    </a:lnTo>
                    <a:lnTo>
                      <a:pt x="808" y="2396"/>
                    </a:lnTo>
                    <a:lnTo>
                      <a:pt x="813" y="2393"/>
                    </a:lnTo>
                    <a:lnTo>
                      <a:pt x="818" y="2393"/>
                    </a:lnTo>
                    <a:lnTo>
                      <a:pt x="830" y="2398"/>
                    </a:lnTo>
                    <a:lnTo>
                      <a:pt x="834" y="2396"/>
                    </a:lnTo>
                    <a:lnTo>
                      <a:pt x="837" y="2393"/>
                    </a:lnTo>
                    <a:lnTo>
                      <a:pt x="834" y="2391"/>
                    </a:lnTo>
                    <a:lnTo>
                      <a:pt x="837" y="2386"/>
                    </a:lnTo>
                    <a:lnTo>
                      <a:pt x="839" y="2379"/>
                    </a:lnTo>
                    <a:lnTo>
                      <a:pt x="844" y="2374"/>
                    </a:lnTo>
                    <a:lnTo>
                      <a:pt x="851" y="2370"/>
                    </a:lnTo>
                    <a:lnTo>
                      <a:pt x="860" y="2367"/>
                    </a:lnTo>
                    <a:lnTo>
                      <a:pt x="870" y="2367"/>
                    </a:lnTo>
                    <a:lnTo>
                      <a:pt x="877" y="2370"/>
                    </a:lnTo>
                    <a:lnTo>
                      <a:pt x="889" y="2381"/>
                    </a:lnTo>
                    <a:lnTo>
                      <a:pt x="889" y="2384"/>
                    </a:lnTo>
                    <a:lnTo>
                      <a:pt x="884" y="2391"/>
                    </a:lnTo>
                    <a:lnTo>
                      <a:pt x="879" y="2396"/>
                    </a:lnTo>
                    <a:lnTo>
                      <a:pt x="870" y="2398"/>
                    </a:lnTo>
                    <a:close/>
                    <a:moveTo>
                      <a:pt x="711" y="2417"/>
                    </a:moveTo>
                    <a:lnTo>
                      <a:pt x="709" y="2422"/>
                    </a:lnTo>
                    <a:lnTo>
                      <a:pt x="707" y="2424"/>
                    </a:lnTo>
                    <a:lnTo>
                      <a:pt x="697" y="2417"/>
                    </a:lnTo>
                    <a:lnTo>
                      <a:pt x="688" y="2414"/>
                    </a:lnTo>
                    <a:lnTo>
                      <a:pt x="688" y="2412"/>
                    </a:lnTo>
                    <a:lnTo>
                      <a:pt x="690" y="2410"/>
                    </a:lnTo>
                    <a:lnTo>
                      <a:pt x="704" y="2410"/>
                    </a:lnTo>
                    <a:lnTo>
                      <a:pt x="709" y="2412"/>
                    </a:lnTo>
                    <a:lnTo>
                      <a:pt x="711" y="2414"/>
                    </a:lnTo>
                    <a:lnTo>
                      <a:pt x="711" y="2417"/>
                    </a:lnTo>
                    <a:close/>
                    <a:moveTo>
                      <a:pt x="619" y="2424"/>
                    </a:moveTo>
                    <a:lnTo>
                      <a:pt x="612" y="2426"/>
                    </a:lnTo>
                    <a:lnTo>
                      <a:pt x="612" y="2424"/>
                    </a:lnTo>
                    <a:lnTo>
                      <a:pt x="612" y="2417"/>
                    </a:lnTo>
                    <a:lnTo>
                      <a:pt x="617" y="2414"/>
                    </a:lnTo>
                    <a:lnTo>
                      <a:pt x="629" y="2410"/>
                    </a:lnTo>
                    <a:lnTo>
                      <a:pt x="633" y="2412"/>
                    </a:lnTo>
                    <a:lnTo>
                      <a:pt x="633" y="2417"/>
                    </a:lnTo>
                    <a:lnTo>
                      <a:pt x="633" y="2419"/>
                    </a:lnTo>
                    <a:lnTo>
                      <a:pt x="629" y="2422"/>
                    </a:lnTo>
                    <a:lnTo>
                      <a:pt x="626" y="2424"/>
                    </a:lnTo>
                    <a:lnTo>
                      <a:pt x="622" y="2422"/>
                    </a:lnTo>
                    <a:lnTo>
                      <a:pt x="619" y="2424"/>
                    </a:lnTo>
                    <a:close/>
                    <a:moveTo>
                      <a:pt x="284" y="2374"/>
                    </a:moveTo>
                    <a:lnTo>
                      <a:pt x="239" y="2360"/>
                    </a:lnTo>
                    <a:lnTo>
                      <a:pt x="234" y="2355"/>
                    </a:lnTo>
                    <a:lnTo>
                      <a:pt x="241" y="2355"/>
                    </a:lnTo>
                    <a:lnTo>
                      <a:pt x="248" y="2358"/>
                    </a:lnTo>
                    <a:lnTo>
                      <a:pt x="267" y="2358"/>
                    </a:lnTo>
                    <a:lnTo>
                      <a:pt x="288" y="2360"/>
                    </a:lnTo>
                    <a:lnTo>
                      <a:pt x="307" y="2360"/>
                    </a:lnTo>
                    <a:lnTo>
                      <a:pt x="321" y="2362"/>
                    </a:lnTo>
                    <a:lnTo>
                      <a:pt x="329" y="2358"/>
                    </a:lnTo>
                    <a:lnTo>
                      <a:pt x="317" y="2348"/>
                    </a:lnTo>
                    <a:lnTo>
                      <a:pt x="317" y="2346"/>
                    </a:lnTo>
                    <a:lnTo>
                      <a:pt x="324" y="2344"/>
                    </a:lnTo>
                    <a:lnTo>
                      <a:pt x="329" y="2341"/>
                    </a:lnTo>
                    <a:lnTo>
                      <a:pt x="343" y="2341"/>
                    </a:lnTo>
                    <a:lnTo>
                      <a:pt x="350" y="2351"/>
                    </a:lnTo>
                    <a:lnTo>
                      <a:pt x="350" y="2355"/>
                    </a:lnTo>
                    <a:lnTo>
                      <a:pt x="347" y="2362"/>
                    </a:lnTo>
                    <a:lnTo>
                      <a:pt x="343" y="2367"/>
                    </a:lnTo>
                    <a:lnTo>
                      <a:pt x="333" y="2365"/>
                    </a:lnTo>
                    <a:lnTo>
                      <a:pt x="331" y="2367"/>
                    </a:lnTo>
                    <a:lnTo>
                      <a:pt x="331" y="2379"/>
                    </a:lnTo>
                    <a:lnTo>
                      <a:pt x="312" y="2379"/>
                    </a:lnTo>
                    <a:lnTo>
                      <a:pt x="284" y="2374"/>
                    </a:lnTo>
                    <a:close/>
                    <a:moveTo>
                      <a:pt x="468" y="2412"/>
                    </a:moveTo>
                    <a:lnTo>
                      <a:pt x="461" y="2412"/>
                    </a:lnTo>
                    <a:lnTo>
                      <a:pt x="456" y="2407"/>
                    </a:lnTo>
                    <a:lnTo>
                      <a:pt x="461" y="2403"/>
                    </a:lnTo>
                    <a:lnTo>
                      <a:pt x="466" y="2400"/>
                    </a:lnTo>
                    <a:lnTo>
                      <a:pt x="473" y="2398"/>
                    </a:lnTo>
                    <a:lnTo>
                      <a:pt x="480" y="2403"/>
                    </a:lnTo>
                    <a:lnTo>
                      <a:pt x="482" y="2410"/>
                    </a:lnTo>
                    <a:lnTo>
                      <a:pt x="468" y="2412"/>
                    </a:lnTo>
                    <a:close/>
                    <a:moveTo>
                      <a:pt x="376" y="2396"/>
                    </a:moveTo>
                    <a:lnTo>
                      <a:pt x="390" y="2407"/>
                    </a:lnTo>
                    <a:lnTo>
                      <a:pt x="409" y="2414"/>
                    </a:lnTo>
                    <a:lnTo>
                      <a:pt x="416" y="2419"/>
                    </a:lnTo>
                    <a:lnTo>
                      <a:pt x="414" y="2419"/>
                    </a:lnTo>
                    <a:lnTo>
                      <a:pt x="402" y="2417"/>
                    </a:lnTo>
                    <a:lnTo>
                      <a:pt x="397" y="2414"/>
                    </a:lnTo>
                    <a:lnTo>
                      <a:pt x="385" y="2412"/>
                    </a:lnTo>
                    <a:lnTo>
                      <a:pt x="378" y="2410"/>
                    </a:lnTo>
                    <a:lnTo>
                      <a:pt x="362" y="2403"/>
                    </a:lnTo>
                    <a:lnTo>
                      <a:pt x="350" y="2398"/>
                    </a:lnTo>
                    <a:lnTo>
                      <a:pt x="345" y="2396"/>
                    </a:lnTo>
                    <a:lnTo>
                      <a:pt x="343" y="2393"/>
                    </a:lnTo>
                    <a:lnTo>
                      <a:pt x="340" y="2386"/>
                    </a:lnTo>
                    <a:lnTo>
                      <a:pt x="340" y="2384"/>
                    </a:lnTo>
                    <a:lnTo>
                      <a:pt x="345" y="2384"/>
                    </a:lnTo>
                    <a:lnTo>
                      <a:pt x="355" y="2393"/>
                    </a:lnTo>
                    <a:lnTo>
                      <a:pt x="357" y="2391"/>
                    </a:lnTo>
                    <a:lnTo>
                      <a:pt x="369" y="2391"/>
                    </a:lnTo>
                    <a:lnTo>
                      <a:pt x="376" y="2396"/>
                    </a:lnTo>
                    <a:close/>
                    <a:moveTo>
                      <a:pt x="177" y="2334"/>
                    </a:moveTo>
                    <a:lnTo>
                      <a:pt x="173" y="2336"/>
                    </a:lnTo>
                    <a:lnTo>
                      <a:pt x="168" y="2329"/>
                    </a:lnTo>
                    <a:lnTo>
                      <a:pt x="165" y="2325"/>
                    </a:lnTo>
                    <a:lnTo>
                      <a:pt x="168" y="2322"/>
                    </a:lnTo>
                    <a:lnTo>
                      <a:pt x="170" y="2318"/>
                    </a:lnTo>
                    <a:lnTo>
                      <a:pt x="177" y="2320"/>
                    </a:lnTo>
                    <a:lnTo>
                      <a:pt x="180" y="2322"/>
                    </a:lnTo>
                    <a:lnTo>
                      <a:pt x="182" y="2329"/>
                    </a:lnTo>
                    <a:lnTo>
                      <a:pt x="182" y="2332"/>
                    </a:lnTo>
                    <a:lnTo>
                      <a:pt x="177" y="2334"/>
                    </a:lnTo>
                    <a:close/>
                    <a:moveTo>
                      <a:pt x="125" y="2332"/>
                    </a:moveTo>
                    <a:lnTo>
                      <a:pt x="123" y="2336"/>
                    </a:lnTo>
                    <a:lnTo>
                      <a:pt x="132" y="2339"/>
                    </a:lnTo>
                    <a:lnTo>
                      <a:pt x="135" y="2341"/>
                    </a:lnTo>
                    <a:lnTo>
                      <a:pt x="130" y="2351"/>
                    </a:lnTo>
                    <a:lnTo>
                      <a:pt x="128" y="2353"/>
                    </a:lnTo>
                    <a:lnTo>
                      <a:pt x="128" y="2353"/>
                    </a:lnTo>
                    <a:lnTo>
                      <a:pt x="125" y="2348"/>
                    </a:lnTo>
                    <a:lnTo>
                      <a:pt x="118" y="2351"/>
                    </a:lnTo>
                    <a:lnTo>
                      <a:pt x="97" y="2355"/>
                    </a:lnTo>
                    <a:lnTo>
                      <a:pt x="95" y="2346"/>
                    </a:lnTo>
                    <a:lnTo>
                      <a:pt x="83" y="2351"/>
                    </a:lnTo>
                    <a:lnTo>
                      <a:pt x="99" y="2332"/>
                    </a:lnTo>
                    <a:lnTo>
                      <a:pt x="109" y="2332"/>
                    </a:lnTo>
                    <a:lnTo>
                      <a:pt x="111" y="2329"/>
                    </a:lnTo>
                    <a:lnTo>
                      <a:pt x="113" y="2322"/>
                    </a:lnTo>
                    <a:lnTo>
                      <a:pt x="123" y="2313"/>
                    </a:lnTo>
                    <a:lnTo>
                      <a:pt x="130" y="2318"/>
                    </a:lnTo>
                    <a:lnTo>
                      <a:pt x="132" y="2322"/>
                    </a:lnTo>
                    <a:lnTo>
                      <a:pt x="130" y="2327"/>
                    </a:lnTo>
                    <a:lnTo>
                      <a:pt x="125" y="2332"/>
                    </a:lnTo>
                    <a:close/>
                    <a:moveTo>
                      <a:pt x="73" y="2332"/>
                    </a:moveTo>
                    <a:lnTo>
                      <a:pt x="71" y="2332"/>
                    </a:lnTo>
                    <a:lnTo>
                      <a:pt x="66" y="2332"/>
                    </a:lnTo>
                    <a:lnTo>
                      <a:pt x="54" y="2325"/>
                    </a:lnTo>
                    <a:lnTo>
                      <a:pt x="47" y="2322"/>
                    </a:lnTo>
                    <a:lnTo>
                      <a:pt x="38" y="2320"/>
                    </a:lnTo>
                    <a:lnTo>
                      <a:pt x="31" y="2318"/>
                    </a:lnTo>
                    <a:lnTo>
                      <a:pt x="33" y="2315"/>
                    </a:lnTo>
                    <a:lnTo>
                      <a:pt x="33" y="2313"/>
                    </a:lnTo>
                    <a:lnTo>
                      <a:pt x="61" y="2318"/>
                    </a:lnTo>
                    <a:lnTo>
                      <a:pt x="71" y="2315"/>
                    </a:lnTo>
                    <a:lnTo>
                      <a:pt x="76" y="2313"/>
                    </a:lnTo>
                    <a:lnTo>
                      <a:pt x="83" y="2306"/>
                    </a:lnTo>
                    <a:lnTo>
                      <a:pt x="87" y="2306"/>
                    </a:lnTo>
                    <a:lnTo>
                      <a:pt x="87" y="2306"/>
                    </a:lnTo>
                    <a:lnTo>
                      <a:pt x="90" y="2310"/>
                    </a:lnTo>
                    <a:lnTo>
                      <a:pt x="87" y="2315"/>
                    </a:lnTo>
                    <a:lnTo>
                      <a:pt x="83" y="2318"/>
                    </a:lnTo>
                    <a:lnTo>
                      <a:pt x="80" y="2320"/>
                    </a:lnTo>
                    <a:lnTo>
                      <a:pt x="73" y="2332"/>
                    </a:lnTo>
                    <a:close/>
                    <a:moveTo>
                      <a:pt x="12" y="2313"/>
                    </a:moveTo>
                    <a:lnTo>
                      <a:pt x="9" y="2318"/>
                    </a:lnTo>
                    <a:lnTo>
                      <a:pt x="7" y="2318"/>
                    </a:lnTo>
                    <a:lnTo>
                      <a:pt x="0" y="2306"/>
                    </a:lnTo>
                    <a:lnTo>
                      <a:pt x="0" y="2301"/>
                    </a:lnTo>
                    <a:lnTo>
                      <a:pt x="7" y="2301"/>
                    </a:lnTo>
                    <a:lnTo>
                      <a:pt x="9" y="2299"/>
                    </a:lnTo>
                    <a:lnTo>
                      <a:pt x="12" y="2296"/>
                    </a:lnTo>
                    <a:lnTo>
                      <a:pt x="9" y="2289"/>
                    </a:lnTo>
                    <a:lnTo>
                      <a:pt x="2" y="2280"/>
                    </a:lnTo>
                    <a:lnTo>
                      <a:pt x="2" y="2275"/>
                    </a:lnTo>
                    <a:lnTo>
                      <a:pt x="5" y="2273"/>
                    </a:lnTo>
                    <a:lnTo>
                      <a:pt x="9" y="2273"/>
                    </a:lnTo>
                    <a:lnTo>
                      <a:pt x="21" y="2277"/>
                    </a:lnTo>
                    <a:lnTo>
                      <a:pt x="26" y="2289"/>
                    </a:lnTo>
                    <a:lnTo>
                      <a:pt x="31" y="2294"/>
                    </a:lnTo>
                    <a:lnTo>
                      <a:pt x="40" y="2301"/>
                    </a:lnTo>
                    <a:lnTo>
                      <a:pt x="33" y="2301"/>
                    </a:lnTo>
                    <a:lnTo>
                      <a:pt x="28" y="2301"/>
                    </a:lnTo>
                    <a:lnTo>
                      <a:pt x="19" y="2310"/>
                    </a:lnTo>
                    <a:lnTo>
                      <a:pt x="12" y="2313"/>
                    </a:lnTo>
                    <a:close/>
                    <a:moveTo>
                      <a:pt x="168" y="2358"/>
                    </a:moveTo>
                    <a:lnTo>
                      <a:pt x="158" y="2358"/>
                    </a:lnTo>
                    <a:lnTo>
                      <a:pt x="154" y="2348"/>
                    </a:lnTo>
                    <a:lnTo>
                      <a:pt x="156" y="2341"/>
                    </a:lnTo>
                    <a:lnTo>
                      <a:pt x="163" y="2351"/>
                    </a:lnTo>
                    <a:lnTo>
                      <a:pt x="168" y="2358"/>
                    </a:lnTo>
                    <a:close/>
                    <a:moveTo>
                      <a:pt x="144" y="2351"/>
                    </a:moveTo>
                    <a:lnTo>
                      <a:pt x="137" y="2355"/>
                    </a:lnTo>
                    <a:lnTo>
                      <a:pt x="135" y="2351"/>
                    </a:lnTo>
                    <a:lnTo>
                      <a:pt x="137" y="2341"/>
                    </a:lnTo>
                    <a:lnTo>
                      <a:pt x="142" y="2339"/>
                    </a:lnTo>
                    <a:lnTo>
                      <a:pt x="147" y="2351"/>
                    </a:lnTo>
                    <a:lnTo>
                      <a:pt x="144" y="235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86" name="Freeform 40">
                <a:extLst>
                  <a:ext uri="{FF2B5EF4-FFF2-40B4-BE49-F238E27FC236}">
                    <a16:creationId xmlns:a16="http://schemas.microsoft.com/office/drawing/2014/main" id="{D93B9737-CF89-30CB-A125-3E104BF68883}"/>
                  </a:ext>
                </a:extLst>
              </p:cNvPr>
              <p:cNvSpPr>
                <a:spLocks noEditPoints="1"/>
              </p:cNvSpPr>
              <p:nvPr/>
            </p:nvSpPr>
            <p:spPr bwMode="auto">
              <a:xfrm>
                <a:off x="6056" y="2059"/>
                <a:ext cx="652" cy="1050"/>
              </a:xfrm>
              <a:custGeom>
                <a:avLst/>
                <a:gdLst>
                  <a:gd name="T0" fmla="*/ 461 w 652"/>
                  <a:gd name="T1" fmla="*/ 53 h 1050"/>
                  <a:gd name="T2" fmla="*/ 485 w 652"/>
                  <a:gd name="T3" fmla="*/ 131 h 1050"/>
                  <a:gd name="T4" fmla="*/ 508 w 652"/>
                  <a:gd name="T5" fmla="*/ 209 h 1050"/>
                  <a:gd name="T6" fmla="*/ 529 w 652"/>
                  <a:gd name="T7" fmla="*/ 289 h 1050"/>
                  <a:gd name="T8" fmla="*/ 553 w 652"/>
                  <a:gd name="T9" fmla="*/ 367 h 1050"/>
                  <a:gd name="T10" fmla="*/ 574 w 652"/>
                  <a:gd name="T11" fmla="*/ 431 h 1050"/>
                  <a:gd name="T12" fmla="*/ 624 w 652"/>
                  <a:gd name="T13" fmla="*/ 528 h 1050"/>
                  <a:gd name="T14" fmla="*/ 636 w 652"/>
                  <a:gd name="T15" fmla="*/ 554 h 1050"/>
                  <a:gd name="T16" fmla="*/ 619 w 652"/>
                  <a:gd name="T17" fmla="*/ 585 h 1050"/>
                  <a:gd name="T18" fmla="*/ 610 w 652"/>
                  <a:gd name="T19" fmla="*/ 644 h 1050"/>
                  <a:gd name="T20" fmla="*/ 626 w 652"/>
                  <a:gd name="T21" fmla="*/ 693 h 1050"/>
                  <a:gd name="T22" fmla="*/ 641 w 652"/>
                  <a:gd name="T23" fmla="*/ 802 h 1050"/>
                  <a:gd name="T24" fmla="*/ 537 w 652"/>
                  <a:gd name="T25" fmla="*/ 840 h 1050"/>
                  <a:gd name="T26" fmla="*/ 359 w 652"/>
                  <a:gd name="T27" fmla="*/ 859 h 1050"/>
                  <a:gd name="T28" fmla="*/ 184 w 652"/>
                  <a:gd name="T29" fmla="*/ 875 h 1050"/>
                  <a:gd name="T30" fmla="*/ 194 w 652"/>
                  <a:gd name="T31" fmla="*/ 918 h 1050"/>
                  <a:gd name="T32" fmla="*/ 222 w 652"/>
                  <a:gd name="T33" fmla="*/ 970 h 1050"/>
                  <a:gd name="T34" fmla="*/ 217 w 652"/>
                  <a:gd name="T35" fmla="*/ 998 h 1050"/>
                  <a:gd name="T36" fmla="*/ 194 w 652"/>
                  <a:gd name="T37" fmla="*/ 1031 h 1050"/>
                  <a:gd name="T38" fmla="*/ 142 w 652"/>
                  <a:gd name="T39" fmla="*/ 1039 h 1050"/>
                  <a:gd name="T40" fmla="*/ 147 w 652"/>
                  <a:gd name="T41" fmla="*/ 1005 h 1050"/>
                  <a:gd name="T42" fmla="*/ 132 w 652"/>
                  <a:gd name="T43" fmla="*/ 975 h 1050"/>
                  <a:gd name="T44" fmla="*/ 111 w 652"/>
                  <a:gd name="T45" fmla="*/ 951 h 1050"/>
                  <a:gd name="T46" fmla="*/ 97 w 652"/>
                  <a:gd name="T47" fmla="*/ 1020 h 1050"/>
                  <a:gd name="T48" fmla="*/ 50 w 652"/>
                  <a:gd name="T49" fmla="*/ 1022 h 1050"/>
                  <a:gd name="T50" fmla="*/ 33 w 652"/>
                  <a:gd name="T51" fmla="*/ 899 h 1050"/>
                  <a:gd name="T52" fmla="*/ 17 w 652"/>
                  <a:gd name="T53" fmla="*/ 781 h 1050"/>
                  <a:gd name="T54" fmla="*/ 7 w 652"/>
                  <a:gd name="T55" fmla="*/ 663 h 1050"/>
                  <a:gd name="T56" fmla="*/ 12 w 652"/>
                  <a:gd name="T57" fmla="*/ 544 h 1050"/>
                  <a:gd name="T58" fmla="*/ 14 w 652"/>
                  <a:gd name="T59" fmla="*/ 428 h 1050"/>
                  <a:gd name="T60" fmla="*/ 17 w 652"/>
                  <a:gd name="T61" fmla="*/ 310 h 1050"/>
                  <a:gd name="T62" fmla="*/ 19 w 652"/>
                  <a:gd name="T63" fmla="*/ 192 h 1050"/>
                  <a:gd name="T64" fmla="*/ 24 w 652"/>
                  <a:gd name="T65" fmla="*/ 74 h 1050"/>
                  <a:gd name="T66" fmla="*/ 24 w 652"/>
                  <a:gd name="T67" fmla="*/ 57 h 1050"/>
                  <a:gd name="T68" fmla="*/ 0 w 652"/>
                  <a:gd name="T69" fmla="*/ 38 h 1050"/>
                  <a:gd name="T70" fmla="*/ 59 w 652"/>
                  <a:gd name="T71" fmla="*/ 34 h 1050"/>
                  <a:gd name="T72" fmla="*/ 142 w 652"/>
                  <a:gd name="T73" fmla="*/ 29 h 1050"/>
                  <a:gd name="T74" fmla="*/ 225 w 652"/>
                  <a:gd name="T75" fmla="*/ 22 h 1050"/>
                  <a:gd name="T76" fmla="*/ 307 w 652"/>
                  <a:gd name="T77" fmla="*/ 12 h 1050"/>
                  <a:gd name="T78" fmla="*/ 390 w 652"/>
                  <a:gd name="T79" fmla="*/ 5 h 1050"/>
                  <a:gd name="T80" fmla="*/ 111 w 652"/>
                  <a:gd name="T81" fmla="*/ 1041 h 1050"/>
                  <a:gd name="T82" fmla="*/ 66 w 652"/>
                  <a:gd name="T83" fmla="*/ 1048 h 1050"/>
                  <a:gd name="T84" fmla="*/ 111 w 652"/>
                  <a:gd name="T85" fmla="*/ 1041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2" h="1050">
                    <a:moveTo>
                      <a:pt x="447" y="0"/>
                    </a:moveTo>
                    <a:lnTo>
                      <a:pt x="454" y="26"/>
                    </a:lnTo>
                    <a:lnTo>
                      <a:pt x="461" y="53"/>
                    </a:lnTo>
                    <a:lnTo>
                      <a:pt x="468" y="79"/>
                    </a:lnTo>
                    <a:lnTo>
                      <a:pt x="475" y="105"/>
                    </a:lnTo>
                    <a:lnTo>
                      <a:pt x="485" y="131"/>
                    </a:lnTo>
                    <a:lnTo>
                      <a:pt x="492" y="157"/>
                    </a:lnTo>
                    <a:lnTo>
                      <a:pt x="499" y="183"/>
                    </a:lnTo>
                    <a:lnTo>
                      <a:pt x="508" y="209"/>
                    </a:lnTo>
                    <a:lnTo>
                      <a:pt x="515" y="235"/>
                    </a:lnTo>
                    <a:lnTo>
                      <a:pt x="522" y="261"/>
                    </a:lnTo>
                    <a:lnTo>
                      <a:pt x="529" y="289"/>
                    </a:lnTo>
                    <a:lnTo>
                      <a:pt x="539" y="315"/>
                    </a:lnTo>
                    <a:lnTo>
                      <a:pt x="546" y="341"/>
                    </a:lnTo>
                    <a:lnTo>
                      <a:pt x="553" y="367"/>
                    </a:lnTo>
                    <a:lnTo>
                      <a:pt x="563" y="393"/>
                    </a:lnTo>
                    <a:lnTo>
                      <a:pt x="570" y="419"/>
                    </a:lnTo>
                    <a:lnTo>
                      <a:pt x="574" y="431"/>
                    </a:lnTo>
                    <a:lnTo>
                      <a:pt x="581" y="450"/>
                    </a:lnTo>
                    <a:lnTo>
                      <a:pt x="615" y="504"/>
                    </a:lnTo>
                    <a:lnTo>
                      <a:pt x="624" y="528"/>
                    </a:lnTo>
                    <a:lnTo>
                      <a:pt x="622" y="540"/>
                    </a:lnTo>
                    <a:lnTo>
                      <a:pt x="626" y="547"/>
                    </a:lnTo>
                    <a:lnTo>
                      <a:pt x="636" y="554"/>
                    </a:lnTo>
                    <a:lnTo>
                      <a:pt x="636" y="561"/>
                    </a:lnTo>
                    <a:lnTo>
                      <a:pt x="626" y="573"/>
                    </a:lnTo>
                    <a:lnTo>
                      <a:pt x="619" y="585"/>
                    </a:lnTo>
                    <a:lnTo>
                      <a:pt x="617" y="606"/>
                    </a:lnTo>
                    <a:lnTo>
                      <a:pt x="617" y="606"/>
                    </a:lnTo>
                    <a:lnTo>
                      <a:pt x="610" y="644"/>
                    </a:lnTo>
                    <a:lnTo>
                      <a:pt x="612" y="665"/>
                    </a:lnTo>
                    <a:lnTo>
                      <a:pt x="626" y="693"/>
                    </a:lnTo>
                    <a:lnTo>
                      <a:pt x="626" y="693"/>
                    </a:lnTo>
                    <a:lnTo>
                      <a:pt x="631" y="705"/>
                    </a:lnTo>
                    <a:lnTo>
                      <a:pt x="631" y="764"/>
                    </a:lnTo>
                    <a:lnTo>
                      <a:pt x="641" y="802"/>
                    </a:lnTo>
                    <a:lnTo>
                      <a:pt x="652" y="826"/>
                    </a:lnTo>
                    <a:lnTo>
                      <a:pt x="596" y="833"/>
                    </a:lnTo>
                    <a:lnTo>
                      <a:pt x="537" y="840"/>
                    </a:lnTo>
                    <a:lnTo>
                      <a:pt x="477" y="845"/>
                    </a:lnTo>
                    <a:lnTo>
                      <a:pt x="418" y="852"/>
                    </a:lnTo>
                    <a:lnTo>
                      <a:pt x="359" y="859"/>
                    </a:lnTo>
                    <a:lnTo>
                      <a:pt x="303" y="864"/>
                    </a:lnTo>
                    <a:lnTo>
                      <a:pt x="243" y="871"/>
                    </a:lnTo>
                    <a:lnTo>
                      <a:pt x="184" y="875"/>
                    </a:lnTo>
                    <a:lnTo>
                      <a:pt x="182" y="892"/>
                    </a:lnTo>
                    <a:lnTo>
                      <a:pt x="187" y="906"/>
                    </a:lnTo>
                    <a:lnTo>
                      <a:pt x="194" y="918"/>
                    </a:lnTo>
                    <a:lnTo>
                      <a:pt x="222" y="942"/>
                    </a:lnTo>
                    <a:lnTo>
                      <a:pt x="225" y="949"/>
                    </a:lnTo>
                    <a:lnTo>
                      <a:pt x="222" y="970"/>
                    </a:lnTo>
                    <a:lnTo>
                      <a:pt x="225" y="984"/>
                    </a:lnTo>
                    <a:lnTo>
                      <a:pt x="222" y="991"/>
                    </a:lnTo>
                    <a:lnTo>
                      <a:pt x="217" y="998"/>
                    </a:lnTo>
                    <a:lnTo>
                      <a:pt x="215" y="1005"/>
                    </a:lnTo>
                    <a:lnTo>
                      <a:pt x="210" y="1008"/>
                    </a:lnTo>
                    <a:lnTo>
                      <a:pt x="194" y="1031"/>
                    </a:lnTo>
                    <a:lnTo>
                      <a:pt x="123" y="1046"/>
                    </a:lnTo>
                    <a:lnTo>
                      <a:pt x="128" y="1041"/>
                    </a:lnTo>
                    <a:lnTo>
                      <a:pt x="142" y="1039"/>
                    </a:lnTo>
                    <a:lnTo>
                      <a:pt x="163" y="1029"/>
                    </a:lnTo>
                    <a:lnTo>
                      <a:pt x="156" y="1017"/>
                    </a:lnTo>
                    <a:lnTo>
                      <a:pt x="147" y="1005"/>
                    </a:lnTo>
                    <a:lnTo>
                      <a:pt x="139" y="1005"/>
                    </a:lnTo>
                    <a:lnTo>
                      <a:pt x="135" y="998"/>
                    </a:lnTo>
                    <a:lnTo>
                      <a:pt x="132" y="975"/>
                    </a:lnTo>
                    <a:lnTo>
                      <a:pt x="128" y="960"/>
                    </a:lnTo>
                    <a:lnTo>
                      <a:pt x="113" y="946"/>
                    </a:lnTo>
                    <a:lnTo>
                      <a:pt x="111" y="951"/>
                    </a:lnTo>
                    <a:lnTo>
                      <a:pt x="104" y="975"/>
                    </a:lnTo>
                    <a:lnTo>
                      <a:pt x="99" y="1008"/>
                    </a:lnTo>
                    <a:lnTo>
                      <a:pt x="97" y="1020"/>
                    </a:lnTo>
                    <a:lnTo>
                      <a:pt x="76" y="1022"/>
                    </a:lnTo>
                    <a:lnTo>
                      <a:pt x="59" y="1020"/>
                    </a:lnTo>
                    <a:lnTo>
                      <a:pt x="50" y="1022"/>
                    </a:lnTo>
                    <a:lnTo>
                      <a:pt x="43" y="979"/>
                    </a:lnTo>
                    <a:lnTo>
                      <a:pt x="38" y="939"/>
                    </a:lnTo>
                    <a:lnTo>
                      <a:pt x="33" y="899"/>
                    </a:lnTo>
                    <a:lnTo>
                      <a:pt x="28" y="861"/>
                    </a:lnTo>
                    <a:lnTo>
                      <a:pt x="21" y="821"/>
                    </a:lnTo>
                    <a:lnTo>
                      <a:pt x="17" y="781"/>
                    </a:lnTo>
                    <a:lnTo>
                      <a:pt x="12" y="741"/>
                    </a:lnTo>
                    <a:lnTo>
                      <a:pt x="7" y="703"/>
                    </a:lnTo>
                    <a:lnTo>
                      <a:pt x="7" y="663"/>
                    </a:lnTo>
                    <a:lnTo>
                      <a:pt x="9" y="625"/>
                    </a:lnTo>
                    <a:lnTo>
                      <a:pt x="9" y="585"/>
                    </a:lnTo>
                    <a:lnTo>
                      <a:pt x="12" y="544"/>
                    </a:lnTo>
                    <a:lnTo>
                      <a:pt x="12" y="506"/>
                    </a:lnTo>
                    <a:lnTo>
                      <a:pt x="14" y="466"/>
                    </a:lnTo>
                    <a:lnTo>
                      <a:pt x="14" y="428"/>
                    </a:lnTo>
                    <a:lnTo>
                      <a:pt x="14" y="388"/>
                    </a:lnTo>
                    <a:lnTo>
                      <a:pt x="17" y="348"/>
                    </a:lnTo>
                    <a:lnTo>
                      <a:pt x="17" y="310"/>
                    </a:lnTo>
                    <a:lnTo>
                      <a:pt x="19" y="270"/>
                    </a:lnTo>
                    <a:lnTo>
                      <a:pt x="19" y="232"/>
                    </a:lnTo>
                    <a:lnTo>
                      <a:pt x="19" y="192"/>
                    </a:lnTo>
                    <a:lnTo>
                      <a:pt x="21" y="154"/>
                    </a:lnTo>
                    <a:lnTo>
                      <a:pt x="21" y="114"/>
                    </a:lnTo>
                    <a:lnTo>
                      <a:pt x="24" y="74"/>
                    </a:lnTo>
                    <a:lnTo>
                      <a:pt x="24" y="64"/>
                    </a:lnTo>
                    <a:lnTo>
                      <a:pt x="24" y="62"/>
                    </a:lnTo>
                    <a:lnTo>
                      <a:pt x="24" y="57"/>
                    </a:lnTo>
                    <a:lnTo>
                      <a:pt x="7" y="43"/>
                    </a:lnTo>
                    <a:lnTo>
                      <a:pt x="2" y="41"/>
                    </a:lnTo>
                    <a:lnTo>
                      <a:pt x="0" y="38"/>
                    </a:lnTo>
                    <a:lnTo>
                      <a:pt x="2" y="38"/>
                    </a:lnTo>
                    <a:lnTo>
                      <a:pt x="31" y="36"/>
                    </a:lnTo>
                    <a:lnTo>
                      <a:pt x="59" y="34"/>
                    </a:lnTo>
                    <a:lnTo>
                      <a:pt x="85" y="31"/>
                    </a:lnTo>
                    <a:lnTo>
                      <a:pt x="113" y="31"/>
                    </a:lnTo>
                    <a:lnTo>
                      <a:pt x="142" y="29"/>
                    </a:lnTo>
                    <a:lnTo>
                      <a:pt x="170" y="26"/>
                    </a:lnTo>
                    <a:lnTo>
                      <a:pt x="196" y="24"/>
                    </a:lnTo>
                    <a:lnTo>
                      <a:pt x="225" y="22"/>
                    </a:lnTo>
                    <a:lnTo>
                      <a:pt x="253" y="17"/>
                    </a:lnTo>
                    <a:lnTo>
                      <a:pt x="279" y="15"/>
                    </a:lnTo>
                    <a:lnTo>
                      <a:pt x="307" y="12"/>
                    </a:lnTo>
                    <a:lnTo>
                      <a:pt x="336" y="10"/>
                    </a:lnTo>
                    <a:lnTo>
                      <a:pt x="364" y="8"/>
                    </a:lnTo>
                    <a:lnTo>
                      <a:pt x="390" y="5"/>
                    </a:lnTo>
                    <a:lnTo>
                      <a:pt x="418" y="3"/>
                    </a:lnTo>
                    <a:lnTo>
                      <a:pt x="447" y="0"/>
                    </a:lnTo>
                    <a:close/>
                    <a:moveTo>
                      <a:pt x="111" y="1041"/>
                    </a:moveTo>
                    <a:lnTo>
                      <a:pt x="95" y="1048"/>
                    </a:lnTo>
                    <a:lnTo>
                      <a:pt x="71" y="1050"/>
                    </a:lnTo>
                    <a:lnTo>
                      <a:pt x="66" y="1048"/>
                    </a:lnTo>
                    <a:lnTo>
                      <a:pt x="76" y="1046"/>
                    </a:lnTo>
                    <a:lnTo>
                      <a:pt x="104" y="1039"/>
                    </a:lnTo>
                    <a:lnTo>
                      <a:pt x="111" y="104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87" name="Freeform 43">
                <a:extLst>
                  <a:ext uri="{FF2B5EF4-FFF2-40B4-BE49-F238E27FC236}">
                    <a16:creationId xmlns:a16="http://schemas.microsoft.com/office/drawing/2014/main" id="{35BF6D17-5357-2D98-CECE-FCD777B99709}"/>
                  </a:ext>
                </a:extLst>
              </p:cNvPr>
              <p:cNvSpPr>
                <a:spLocks/>
              </p:cNvSpPr>
              <p:nvPr/>
            </p:nvSpPr>
            <p:spPr bwMode="auto">
              <a:xfrm>
                <a:off x="4943" y="1814"/>
                <a:ext cx="844" cy="763"/>
              </a:xfrm>
              <a:custGeom>
                <a:avLst/>
                <a:gdLst>
                  <a:gd name="T0" fmla="*/ 844 w 844"/>
                  <a:gd name="T1" fmla="*/ 111 h 763"/>
                  <a:gd name="T2" fmla="*/ 836 w 844"/>
                  <a:gd name="T3" fmla="*/ 120 h 763"/>
                  <a:gd name="T4" fmla="*/ 832 w 844"/>
                  <a:gd name="T5" fmla="*/ 130 h 763"/>
                  <a:gd name="T6" fmla="*/ 829 w 844"/>
                  <a:gd name="T7" fmla="*/ 141 h 763"/>
                  <a:gd name="T8" fmla="*/ 808 w 844"/>
                  <a:gd name="T9" fmla="*/ 189 h 763"/>
                  <a:gd name="T10" fmla="*/ 780 w 844"/>
                  <a:gd name="T11" fmla="*/ 248 h 763"/>
                  <a:gd name="T12" fmla="*/ 758 w 844"/>
                  <a:gd name="T13" fmla="*/ 307 h 763"/>
                  <a:gd name="T14" fmla="*/ 754 w 844"/>
                  <a:gd name="T15" fmla="*/ 324 h 763"/>
                  <a:gd name="T16" fmla="*/ 735 w 844"/>
                  <a:gd name="T17" fmla="*/ 350 h 763"/>
                  <a:gd name="T18" fmla="*/ 721 w 844"/>
                  <a:gd name="T19" fmla="*/ 373 h 763"/>
                  <a:gd name="T20" fmla="*/ 709 w 844"/>
                  <a:gd name="T21" fmla="*/ 423 h 763"/>
                  <a:gd name="T22" fmla="*/ 680 w 844"/>
                  <a:gd name="T23" fmla="*/ 456 h 763"/>
                  <a:gd name="T24" fmla="*/ 657 w 844"/>
                  <a:gd name="T25" fmla="*/ 494 h 763"/>
                  <a:gd name="T26" fmla="*/ 657 w 844"/>
                  <a:gd name="T27" fmla="*/ 522 h 763"/>
                  <a:gd name="T28" fmla="*/ 633 w 844"/>
                  <a:gd name="T29" fmla="*/ 536 h 763"/>
                  <a:gd name="T30" fmla="*/ 638 w 844"/>
                  <a:gd name="T31" fmla="*/ 555 h 763"/>
                  <a:gd name="T32" fmla="*/ 628 w 844"/>
                  <a:gd name="T33" fmla="*/ 584 h 763"/>
                  <a:gd name="T34" fmla="*/ 617 w 844"/>
                  <a:gd name="T35" fmla="*/ 610 h 763"/>
                  <a:gd name="T36" fmla="*/ 612 w 844"/>
                  <a:gd name="T37" fmla="*/ 631 h 763"/>
                  <a:gd name="T38" fmla="*/ 624 w 844"/>
                  <a:gd name="T39" fmla="*/ 655 h 763"/>
                  <a:gd name="T40" fmla="*/ 631 w 844"/>
                  <a:gd name="T41" fmla="*/ 695 h 763"/>
                  <a:gd name="T42" fmla="*/ 626 w 844"/>
                  <a:gd name="T43" fmla="*/ 742 h 763"/>
                  <a:gd name="T44" fmla="*/ 529 w 844"/>
                  <a:gd name="T45" fmla="*/ 747 h 763"/>
                  <a:gd name="T46" fmla="*/ 432 w 844"/>
                  <a:gd name="T47" fmla="*/ 751 h 763"/>
                  <a:gd name="T48" fmla="*/ 338 w 844"/>
                  <a:gd name="T49" fmla="*/ 756 h 763"/>
                  <a:gd name="T50" fmla="*/ 241 w 844"/>
                  <a:gd name="T51" fmla="*/ 759 h 763"/>
                  <a:gd name="T52" fmla="*/ 146 w 844"/>
                  <a:gd name="T53" fmla="*/ 761 h 763"/>
                  <a:gd name="T54" fmla="*/ 111 w 844"/>
                  <a:gd name="T55" fmla="*/ 707 h 763"/>
                  <a:gd name="T56" fmla="*/ 101 w 844"/>
                  <a:gd name="T57" fmla="*/ 643 h 763"/>
                  <a:gd name="T58" fmla="*/ 66 w 844"/>
                  <a:gd name="T59" fmla="*/ 643 h 763"/>
                  <a:gd name="T60" fmla="*/ 52 w 844"/>
                  <a:gd name="T61" fmla="*/ 647 h 763"/>
                  <a:gd name="T62" fmla="*/ 33 w 844"/>
                  <a:gd name="T63" fmla="*/ 631 h 763"/>
                  <a:gd name="T64" fmla="*/ 33 w 844"/>
                  <a:gd name="T65" fmla="*/ 562 h 763"/>
                  <a:gd name="T66" fmla="*/ 33 w 844"/>
                  <a:gd name="T67" fmla="*/ 491 h 763"/>
                  <a:gd name="T68" fmla="*/ 33 w 844"/>
                  <a:gd name="T69" fmla="*/ 423 h 763"/>
                  <a:gd name="T70" fmla="*/ 33 w 844"/>
                  <a:gd name="T71" fmla="*/ 354 h 763"/>
                  <a:gd name="T72" fmla="*/ 35 w 844"/>
                  <a:gd name="T73" fmla="*/ 286 h 763"/>
                  <a:gd name="T74" fmla="*/ 26 w 844"/>
                  <a:gd name="T75" fmla="*/ 205 h 763"/>
                  <a:gd name="T76" fmla="*/ 11 w 844"/>
                  <a:gd name="T77" fmla="*/ 118 h 763"/>
                  <a:gd name="T78" fmla="*/ 0 w 844"/>
                  <a:gd name="T79" fmla="*/ 30 h 763"/>
                  <a:gd name="T80" fmla="*/ 141 w 844"/>
                  <a:gd name="T81" fmla="*/ 28 h 763"/>
                  <a:gd name="T82" fmla="*/ 283 w 844"/>
                  <a:gd name="T83" fmla="*/ 23 h 763"/>
                  <a:gd name="T84" fmla="*/ 425 w 844"/>
                  <a:gd name="T85" fmla="*/ 18 h 763"/>
                  <a:gd name="T86" fmla="*/ 567 w 844"/>
                  <a:gd name="T87" fmla="*/ 11 h 763"/>
                  <a:gd name="T88" fmla="*/ 709 w 844"/>
                  <a:gd name="T89" fmla="*/ 2 h 763"/>
                  <a:gd name="T90" fmla="*/ 773 w 844"/>
                  <a:gd name="T91" fmla="*/ 26 h 763"/>
                  <a:gd name="T92" fmla="*/ 761 w 844"/>
                  <a:gd name="T93" fmla="*/ 59 h 763"/>
                  <a:gd name="T94" fmla="*/ 737 w 844"/>
                  <a:gd name="T95" fmla="*/ 85 h 763"/>
                  <a:gd name="T96" fmla="*/ 782 w 844"/>
                  <a:gd name="T97" fmla="*/ 104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4" h="763">
                    <a:moveTo>
                      <a:pt x="841" y="99"/>
                    </a:moveTo>
                    <a:lnTo>
                      <a:pt x="839" y="104"/>
                    </a:lnTo>
                    <a:lnTo>
                      <a:pt x="844" y="111"/>
                    </a:lnTo>
                    <a:lnTo>
                      <a:pt x="844" y="115"/>
                    </a:lnTo>
                    <a:lnTo>
                      <a:pt x="841" y="120"/>
                    </a:lnTo>
                    <a:lnTo>
                      <a:pt x="836" y="120"/>
                    </a:lnTo>
                    <a:lnTo>
                      <a:pt x="832" y="123"/>
                    </a:lnTo>
                    <a:lnTo>
                      <a:pt x="832" y="127"/>
                    </a:lnTo>
                    <a:lnTo>
                      <a:pt x="832" y="130"/>
                    </a:lnTo>
                    <a:lnTo>
                      <a:pt x="832" y="132"/>
                    </a:lnTo>
                    <a:lnTo>
                      <a:pt x="832" y="137"/>
                    </a:lnTo>
                    <a:lnTo>
                      <a:pt x="829" y="141"/>
                    </a:lnTo>
                    <a:lnTo>
                      <a:pt x="810" y="153"/>
                    </a:lnTo>
                    <a:lnTo>
                      <a:pt x="803" y="170"/>
                    </a:lnTo>
                    <a:lnTo>
                      <a:pt x="808" y="189"/>
                    </a:lnTo>
                    <a:lnTo>
                      <a:pt x="803" y="208"/>
                    </a:lnTo>
                    <a:lnTo>
                      <a:pt x="787" y="227"/>
                    </a:lnTo>
                    <a:lnTo>
                      <a:pt x="780" y="248"/>
                    </a:lnTo>
                    <a:lnTo>
                      <a:pt x="784" y="271"/>
                    </a:lnTo>
                    <a:lnTo>
                      <a:pt x="777" y="290"/>
                    </a:lnTo>
                    <a:lnTo>
                      <a:pt x="758" y="307"/>
                    </a:lnTo>
                    <a:lnTo>
                      <a:pt x="754" y="316"/>
                    </a:lnTo>
                    <a:lnTo>
                      <a:pt x="754" y="316"/>
                    </a:lnTo>
                    <a:lnTo>
                      <a:pt x="754" y="324"/>
                    </a:lnTo>
                    <a:lnTo>
                      <a:pt x="756" y="328"/>
                    </a:lnTo>
                    <a:lnTo>
                      <a:pt x="749" y="338"/>
                    </a:lnTo>
                    <a:lnTo>
                      <a:pt x="735" y="350"/>
                    </a:lnTo>
                    <a:lnTo>
                      <a:pt x="725" y="359"/>
                    </a:lnTo>
                    <a:lnTo>
                      <a:pt x="725" y="368"/>
                    </a:lnTo>
                    <a:lnTo>
                      <a:pt x="721" y="373"/>
                    </a:lnTo>
                    <a:lnTo>
                      <a:pt x="714" y="376"/>
                    </a:lnTo>
                    <a:lnTo>
                      <a:pt x="711" y="390"/>
                    </a:lnTo>
                    <a:lnTo>
                      <a:pt x="709" y="423"/>
                    </a:lnTo>
                    <a:lnTo>
                      <a:pt x="702" y="444"/>
                    </a:lnTo>
                    <a:lnTo>
                      <a:pt x="688" y="449"/>
                    </a:lnTo>
                    <a:lnTo>
                      <a:pt x="680" y="456"/>
                    </a:lnTo>
                    <a:lnTo>
                      <a:pt x="680" y="468"/>
                    </a:lnTo>
                    <a:lnTo>
                      <a:pt x="671" y="480"/>
                    </a:lnTo>
                    <a:lnTo>
                      <a:pt x="657" y="494"/>
                    </a:lnTo>
                    <a:lnTo>
                      <a:pt x="652" y="506"/>
                    </a:lnTo>
                    <a:lnTo>
                      <a:pt x="657" y="517"/>
                    </a:lnTo>
                    <a:lnTo>
                      <a:pt x="657" y="522"/>
                    </a:lnTo>
                    <a:lnTo>
                      <a:pt x="652" y="527"/>
                    </a:lnTo>
                    <a:lnTo>
                      <a:pt x="636" y="534"/>
                    </a:lnTo>
                    <a:lnTo>
                      <a:pt x="633" y="536"/>
                    </a:lnTo>
                    <a:lnTo>
                      <a:pt x="631" y="541"/>
                    </a:lnTo>
                    <a:lnTo>
                      <a:pt x="633" y="546"/>
                    </a:lnTo>
                    <a:lnTo>
                      <a:pt x="638" y="555"/>
                    </a:lnTo>
                    <a:lnTo>
                      <a:pt x="636" y="572"/>
                    </a:lnTo>
                    <a:lnTo>
                      <a:pt x="631" y="577"/>
                    </a:lnTo>
                    <a:lnTo>
                      <a:pt x="628" y="584"/>
                    </a:lnTo>
                    <a:lnTo>
                      <a:pt x="614" y="595"/>
                    </a:lnTo>
                    <a:lnTo>
                      <a:pt x="610" y="605"/>
                    </a:lnTo>
                    <a:lnTo>
                      <a:pt x="617" y="610"/>
                    </a:lnTo>
                    <a:lnTo>
                      <a:pt x="617" y="617"/>
                    </a:lnTo>
                    <a:lnTo>
                      <a:pt x="610" y="624"/>
                    </a:lnTo>
                    <a:lnTo>
                      <a:pt x="612" y="631"/>
                    </a:lnTo>
                    <a:lnTo>
                      <a:pt x="614" y="636"/>
                    </a:lnTo>
                    <a:lnTo>
                      <a:pt x="621" y="640"/>
                    </a:lnTo>
                    <a:lnTo>
                      <a:pt x="624" y="655"/>
                    </a:lnTo>
                    <a:lnTo>
                      <a:pt x="619" y="671"/>
                    </a:lnTo>
                    <a:lnTo>
                      <a:pt x="621" y="683"/>
                    </a:lnTo>
                    <a:lnTo>
                      <a:pt x="631" y="695"/>
                    </a:lnTo>
                    <a:lnTo>
                      <a:pt x="633" y="699"/>
                    </a:lnTo>
                    <a:lnTo>
                      <a:pt x="626" y="737"/>
                    </a:lnTo>
                    <a:lnTo>
                      <a:pt x="626" y="742"/>
                    </a:lnTo>
                    <a:lnTo>
                      <a:pt x="593" y="744"/>
                    </a:lnTo>
                    <a:lnTo>
                      <a:pt x="560" y="747"/>
                    </a:lnTo>
                    <a:lnTo>
                      <a:pt x="529" y="747"/>
                    </a:lnTo>
                    <a:lnTo>
                      <a:pt x="496" y="749"/>
                    </a:lnTo>
                    <a:lnTo>
                      <a:pt x="465" y="751"/>
                    </a:lnTo>
                    <a:lnTo>
                      <a:pt x="432" y="751"/>
                    </a:lnTo>
                    <a:lnTo>
                      <a:pt x="401" y="754"/>
                    </a:lnTo>
                    <a:lnTo>
                      <a:pt x="368" y="754"/>
                    </a:lnTo>
                    <a:lnTo>
                      <a:pt x="338" y="756"/>
                    </a:lnTo>
                    <a:lnTo>
                      <a:pt x="305" y="756"/>
                    </a:lnTo>
                    <a:lnTo>
                      <a:pt x="274" y="759"/>
                    </a:lnTo>
                    <a:lnTo>
                      <a:pt x="241" y="759"/>
                    </a:lnTo>
                    <a:lnTo>
                      <a:pt x="210" y="761"/>
                    </a:lnTo>
                    <a:lnTo>
                      <a:pt x="177" y="761"/>
                    </a:lnTo>
                    <a:lnTo>
                      <a:pt x="146" y="761"/>
                    </a:lnTo>
                    <a:lnTo>
                      <a:pt x="113" y="763"/>
                    </a:lnTo>
                    <a:lnTo>
                      <a:pt x="113" y="735"/>
                    </a:lnTo>
                    <a:lnTo>
                      <a:pt x="111" y="707"/>
                    </a:lnTo>
                    <a:lnTo>
                      <a:pt x="111" y="676"/>
                    </a:lnTo>
                    <a:lnTo>
                      <a:pt x="111" y="647"/>
                    </a:lnTo>
                    <a:lnTo>
                      <a:pt x="101" y="643"/>
                    </a:lnTo>
                    <a:lnTo>
                      <a:pt x="85" y="643"/>
                    </a:lnTo>
                    <a:lnTo>
                      <a:pt x="75" y="643"/>
                    </a:lnTo>
                    <a:lnTo>
                      <a:pt x="66" y="643"/>
                    </a:lnTo>
                    <a:lnTo>
                      <a:pt x="59" y="647"/>
                    </a:lnTo>
                    <a:lnTo>
                      <a:pt x="54" y="647"/>
                    </a:lnTo>
                    <a:lnTo>
                      <a:pt x="52" y="647"/>
                    </a:lnTo>
                    <a:lnTo>
                      <a:pt x="49" y="643"/>
                    </a:lnTo>
                    <a:lnTo>
                      <a:pt x="42" y="640"/>
                    </a:lnTo>
                    <a:lnTo>
                      <a:pt x="33" y="631"/>
                    </a:lnTo>
                    <a:lnTo>
                      <a:pt x="33" y="607"/>
                    </a:lnTo>
                    <a:lnTo>
                      <a:pt x="33" y="584"/>
                    </a:lnTo>
                    <a:lnTo>
                      <a:pt x="33" y="562"/>
                    </a:lnTo>
                    <a:lnTo>
                      <a:pt x="33" y="539"/>
                    </a:lnTo>
                    <a:lnTo>
                      <a:pt x="33" y="515"/>
                    </a:lnTo>
                    <a:lnTo>
                      <a:pt x="33" y="491"/>
                    </a:lnTo>
                    <a:lnTo>
                      <a:pt x="33" y="470"/>
                    </a:lnTo>
                    <a:lnTo>
                      <a:pt x="33" y="446"/>
                    </a:lnTo>
                    <a:lnTo>
                      <a:pt x="33" y="423"/>
                    </a:lnTo>
                    <a:lnTo>
                      <a:pt x="33" y="402"/>
                    </a:lnTo>
                    <a:lnTo>
                      <a:pt x="33" y="378"/>
                    </a:lnTo>
                    <a:lnTo>
                      <a:pt x="33" y="354"/>
                    </a:lnTo>
                    <a:lnTo>
                      <a:pt x="33" y="333"/>
                    </a:lnTo>
                    <a:lnTo>
                      <a:pt x="35" y="309"/>
                    </a:lnTo>
                    <a:lnTo>
                      <a:pt x="35" y="286"/>
                    </a:lnTo>
                    <a:lnTo>
                      <a:pt x="35" y="264"/>
                    </a:lnTo>
                    <a:lnTo>
                      <a:pt x="30" y="234"/>
                    </a:lnTo>
                    <a:lnTo>
                      <a:pt x="26" y="205"/>
                    </a:lnTo>
                    <a:lnTo>
                      <a:pt x="21" y="177"/>
                    </a:lnTo>
                    <a:lnTo>
                      <a:pt x="16" y="146"/>
                    </a:lnTo>
                    <a:lnTo>
                      <a:pt x="11" y="118"/>
                    </a:lnTo>
                    <a:lnTo>
                      <a:pt x="9" y="87"/>
                    </a:lnTo>
                    <a:lnTo>
                      <a:pt x="4" y="59"/>
                    </a:lnTo>
                    <a:lnTo>
                      <a:pt x="0" y="30"/>
                    </a:lnTo>
                    <a:lnTo>
                      <a:pt x="47" y="28"/>
                    </a:lnTo>
                    <a:lnTo>
                      <a:pt x="94" y="28"/>
                    </a:lnTo>
                    <a:lnTo>
                      <a:pt x="141" y="28"/>
                    </a:lnTo>
                    <a:lnTo>
                      <a:pt x="189" y="26"/>
                    </a:lnTo>
                    <a:lnTo>
                      <a:pt x="236" y="23"/>
                    </a:lnTo>
                    <a:lnTo>
                      <a:pt x="283" y="23"/>
                    </a:lnTo>
                    <a:lnTo>
                      <a:pt x="331" y="21"/>
                    </a:lnTo>
                    <a:lnTo>
                      <a:pt x="378" y="18"/>
                    </a:lnTo>
                    <a:lnTo>
                      <a:pt x="425" y="18"/>
                    </a:lnTo>
                    <a:lnTo>
                      <a:pt x="472" y="16"/>
                    </a:lnTo>
                    <a:lnTo>
                      <a:pt x="520" y="14"/>
                    </a:lnTo>
                    <a:lnTo>
                      <a:pt x="567" y="11"/>
                    </a:lnTo>
                    <a:lnTo>
                      <a:pt x="614" y="9"/>
                    </a:lnTo>
                    <a:lnTo>
                      <a:pt x="662" y="7"/>
                    </a:lnTo>
                    <a:lnTo>
                      <a:pt x="709" y="2"/>
                    </a:lnTo>
                    <a:lnTo>
                      <a:pt x="756" y="0"/>
                    </a:lnTo>
                    <a:lnTo>
                      <a:pt x="763" y="16"/>
                    </a:lnTo>
                    <a:lnTo>
                      <a:pt x="773" y="26"/>
                    </a:lnTo>
                    <a:lnTo>
                      <a:pt x="775" y="33"/>
                    </a:lnTo>
                    <a:lnTo>
                      <a:pt x="773" y="42"/>
                    </a:lnTo>
                    <a:lnTo>
                      <a:pt x="761" y="59"/>
                    </a:lnTo>
                    <a:lnTo>
                      <a:pt x="751" y="68"/>
                    </a:lnTo>
                    <a:lnTo>
                      <a:pt x="744" y="78"/>
                    </a:lnTo>
                    <a:lnTo>
                      <a:pt x="737" y="85"/>
                    </a:lnTo>
                    <a:lnTo>
                      <a:pt x="725" y="108"/>
                    </a:lnTo>
                    <a:lnTo>
                      <a:pt x="754" y="106"/>
                    </a:lnTo>
                    <a:lnTo>
                      <a:pt x="782" y="104"/>
                    </a:lnTo>
                    <a:lnTo>
                      <a:pt x="808" y="101"/>
                    </a:lnTo>
                    <a:lnTo>
                      <a:pt x="841" y="9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88" name="Freeform 45">
                <a:extLst>
                  <a:ext uri="{FF2B5EF4-FFF2-40B4-BE49-F238E27FC236}">
                    <a16:creationId xmlns:a16="http://schemas.microsoft.com/office/drawing/2014/main" id="{43439F56-B6A8-2D5E-7A96-66E5A7015E1A}"/>
                  </a:ext>
                </a:extLst>
              </p:cNvPr>
              <p:cNvSpPr>
                <a:spLocks/>
              </p:cNvSpPr>
              <p:nvPr/>
            </p:nvSpPr>
            <p:spPr bwMode="auto">
              <a:xfrm>
                <a:off x="1362" y="1438"/>
                <a:ext cx="1155" cy="1328"/>
              </a:xfrm>
              <a:custGeom>
                <a:avLst/>
                <a:gdLst>
                  <a:gd name="T0" fmla="*/ 1144 w 1155"/>
                  <a:gd name="T1" fmla="*/ 220 h 1328"/>
                  <a:gd name="T2" fmla="*/ 1122 w 1155"/>
                  <a:gd name="T3" fmla="*/ 366 h 1328"/>
                  <a:gd name="T4" fmla="*/ 1101 w 1155"/>
                  <a:gd name="T5" fmla="*/ 513 h 1328"/>
                  <a:gd name="T6" fmla="*/ 1080 w 1155"/>
                  <a:gd name="T7" fmla="*/ 662 h 1328"/>
                  <a:gd name="T8" fmla="*/ 1058 w 1155"/>
                  <a:gd name="T9" fmla="*/ 811 h 1328"/>
                  <a:gd name="T10" fmla="*/ 1037 w 1155"/>
                  <a:gd name="T11" fmla="*/ 957 h 1328"/>
                  <a:gd name="T12" fmla="*/ 1016 w 1155"/>
                  <a:gd name="T13" fmla="*/ 1106 h 1328"/>
                  <a:gd name="T14" fmla="*/ 995 w 1155"/>
                  <a:gd name="T15" fmla="*/ 1255 h 1328"/>
                  <a:gd name="T16" fmla="*/ 943 w 1155"/>
                  <a:gd name="T17" fmla="*/ 1324 h 1328"/>
                  <a:gd name="T18" fmla="*/ 815 w 1155"/>
                  <a:gd name="T19" fmla="*/ 1305 h 1328"/>
                  <a:gd name="T20" fmla="*/ 687 w 1155"/>
                  <a:gd name="T21" fmla="*/ 1284 h 1328"/>
                  <a:gd name="T22" fmla="*/ 546 w 1155"/>
                  <a:gd name="T23" fmla="*/ 1229 h 1328"/>
                  <a:gd name="T24" fmla="*/ 387 w 1155"/>
                  <a:gd name="T25" fmla="*/ 1137 h 1328"/>
                  <a:gd name="T26" fmla="*/ 231 w 1155"/>
                  <a:gd name="T27" fmla="*/ 1042 h 1328"/>
                  <a:gd name="T28" fmla="*/ 75 w 1155"/>
                  <a:gd name="T29" fmla="*/ 948 h 1328"/>
                  <a:gd name="T30" fmla="*/ 9 w 1155"/>
                  <a:gd name="T31" fmla="*/ 891 h 1328"/>
                  <a:gd name="T32" fmla="*/ 28 w 1155"/>
                  <a:gd name="T33" fmla="*/ 860 h 1328"/>
                  <a:gd name="T34" fmla="*/ 54 w 1155"/>
                  <a:gd name="T35" fmla="*/ 863 h 1328"/>
                  <a:gd name="T36" fmla="*/ 75 w 1155"/>
                  <a:gd name="T37" fmla="*/ 844 h 1328"/>
                  <a:gd name="T38" fmla="*/ 80 w 1155"/>
                  <a:gd name="T39" fmla="*/ 815 h 1328"/>
                  <a:gd name="T40" fmla="*/ 56 w 1155"/>
                  <a:gd name="T41" fmla="*/ 792 h 1328"/>
                  <a:gd name="T42" fmla="*/ 54 w 1155"/>
                  <a:gd name="T43" fmla="*/ 735 h 1328"/>
                  <a:gd name="T44" fmla="*/ 70 w 1155"/>
                  <a:gd name="T45" fmla="*/ 716 h 1328"/>
                  <a:gd name="T46" fmla="*/ 92 w 1155"/>
                  <a:gd name="T47" fmla="*/ 700 h 1328"/>
                  <a:gd name="T48" fmla="*/ 108 w 1155"/>
                  <a:gd name="T49" fmla="*/ 669 h 1328"/>
                  <a:gd name="T50" fmla="*/ 115 w 1155"/>
                  <a:gd name="T51" fmla="*/ 624 h 1328"/>
                  <a:gd name="T52" fmla="*/ 156 w 1155"/>
                  <a:gd name="T53" fmla="*/ 581 h 1328"/>
                  <a:gd name="T54" fmla="*/ 198 w 1155"/>
                  <a:gd name="T55" fmla="*/ 558 h 1328"/>
                  <a:gd name="T56" fmla="*/ 198 w 1155"/>
                  <a:gd name="T57" fmla="*/ 553 h 1328"/>
                  <a:gd name="T58" fmla="*/ 172 w 1155"/>
                  <a:gd name="T59" fmla="*/ 522 h 1328"/>
                  <a:gd name="T60" fmla="*/ 165 w 1155"/>
                  <a:gd name="T61" fmla="*/ 499 h 1328"/>
                  <a:gd name="T62" fmla="*/ 163 w 1155"/>
                  <a:gd name="T63" fmla="*/ 487 h 1328"/>
                  <a:gd name="T64" fmla="*/ 141 w 1155"/>
                  <a:gd name="T65" fmla="*/ 413 h 1328"/>
                  <a:gd name="T66" fmla="*/ 146 w 1155"/>
                  <a:gd name="T67" fmla="*/ 394 h 1328"/>
                  <a:gd name="T68" fmla="*/ 158 w 1155"/>
                  <a:gd name="T69" fmla="*/ 295 h 1328"/>
                  <a:gd name="T70" fmla="*/ 167 w 1155"/>
                  <a:gd name="T71" fmla="*/ 262 h 1328"/>
                  <a:gd name="T72" fmla="*/ 165 w 1155"/>
                  <a:gd name="T73" fmla="*/ 241 h 1328"/>
                  <a:gd name="T74" fmla="*/ 172 w 1155"/>
                  <a:gd name="T75" fmla="*/ 203 h 1328"/>
                  <a:gd name="T76" fmla="*/ 167 w 1155"/>
                  <a:gd name="T77" fmla="*/ 182 h 1328"/>
                  <a:gd name="T78" fmla="*/ 184 w 1155"/>
                  <a:gd name="T79" fmla="*/ 160 h 1328"/>
                  <a:gd name="T80" fmla="*/ 212 w 1155"/>
                  <a:gd name="T81" fmla="*/ 160 h 1328"/>
                  <a:gd name="T82" fmla="*/ 241 w 1155"/>
                  <a:gd name="T83" fmla="*/ 175 h 1328"/>
                  <a:gd name="T84" fmla="*/ 252 w 1155"/>
                  <a:gd name="T85" fmla="*/ 196 h 1328"/>
                  <a:gd name="T86" fmla="*/ 274 w 1155"/>
                  <a:gd name="T87" fmla="*/ 189 h 1328"/>
                  <a:gd name="T88" fmla="*/ 290 w 1155"/>
                  <a:gd name="T89" fmla="*/ 170 h 1328"/>
                  <a:gd name="T90" fmla="*/ 326 w 1155"/>
                  <a:gd name="T91" fmla="*/ 0 h 1328"/>
                  <a:gd name="T92" fmla="*/ 427 w 1155"/>
                  <a:gd name="T93" fmla="*/ 21 h 1328"/>
                  <a:gd name="T94" fmla="*/ 531 w 1155"/>
                  <a:gd name="T95" fmla="*/ 42 h 1328"/>
                  <a:gd name="T96" fmla="*/ 635 w 1155"/>
                  <a:gd name="T97" fmla="*/ 61 h 1328"/>
                  <a:gd name="T98" fmla="*/ 739 w 1155"/>
                  <a:gd name="T99" fmla="*/ 78 h 1328"/>
                  <a:gd name="T100" fmla="*/ 843 w 1155"/>
                  <a:gd name="T101" fmla="*/ 97 h 1328"/>
                  <a:gd name="T102" fmla="*/ 947 w 1155"/>
                  <a:gd name="T103" fmla="*/ 113 h 1328"/>
                  <a:gd name="T104" fmla="*/ 1051 w 1155"/>
                  <a:gd name="T105" fmla="*/ 130 h 1328"/>
                  <a:gd name="T106" fmla="*/ 1155 w 1155"/>
                  <a:gd name="T107" fmla="*/ 14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55" h="1328">
                    <a:moveTo>
                      <a:pt x="1155" y="144"/>
                    </a:moveTo>
                    <a:lnTo>
                      <a:pt x="1144" y="220"/>
                    </a:lnTo>
                    <a:lnTo>
                      <a:pt x="1134" y="293"/>
                    </a:lnTo>
                    <a:lnTo>
                      <a:pt x="1122" y="366"/>
                    </a:lnTo>
                    <a:lnTo>
                      <a:pt x="1110" y="439"/>
                    </a:lnTo>
                    <a:lnTo>
                      <a:pt x="1101" y="513"/>
                    </a:lnTo>
                    <a:lnTo>
                      <a:pt x="1089" y="588"/>
                    </a:lnTo>
                    <a:lnTo>
                      <a:pt x="1080" y="662"/>
                    </a:lnTo>
                    <a:lnTo>
                      <a:pt x="1068" y="735"/>
                    </a:lnTo>
                    <a:lnTo>
                      <a:pt x="1058" y="811"/>
                    </a:lnTo>
                    <a:lnTo>
                      <a:pt x="1047" y="884"/>
                    </a:lnTo>
                    <a:lnTo>
                      <a:pt x="1037" y="957"/>
                    </a:lnTo>
                    <a:lnTo>
                      <a:pt x="1025" y="1031"/>
                    </a:lnTo>
                    <a:lnTo>
                      <a:pt x="1016" y="1106"/>
                    </a:lnTo>
                    <a:lnTo>
                      <a:pt x="1004" y="1180"/>
                    </a:lnTo>
                    <a:lnTo>
                      <a:pt x="995" y="1255"/>
                    </a:lnTo>
                    <a:lnTo>
                      <a:pt x="983" y="1328"/>
                    </a:lnTo>
                    <a:lnTo>
                      <a:pt x="943" y="1324"/>
                    </a:lnTo>
                    <a:lnTo>
                      <a:pt x="879" y="1314"/>
                    </a:lnTo>
                    <a:lnTo>
                      <a:pt x="815" y="1305"/>
                    </a:lnTo>
                    <a:lnTo>
                      <a:pt x="751" y="1293"/>
                    </a:lnTo>
                    <a:lnTo>
                      <a:pt x="687" y="1284"/>
                    </a:lnTo>
                    <a:lnTo>
                      <a:pt x="626" y="1274"/>
                    </a:lnTo>
                    <a:lnTo>
                      <a:pt x="546" y="1229"/>
                    </a:lnTo>
                    <a:lnTo>
                      <a:pt x="465" y="1182"/>
                    </a:lnTo>
                    <a:lnTo>
                      <a:pt x="387" y="1137"/>
                    </a:lnTo>
                    <a:lnTo>
                      <a:pt x="309" y="1090"/>
                    </a:lnTo>
                    <a:lnTo>
                      <a:pt x="231" y="1042"/>
                    </a:lnTo>
                    <a:lnTo>
                      <a:pt x="153" y="995"/>
                    </a:lnTo>
                    <a:lnTo>
                      <a:pt x="75" y="948"/>
                    </a:lnTo>
                    <a:lnTo>
                      <a:pt x="0" y="900"/>
                    </a:lnTo>
                    <a:lnTo>
                      <a:pt x="9" y="891"/>
                    </a:lnTo>
                    <a:lnTo>
                      <a:pt x="28" y="863"/>
                    </a:lnTo>
                    <a:lnTo>
                      <a:pt x="28" y="860"/>
                    </a:lnTo>
                    <a:lnTo>
                      <a:pt x="28" y="860"/>
                    </a:lnTo>
                    <a:lnTo>
                      <a:pt x="54" y="863"/>
                    </a:lnTo>
                    <a:lnTo>
                      <a:pt x="66" y="858"/>
                    </a:lnTo>
                    <a:lnTo>
                      <a:pt x="75" y="844"/>
                    </a:lnTo>
                    <a:lnTo>
                      <a:pt x="80" y="830"/>
                    </a:lnTo>
                    <a:lnTo>
                      <a:pt x="80" y="815"/>
                    </a:lnTo>
                    <a:lnTo>
                      <a:pt x="70" y="801"/>
                    </a:lnTo>
                    <a:lnTo>
                      <a:pt x="56" y="792"/>
                    </a:lnTo>
                    <a:lnTo>
                      <a:pt x="52" y="768"/>
                    </a:lnTo>
                    <a:lnTo>
                      <a:pt x="54" y="735"/>
                    </a:lnTo>
                    <a:lnTo>
                      <a:pt x="61" y="718"/>
                    </a:lnTo>
                    <a:lnTo>
                      <a:pt x="70" y="716"/>
                    </a:lnTo>
                    <a:lnTo>
                      <a:pt x="80" y="711"/>
                    </a:lnTo>
                    <a:lnTo>
                      <a:pt x="92" y="700"/>
                    </a:lnTo>
                    <a:lnTo>
                      <a:pt x="101" y="685"/>
                    </a:lnTo>
                    <a:lnTo>
                      <a:pt x="108" y="669"/>
                    </a:lnTo>
                    <a:lnTo>
                      <a:pt x="113" y="650"/>
                    </a:lnTo>
                    <a:lnTo>
                      <a:pt x="115" y="624"/>
                    </a:lnTo>
                    <a:lnTo>
                      <a:pt x="137" y="598"/>
                    </a:lnTo>
                    <a:lnTo>
                      <a:pt x="156" y="581"/>
                    </a:lnTo>
                    <a:lnTo>
                      <a:pt x="189" y="565"/>
                    </a:lnTo>
                    <a:lnTo>
                      <a:pt x="198" y="558"/>
                    </a:lnTo>
                    <a:lnTo>
                      <a:pt x="198" y="553"/>
                    </a:lnTo>
                    <a:lnTo>
                      <a:pt x="198" y="553"/>
                    </a:lnTo>
                    <a:lnTo>
                      <a:pt x="196" y="543"/>
                    </a:lnTo>
                    <a:lnTo>
                      <a:pt x="172" y="522"/>
                    </a:lnTo>
                    <a:lnTo>
                      <a:pt x="165" y="508"/>
                    </a:lnTo>
                    <a:lnTo>
                      <a:pt x="165" y="499"/>
                    </a:lnTo>
                    <a:lnTo>
                      <a:pt x="165" y="496"/>
                    </a:lnTo>
                    <a:lnTo>
                      <a:pt x="163" y="487"/>
                    </a:lnTo>
                    <a:lnTo>
                      <a:pt x="146" y="439"/>
                    </a:lnTo>
                    <a:lnTo>
                      <a:pt x="141" y="413"/>
                    </a:lnTo>
                    <a:lnTo>
                      <a:pt x="144" y="397"/>
                    </a:lnTo>
                    <a:lnTo>
                      <a:pt x="146" y="394"/>
                    </a:lnTo>
                    <a:lnTo>
                      <a:pt x="163" y="321"/>
                    </a:lnTo>
                    <a:lnTo>
                      <a:pt x="158" y="295"/>
                    </a:lnTo>
                    <a:lnTo>
                      <a:pt x="160" y="281"/>
                    </a:lnTo>
                    <a:lnTo>
                      <a:pt x="167" y="262"/>
                    </a:lnTo>
                    <a:lnTo>
                      <a:pt x="167" y="253"/>
                    </a:lnTo>
                    <a:lnTo>
                      <a:pt x="165" y="241"/>
                    </a:lnTo>
                    <a:lnTo>
                      <a:pt x="167" y="224"/>
                    </a:lnTo>
                    <a:lnTo>
                      <a:pt x="172" y="203"/>
                    </a:lnTo>
                    <a:lnTo>
                      <a:pt x="167" y="186"/>
                    </a:lnTo>
                    <a:lnTo>
                      <a:pt x="167" y="182"/>
                    </a:lnTo>
                    <a:lnTo>
                      <a:pt x="174" y="168"/>
                    </a:lnTo>
                    <a:lnTo>
                      <a:pt x="184" y="160"/>
                    </a:lnTo>
                    <a:lnTo>
                      <a:pt x="198" y="158"/>
                    </a:lnTo>
                    <a:lnTo>
                      <a:pt x="212" y="160"/>
                    </a:lnTo>
                    <a:lnTo>
                      <a:pt x="229" y="165"/>
                    </a:lnTo>
                    <a:lnTo>
                      <a:pt x="241" y="175"/>
                    </a:lnTo>
                    <a:lnTo>
                      <a:pt x="245" y="186"/>
                    </a:lnTo>
                    <a:lnTo>
                      <a:pt x="252" y="196"/>
                    </a:lnTo>
                    <a:lnTo>
                      <a:pt x="260" y="196"/>
                    </a:lnTo>
                    <a:lnTo>
                      <a:pt x="274" y="189"/>
                    </a:lnTo>
                    <a:lnTo>
                      <a:pt x="288" y="170"/>
                    </a:lnTo>
                    <a:lnTo>
                      <a:pt x="290" y="170"/>
                    </a:lnTo>
                    <a:lnTo>
                      <a:pt x="309" y="82"/>
                    </a:lnTo>
                    <a:lnTo>
                      <a:pt x="326" y="0"/>
                    </a:lnTo>
                    <a:lnTo>
                      <a:pt x="378" y="11"/>
                    </a:lnTo>
                    <a:lnTo>
                      <a:pt x="427" y="21"/>
                    </a:lnTo>
                    <a:lnTo>
                      <a:pt x="479" y="30"/>
                    </a:lnTo>
                    <a:lnTo>
                      <a:pt x="531" y="42"/>
                    </a:lnTo>
                    <a:lnTo>
                      <a:pt x="583" y="52"/>
                    </a:lnTo>
                    <a:lnTo>
                      <a:pt x="635" y="61"/>
                    </a:lnTo>
                    <a:lnTo>
                      <a:pt x="687" y="71"/>
                    </a:lnTo>
                    <a:lnTo>
                      <a:pt x="739" y="78"/>
                    </a:lnTo>
                    <a:lnTo>
                      <a:pt x="791" y="87"/>
                    </a:lnTo>
                    <a:lnTo>
                      <a:pt x="843" y="97"/>
                    </a:lnTo>
                    <a:lnTo>
                      <a:pt x="895" y="104"/>
                    </a:lnTo>
                    <a:lnTo>
                      <a:pt x="947" y="113"/>
                    </a:lnTo>
                    <a:lnTo>
                      <a:pt x="999" y="120"/>
                    </a:lnTo>
                    <a:lnTo>
                      <a:pt x="1051" y="130"/>
                    </a:lnTo>
                    <a:lnTo>
                      <a:pt x="1103" y="137"/>
                    </a:lnTo>
                    <a:lnTo>
                      <a:pt x="1155" y="14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89" name="Freeform 46">
                <a:extLst>
                  <a:ext uri="{FF2B5EF4-FFF2-40B4-BE49-F238E27FC236}">
                    <a16:creationId xmlns:a16="http://schemas.microsoft.com/office/drawing/2014/main" id="{BA08A9DD-F0AE-6432-1F05-EBD7BC943420}"/>
                  </a:ext>
                </a:extLst>
              </p:cNvPr>
              <p:cNvSpPr>
                <a:spLocks noEditPoints="1"/>
              </p:cNvSpPr>
              <p:nvPr/>
            </p:nvSpPr>
            <p:spPr bwMode="auto">
              <a:xfrm>
                <a:off x="220" y="7"/>
                <a:ext cx="1340" cy="2294"/>
              </a:xfrm>
              <a:custGeom>
                <a:avLst/>
                <a:gdLst>
                  <a:gd name="T0" fmla="*/ 723 w 1340"/>
                  <a:gd name="T1" fmla="*/ 341 h 2294"/>
                  <a:gd name="T2" fmla="*/ 671 w 1340"/>
                  <a:gd name="T3" fmla="*/ 530 h 2294"/>
                  <a:gd name="T4" fmla="*/ 619 w 1340"/>
                  <a:gd name="T5" fmla="*/ 721 h 2294"/>
                  <a:gd name="T6" fmla="*/ 683 w 1340"/>
                  <a:gd name="T7" fmla="*/ 925 h 2294"/>
                  <a:gd name="T8" fmla="*/ 829 w 1340"/>
                  <a:gd name="T9" fmla="*/ 1140 h 2294"/>
                  <a:gd name="T10" fmla="*/ 945 w 1340"/>
                  <a:gd name="T11" fmla="*/ 1317 h 2294"/>
                  <a:gd name="T12" fmla="*/ 1080 w 1340"/>
                  <a:gd name="T13" fmla="*/ 1523 h 2294"/>
                  <a:gd name="T14" fmla="*/ 1250 w 1340"/>
                  <a:gd name="T15" fmla="*/ 1773 h 2294"/>
                  <a:gd name="T16" fmla="*/ 1307 w 1340"/>
                  <a:gd name="T17" fmla="*/ 1927 h 2294"/>
                  <a:gd name="T18" fmla="*/ 1340 w 1340"/>
                  <a:gd name="T19" fmla="*/ 1984 h 2294"/>
                  <a:gd name="T20" fmla="*/ 1279 w 1340"/>
                  <a:gd name="T21" fmla="*/ 2029 h 2294"/>
                  <a:gd name="T22" fmla="*/ 1234 w 1340"/>
                  <a:gd name="T23" fmla="*/ 2131 h 2294"/>
                  <a:gd name="T24" fmla="*/ 1191 w 1340"/>
                  <a:gd name="T25" fmla="*/ 2199 h 2294"/>
                  <a:gd name="T26" fmla="*/ 1217 w 1340"/>
                  <a:gd name="T27" fmla="*/ 2275 h 2294"/>
                  <a:gd name="T28" fmla="*/ 1170 w 1340"/>
                  <a:gd name="T29" fmla="*/ 2294 h 2294"/>
                  <a:gd name="T30" fmla="*/ 945 w 1340"/>
                  <a:gd name="T31" fmla="*/ 2265 h 2294"/>
                  <a:gd name="T32" fmla="*/ 742 w 1340"/>
                  <a:gd name="T33" fmla="*/ 2237 h 2294"/>
                  <a:gd name="T34" fmla="*/ 737 w 1340"/>
                  <a:gd name="T35" fmla="*/ 2161 h 2294"/>
                  <a:gd name="T36" fmla="*/ 652 w 1340"/>
                  <a:gd name="T37" fmla="*/ 1979 h 2294"/>
                  <a:gd name="T38" fmla="*/ 581 w 1340"/>
                  <a:gd name="T39" fmla="*/ 1934 h 2294"/>
                  <a:gd name="T40" fmla="*/ 475 w 1340"/>
                  <a:gd name="T41" fmla="*/ 1828 h 2294"/>
                  <a:gd name="T42" fmla="*/ 395 w 1340"/>
                  <a:gd name="T43" fmla="*/ 1745 h 2294"/>
                  <a:gd name="T44" fmla="*/ 269 w 1340"/>
                  <a:gd name="T45" fmla="*/ 1695 h 2294"/>
                  <a:gd name="T46" fmla="*/ 265 w 1340"/>
                  <a:gd name="T47" fmla="*/ 1620 h 2294"/>
                  <a:gd name="T48" fmla="*/ 248 w 1340"/>
                  <a:gd name="T49" fmla="*/ 1528 h 2294"/>
                  <a:gd name="T50" fmla="*/ 224 w 1340"/>
                  <a:gd name="T51" fmla="*/ 1433 h 2294"/>
                  <a:gd name="T52" fmla="*/ 170 w 1340"/>
                  <a:gd name="T53" fmla="*/ 1298 h 2294"/>
                  <a:gd name="T54" fmla="*/ 184 w 1340"/>
                  <a:gd name="T55" fmla="*/ 1175 h 2294"/>
                  <a:gd name="T56" fmla="*/ 113 w 1340"/>
                  <a:gd name="T57" fmla="*/ 1050 h 2294"/>
                  <a:gd name="T58" fmla="*/ 142 w 1340"/>
                  <a:gd name="T59" fmla="*/ 929 h 2294"/>
                  <a:gd name="T60" fmla="*/ 161 w 1340"/>
                  <a:gd name="T61" fmla="*/ 986 h 2294"/>
                  <a:gd name="T62" fmla="*/ 177 w 1340"/>
                  <a:gd name="T63" fmla="*/ 996 h 2294"/>
                  <a:gd name="T64" fmla="*/ 161 w 1340"/>
                  <a:gd name="T65" fmla="*/ 908 h 2294"/>
                  <a:gd name="T66" fmla="*/ 272 w 1340"/>
                  <a:gd name="T67" fmla="*/ 915 h 2294"/>
                  <a:gd name="T68" fmla="*/ 279 w 1340"/>
                  <a:gd name="T69" fmla="*/ 908 h 2294"/>
                  <a:gd name="T70" fmla="*/ 227 w 1340"/>
                  <a:gd name="T71" fmla="*/ 882 h 2294"/>
                  <a:gd name="T72" fmla="*/ 153 w 1340"/>
                  <a:gd name="T73" fmla="*/ 866 h 2294"/>
                  <a:gd name="T74" fmla="*/ 109 w 1340"/>
                  <a:gd name="T75" fmla="*/ 896 h 2294"/>
                  <a:gd name="T76" fmla="*/ 66 w 1340"/>
                  <a:gd name="T77" fmla="*/ 858 h 2294"/>
                  <a:gd name="T78" fmla="*/ 85 w 1340"/>
                  <a:gd name="T79" fmla="*/ 806 h 2294"/>
                  <a:gd name="T80" fmla="*/ 12 w 1340"/>
                  <a:gd name="T81" fmla="*/ 646 h 2294"/>
                  <a:gd name="T82" fmla="*/ 45 w 1340"/>
                  <a:gd name="T83" fmla="*/ 464 h 2294"/>
                  <a:gd name="T84" fmla="*/ 7 w 1340"/>
                  <a:gd name="T85" fmla="*/ 296 h 2294"/>
                  <a:gd name="T86" fmla="*/ 40 w 1340"/>
                  <a:gd name="T87" fmla="*/ 258 h 2294"/>
                  <a:gd name="T88" fmla="*/ 49 w 1340"/>
                  <a:gd name="T89" fmla="*/ 241 h 2294"/>
                  <a:gd name="T90" fmla="*/ 116 w 1340"/>
                  <a:gd name="T91" fmla="*/ 116 h 2294"/>
                  <a:gd name="T92" fmla="*/ 127 w 1340"/>
                  <a:gd name="T93" fmla="*/ 2 h 2294"/>
                  <a:gd name="T94" fmla="*/ 286 w 1340"/>
                  <a:gd name="T95" fmla="*/ 50 h 2294"/>
                  <a:gd name="T96" fmla="*/ 484 w 1340"/>
                  <a:gd name="T97" fmla="*/ 109 h 2294"/>
                  <a:gd name="T98" fmla="*/ 683 w 1340"/>
                  <a:gd name="T99" fmla="*/ 166 h 2294"/>
                  <a:gd name="T100" fmla="*/ 399 w 1340"/>
                  <a:gd name="T101" fmla="*/ 1821 h 2294"/>
                  <a:gd name="T102" fmla="*/ 345 w 1340"/>
                  <a:gd name="T103" fmla="*/ 1811 h 2294"/>
                  <a:gd name="T104" fmla="*/ 250 w 1340"/>
                  <a:gd name="T105" fmla="*/ 1785 h 2294"/>
                  <a:gd name="T106" fmla="*/ 312 w 1340"/>
                  <a:gd name="T107" fmla="*/ 1825 h 2294"/>
                  <a:gd name="T108" fmla="*/ 324 w 1340"/>
                  <a:gd name="T109" fmla="*/ 1816 h 2294"/>
                  <a:gd name="T110" fmla="*/ 567 w 1340"/>
                  <a:gd name="T111" fmla="*/ 2022 h 2294"/>
                  <a:gd name="T112" fmla="*/ 539 w 1340"/>
                  <a:gd name="T113" fmla="*/ 1991 h 2294"/>
                  <a:gd name="T114" fmla="*/ 574 w 1340"/>
                  <a:gd name="T115" fmla="*/ 2010 h 2294"/>
                  <a:gd name="T116" fmla="*/ 366 w 1340"/>
                  <a:gd name="T117" fmla="*/ 1979 h 2294"/>
                  <a:gd name="T118" fmla="*/ 534 w 1340"/>
                  <a:gd name="T119" fmla="*/ 2123 h 2294"/>
                  <a:gd name="T120" fmla="*/ 525 w 1340"/>
                  <a:gd name="T121" fmla="*/ 2090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0" h="2294">
                    <a:moveTo>
                      <a:pt x="763" y="187"/>
                    </a:moveTo>
                    <a:lnTo>
                      <a:pt x="754" y="225"/>
                    </a:lnTo>
                    <a:lnTo>
                      <a:pt x="742" y="263"/>
                    </a:lnTo>
                    <a:lnTo>
                      <a:pt x="733" y="300"/>
                    </a:lnTo>
                    <a:lnTo>
                      <a:pt x="723" y="341"/>
                    </a:lnTo>
                    <a:lnTo>
                      <a:pt x="711" y="378"/>
                    </a:lnTo>
                    <a:lnTo>
                      <a:pt x="702" y="416"/>
                    </a:lnTo>
                    <a:lnTo>
                      <a:pt x="690" y="454"/>
                    </a:lnTo>
                    <a:lnTo>
                      <a:pt x="681" y="492"/>
                    </a:lnTo>
                    <a:lnTo>
                      <a:pt x="671" y="530"/>
                    </a:lnTo>
                    <a:lnTo>
                      <a:pt x="659" y="568"/>
                    </a:lnTo>
                    <a:lnTo>
                      <a:pt x="650" y="605"/>
                    </a:lnTo>
                    <a:lnTo>
                      <a:pt x="640" y="643"/>
                    </a:lnTo>
                    <a:lnTo>
                      <a:pt x="629" y="681"/>
                    </a:lnTo>
                    <a:lnTo>
                      <a:pt x="619" y="721"/>
                    </a:lnTo>
                    <a:lnTo>
                      <a:pt x="610" y="759"/>
                    </a:lnTo>
                    <a:lnTo>
                      <a:pt x="598" y="797"/>
                    </a:lnTo>
                    <a:lnTo>
                      <a:pt x="626" y="840"/>
                    </a:lnTo>
                    <a:lnTo>
                      <a:pt x="655" y="882"/>
                    </a:lnTo>
                    <a:lnTo>
                      <a:pt x="683" y="925"/>
                    </a:lnTo>
                    <a:lnTo>
                      <a:pt x="711" y="970"/>
                    </a:lnTo>
                    <a:lnTo>
                      <a:pt x="742" y="1012"/>
                    </a:lnTo>
                    <a:lnTo>
                      <a:pt x="770" y="1055"/>
                    </a:lnTo>
                    <a:lnTo>
                      <a:pt x="801" y="1097"/>
                    </a:lnTo>
                    <a:lnTo>
                      <a:pt x="829" y="1140"/>
                    </a:lnTo>
                    <a:lnTo>
                      <a:pt x="853" y="1175"/>
                    </a:lnTo>
                    <a:lnTo>
                      <a:pt x="874" y="1211"/>
                    </a:lnTo>
                    <a:lnTo>
                      <a:pt x="898" y="1246"/>
                    </a:lnTo>
                    <a:lnTo>
                      <a:pt x="922" y="1282"/>
                    </a:lnTo>
                    <a:lnTo>
                      <a:pt x="945" y="1317"/>
                    </a:lnTo>
                    <a:lnTo>
                      <a:pt x="969" y="1353"/>
                    </a:lnTo>
                    <a:lnTo>
                      <a:pt x="993" y="1388"/>
                    </a:lnTo>
                    <a:lnTo>
                      <a:pt x="1016" y="1424"/>
                    </a:lnTo>
                    <a:lnTo>
                      <a:pt x="1047" y="1473"/>
                    </a:lnTo>
                    <a:lnTo>
                      <a:pt x="1080" y="1523"/>
                    </a:lnTo>
                    <a:lnTo>
                      <a:pt x="1113" y="1575"/>
                    </a:lnTo>
                    <a:lnTo>
                      <a:pt x="1149" y="1625"/>
                    </a:lnTo>
                    <a:lnTo>
                      <a:pt x="1182" y="1674"/>
                    </a:lnTo>
                    <a:lnTo>
                      <a:pt x="1215" y="1724"/>
                    </a:lnTo>
                    <a:lnTo>
                      <a:pt x="1250" y="1773"/>
                    </a:lnTo>
                    <a:lnTo>
                      <a:pt x="1286" y="1828"/>
                    </a:lnTo>
                    <a:lnTo>
                      <a:pt x="1283" y="1844"/>
                    </a:lnTo>
                    <a:lnTo>
                      <a:pt x="1286" y="1870"/>
                    </a:lnTo>
                    <a:lnTo>
                      <a:pt x="1305" y="1918"/>
                    </a:lnTo>
                    <a:lnTo>
                      <a:pt x="1307" y="1927"/>
                    </a:lnTo>
                    <a:lnTo>
                      <a:pt x="1307" y="1930"/>
                    </a:lnTo>
                    <a:lnTo>
                      <a:pt x="1305" y="1939"/>
                    </a:lnTo>
                    <a:lnTo>
                      <a:pt x="1314" y="1953"/>
                    </a:lnTo>
                    <a:lnTo>
                      <a:pt x="1335" y="1974"/>
                    </a:lnTo>
                    <a:lnTo>
                      <a:pt x="1340" y="1984"/>
                    </a:lnTo>
                    <a:lnTo>
                      <a:pt x="1340" y="1984"/>
                    </a:lnTo>
                    <a:lnTo>
                      <a:pt x="1340" y="1989"/>
                    </a:lnTo>
                    <a:lnTo>
                      <a:pt x="1331" y="1996"/>
                    </a:lnTo>
                    <a:lnTo>
                      <a:pt x="1298" y="2012"/>
                    </a:lnTo>
                    <a:lnTo>
                      <a:pt x="1279" y="2029"/>
                    </a:lnTo>
                    <a:lnTo>
                      <a:pt x="1257" y="2055"/>
                    </a:lnTo>
                    <a:lnTo>
                      <a:pt x="1255" y="2081"/>
                    </a:lnTo>
                    <a:lnTo>
                      <a:pt x="1250" y="2100"/>
                    </a:lnTo>
                    <a:lnTo>
                      <a:pt x="1243" y="2116"/>
                    </a:lnTo>
                    <a:lnTo>
                      <a:pt x="1234" y="2131"/>
                    </a:lnTo>
                    <a:lnTo>
                      <a:pt x="1222" y="2142"/>
                    </a:lnTo>
                    <a:lnTo>
                      <a:pt x="1212" y="2147"/>
                    </a:lnTo>
                    <a:lnTo>
                      <a:pt x="1203" y="2149"/>
                    </a:lnTo>
                    <a:lnTo>
                      <a:pt x="1196" y="2166"/>
                    </a:lnTo>
                    <a:lnTo>
                      <a:pt x="1191" y="2199"/>
                    </a:lnTo>
                    <a:lnTo>
                      <a:pt x="1198" y="2223"/>
                    </a:lnTo>
                    <a:lnTo>
                      <a:pt x="1212" y="2232"/>
                    </a:lnTo>
                    <a:lnTo>
                      <a:pt x="1222" y="2246"/>
                    </a:lnTo>
                    <a:lnTo>
                      <a:pt x="1222" y="2261"/>
                    </a:lnTo>
                    <a:lnTo>
                      <a:pt x="1217" y="2275"/>
                    </a:lnTo>
                    <a:lnTo>
                      <a:pt x="1208" y="2289"/>
                    </a:lnTo>
                    <a:lnTo>
                      <a:pt x="1196" y="2294"/>
                    </a:lnTo>
                    <a:lnTo>
                      <a:pt x="1170" y="2291"/>
                    </a:lnTo>
                    <a:lnTo>
                      <a:pt x="1170" y="2291"/>
                    </a:lnTo>
                    <a:lnTo>
                      <a:pt x="1170" y="2294"/>
                    </a:lnTo>
                    <a:lnTo>
                      <a:pt x="1149" y="2291"/>
                    </a:lnTo>
                    <a:lnTo>
                      <a:pt x="1099" y="2284"/>
                    </a:lnTo>
                    <a:lnTo>
                      <a:pt x="1047" y="2279"/>
                    </a:lnTo>
                    <a:lnTo>
                      <a:pt x="995" y="2272"/>
                    </a:lnTo>
                    <a:lnTo>
                      <a:pt x="945" y="2265"/>
                    </a:lnTo>
                    <a:lnTo>
                      <a:pt x="893" y="2258"/>
                    </a:lnTo>
                    <a:lnTo>
                      <a:pt x="844" y="2251"/>
                    </a:lnTo>
                    <a:lnTo>
                      <a:pt x="792" y="2244"/>
                    </a:lnTo>
                    <a:lnTo>
                      <a:pt x="742" y="2237"/>
                    </a:lnTo>
                    <a:lnTo>
                      <a:pt x="742" y="2237"/>
                    </a:lnTo>
                    <a:lnTo>
                      <a:pt x="747" y="2213"/>
                    </a:lnTo>
                    <a:lnTo>
                      <a:pt x="740" y="2204"/>
                    </a:lnTo>
                    <a:lnTo>
                      <a:pt x="728" y="2206"/>
                    </a:lnTo>
                    <a:lnTo>
                      <a:pt x="730" y="2175"/>
                    </a:lnTo>
                    <a:lnTo>
                      <a:pt x="737" y="2161"/>
                    </a:lnTo>
                    <a:lnTo>
                      <a:pt x="737" y="2149"/>
                    </a:lnTo>
                    <a:lnTo>
                      <a:pt x="737" y="2114"/>
                    </a:lnTo>
                    <a:lnTo>
                      <a:pt x="721" y="2067"/>
                    </a:lnTo>
                    <a:lnTo>
                      <a:pt x="678" y="2003"/>
                    </a:lnTo>
                    <a:lnTo>
                      <a:pt x="652" y="1979"/>
                    </a:lnTo>
                    <a:lnTo>
                      <a:pt x="636" y="1953"/>
                    </a:lnTo>
                    <a:lnTo>
                      <a:pt x="624" y="1944"/>
                    </a:lnTo>
                    <a:lnTo>
                      <a:pt x="607" y="1939"/>
                    </a:lnTo>
                    <a:lnTo>
                      <a:pt x="600" y="1946"/>
                    </a:lnTo>
                    <a:lnTo>
                      <a:pt x="581" y="1934"/>
                    </a:lnTo>
                    <a:lnTo>
                      <a:pt x="591" y="1913"/>
                    </a:lnTo>
                    <a:lnTo>
                      <a:pt x="579" y="1875"/>
                    </a:lnTo>
                    <a:lnTo>
                      <a:pt x="565" y="1868"/>
                    </a:lnTo>
                    <a:lnTo>
                      <a:pt x="525" y="1859"/>
                    </a:lnTo>
                    <a:lnTo>
                      <a:pt x="475" y="1828"/>
                    </a:lnTo>
                    <a:lnTo>
                      <a:pt x="463" y="1814"/>
                    </a:lnTo>
                    <a:lnTo>
                      <a:pt x="463" y="1792"/>
                    </a:lnTo>
                    <a:lnTo>
                      <a:pt x="442" y="1771"/>
                    </a:lnTo>
                    <a:lnTo>
                      <a:pt x="413" y="1745"/>
                    </a:lnTo>
                    <a:lnTo>
                      <a:pt x="395" y="1745"/>
                    </a:lnTo>
                    <a:lnTo>
                      <a:pt x="371" y="1736"/>
                    </a:lnTo>
                    <a:lnTo>
                      <a:pt x="343" y="1714"/>
                    </a:lnTo>
                    <a:lnTo>
                      <a:pt x="321" y="1707"/>
                    </a:lnTo>
                    <a:lnTo>
                      <a:pt x="283" y="1700"/>
                    </a:lnTo>
                    <a:lnTo>
                      <a:pt x="269" y="1695"/>
                    </a:lnTo>
                    <a:lnTo>
                      <a:pt x="260" y="1677"/>
                    </a:lnTo>
                    <a:lnTo>
                      <a:pt x="248" y="1665"/>
                    </a:lnTo>
                    <a:lnTo>
                      <a:pt x="255" y="1648"/>
                    </a:lnTo>
                    <a:lnTo>
                      <a:pt x="260" y="1632"/>
                    </a:lnTo>
                    <a:lnTo>
                      <a:pt x="265" y="1620"/>
                    </a:lnTo>
                    <a:lnTo>
                      <a:pt x="267" y="1589"/>
                    </a:lnTo>
                    <a:lnTo>
                      <a:pt x="279" y="1565"/>
                    </a:lnTo>
                    <a:lnTo>
                      <a:pt x="276" y="1554"/>
                    </a:lnTo>
                    <a:lnTo>
                      <a:pt x="269" y="1544"/>
                    </a:lnTo>
                    <a:lnTo>
                      <a:pt x="248" y="1528"/>
                    </a:lnTo>
                    <a:lnTo>
                      <a:pt x="248" y="1513"/>
                    </a:lnTo>
                    <a:lnTo>
                      <a:pt x="257" y="1494"/>
                    </a:lnTo>
                    <a:lnTo>
                      <a:pt x="253" y="1483"/>
                    </a:lnTo>
                    <a:lnTo>
                      <a:pt x="236" y="1464"/>
                    </a:lnTo>
                    <a:lnTo>
                      <a:pt x="224" y="1433"/>
                    </a:lnTo>
                    <a:lnTo>
                      <a:pt x="205" y="1412"/>
                    </a:lnTo>
                    <a:lnTo>
                      <a:pt x="201" y="1386"/>
                    </a:lnTo>
                    <a:lnTo>
                      <a:pt x="191" y="1367"/>
                    </a:lnTo>
                    <a:lnTo>
                      <a:pt x="189" y="1353"/>
                    </a:lnTo>
                    <a:lnTo>
                      <a:pt x="170" y="1298"/>
                    </a:lnTo>
                    <a:lnTo>
                      <a:pt x="146" y="1253"/>
                    </a:lnTo>
                    <a:lnTo>
                      <a:pt x="146" y="1230"/>
                    </a:lnTo>
                    <a:lnTo>
                      <a:pt x="153" y="1201"/>
                    </a:lnTo>
                    <a:lnTo>
                      <a:pt x="172" y="1189"/>
                    </a:lnTo>
                    <a:lnTo>
                      <a:pt x="184" y="1175"/>
                    </a:lnTo>
                    <a:lnTo>
                      <a:pt x="187" y="1161"/>
                    </a:lnTo>
                    <a:lnTo>
                      <a:pt x="187" y="1152"/>
                    </a:lnTo>
                    <a:lnTo>
                      <a:pt x="182" y="1130"/>
                    </a:lnTo>
                    <a:lnTo>
                      <a:pt x="137" y="1104"/>
                    </a:lnTo>
                    <a:lnTo>
                      <a:pt x="113" y="1050"/>
                    </a:lnTo>
                    <a:lnTo>
                      <a:pt x="120" y="1017"/>
                    </a:lnTo>
                    <a:lnTo>
                      <a:pt x="116" y="977"/>
                    </a:lnTo>
                    <a:lnTo>
                      <a:pt x="123" y="955"/>
                    </a:lnTo>
                    <a:lnTo>
                      <a:pt x="127" y="929"/>
                    </a:lnTo>
                    <a:lnTo>
                      <a:pt x="142" y="929"/>
                    </a:lnTo>
                    <a:lnTo>
                      <a:pt x="151" y="934"/>
                    </a:lnTo>
                    <a:lnTo>
                      <a:pt x="146" y="944"/>
                    </a:lnTo>
                    <a:lnTo>
                      <a:pt x="144" y="960"/>
                    </a:lnTo>
                    <a:lnTo>
                      <a:pt x="151" y="977"/>
                    </a:lnTo>
                    <a:lnTo>
                      <a:pt x="161" y="986"/>
                    </a:lnTo>
                    <a:lnTo>
                      <a:pt x="168" y="1003"/>
                    </a:lnTo>
                    <a:lnTo>
                      <a:pt x="175" y="1007"/>
                    </a:lnTo>
                    <a:lnTo>
                      <a:pt x="182" y="1010"/>
                    </a:lnTo>
                    <a:lnTo>
                      <a:pt x="179" y="1003"/>
                    </a:lnTo>
                    <a:lnTo>
                      <a:pt x="177" y="996"/>
                    </a:lnTo>
                    <a:lnTo>
                      <a:pt x="177" y="977"/>
                    </a:lnTo>
                    <a:lnTo>
                      <a:pt x="172" y="953"/>
                    </a:lnTo>
                    <a:lnTo>
                      <a:pt x="165" y="936"/>
                    </a:lnTo>
                    <a:lnTo>
                      <a:pt x="165" y="915"/>
                    </a:lnTo>
                    <a:lnTo>
                      <a:pt x="161" y="908"/>
                    </a:lnTo>
                    <a:lnTo>
                      <a:pt x="161" y="899"/>
                    </a:lnTo>
                    <a:lnTo>
                      <a:pt x="175" y="892"/>
                    </a:lnTo>
                    <a:lnTo>
                      <a:pt x="191" y="892"/>
                    </a:lnTo>
                    <a:lnTo>
                      <a:pt x="213" y="894"/>
                    </a:lnTo>
                    <a:lnTo>
                      <a:pt x="272" y="915"/>
                    </a:lnTo>
                    <a:lnTo>
                      <a:pt x="286" y="913"/>
                    </a:lnTo>
                    <a:lnTo>
                      <a:pt x="295" y="918"/>
                    </a:lnTo>
                    <a:lnTo>
                      <a:pt x="302" y="920"/>
                    </a:lnTo>
                    <a:lnTo>
                      <a:pt x="288" y="910"/>
                    </a:lnTo>
                    <a:lnTo>
                      <a:pt x="279" y="908"/>
                    </a:lnTo>
                    <a:lnTo>
                      <a:pt x="269" y="906"/>
                    </a:lnTo>
                    <a:lnTo>
                      <a:pt x="248" y="899"/>
                    </a:lnTo>
                    <a:lnTo>
                      <a:pt x="239" y="894"/>
                    </a:lnTo>
                    <a:lnTo>
                      <a:pt x="231" y="884"/>
                    </a:lnTo>
                    <a:lnTo>
                      <a:pt x="227" y="882"/>
                    </a:lnTo>
                    <a:lnTo>
                      <a:pt x="203" y="889"/>
                    </a:lnTo>
                    <a:lnTo>
                      <a:pt x="196" y="884"/>
                    </a:lnTo>
                    <a:lnTo>
                      <a:pt x="179" y="866"/>
                    </a:lnTo>
                    <a:lnTo>
                      <a:pt x="170" y="861"/>
                    </a:lnTo>
                    <a:lnTo>
                      <a:pt x="153" y="866"/>
                    </a:lnTo>
                    <a:lnTo>
                      <a:pt x="142" y="896"/>
                    </a:lnTo>
                    <a:lnTo>
                      <a:pt x="139" y="920"/>
                    </a:lnTo>
                    <a:lnTo>
                      <a:pt x="130" y="920"/>
                    </a:lnTo>
                    <a:lnTo>
                      <a:pt x="123" y="908"/>
                    </a:lnTo>
                    <a:lnTo>
                      <a:pt x="109" y="896"/>
                    </a:lnTo>
                    <a:lnTo>
                      <a:pt x="99" y="884"/>
                    </a:lnTo>
                    <a:lnTo>
                      <a:pt x="87" y="863"/>
                    </a:lnTo>
                    <a:lnTo>
                      <a:pt x="78" y="854"/>
                    </a:lnTo>
                    <a:lnTo>
                      <a:pt x="64" y="863"/>
                    </a:lnTo>
                    <a:lnTo>
                      <a:pt x="66" y="858"/>
                    </a:lnTo>
                    <a:lnTo>
                      <a:pt x="75" y="844"/>
                    </a:lnTo>
                    <a:lnTo>
                      <a:pt x="83" y="816"/>
                    </a:lnTo>
                    <a:lnTo>
                      <a:pt x="92" y="842"/>
                    </a:lnTo>
                    <a:lnTo>
                      <a:pt x="92" y="825"/>
                    </a:lnTo>
                    <a:lnTo>
                      <a:pt x="85" y="806"/>
                    </a:lnTo>
                    <a:lnTo>
                      <a:pt x="75" y="797"/>
                    </a:lnTo>
                    <a:lnTo>
                      <a:pt x="73" y="766"/>
                    </a:lnTo>
                    <a:lnTo>
                      <a:pt x="52" y="740"/>
                    </a:lnTo>
                    <a:lnTo>
                      <a:pt x="40" y="705"/>
                    </a:lnTo>
                    <a:lnTo>
                      <a:pt x="12" y="646"/>
                    </a:lnTo>
                    <a:lnTo>
                      <a:pt x="21" y="603"/>
                    </a:lnTo>
                    <a:lnTo>
                      <a:pt x="21" y="546"/>
                    </a:lnTo>
                    <a:lnTo>
                      <a:pt x="38" y="520"/>
                    </a:lnTo>
                    <a:lnTo>
                      <a:pt x="42" y="499"/>
                    </a:lnTo>
                    <a:lnTo>
                      <a:pt x="45" y="464"/>
                    </a:lnTo>
                    <a:lnTo>
                      <a:pt x="42" y="445"/>
                    </a:lnTo>
                    <a:lnTo>
                      <a:pt x="23" y="388"/>
                    </a:lnTo>
                    <a:lnTo>
                      <a:pt x="0" y="345"/>
                    </a:lnTo>
                    <a:lnTo>
                      <a:pt x="2" y="319"/>
                    </a:lnTo>
                    <a:lnTo>
                      <a:pt x="7" y="296"/>
                    </a:lnTo>
                    <a:lnTo>
                      <a:pt x="21" y="277"/>
                    </a:lnTo>
                    <a:lnTo>
                      <a:pt x="35" y="255"/>
                    </a:lnTo>
                    <a:lnTo>
                      <a:pt x="42" y="251"/>
                    </a:lnTo>
                    <a:lnTo>
                      <a:pt x="42" y="253"/>
                    </a:lnTo>
                    <a:lnTo>
                      <a:pt x="40" y="258"/>
                    </a:lnTo>
                    <a:lnTo>
                      <a:pt x="45" y="260"/>
                    </a:lnTo>
                    <a:lnTo>
                      <a:pt x="49" y="251"/>
                    </a:lnTo>
                    <a:lnTo>
                      <a:pt x="54" y="248"/>
                    </a:lnTo>
                    <a:lnTo>
                      <a:pt x="49" y="246"/>
                    </a:lnTo>
                    <a:lnTo>
                      <a:pt x="49" y="241"/>
                    </a:lnTo>
                    <a:lnTo>
                      <a:pt x="54" y="237"/>
                    </a:lnTo>
                    <a:lnTo>
                      <a:pt x="75" y="211"/>
                    </a:lnTo>
                    <a:lnTo>
                      <a:pt x="85" y="173"/>
                    </a:lnTo>
                    <a:lnTo>
                      <a:pt x="111" y="130"/>
                    </a:lnTo>
                    <a:lnTo>
                      <a:pt x="116" y="116"/>
                    </a:lnTo>
                    <a:lnTo>
                      <a:pt x="118" y="80"/>
                    </a:lnTo>
                    <a:lnTo>
                      <a:pt x="118" y="59"/>
                    </a:lnTo>
                    <a:lnTo>
                      <a:pt x="111" y="40"/>
                    </a:lnTo>
                    <a:lnTo>
                      <a:pt x="123" y="24"/>
                    </a:lnTo>
                    <a:lnTo>
                      <a:pt x="127" y="2"/>
                    </a:lnTo>
                    <a:lnTo>
                      <a:pt x="127" y="0"/>
                    </a:lnTo>
                    <a:lnTo>
                      <a:pt x="168" y="12"/>
                    </a:lnTo>
                    <a:lnTo>
                      <a:pt x="208" y="24"/>
                    </a:lnTo>
                    <a:lnTo>
                      <a:pt x="246" y="38"/>
                    </a:lnTo>
                    <a:lnTo>
                      <a:pt x="286" y="50"/>
                    </a:lnTo>
                    <a:lnTo>
                      <a:pt x="326" y="62"/>
                    </a:lnTo>
                    <a:lnTo>
                      <a:pt x="366" y="73"/>
                    </a:lnTo>
                    <a:lnTo>
                      <a:pt x="404" y="85"/>
                    </a:lnTo>
                    <a:lnTo>
                      <a:pt x="444" y="97"/>
                    </a:lnTo>
                    <a:lnTo>
                      <a:pt x="484" y="109"/>
                    </a:lnTo>
                    <a:lnTo>
                      <a:pt x="525" y="121"/>
                    </a:lnTo>
                    <a:lnTo>
                      <a:pt x="565" y="133"/>
                    </a:lnTo>
                    <a:lnTo>
                      <a:pt x="605" y="144"/>
                    </a:lnTo>
                    <a:lnTo>
                      <a:pt x="643" y="154"/>
                    </a:lnTo>
                    <a:lnTo>
                      <a:pt x="683" y="166"/>
                    </a:lnTo>
                    <a:lnTo>
                      <a:pt x="723" y="177"/>
                    </a:lnTo>
                    <a:lnTo>
                      <a:pt x="763" y="187"/>
                    </a:lnTo>
                    <a:close/>
                    <a:moveTo>
                      <a:pt x="350" y="1802"/>
                    </a:moveTo>
                    <a:lnTo>
                      <a:pt x="380" y="1821"/>
                    </a:lnTo>
                    <a:lnTo>
                      <a:pt x="399" y="1821"/>
                    </a:lnTo>
                    <a:lnTo>
                      <a:pt x="402" y="1825"/>
                    </a:lnTo>
                    <a:lnTo>
                      <a:pt x="399" y="1830"/>
                    </a:lnTo>
                    <a:lnTo>
                      <a:pt x="354" y="1828"/>
                    </a:lnTo>
                    <a:lnTo>
                      <a:pt x="343" y="1818"/>
                    </a:lnTo>
                    <a:lnTo>
                      <a:pt x="345" y="1811"/>
                    </a:lnTo>
                    <a:lnTo>
                      <a:pt x="343" y="1802"/>
                    </a:lnTo>
                    <a:lnTo>
                      <a:pt x="350" y="1802"/>
                    </a:lnTo>
                    <a:close/>
                    <a:moveTo>
                      <a:pt x="274" y="1792"/>
                    </a:moveTo>
                    <a:lnTo>
                      <a:pt x="265" y="1790"/>
                    </a:lnTo>
                    <a:lnTo>
                      <a:pt x="250" y="1785"/>
                    </a:lnTo>
                    <a:lnTo>
                      <a:pt x="257" y="1781"/>
                    </a:lnTo>
                    <a:lnTo>
                      <a:pt x="267" y="1781"/>
                    </a:lnTo>
                    <a:lnTo>
                      <a:pt x="267" y="1783"/>
                    </a:lnTo>
                    <a:lnTo>
                      <a:pt x="274" y="1792"/>
                    </a:lnTo>
                    <a:close/>
                    <a:moveTo>
                      <a:pt x="312" y="1825"/>
                    </a:moveTo>
                    <a:lnTo>
                      <a:pt x="300" y="1825"/>
                    </a:lnTo>
                    <a:lnTo>
                      <a:pt x="291" y="1821"/>
                    </a:lnTo>
                    <a:lnTo>
                      <a:pt x="283" y="1797"/>
                    </a:lnTo>
                    <a:lnTo>
                      <a:pt x="314" y="1804"/>
                    </a:lnTo>
                    <a:lnTo>
                      <a:pt x="324" y="1816"/>
                    </a:lnTo>
                    <a:lnTo>
                      <a:pt x="326" y="1818"/>
                    </a:lnTo>
                    <a:lnTo>
                      <a:pt x="312" y="1825"/>
                    </a:lnTo>
                    <a:close/>
                    <a:moveTo>
                      <a:pt x="574" y="2010"/>
                    </a:moveTo>
                    <a:lnTo>
                      <a:pt x="579" y="2029"/>
                    </a:lnTo>
                    <a:lnTo>
                      <a:pt x="567" y="2022"/>
                    </a:lnTo>
                    <a:lnTo>
                      <a:pt x="553" y="2019"/>
                    </a:lnTo>
                    <a:lnTo>
                      <a:pt x="551" y="2012"/>
                    </a:lnTo>
                    <a:lnTo>
                      <a:pt x="551" y="1998"/>
                    </a:lnTo>
                    <a:lnTo>
                      <a:pt x="548" y="1996"/>
                    </a:lnTo>
                    <a:lnTo>
                      <a:pt x="539" y="1991"/>
                    </a:lnTo>
                    <a:lnTo>
                      <a:pt x="539" y="1991"/>
                    </a:lnTo>
                    <a:lnTo>
                      <a:pt x="539" y="1984"/>
                    </a:lnTo>
                    <a:lnTo>
                      <a:pt x="543" y="1984"/>
                    </a:lnTo>
                    <a:lnTo>
                      <a:pt x="567" y="2003"/>
                    </a:lnTo>
                    <a:lnTo>
                      <a:pt x="574" y="2010"/>
                    </a:lnTo>
                    <a:close/>
                    <a:moveTo>
                      <a:pt x="378" y="1998"/>
                    </a:moveTo>
                    <a:lnTo>
                      <a:pt x="369" y="1996"/>
                    </a:lnTo>
                    <a:lnTo>
                      <a:pt x="359" y="1991"/>
                    </a:lnTo>
                    <a:lnTo>
                      <a:pt x="357" y="1979"/>
                    </a:lnTo>
                    <a:lnTo>
                      <a:pt x="366" y="1979"/>
                    </a:lnTo>
                    <a:lnTo>
                      <a:pt x="373" y="1984"/>
                    </a:lnTo>
                    <a:lnTo>
                      <a:pt x="378" y="1993"/>
                    </a:lnTo>
                    <a:lnTo>
                      <a:pt x="378" y="1998"/>
                    </a:lnTo>
                    <a:close/>
                    <a:moveTo>
                      <a:pt x="543" y="2126"/>
                    </a:moveTo>
                    <a:lnTo>
                      <a:pt x="534" y="2123"/>
                    </a:lnTo>
                    <a:lnTo>
                      <a:pt x="525" y="2116"/>
                    </a:lnTo>
                    <a:lnTo>
                      <a:pt x="520" y="2095"/>
                    </a:lnTo>
                    <a:lnTo>
                      <a:pt x="513" y="2076"/>
                    </a:lnTo>
                    <a:lnTo>
                      <a:pt x="520" y="2074"/>
                    </a:lnTo>
                    <a:lnTo>
                      <a:pt x="525" y="2090"/>
                    </a:lnTo>
                    <a:lnTo>
                      <a:pt x="539" y="2119"/>
                    </a:lnTo>
                    <a:lnTo>
                      <a:pt x="543" y="212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0" name="Freeform 47">
                <a:extLst>
                  <a:ext uri="{FF2B5EF4-FFF2-40B4-BE49-F238E27FC236}">
                    <a16:creationId xmlns:a16="http://schemas.microsoft.com/office/drawing/2014/main" id="{6A7E7A8A-7A53-46CF-E9BE-691AAE3854E3}"/>
                  </a:ext>
                </a:extLst>
              </p:cNvPr>
              <p:cNvSpPr>
                <a:spLocks/>
              </p:cNvSpPr>
              <p:nvPr/>
            </p:nvSpPr>
            <p:spPr bwMode="auto">
              <a:xfrm>
                <a:off x="2517" y="750"/>
                <a:ext cx="1232" cy="957"/>
              </a:xfrm>
              <a:custGeom>
                <a:avLst/>
                <a:gdLst>
                  <a:gd name="T0" fmla="*/ 1215 w 1232"/>
                  <a:gd name="T1" fmla="*/ 366 h 957"/>
                  <a:gd name="T2" fmla="*/ 1211 w 1232"/>
                  <a:gd name="T3" fmla="*/ 446 h 957"/>
                  <a:gd name="T4" fmla="*/ 1206 w 1232"/>
                  <a:gd name="T5" fmla="*/ 524 h 957"/>
                  <a:gd name="T6" fmla="*/ 1201 w 1232"/>
                  <a:gd name="T7" fmla="*/ 603 h 957"/>
                  <a:gd name="T8" fmla="*/ 1196 w 1232"/>
                  <a:gd name="T9" fmla="*/ 681 h 957"/>
                  <a:gd name="T10" fmla="*/ 1192 w 1232"/>
                  <a:gd name="T11" fmla="*/ 761 h 957"/>
                  <a:gd name="T12" fmla="*/ 1185 w 1232"/>
                  <a:gd name="T13" fmla="*/ 839 h 957"/>
                  <a:gd name="T14" fmla="*/ 1180 w 1232"/>
                  <a:gd name="T15" fmla="*/ 917 h 957"/>
                  <a:gd name="T16" fmla="*/ 1137 w 1232"/>
                  <a:gd name="T17" fmla="*/ 955 h 957"/>
                  <a:gd name="T18" fmla="*/ 1055 w 1232"/>
                  <a:gd name="T19" fmla="*/ 948 h 957"/>
                  <a:gd name="T20" fmla="*/ 948 w 1232"/>
                  <a:gd name="T21" fmla="*/ 941 h 957"/>
                  <a:gd name="T22" fmla="*/ 821 w 1232"/>
                  <a:gd name="T23" fmla="*/ 929 h 957"/>
                  <a:gd name="T24" fmla="*/ 695 w 1232"/>
                  <a:gd name="T25" fmla="*/ 917 h 957"/>
                  <a:gd name="T26" fmla="*/ 568 w 1232"/>
                  <a:gd name="T27" fmla="*/ 905 h 957"/>
                  <a:gd name="T28" fmla="*/ 442 w 1232"/>
                  <a:gd name="T29" fmla="*/ 891 h 957"/>
                  <a:gd name="T30" fmla="*/ 315 w 1232"/>
                  <a:gd name="T31" fmla="*/ 874 h 957"/>
                  <a:gd name="T32" fmla="*/ 190 w 1232"/>
                  <a:gd name="T33" fmla="*/ 858 h 957"/>
                  <a:gd name="T34" fmla="*/ 62 w 1232"/>
                  <a:gd name="T35" fmla="*/ 841 h 957"/>
                  <a:gd name="T36" fmla="*/ 7 w 1232"/>
                  <a:gd name="T37" fmla="*/ 780 h 957"/>
                  <a:gd name="T38" fmla="*/ 22 w 1232"/>
                  <a:gd name="T39" fmla="*/ 676 h 957"/>
                  <a:gd name="T40" fmla="*/ 36 w 1232"/>
                  <a:gd name="T41" fmla="*/ 572 h 957"/>
                  <a:gd name="T42" fmla="*/ 52 w 1232"/>
                  <a:gd name="T43" fmla="*/ 468 h 957"/>
                  <a:gd name="T44" fmla="*/ 67 w 1232"/>
                  <a:gd name="T45" fmla="*/ 364 h 957"/>
                  <a:gd name="T46" fmla="*/ 83 w 1232"/>
                  <a:gd name="T47" fmla="*/ 260 h 957"/>
                  <a:gd name="T48" fmla="*/ 97 w 1232"/>
                  <a:gd name="T49" fmla="*/ 156 h 957"/>
                  <a:gd name="T50" fmla="*/ 111 w 1232"/>
                  <a:gd name="T51" fmla="*/ 52 h 957"/>
                  <a:gd name="T52" fmla="*/ 168 w 1232"/>
                  <a:gd name="T53" fmla="*/ 7 h 957"/>
                  <a:gd name="T54" fmla="*/ 268 w 1232"/>
                  <a:gd name="T55" fmla="*/ 21 h 957"/>
                  <a:gd name="T56" fmla="*/ 367 w 1232"/>
                  <a:gd name="T57" fmla="*/ 35 h 957"/>
                  <a:gd name="T58" fmla="*/ 466 w 1232"/>
                  <a:gd name="T59" fmla="*/ 47 h 957"/>
                  <a:gd name="T60" fmla="*/ 565 w 1232"/>
                  <a:gd name="T61" fmla="*/ 59 h 957"/>
                  <a:gd name="T62" fmla="*/ 665 w 1232"/>
                  <a:gd name="T63" fmla="*/ 68 h 957"/>
                  <a:gd name="T64" fmla="*/ 766 w 1232"/>
                  <a:gd name="T65" fmla="*/ 80 h 957"/>
                  <a:gd name="T66" fmla="*/ 866 w 1232"/>
                  <a:gd name="T67" fmla="*/ 89 h 957"/>
                  <a:gd name="T68" fmla="*/ 955 w 1232"/>
                  <a:gd name="T69" fmla="*/ 97 h 957"/>
                  <a:gd name="T70" fmla="*/ 1033 w 1232"/>
                  <a:gd name="T71" fmla="*/ 104 h 957"/>
                  <a:gd name="T72" fmla="*/ 1114 w 1232"/>
                  <a:gd name="T73" fmla="*/ 108 h 957"/>
                  <a:gd name="T74" fmla="*/ 1192 w 1232"/>
                  <a:gd name="T75" fmla="*/ 115 h 957"/>
                  <a:gd name="T76" fmla="*/ 1230 w 1232"/>
                  <a:gd name="T77" fmla="*/ 144 h 957"/>
                  <a:gd name="T78" fmla="*/ 1227 w 1232"/>
                  <a:gd name="T79" fmla="*/ 196 h 957"/>
                  <a:gd name="T80" fmla="*/ 1222 w 1232"/>
                  <a:gd name="T81" fmla="*/ 248 h 957"/>
                  <a:gd name="T82" fmla="*/ 1220 w 1232"/>
                  <a:gd name="T83" fmla="*/ 302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32" h="957">
                    <a:moveTo>
                      <a:pt x="1218" y="328"/>
                    </a:moveTo>
                    <a:lnTo>
                      <a:pt x="1215" y="366"/>
                    </a:lnTo>
                    <a:lnTo>
                      <a:pt x="1213" y="406"/>
                    </a:lnTo>
                    <a:lnTo>
                      <a:pt x="1211" y="446"/>
                    </a:lnTo>
                    <a:lnTo>
                      <a:pt x="1208" y="484"/>
                    </a:lnTo>
                    <a:lnTo>
                      <a:pt x="1206" y="524"/>
                    </a:lnTo>
                    <a:lnTo>
                      <a:pt x="1204" y="565"/>
                    </a:lnTo>
                    <a:lnTo>
                      <a:pt x="1201" y="603"/>
                    </a:lnTo>
                    <a:lnTo>
                      <a:pt x="1199" y="643"/>
                    </a:lnTo>
                    <a:lnTo>
                      <a:pt x="1196" y="681"/>
                    </a:lnTo>
                    <a:lnTo>
                      <a:pt x="1194" y="721"/>
                    </a:lnTo>
                    <a:lnTo>
                      <a:pt x="1192" y="761"/>
                    </a:lnTo>
                    <a:lnTo>
                      <a:pt x="1189" y="799"/>
                    </a:lnTo>
                    <a:lnTo>
                      <a:pt x="1185" y="839"/>
                    </a:lnTo>
                    <a:lnTo>
                      <a:pt x="1182" y="879"/>
                    </a:lnTo>
                    <a:lnTo>
                      <a:pt x="1180" y="917"/>
                    </a:lnTo>
                    <a:lnTo>
                      <a:pt x="1178" y="957"/>
                    </a:lnTo>
                    <a:lnTo>
                      <a:pt x="1137" y="955"/>
                    </a:lnTo>
                    <a:lnTo>
                      <a:pt x="1095" y="950"/>
                    </a:lnTo>
                    <a:lnTo>
                      <a:pt x="1055" y="948"/>
                    </a:lnTo>
                    <a:lnTo>
                      <a:pt x="1012" y="945"/>
                    </a:lnTo>
                    <a:lnTo>
                      <a:pt x="948" y="941"/>
                    </a:lnTo>
                    <a:lnTo>
                      <a:pt x="884" y="934"/>
                    </a:lnTo>
                    <a:lnTo>
                      <a:pt x="821" y="929"/>
                    </a:lnTo>
                    <a:lnTo>
                      <a:pt x="759" y="924"/>
                    </a:lnTo>
                    <a:lnTo>
                      <a:pt x="695" y="917"/>
                    </a:lnTo>
                    <a:lnTo>
                      <a:pt x="632" y="910"/>
                    </a:lnTo>
                    <a:lnTo>
                      <a:pt x="568" y="905"/>
                    </a:lnTo>
                    <a:lnTo>
                      <a:pt x="504" y="898"/>
                    </a:lnTo>
                    <a:lnTo>
                      <a:pt x="442" y="891"/>
                    </a:lnTo>
                    <a:lnTo>
                      <a:pt x="379" y="884"/>
                    </a:lnTo>
                    <a:lnTo>
                      <a:pt x="315" y="874"/>
                    </a:lnTo>
                    <a:lnTo>
                      <a:pt x="251" y="867"/>
                    </a:lnTo>
                    <a:lnTo>
                      <a:pt x="190" y="858"/>
                    </a:lnTo>
                    <a:lnTo>
                      <a:pt x="126" y="851"/>
                    </a:lnTo>
                    <a:lnTo>
                      <a:pt x="62" y="841"/>
                    </a:lnTo>
                    <a:lnTo>
                      <a:pt x="0" y="832"/>
                    </a:lnTo>
                    <a:lnTo>
                      <a:pt x="7" y="780"/>
                    </a:lnTo>
                    <a:lnTo>
                      <a:pt x="15" y="728"/>
                    </a:lnTo>
                    <a:lnTo>
                      <a:pt x="22" y="676"/>
                    </a:lnTo>
                    <a:lnTo>
                      <a:pt x="29" y="624"/>
                    </a:lnTo>
                    <a:lnTo>
                      <a:pt x="36" y="572"/>
                    </a:lnTo>
                    <a:lnTo>
                      <a:pt x="45" y="520"/>
                    </a:lnTo>
                    <a:lnTo>
                      <a:pt x="52" y="468"/>
                    </a:lnTo>
                    <a:lnTo>
                      <a:pt x="59" y="416"/>
                    </a:lnTo>
                    <a:lnTo>
                      <a:pt x="67" y="364"/>
                    </a:lnTo>
                    <a:lnTo>
                      <a:pt x="74" y="312"/>
                    </a:lnTo>
                    <a:lnTo>
                      <a:pt x="83" y="260"/>
                    </a:lnTo>
                    <a:lnTo>
                      <a:pt x="90" y="208"/>
                    </a:lnTo>
                    <a:lnTo>
                      <a:pt x="97" y="156"/>
                    </a:lnTo>
                    <a:lnTo>
                      <a:pt x="104" y="104"/>
                    </a:lnTo>
                    <a:lnTo>
                      <a:pt x="111" y="52"/>
                    </a:lnTo>
                    <a:lnTo>
                      <a:pt x="119" y="0"/>
                    </a:lnTo>
                    <a:lnTo>
                      <a:pt x="168" y="7"/>
                    </a:lnTo>
                    <a:lnTo>
                      <a:pt x="218" y="14"/>
                    </a:lnTo>
                    <a:lnTo>
                      <a:pt x="268" y="21"/>
                    </a:lnTo>
                    <a:lnTo>
                      <a:pt x="317" y="28"/>
                    </a:lnTo>
                    <a:lnTo>
                      <a:pt x="367" y="35"/>
                    </a:lnTo>
                    <a:lnTo>
                      <a:pt x="416" y="40"/>
                    </a:lnTo>
                    <a:lnTo>
                      <a:pt x="466" y="47"/>
                    </a:lnTo>
                    <a:lnTo>
                      <a:pt x="516" y="52"/>
                    </a:lnTo>
                    <a:lnTo>
                      <a:pt x="565" y="59"/>
                    </a:lnTo>
                    <a:lnTo>
                      <a:pt x="615" y="63"/>
                    </a:lnTo>
                    <a:lnTo>
                      <a:pt x="665" y="68"/>
                    </a:lnTo>
                    <a:lnTo>
                      <a:pt x="717" y="75"/>
                    </a:lnTo>
                    <a:lnTo>
                      <a:pt x="766" y="80"/>
                    </a:lnTo>
                    <a:lnTo>
                      <a:pt x="816" y="85"/>
                    </a:lnTo>
                    <a:lnTo>
                      <a:pt x="866" y="89"/>
                    </a:lnTo>
                    <a:lnTo>
                      <a:pt x="915" y="94"/>
                    </a:lnTo>
                    <a:lnTo>
                      <a:pt x="955" y="97"/>
                    </a:lnTo>
                    <a:lnTo>
                      <a:pt x="993" y="99"/>
                    </a:lnTo>
                    <a:lnTo>
                      <a:pt x="1033" y="104"/>
                    </a:lnTo>
                    <a:lnTo>
                      <a:pt x="1074" y="106"/>
                    </a:lnTo>
                    <a:lnTo>
                      <a:pt x="1114" y="108"/>
                    </a:lnTo>
                    <a:lnTo>
                      <a:pt x="1152" y="113"/>
                    </a:lnTo>
                    <a:lnTo>
                      <a:pt x="1192" y="115"/>
                    </a:lnTo>
                    <a:lnTo>
                      <a:pt x="1232" y="118"/>
                    </a:lnTo>
                    <a:lnTo>
                      <a:pt x="1230" y="144"/>
                    </a:lnTo>
                    <a:lnTo>
                      <a:pt x="1230" y="170"/>
                    </a:lnTo>
                    <a:lnTo>
                      <a:pt x="1227" y="196"/>
                    </a:lnTo>
                    <a:lnTo>
                      <a:pt x="1225" y="222"/>
                    </a:lnTo>
                    <a:lnTo>
                      <a:pt x="1222" y="248"/>
                    </a:lnTo>
                    <a:lnTo>
                      <a:pt x="1222" y="276"/>
                    </a:lnTo>
                    <a:lnTo>
                      <a:pt x="1220" y="302"/>
                    </a:lnTo>
                    <a:lnTo>
                      <a:pt x="1218" y="32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1" name="Freeform 48">
                <a:extLst>
                  <a:ext uri="{FF2B5EF4-FFF2-40B4-BE49-F238E27FC236}">
                    <a16:creationId xmlns:a16="http://schemas.microsoft.com/office/drawing/2014/main" id="{33FE67D0-B1F4-278B-1AD3-1BA37A2627D9}"/>
                  </a:ext>
                </a:extLst>
              </p:cNvPr>
              <p:cNvSpPr>
                <a:spLocks/>
              </p:cNvSpPr>
              <p:nvPr/>
            </p:nvSpPr>
            <p:spPr bwMode="auto">
              <a:xfrm>
                <a:off x="8205" y="182"/>
                <a:ext cx="290" cy="284"/>
              </a:xfrm>
              <a:custGeom>
                <a:avLst/>
                <a:gdLst>
                  <a:gd name="T0" fmla="*/ 257 w 290"/>
                  <a:gd name="T1" fmla="*/ 2 h 284"/>
                  <a:gd name="T2" fmla="*/ 260 w 290"/>
                  <a:gd name="T3" fmla="*/ 12 h 284"/>
                  <a:gd name="T4" fmla="*/ 264 w 290"/>
                  <a:gd name="T5" fmla="*/ 28 h 284"/>
                  <a:gd name="T6" fmla="*/ 267 w 290"/>
                  <a:gd name="T7" fmla="*/ 38 h 284"/>
                  <a:gd name="T8" fmla="*/ 272 w 290"/>
                  <a:gd name="T9" fmla="*/ 54 h 284"/>
                  <a:gd name="T10" fmla="*/ 276 w 290"/>
                  <a:gd name="T11" fmla="*/ 71 h 284"/>
                  <a:gd name="T12" fmla="*/ 281 w 290"/>
                  <a:gd name="T13" fmla="*/ 88 h 284"/>
                  <a:gd name="T14" fmla="*/ 286 w 290"/>
                  <a:gd name="T15" fmla="*/ 102 h 284"/>
                  <a:gd name="T16" fmla="*/ 288 w 290"/>
                  <a:gd name="T17" fmla="*/ 109 h 284"/>
                  <a:gd name="T18" fmla="*/ 290 w 290"/>
                  <a:gd name="T19" fmla="*/ 123 h 284"/>
                  <a:gd name="T20" fmla="*/ 288 w 290"/>
                  <a:gd name="T21" fmla="*/ 128 h 284"/>
                  <a:gd name="T22" fmla="*/ 288 w 290"/>
                  <a:gd name="T23" fmla="*/ 142 h 284"/>
                  <a:gd name="T24" fmla="*/ 274 w 290"/>
                  <a:gd name="T25" fmla="*/ 144 h 284"/>
                  <a:gd name="T26" fmla="*/ 253 w 290"/>
                  <a:gd name="T27" fmla="*/ 151 h 284"/>
                  <a:gd name="T28" fmla="*/ 227 w 290"/>
                  <a:gd name="T29" fmla="*/ 168 h 284"/>
                  <a:gd name="T30" fmla="*/ 210 w 290"/>
                  <a:gd name="T31" fmla="*/ 168 h 284"/>
                  <a:gd name="T32" fmla="*/ 194 w 290"/>
                  <a:gd name="T33" fmla="*/ 180 h 284"/>
                  <a:gd name="T34" fmla="*/ 139 w 290"/>
                  <a:gd name="T35" fmla="*/ 196 h 284"/>
                  <a:gd name="T36" fmla="*/ 125 w 290"/>
                  <a:gd name="T37" fmla="*/ 196 h 284"/>
                  <a:gd name="T38" fmla="*/ 113 w 290"/>
                  <a:gd name="T39" fmla="*/ 213 h 284"/>
                  <a:gd name="T40" fmla="*/ 92 w 290"/>
                  <a:gd name="T41" fmla="*/ 227 h 284"/>
                  <a:gd name="T42" fmla="*/ 37 w 290"/>
                  <a:gd name="T43" fmla="*/ 274 h 284"/>
                  <a:gd name="T44" fmla="*/ 33 w 290"/>
                  <a:gd name="T45" fmla="*/ 284 h 284"/>
                  <a:gd name="T46" fmla="*/ 21 w 290"/>
                  <a:gd name="T47" fmla="*/ 272 h 284"/>
                  <a:gd name="T48" fmla="*/ 11 w 290"/>
                  <a:gd name="T49" fmla="*/ 263 h 284"/>
                  <a:gd name="T50" fmla="*/ 23 w 290"/>
                  <a:gd name="T51" fmla="*/ 253 h 284"/>
                  <a:gd name="T52" fmla="*/ 30 w 290"/>
                  <a:gd name="T53" fmla="*/ 244 h 284"/>
                  <a:gd name="T54" fmla="*/ 37 w 290"/>
                  <a:gd name="T55" fmla="*/ 237 h 284"/>
                  <a:gd name="T56" fmla="*/ 42 w 290"/>
                  <a:gd name="T57" fmla="*/ 232 h 284"/>
                  <a:gd name="T58" fmla="*/ 35 w 290"/>
                  <a:gd name="T59" fmla="*/ 225 h 284"/>
                  <a:gd name="T60" fmla="*/ 30 w 290"/>
                  <a:gd name="T61" fmla="*/ 218 h 284"/>
                  <a:gd name="T62" fmla="*/ 26 w 290"/>
                  <a:gd name="T63" fmla="*/ 199 h 284"/>
                  <a:gd name="T64" fmla="*/ 23 w 290"/>
                  <a:gd name="T65" fmla="*/ 177 h 284"/>
                  <a:gd name="T66" fmla="*/ 19 w 290"/>
                  <a:gd name="T67" fmla="*/ 159 h 284"/>
                  <a:gd name="T68" fmla="*/ 14 w 290"/>
                  <a:gd name="T69" fmla="*/ 140 h 284"/>
                  <a:gd name="T70" fmla="*/ 11 w 290"/>
                  <a:gd name="T71" fmla="*/ 118 h 284"/>
                  <a:gd name="T72" fmla="*/ 7 w 290"/>
                  <a:gd name="T73" fmla="*/ 99 h 284"/>
                  <a:gd name="T74" fmla="*/ 4 w 290"/>
                  <a:gd name="T75" fmla="*/ 80 h 284"/>
                  <a:gd name="T76" fmla="*/ 0 w 290"/>
                  <a:gd name="T77" fmla="*/ 59 h 284"/>
                  <a:gd name="T78" fmla="*/ 14 w 290"/>
                  <a:gd name="T79" fmla="*/ 57 h 284"/>
                  <a:gd name="T80" fmla="*/ 26 w 290"/>
                  <a:gd name="T81" fmla="*/ 54 h 284"/>
                  <a:gd name="T82" fmla="*/ 40 w 290"/>
                  <a:gd name="T83" fmla="*/ 52 h 284"/>
                  <a:gd name="T84" fmla="*/ 52 w 290"/>
                  <a:gd name="T85" fmla="*/ 50 h 284"/>
                  <a:gd name="T86" fmla="*/ 66 w 290"/>
                  <a:gd name="T87" fmla="*/ 47 h 284"/>
                  <a:gd name="T88" fmla="*/ 78 w 290"/>
                  <a:gd name="T89" fmla="*/ 43 h 284"/>
                  <a:gd name="T90" fmla="*/ 92 w 290"/>
                  <a:gd name="T91" fmla="*/ 40 h 284"/>
                  <a:gd name="T92" fmla="*/ 104 w 290"/>
                  <a:gd name="T93" fmla="*/ 38 h 284"/>
                  <a:gd name="T94" fmla="*/ 106 w 290"/>
                  <a:gd name="T95" fmla="*/ 43 h 284"/>
                  <a:gd name="T96" fmla="*/ 111 w 290"/>
                  <a:gd name="T97" fmla="*/ 40 h 284"/>
                  <a:gd name="T98" fmla="*/ 111 w 290"/>
                  <a:gd name="T99" fmla="*/ 36 h 284"/>
                  <a:gd name="T100" fmla="*/ 130 w 290"/>
                  <a:gd name="T101" fmla="*/ 31 h 284"/>
                  <a:gd name="T102" fmla="*/ 149 w 290"/>
                  <a:gd name="T103" fmla="*/ 26 h 284"/>
                  <a:gd name="T104" fmla="*/ 165 w 290"/>
                  <a:gd name="T105" fmla="*/ 21 h 284"/>
                  <a:gd name="T106" fmla="*/ 184 w 290"/>
                  <a:gd name="T107" fmla="*/ 19 h 284"/>
                  <a:gd name="T108" fmla="*/ 203 w 290"/>
                  <a:gd name="T109" fmla="*/ 14 h 284"/>
                  <a:gd name="T110" fmla="*/ 220 w 290"/>
                  <a:gd name="T111" fmla="*/ 10 h 284"/>
                  <a:gd name="T112" fmla="*/ 238 w 290"/>
                  <a:gd name="T113" fmla="*/ 5 h 284"/>
                  <a:gd name="T114" fmla="*/ 257 w 290"/>
                  <a:gd name="T115" fmla="*/ 0 h 284"/>
                  <a:gd name="T116" fmla="*/ 257 w 290"/>
                  <a:gd name="T117"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 h="284">
                    <a:moveTo>
                      <a:pt x="257" y="2"/>
                    </a:moveTo>
                    <a:lnTo>
                      <a:pt x="260" y="12"/>
                    </a:lnTo>
                    <a:lnTo>
                      <a:pt x="264" y="28"/>
                    </a:lnTo>
                    <a:lnTo>
                      <a:pt x="267" y="38"/>
                    </a:lnTo>
                    <a:lnTo>
                      <a:pt x="272" y="54"/>
                    </a:lnTo>
                    <a:lnTo>
                      <a:pt x="276" y="71"/>
                    </a:lnTo>
                    <a:lnTo>
                      <a:pt x="281" y="88"/>
                    </a:lnTo>
                    <a:lnTo>
                      <a:pt x="286" y="102"/>
                    </a:lnTo>
                    <a:lnTo>
                      <a:pt x="288" y="109"/>
                    </a:lnTo>
                    <a:lnTo>
                      <a:pt x="290" y="123"/>
                    </a:lnTo>
                    <a:lnTo>
                      <a:pt x="288" y="128"/>
                    </a:lnTo>
                    <a:lnTo>
                      <a:pt x="288" y="142"/>
                    </a:lnTo>
                    <a:lnTo>
                      <a:pt x="274" y="144"/>
                    </a:lnTo>
                    <a:lnTo>
                      <a:pt x="253" y="151"/>
                    </a:lnTo>
                    <a:lnTo>
                      <a:pt x="227" y="168"/>
                    </a:lnTo>
                    <a:lnTo>
                      <a:pt x="210" y="168"/>
                    </a:lnTo>
                    <a:lnTo>
                      <a:pt x="194" y="180"/>
                    </a:lnTo>
                    <a:lnTo>
                      <a:pt x="139" y="196"/>
                    </a:lnTo>
                    <a:lnTo>
                      <a:pt x="125" y="196"/>
                    </a:lnTo>
                    <a:lnTo>
                      <a:pt x="113" y="213"/>
                    </a:lnTo>
                    <a:lnTo>
                      <a:pt x="92" y="227"/>
                    </a:lnTo>
                    <a:lnTo>
                      <a:pt x="37" y="274"/>
                    </a:lnTo>
                    <a:lnTo>
                      <a:pt x="33" y="284"/>
                    </a:lnTo>
                    <a:lnTo>
                      <a:pt x="21" y="272"/>
                    </a:lnTo>
                    <a:lnTo>
                      <a:pt x="11" y="263"/>
                    </a:lnTo>
                    <a:lnTo>
                      <a:pt x="23" y="253"/>
                    </a:lnTo>
                    <a:lnTo>
                      <a:pt x="30" y="244"/>
                    </a:lnTo>
                    <a:lnTo>
                      <a:pt x="37" y="237"/>
                    </a:lnTo>
                    <a:lnTo>
                      <a:pt x="42" y="232"/>
                    </a:lnTo>
                    <a:lnTo>
                      <a:pt x="35" y="225"/>
                    </a:lnTo>
                    <a:lnTo>
                      <a:pt x="30" y="218"/>
                    </a:lnTo>
                    <a:lnTo>
                      <a:pt x="26" y="199"/>
                    </a:lnTo>
                    <a:lnTo>
                      <a:pt x="23" y="177"/>
                    </a:lnTo>
                    <a:lnTo>
                      <a:pt x="19" y="159"/>
                    </a:lnTo>
                    <a:lnTo>
                      <a:pt x="14" y="140"/>
                    </a:lnTo>
                    <a:lnTo>
                      <a:pt x="11" y="118"/>
                    </a:lnTo>
                    <a:lnTo>
                      <a:pt x="7" y="99"/>
                    </a:lnTo>
                    <a:lnTo>
                      <a:pt x="4" y="80"/>
                    </a:lnTo>
                    <a:lnTo>
                      <a:pt x="0" y="59"/>
                    </a:lnTo>
                    <a:lnTo>
                      <a:pt x="14" y="57"/>
                    </a:lnTo>
                    <a:lnTo>
                      <a:pt x="26" y="54"/>
                    </a:lnTo>
                    <a:lnTo>
                      <a:pt x="40" y="52"/>
                    </a:lnTo>
                    <a:lnTo>
                      <a:pt x="52" y="50"/>
                    </a:lnTo>
                    <a:lnTo>
                      <a:pt x="66" y="47"/>
                    </a:lnTo>
                    <a:lnTo>
                      <a:pt x="78" y="43"/>
                    </a:lnTo>
                    <a:lnTo>
                      <a:pt x="92" y="40"/>
                    </a:lnTo>
                    <a:lnTo>
                      <a:pt x="104" y="38"/>
                    </a:lnTo>
                    <a:lnTo>
                      <a:pt x="106" y="43"/>
                    </a:lnTo>
                    <a:lnTo>
                      <a:pt x="111" y="40"/>
                    </a:lnTo>
                    <a:lnTo>
                      <a:pt x="111" y="36"/>
                    </a:lnTo>
                    <a:lnTo>
                      <a:pt x="130" y="31"/>
                    </a:lnTo>
                    <a:lnTo>
                      <a:pt x="149" y="26"/>
                    </a:lnTo>
                    <a:lnTo>
                      <a:pt x="165" y="21"/>
                    </a:lnTo>
                    <a:lnTo>
                      <a:pt x="184" y="19"/>
                    </a:lnTo>
                    <a:lnTo>
                      <a:pt x="203" y="14"/>
                    </a:lnTo>
                    <a:lnTo>
                      <a:pt x="220" y="10"/>
                    </a:lnTo>
                    <a:lnTo>
                      <a:pt x="238" y="5"/>
                    </a:lnTo>
                    <a:lnTo>
                      <a:pt x="257" y="0"/>
                    </a:lnTo>
                    <a:lnTo>
                      <a:pt x="257" y="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2" name="Freeform 49">
                <a:extLst>
                  <a:ext uri="{FF2B5EF4-FFF2-40B4-BE49-F238E27FC236}">
                    <a16:creationId xmlns:a16="http://schemas.microsoft.com/office/drawing/2014/main" id="{8A343A8C-91BB-F335-522A-3AD4D1E610DB}"/>
                  </a:ext>
                </a:extLst>
              </p:cNvPr>
              <p:cNvSpPr>
                <a:spLocks/>
              </p:cNvSpPr>
              <p:nvPr/>
            </p:nvSpPr>
            <p:spPr bwMode="auto">
              <a:xfrm>
                <a:off x="7784" y="995"/>
                <a:ext cx="33" cy="41"/>
              </a:xfrm>
              <a:custGeom>
                <a:avLst/>
                <a:gdLst>
                  <a:gd name="T0" fmla="*/ 16 w 33"/>
                  <a:gd name="T1" fmla="*/ 24 h 41"/>
                  <a:gd name="T2" fmla="*/ 12 w 33"/>
                  <a:gd name="T3" fmla="*/ 19 h 41"/>
                  <a:gd name="T4" fmla="*/ 2 w 33"/>
                  <a:gd name="T5" fmla="*/ 17 h 41"/>
                  <a:gd name="T6" fmla="*/ 0 w 33"/>
                  <a:gd name="T7" fmla="*/ 17 h 41"/>
                  <a:gd name="T8" fmla="*/ 9 w 33"/>
                  <a:gd name="T9" fmla="*/ 0 h 41"/>
                  <a:gd name="T10" fmla="*/ 21 w 33"/>
                  <a:gd name="T11" fmla="*/ 10 h 41"/>
                  <a:gd name="T12" fmla="*/ 33 w 33"/>
                  <a:gd name="T13" fmla="*/ 22 h 41"/>
                  <a:gd name="T14" fmla="*/ 21 w 33"/>
                  <a:gd name="T15" fmla="*/ 41 h 41"/>
                  <a:gd name="T16" fmla="*/ 16 w 33"/>
                  <a:gd name="T1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16" y="24"/>
                    </a:moveTo>
                    <a:lnTo>
                      <a:pt x="12" y="19"/>
                    </a:lnTo>
                    <a:lnTo>
                      <a:pt x="2" y="17"/>
                    </a:lnTo>
                    <a:lnTo>
                      <a:pt x="0" y="17"/>
                    </a:lnTo>
                    <a:lnTo>
                      <a:pt x="9" y="0"/>
                    </a:lnTo>
                    <a:lnTo>
                      <a:pt x="21" y="10"/>
                    </a:lnTo>
                    <a:lnTo>
                      <a:pt x="33" y="22"/>
                    </a:lnTo>
                    <a:lnTo>
                      <a:pt x="21" y="41"/>
                    </a:lnTo>
                    <a:lnTo>
                      <a:pt x="16" y="2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3" name="Freeform 50">
                <a:extLst>
                  <a:ext uri="{FF2B5EF4-FFF2-40B4-BE49-F238E27FC236}">
                    <a16:creationId xmlns:a16="http://schemas.microsoft.com/office/drawing/2014/main" id="{58753885-9D3C-8F53-BB68-1B877970AF72}"/>
                  </a:ext>
                </a:extLst>
              </p:cNvPr>
              <p:cNvSpPr>
                <a:spLocks/>
              </p:cNvSpPr>
              <p:nvPr/>
            </p:nvSpPr>
            <p:spPr bwMode="auto">
              <a:xfrm>
                <a:off x="7961" y="771"/>
                <a:ext cx="180" cy="291"/>
              </a:xfrm>
              <a:custGeom>
                <a:avLst/>
                <a:gdLst>
                  <a:gd name="T0" fmla="*/ 55 w 180"/>
                  <a:gd name="T1" fmla="*/ 2 h 291"/>
                  <a:gd name="T2" fmla="*/ 50 w 180"/>
                  <a:gd name="T3" fmla="*/ 9 h 291"/>
                  <a:gd name="T4" fmla="*/ 45 w 180"/>
                  <a:gd name="T5" fmla="*/ 26 h 291"/>
                  <a:gd name="T6" fmla="*/ 36 w 180"/>
                  <a:gd name="T7" fmla="*/ 42 h 291"/>
                  <a:gd name="T8" fmla="*/ 40 w 180"/>
                  <a:gd name="T9" fmla="*/ 54 h 291"/>
                  <a:gd name="T10" fmla="*/ 43 w 180"/>
                  <a:gd name="T11" fmla="*/ 61 h 291"/>
                  <a:gd name="T12" fmla="*/ 45 w 180"/>
                  <a:gd name="T13" fmla="*/ 76 h 291"/>
                  <a:gd name="T14" fmla="*/ 57 w 180"/>
                  <a:gd name="T15" fmla="*/ 90 h 291"/>
                  <a:gd name="T16" fmla="*/ 81 w 180"/>
                  <a:gd name="T17" fmla="*/ 111 h 291"/>
                  <a:gd name="T18" fmla="*/ 92 w 180"/>
                  <a:gd name="T19" fmla="*/ 149 h 291"/>
                  <a:gd name="T20" fmla="*/ 111 w 180"/>
                  <a:gd name="T21" fmla="*/ 172 h 291"/>
                  <a:gd name="T22" fmla="*/ 140 w 180"/>
                  <a:gd name="T23" fmla="*/ 196 h 291"/>
                  <a:gd name="T24" fmla="*/ 156 w 180"/>
                  <a:gd name="T25" fmla="*/ 201 h 291"/>
                  <a:gd name="T26" fmla="*/ 159 w 180"/>
                  <a:gd name="T27" fmla="*/ 213 h 291"/>
                  <a:gd name="T28" fmla="*/ 156 w 180"/>
                  <a:gd name="T29" fmla="*/ 234 h 291"/>
                  <a:gd name="T30" fmla="*/ 149 w 180"/>
                  <a:gd name="T31" fmla="*/ 243 h 291"/>
                  <a:gd name="T32" fmla="*/ 161 w 180"/>
                  <a:gd name="T33" fmla="*/ 239 h 291"/>
                  <a:gd name="T34" fmla="*/ 168 w 180"/>
                  <a:gd name="T35" fmla="*/ 241 h 291"/>
                  <a:gd name="T36" fmla="*/ 177 w 180"/>
                  <a:gd name="T37" fmla="*/ 255 h 291"/>
                  <a:gd name="T38" fmla="*/ 180 w 180"/>
                  <a:gd name="T39" fmla="*/ 267 h 291"/>
                  <a:gd name="T40" fmla="*/ 163 w 180"/>
                  <a:gd name="T41" fmla="*/ 269 h 291"/>
                  <a:gd name="T42" fmla="*/ 128 w 180"/>
                  <a:gd name="T43" fmla="*/ 279 h 291"/>
                  <a:gd name="T44" fmla="*/ 92 w 180"/>
                  <a:gd name="T45" fmla="*/ 286 h 291"/>
                  <a:gd name="T46" fmla="*/ 76 w 180"/>
                  <a:gd name="T47" fmla="*/ 291 h 291"/>
                  <a:gd name="T48" fmla="*/ 76 w 180"/>
                  <a:gd name="T49" fmla="*/ 291 h 291"/>
                  <a:gd name="T50" fmla="*/ 73 w 180"/>
                  <a:gd name="T51" fmla="*/ 291 h 291"/>
                  <a:gd name="T52" fmla="*/ 73 w 180"/>
                  <a:gd name="T53" fmla="*/ 291 h 291"/>
                  <a:gd name="T54" fmla="*/ 73 w 180"/>
                  <a:gd name="T55" fmla="*/ 291 h 291"/>
                  <a:gd name="T56" fmla="*/ 73 w 180"/>
                  <a:gd name="T57" fmla="*/ 291 h 291"/>
                  <a:gd name="T58" fmla="*/ 73 w 180"/>
                  <a:gd name="T59" fmla="*/ 291 h 291"/>
                  <a:gd name="T60" fmla="*/ 73 w 180"/>
                  <a:gd name="T61" fmla="*/ 291 h 291"/>
                  <a:gd name="T62" fmla="*/ 71 w 180"/>
                  <a:gd name="T63" fmla="*/ 291 h 291"/>
                  <a:gd name="T64" fmla="*/ 64 w 180"/>
                  <a:gd name="T65" fmla="*/ 258 h 291"/>
                  <a:gd name="T66" fmla="*/ 55 w 180"/>
                  <a:gd name="T67" fmla="*/ 227 h 291"/>
                  <a:gd name="T68" fmla="*/ 45 w 180"/>
                  <a:gd name="T69" fmla="*/ 194 h 291"/>
                  <a:gd name="T70" fmla="*/ 36 w 180"/>
                  <a:gd name="T71" fmla="*/ 163 h 291"/>
                  <a:gd name="T72" fmla="*/ 29 w 180"/>
                  <a:gd name="T73" fmla="*/ 130 h 291"/>
                  <a:gd name="T74" fmla="*/ 19 w 180"/>
                  <a:gd name="T75" fmla="*/ 99 h 291"/>
                  <a:gd name="T76" fmla="*/ 10 w 180"/>
                  <a:gd name="T77" fmla="*/ 66 h 291"/>
                  <a:gd name="T78" fmla="*/ 0 w 180"/>
                  <a:gd name="T79" fmla="*/ 33 h 291"/>
                  <a:gd name="T80" fmla="*/ 10 w 180"/>
                  <a:gd name="T81" fmla="*/ 14 h 291"/>
                  <a:gd name="T82" fmla="*/ 12 w 180"/>
                  <a:gd name="T83" fmla="*/ 9 h 291"/>
                  <a:gd name="T84" fmla="*/ 19 w 180"/>
                  <a:gd name="T85" fmla="*/ 5 h 291"/>
                  <a:gd name="T86" fmla="*/ 38 w 180"/>
                  <a:gd name="T87" fmla="*/ 0 h 291"/>
                  <a:gd name="T88" fmla="*/ 55 w 180"/>
                  <a:gd name="T89" fmla="*/ 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0" h="291">
                    <a:moveTo>
                      <a:pt x="55" y="2"/>
                    </a:moveTo>
                    <a:lnTo>
                      <a:pt x="50" y="9"/>
                    </a:lnTo>
                    <a:lnTo>
                      <a:pt x="45" y="26"/>
                    </a:lnTo>
                    <a:lnTo>
                      <a:pt x="36" y="42"/>
                    </a:lnTo>
                    <a:lnTo>
                      <a:pt x="40" y="54"/>
                    </a:lnTo>
                    <a:lnTo>
                      <a:pt x="43" y="61"/>
                    </a:lnTo>
                    <a:lnTo>
                      <a:pt x="45" y="76"/>
                    </a:lnTo>
                    <a:lnTo>
                      <a:pt x="57" y="90"/>
                    </a:lnTo>
                    <a:lnTo>
                      <a:pt x="81" y="111"/>
                    </a:lnTo>
                    <a:lnTo>
                      <a:pt x="92" y="149"/>
                    </a:lnTo>
                    <a:lnTo>
                      <a:pt x="111" y="172"/>
                    </a:lnTo>
                    <a:lnTo>
                      <a:pt x="140" y="196"/>
                    </a:lnTo>
                    <a:lnTo>
                      <a:pt x="156" y="201"/>
                    </a:lnTo>
                    <a:lnTo>
                      <a:pt x="159" y="213"/>
                    </a:lnTo>
                    <a:lnTo>
                      <a:pt x="156" y="234"/>
                    </a:lnTo>
                    <a:lnTo>
                      <a:pt x="149" y="243"/>
                    </a:lnTo>
                    <a:lnTo>
                      <a:pt x="161" y="239"/>
                    </a:lnTo>
                    <a:lnTo>
                      <a:pt x="168" y="241"/>
                    </a:lnTo>
                    <a:lnTo>
                      <a:pt x="177" y="255"/>
                    </a:lnTo>
                    <a:lnTo>
                      <a:pt x="180" y="267"/>
                    </a:lnTo>
                    <a:lnTo>
                      <a:pt x="163" y="269"/>
                    </a:lnTo>
                    <a:lnTo>
                      <a:pt x="128" y="279"/>
                    </a:lnTo>
                    <a:lnTo>
                      <a:pt x="92" y="286"/>
                    </a:lnTo>
                    <a:lnTo>
                      <a:pt x="76" y="291"/>
                    </a:lnTo>
                    <a:lnTo>
                      <a:pt x="76" y="291"/>
                    </a:lnTo>
                    <a:lnTo>
                      <a:pt x="73" y="291"/>
                    </a:lnTo>
                    <a:lnTo>
                      <a:pt x="73" y="291"/>
                    </a:lnTo>
                    <a:lnTo>
                      <a:pt x="73" y="291"/>
                    </a:lnTo>
                    <a:lnTo>
                      <a:pt x="73" y="291"/>
                    </a:lnTo>
                    <a:lnTo>
                      <a:pt x="73" y="291"/>
                    </a:lnTo>
                    <a:lnTo>
                      <a:pt x="73" y="291"/>
                    </a:lnTo>
                    <a:lnTo>
                      <a:pt x="71" y="291"/>
                    </a:lnTo>
                    <a:lnTo>
                      <a:pt x="64" y="258"/>
                    </a:lnTo>
                    <a:lnTo>
                      <a:pt x="55" y="227"/>
                    </a:lnTo>
                    <a:lnTo>
                      <a:pt x="45" y="194"/>
                    </a:lnTo>
                    <a:lnTo>
                      <a:pt x="36" y="163"/>
                    </a:lnTo>
                    <a:lnTo>
                      <a:pt x="29" y="130"/>
                    </a:lnTo>
                    <a:lnTo>
                      <a:pt x="19" y="99"/>
                    </a:lnTo>
                    <a:lnTo>
                      <a:pt x="10" y="66"/>
                    </a:lnTo>
                    <a:lnTo>
                      <a:pt x="0" y="33"/>
                    </a:lnTo>
                    <a:lnTo>
                      <a:pt x="10" y="14"/>
                    </a:lnTo>
                    <a:lnTo>
                      <a:pt x="12" y="9"/>
                    </a:lnTo>
                    <a:lnTo>
                      <a:pt x="19" y="5"/>
                    </a:lnTo>
                    <a:lnTo>
                      <a:pt x="38" y="0"/>
                    </a:lnTo>
                    <a:lnTo>
                      <a:pt x="55" y="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4" name="Freeform 51">
                <a:extLst>
                  <a:ext uri="{FF2B5EF4-FFF2-40B4-BE49-F238E27FC236}">
                    <a16:creationId xmlns:a16="http://schemas.microsoft.com/office/drawing/2014/main" id="{CDA7986F-EC49-A3A2-2179-3B336F8AB211}"/>
                  </a:ext>
                </a:extLst>
              </p:cNvPr>
              <p:cNvSpPr>
                <a:spLocks noEditPoints="1"/>
              </p:cNvSpPr>
              <p:nvPr/>
            </p:nvSpPr>
            <p:spPr bwMode="auto">
              <a:xfrm>
                <a:off x="6238" y="2845"/>
                <a:ext cx="1544" cy="1324"/>
              </a:xfrm>
              <a:custGeom>
                <a:avLst/>
                <a:gdLst>
                  <a:gd name="T0" fmla="*/ 1229 w 1544"/>
                  <a:gd name="T1" fmla="*/ 262 h 1324"/>
                  <a:gd name="T2" fmla="*/ 1369 w 1544"/>
                  <a:gd name="T3" fmla="*/ 494 h 1324"/>
                  <a:gd name="T4" fmla="*/ 1359 w 1544"/>
                  <a:gd name="T5" fmla="*/ 487 h 1324"/>
                  <a:gd name="T6" fmla="*/ 1333 w 1544"/>
                  <a:gd name="T7" fmla="*/ 458 h 1324"/>
                  <a:gd name="T8" fmla="*/ 1317 w 1544"/>
                  <a:gd name="T9" fmla="*/ 404 h 1324"/>
                  <a:gd name="T10" fmla="*/ 1350 w 1544"/>
                  <a:gd name="T11" fmla="*/ 498 h 1324"/>
                  <a:gd name="T12" fmla="*/ 1532 w 1544"/>
                  <a:gd name="T13" fmla="*/ 837 h 1324"/>
                  <a:gd name="T14" fmla="*/ 1529 w 1544"/>
                  <a:gd name="T15" fmla="*/ 1016 h 1324"/>
                  <a:gd name="T16" fmla="*/ 1451 w 1544"/>
                  <a:gd name="T17" fmla="*/ 1158 h 1324"/>
                  <a:gd name="T18" fmla="*/ 1369 w 1544"/>
                  <a:gd name="T19" fmla="*/ 1139 h 1324"/>
                  <a:gd name="T20" fmla="*/ 1371 w 1544"/>
                  <a:gd name="T21" fmla="*/ 1125 h 1324"/>
                  <a:gd name="T22" fmla="*/ 1210 w 1544"/>
                  <a:gd name="T23" fmla="*/ 983 h 1324"/>
                  <a:gd name="T24" fmla="*/ 1180 w 1544"/>
                  <a:gd name="T25" fmla="*/ 874 h 1324"/>
                  <a:gd name="T26" fmla="*/ 1137 w 1544"/>
                  <a:gd name="T27" fmla="*/ 832 h 1324"/>
                  <a:gd name="T28" fmla="*/ 1104 w 1544"/>
                  <a:gd name="T29" fmla="*/ 846 h 1324"/>
                  <a:gd name="T30" fmla="*/ 995 w 1544"/>
                  <a:gd name="T31" fmla="*/ 721 h 1324"/>
                  <a:gd name="T32" fmla="*/ 1042 w 1544"/>
                  <a:gd name="T33" fmla="*/ 636 h 1324"/>
                  <a:gd name="T34" fmla="*/ 988 w 1544"/>
                  <a:gd name="T35" fmla="*/ 621 h 1324"/>
                  <a:gd name="T36" fmla="*/ 988 w 1544"/>
                  <a:gd name="T37" fmla="*/ 671 h 1324"/>
                  <a:gd name="T38" fmla="*/ 974 w 1544"/>
                  <a:gd name="T39" fmla="*/ 513 h 1324"/>
                  <a:gd name="T40" fmla="*/ 740 w 1544"/>
                  <a:gd name="T41" fmla="*/ 236 h 1324"/>
                  <a:gd name="T42" fmla="*/ 615 w 1544"/>
                  <a:gd name="T43" fmla="*/ 255 h 1324"/>
                  <a:gd name="T44" fmla="*/ 501 w 1544"/>
                  <a:gd name="T45" fmla="*/ 309 h 1324"/>
                  <a:gd name="T46" fmla="*/ 433 w 1544"/>
                  <a:gd name="T47" fmla="*/ 305 h 1324"/>
                  <a:gd name="T48" fmla="*/ 371 w 1544"/>
                  <a:gd name="T49" fmla="*/ 238 h 1324"/>
                  <a:gd name="T50" fmla="*/ 366 w 1544"/>
                  <a:gd name="T51" fmla="*/ 205 h 1324"/>
                  <a:gd name="T52" fmla="*/ 274 w 1544"/>
                  <a:gd name="T53" fmla="*/ 205 h 1324"/>
                  <a:gd name="T54" fmla="*/ 255 w 1544"/>
                  <a:gd name="T55" fmla="*/ 172 h 1324"/>
                  <a:gd name="T56" fmla="*/ 128 w 1544"/>
                  <a:gd name="T57" fmla="*/ 212 h 1324"/>
                  <a:gd name="T58" fmla="*/ 118 w 1544"/>
                  <a:gd name="T59" fmla="*/ 170 h 1324"/>
                  <a:gd name="T60" fmla="*/ 76 w 1544"/>
                  <a:gd name="T61" fmla="*/ 212 h 1324"/>
                  <a:gd name="T62" fmla="*/ 33 w 1544"/>
                  <a:gd name="T63" fmla="*/ 219 h 1324"/>
                  <a:gd name="T64" fmla="*/ 40 w 1544"/>
                  <a:gd name="T65" fmla="*/ 156 h 1324"/>
                  <a:gd name="T66" fmla="*/ 118 w 1544"/>
                  <a:gd name="T67" fmla="*/ 78 h 1324"/>
                  <a:gd name="T68" fmla="*/ 470 w 1544"/>
                  <a:gd name="T69" fmla="*/ 40 h 1324"/>
                  <a:gd name="T70" fmla="*/ 577 w 1544"/>
                  <a:gd name="T71" fmla="*/ 92 h 1324"/>
                  <a:gd name="T72" fmla="*/ 752 w 1544"/>
                  <a:gd name="T73" fmla="*/ 80 h 1324"/>
                  <a:gd name="T74" fmla="*/ 927 w 1544"/>
                  <a:gd name="T75" fmla="*/ 68 h 1324"/>
                  <a:gd name="T76" fmla="*/ 1000 w 1544"/>
                  <a:gd name="T77" fmla="*/ 96 h 1324"/>
                  <a:gd name="T78" fmla="*/ 1019 w 1544"/>
                  <a:gd name="T79" fmla="*/ 37 h 1324"/>
                  <a:gd name="T80" fmla="*/ 1042 w 1544"/>
                  <a:gd name="T81" fmla="*/ 2 h 1324"/>
                  <a:gd name="T82" fmla="*/ 499 w 1544"/>
                  <a:gd name="T83" fmla="*/ 328 h 1324"/>
                  <a:gd name="T84" fmla="*/ 1480 w 1544"/>
                  <a:gd name="T85" fmla="*/ 690 h 1324"/>
                  <a:gd name="T86" fmla="*/ 1432 w 1544"/>
                  <a:gd name="T87" fmla="*/ 612 h 1324"/>
                  <a:gd name="T88" fmla="*/ 1135 w 1544"/>
                  <a:gd name="T89" fmla="*/ 881 h 1324"/>
                  <a:gd name="T90" fmla="*/ 1123 w 1544"/>
                  <a:gd name="T91" fmla="*/ 907 h 1324"/>
                  <a:gd name="T92" fmla="*/ 1492 w 1544"/>
                  <a:gd name="T93" fmla="*/ 1186 h 1324"/>
                  <a:gd name="T94" fmla="*/ 1532 w 1544"/>
                  <a:gd name="T95" fmla="*/ 1104 h 1324"/>
                  <a:gd name="T96" fmla="*/ 1482 w 1544"/>
                  <a:gd name="T97" fmla="*/ 1201 h 1324"/>
                  <a:gd name="T98" fmla="*/ 1454 w 1544"/>
                  <a:gd name="T99" fmla="*/ 1229 h 1324"/>
                  <a:gd name="T100" fmla="*/ 1399 w 1544"/>
                  <a:gd name="T101" fmla="*/ 1260 h 1324"/>
                  <a:gd name="T102" fmla="*/ 1345 w 1544"/>
                  <a:gd name="T103" fmla="*/ 1291 h 1324"/>
                  <a:gd name="T104" fmla="*/ 1352 w 1544"/>
                  <a:gd name="T105" fmla="*/ 1286 h 1324"/>
                  <a:gd name="T106" fmla="*/ 1317 w 1544"/>
                  <a:gd name="T107" fmla="*/ 1300 h 1324"/>
                  <a:gd name="T108" fmla="*/ 1276 w 1544"/>
                  <a:gd name="T109" fmla="*/ 1314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44" h="1324">
                    <a:moveTo>
                      <a:pt x="1113" y="7"/>
                    </a:moveTo>
                    <a:lnTo>
                      <a:pt x="1125" y="23"/>
                    </a:lnTo>
                    <a:lnTo>
                      <a:pt x="1151" y="99"/>
                    </a:lnTo>
                    <a:lnTo>
                      <a:pt x="1163" y="125"/>
                    </a:lnTo>
                    <a:lnTo>
                      <a:pt x="1191" y="196"/>
                    </a:lnTo>
                    <a:lnTo>
                      <a:pt x="1229" y="262"/>
                    </a:lnTo>
                    <a:lnTo>
                      <a:pt x="1281" y="340"/>
                    </a:lnTo>
                    <a:lnTo>
                      <a:pt x="1362" y="435"/>
                    </a:lnTo>
                    <a:lnTo>
                      <a:pt x="1371" y="449"/>
                    </a:lnTo>
                    <a:lnTo>
                      <a:pt x="1366" y="461"/>
                    </a:lnTo>
                    <a:lnTo>
                      <a:pt x="1366" y="475"/>
                    </a:lnTo>
                    <a:lnTo>
                      <a:pt x="1369" y="494"/>
                    </a:lnTo>
                    <a:lnTo>
                      <a:pt x="1373" y="513"/>
                    </a:lnTo>
                    <a:lnTo>
                      <a:pt x="1385" y="536"/>
                    </a:lnTo>
                    <a:lnTo>
                      <a:pt x="1406" y="569"/>
                    </a:lnTo>
                    <a:lnTo>
                      <a:pt x="1397" y="562"/>
                    </a:lnTo>
                    <a:lnTo>
                      <a:pt x="1366" y="515"/>
                    </a:lnTo>
                    <a:lnTo>
                      <a:pt x="1359" y="487"/>
                    </a:lnTo>
                    <a:lnTo>
                      <a:pt x="1354" y="442"/>
                    </a:lnTo>
                    <a:lnTo>
                      <a:pt x="1350" y="444"/>
                    </a:lnTo>
                    <a:lnTo>
                      <a:pt x="1350" y="458"/>
                    </a:lnTo>
                    <a:lnTo>
                      <a:pt x="1350" y="475"/>
                    </a:lnTo>
                    <a:lnTo>
                      <a:pt x="1345" y="482"/>
                    </a:lnTo>
                    <a:lnTo>
                      <a:pt x="1333" y="458"/>
                    </a:lnTo>
                    <a:lnTo>
                      <a:pt x="1333" y="449"/>
                    </a:lnTo>
                    <a:lnTo>
                      <a:pt x="1338" y="435"/>
                    </a:lnTo>
                    <a:lnTo>
                      <a:pt x="1336" y="430"/>
                    </a:lnTo>
                    <a:lnTo>
                      <a:pt x="1321" y="425"/>
                    </a:lnTo>
                    <a:lnTo>
                      <a:pt x="1317" y="413"/>
                    </a:lnTo>
                    <a:lnTo>
                      <a:pt x="1317" y="404"/>
                    </a:lnTo>
                    <a:lnTo>
                      <a:pt x="1310" y="399"/>
                    </a:lnTo>
                    <a:lnTo>
                      <a:pt x="1305" y="401"/>
                    </a:lnTo>
                    <a:lnTo>
                      <a:pt x="1312" y="425"/>
                    </a:lnTo>
                    <a:lnTo>
                      <a:pt x="1319" y="439"/>
                    </a:lnTo>
                    <a:lnTo>
                      <a:pt x="1333" y="477"/>
                    </a:lnTo>
                    <a:lnTo>
                      <a:pt x="1350" y="498"/>
                    </a:lnTo>
                    <a:lnTo>
                      <a:pt x="1359" y="515"/>
                    </a:lnTo>
                    <a:lnTo>
                      <a:pt x="1475" y="706"/>
                    </a:lnTo>
                    <a:lnTo>
                      <a:pt x="1499" y="730"/>
                    </a:lnTo>
                    <a:lnTo>
                      <a:pt x="1508" y="747"/>
                    </a:lnTo>
                    <a:lnTo>
                      <a:pt x="1522" y="787"/>
                    </a:lnTo>
                    <a:lnTo>
                      <a:pt x="1532" y="837"/>
                    </a:lnTo>
                    <a:lnTo>
                      <a:pt x="1536" y="931"/>
                    </a:lnTo>
                    <a:lnTo>
                      <a:pt x="1544" y="995"/>
                    </a:lnTo>
                    <a:lnTo>
                      <a:pt x="1541" y="993"/>
                    </a:lnTo>
                    <a:lnTo>
                      <a:pt x="1539" y="985"/>
                    </a:lnTo>
                    <a:lnTo>
                      <a:pt x="1536" y="985"/>
                    </a:lnTo>
                    <a:lnTo>
                      <a:pt x="1529" y="1016"/>
                    </a:lnTo>
                    <a:lnTo>
                      <a:pt x="1518" y="1047"/>
                    </a:lnTo>
                    <a:lnTo>
                      <a:pt x="1520" y="1087"/>
                    </a:lnTo>
                    <a:lnTo>
                      <a:pt x="1518" y="1108"/>
                    </a:lnTo>
                    <a:lnTo>
                      <a:pt x="1496" y="1134"/>
                    </a:lnTo>
                    <a:lnTo>
                      <a:pt x="1482" y="1137"/>
                    </a:lnTo>
                    <a:lnTo>
                      <a:pt x="1451" y="1158"/>
                    </a:lnTo>
                    <a:lnTo>
                      <a:pt x="1425" y="1158"/>
                    </a:lnTo>
                    <a:lnTo>
                      <a:pt x="1399" y="1172"/>
                    </a:lnTo>
                    <a:lnTo>
                      <a:pt x="1380" y="1175"/>
                    </a:lnTo>
                    <a:lnTo>
                      <a:pt x="1366" y="1158"/>
                    </a:lnTo>
                    <a:lnTo>
                      <a:pt x="1366" y="1149"/>
                    </a:lnTo>
                    <a:lnTo>
                      <a:pt x="1369" y="1139"/>
                    </a:lnTo>
                    <a:lnTo>
                      <a:pt x="1376" y="1134"/>
                    </a:lnTo>
                    <a:lnTo>
                      <a:pt x="1404" y="1151"/>
                    </a:lnTo>
                    <a:lnTo>
                      <a:pt x="1409" y="1142"/>
                    </a:lnTo>
                    <a:lnTo>
                      <a:pt x="1399" y="1134"/>
                    </a:lnTo>
                    <a:lnTo>
                      <a:pt x="1383" y="1130"/>
                    </a:lnTo>
                    <a:lnTo>
                      <a:pt x="1371" y="1125"/>
                    </a:lnTo>
                    <a:lnTo>
                      <a:pt x="1343" y="1082"/>
                    </a:lnTo>
                    <a:lnTo>
                      <a:pt x="1314" y="1056"/>
                    </a:lnTo>
                    <a:lnTo>
                      <a:pt x="1307" y="1035"/>
                    </a:lnTo>
                    <a:lnTo>
                      <a:pt x="1265" y="1028"/>
                    </a:lnTo>
                    <a:lnTo>
                      <a:pt x="1234" y="1014"/>
                    </a:lnTo>
                    <a:lnTo>
                      <a:pt x="1210" y="983"/>
                    </a:lnTo>
                    <a:lnTo>
                      <a:pt x="1189" y="922"/>
                    </a:lnTo>
                    <a:lnTo>
                      <a:pt x="1177" y="917"/>
                    </a:lnTo>
                    <a:lnTo>
                      <a:pt x="1170" y="915"/>
                    </a:lnTo>
                    <a:lnTo>
                      <a:pt x="1180" y="889"/>
                    </a:lnTo>
                    <a:lnTo>
                      <a:pt x="1189" y="867"/>
                    </a:lnTo>
                    <a:lnTo>
                      <a:pt x="1180" y="874"/>
                    </a:lnTo>
                    <a:lnTo>
                      <a:pt x="1172" y="881"/>
                    </a:lnTo>
                    <a:lnTo>
                      <a:pt x="1165" y="900"/>
                    </a:lnTo>
                    <a:lnTo>
                      <a:pt x="1161" y="905"/>
                    </a:lnTo>
                    <a:lnTo>
                      <a:pt x="1154" y="903"/>
                    </a:lnTo>
                    <a:lnTo>
                      <a:pt x="1142" y="872"/>
                    </a:lnTo>
                    <a:lnTo>
                      <a:pt x="1137" y="832"/>
                    </a:lnTo>
                    <a:lnTo>
                      <a:pt x="1144" y="815"/>
                    </a:lnTo>
                    <a:lnTo>
                      <a:pt x="1130" y="818"/>
                    </a:lnTo>
                    <a:lnTo>
                      <a:pt x="1113" y="825"/>
                    </a:lnTo>
                    <a:lnTo>
                      <a:pt x="1118" y="839"/>
                    </a:lnTo>
                    <a:lnTo>
                      <a:pt x="1116" y="846"/>
                    </a:lnTo>
                    <a:lnTo>
                      <a:pt x="1104" y="846"/>
                    </a:lnTo>
                    <a:lnTo>
                      <a:pt x="1094" y="844"/>
                    </a:lnTo>
                    <a:lnTo>
                      <a:pt x="1080" y="832"/>
                    </a:lnTo>
                    <a:lnTo>
                      <a:pt x="1061" y="808"/>
                    </a:lnTo>
                    <a:lnTo>
                      <a:pt x="1016" y="740"/>
                    </a:lnTo>
                    <a:lnTo>
                      <a:pt x="1007" y="730"/>
                    </a:lnTo>
                    <a:lnTo>
                      <a:pt x="995" y="721"/>
                    </a:lnTo>
                    <a:lnTo>
                      <a:pt x="1000" y="718"/>
                    </a:lnTo>
                    <a:lnTo>
                      <a:pt x="1009" y="714"/>
                    </a:lnTo>
                    <a:lnTo>
                      <a:pt x="1026" y="678"/>
                    </a:lnTo>
                    <a:lnTo>
                      <a:pt x="1040" y="657"/>
                    </a:lnTo>
                    <a:lnTo>
                      <a:pt x="1042" y="643"/>
                    </a:lnTo>
                    <a:lnTo>
                      <a:pt x="1042" y="636"/>
                    </a:lnTo>
                    <a:lnTo>
                      <a:pt x="1033" y="628"/>
                    </a:lnTo>
                    <a:lnTo>
                      <a:pt x="1024" y="638"/>
                    </a:lnTo>
                    <a:lnTo>
                      <a:pt x="1019" y="636"/>
                    </a:lnTo>
                    <a:lnTo>
                      <a:pt x="1005" y="621"/>
                    </a:lnTo>
                    <a:lnTo>
                      <a:pt x="995" y="617"/>
                    </a:lnTo>
                    <a:lnTo>
                      <a:pt x="988" y="621"/>
                    </a:lnTo>
                    <a:lnTo>
                      <a:pt x="998" y="636"/>
                    </a:lnTo>
                    <a:lnTo>
                      <a:pt x="1005" y="640"/>
                    </a:lnTo>
                    <a:lnTo>
                      <a:pt x="1005" y="659"/>
                    </a:lnTo>
                    <a:lnTo>
                      <a:pt x="1005" y="666"/>
                    </a:lnTo>
                    <a:lnTo>
                      <a:pt x="998" y="673"/>
                    </a:lnTo>
                    <a:lnTo>
                      <a:pt x="988" y="671"/>
                    </a:lnTo>
                    <a:lnTo>
                      <a:pt x="983" y="678"/>
                    </a:lnTo>
                    <a:lnTo>
                      <a:pt x="976" y="673"/>
                    </a:lnTo>
                    <a:lnTo>
                      <a:pt x="969" y="666"/>
                    </a:lnTo>
                    <a:lnTo>
                      <a:pt x="960" y="652"/>
                    </a:lnTo>
                    <a:lnTo>
                      <a:pt x="964" y="567"/>
                    </a:lnTo>
                    <a:lnTo>
                      <a:pt x="974" y="513"/>
                    </a:lnTo>
                    <a:lnTo>
                      <a:pt x="967" y="451"/>
                    </a:lnTo>
                    <a:lnTo>
                      <a:pt x="967" y="442"/>
                    </a:lnTo>
                    <a:lnTo>
                      <a:pt x="962" y="427"/>
                    </a:lnTo>
                    <a:lnTo>
                      <a:pt x="936" y="394"/>
                    </a:lnTo>
                    <a:lnTo>
                      <a:pt x="827" y="326"/>
                    </a:lnTo>
                    <a:lnTo>
                      <a:pt x="740" y="236"/>
                    </a:lnTo>
                    <a:lnTo>
                      <a:pt x="671" y="205"/>
                    </a:lnTo>
                    <a:lnTo>
                      <a:pt x="624" y="222"/>
                    </a:lnTo>
                    <a:lnTo>
                      <a:pt x="615" y="229"/>
                    </a:lnTo>
                    <a:lnTo>
                      <a:pt x="612" y="241"/>
                    </a:lnTo>
                    <a:lnTo>
                      <a:pt x="617" y="250"/>
                    </a:lnTo>
                    <a:lnTo>
                      <a:pt x="615" y="255"/>
                    </a:lnTo>
                    <a:lnTo>
                      <a:pt x="600" y="257"/>
                    </a:lnTo>
                    <a:lnTo>
                      <a:pt x="584" y="262"/>
                    </a:lnTo>
                    <a:lnTo>
                      <a:pt x="541" y="293"/>
                    </a:lnTo>
                    <a:lnTo>
                      <a:pt x="525" y="295"/>
                    </a:lnTo>
                    <a:lnTo>
                      <a:pt x="511" y="305"/>
                    </a:lnTo>
                    <a:lnTo>
                      <a:pt x="501" y="309"/>
                    </a:lnTo>
                    <a:lnTo>
                      <a:pt x="470" y="316"/>
                    </a:lnTo>
                    <a:lnTo>
                      <a:pt x="447" y="326"/>
                    </a:lnTo>
                    <a:lnTo>
                      <a:pt x="437" y="323"/>
                    </a:lnTo>
                    <a:lnTo>
                      <a:pt x="428" y="309"/>
                    </a:lnTo>
                    <a:lnTo>
                      <a:pt x="425" y="293"/>
                    </a:lnTo>
                    <a:lnTo>
                      <a:pt x="433" y="305"/>
                    </a:lnTo>
                    <a:lnTo>
                      <a:pt x="442" y="312"/>
                    </a:lnTo>
                    <a:lnTo>
                      <a:pt x="447" y="309"/>
                    </a:lnTo>
                    <a:lnTo>
                      <a:pt x="447" y="300"/>
                    </a:lnTo>
                    <a:lnTo>
                      <a:pt x="437" y="283"/>
                    </a:lnTo>
                    <a:lnTo>
                      <a:pt x="407" y="267"/>
                    </a:lnTo>
                    <a:lnTo>
                      <a:pt x="371" y="238"/>
                    </a:lnTo>
                    <a:lnTo>
                      <a:pt x="381" y="238"/>
                    </a:lnTo>
                    <a:lnTo>
                      <a:pt x="383" y="231"/>
                    </a:lnTo>
                    <a:lnTo>
                      <a:pt x="371" y="224"/>
                    </a:lnTo>
                    <a:lnTo>
                      <a:pt x="373" y="215"/>
                    </a:lnTo>
                    <a:lnTo>
                      <a:pt x="381" y="203"/>
                    </a:lnTo>
                    <a:lnTo>
                      <a:pt x="366" y="205"/>
                    </a:lnTo>
                    <a:lnTo>
                      <a:pt x="357" y="215"/>
                    </a:lnTo>
                    <a:lnTo>
                      <a:pt x="357" y="224"/>
                    </a:lnTo>
                    <a:lnTo>
                      <a:pt x="355" y="231"/>
                    </a:lnTo>
                    <a:lnTo>
                      <a:pt x="350" y="231"/>
                    </a:lnTo>
                    <a:lnTo>
                      <a:pt x="336" y="224"/>
                    </a:lnTo>
                    <a:lnTo>
                      <a:pt x="274" y="205"/>
                    </a:lnTo>
                    <a:lnTo>
                      <a:pt x="222" y="196"/>
                    </a:lnTo>
                    <a:lnTo>
                      <a:pt x="260" y="186"/>
                    </a:lnTo>
                    <a:lnTo>
                      <a:pt x="281" y="189"/>
                    </a:lnTo>
                    <a:lnTo>
                      <a:pt x="279" y="182"/>
                    </a:lnTo>
                    <a:lnTo>
                      <a:pt x="274" y="177"/>
                    </a:lnTo>
                    <a:lnTo>
                      <a:pt x="255" y="172"/>
                    </a:lnTo>
                    <a:lnTo>
                      <a:pt x="234" y="177"/>
                    </a:lnTo>
                    <a:lnTo>
                      <a:pt x="220" y="177"/>
                    </a:lnTo>
                    <a:lnTo>
                      <a:pt x="208" y="184"/>
                    </a:lnTo>
                    <a:lnTo>
                      <a:pt x="194" y="193"/>
                    </a:lnTo>
                    <a:lnTo>
                      <a:pt x="180" y="200"/>
                    </a:lnTo>
                    <a:lnTo>
                      <a:pt x="128" y="212"/>
                    </a:lnTo>
                    <a:lnTo>
                      <a:pt x="87" y="222"/>
                    </a:lnTo>
                    <a:lnTo>
                      <a:pt x="92" y="215"/>
                    </a:lnTo>
                    <a:lnTo>
                      <a:pt x="99" y="210"/>
                    </a:lnTo>
                    <a:lnTo>
                      <a:pt x="123" y="200"/>
                    </a:lnTo>
                    <a:lnTo>
                      <a:pt x="125" y="184"/>
                    </a:lnTo>
                    <a:lnTo>
                      <a:pt x="118" y="170"/>
                    </a:lnTo>
                    <a:lnTo>
                      <a:pt x="113" y="174"/>
                    </a:lnTo>
                    <a:lnTo>
                      <a:pt x="106" y="186"/>
                    </a:lnTo>
                    <a:lnTo>
                      <a:pt x="97" y="179"/>
                    </a:lnTo>
                    <a:lnTo>
                      <a:pt x="87" y="179"/>
                    </a:lnTo>
                    <a:lnTo>
                      <a:pt x="87" y="198"/>
                    </a:lnTo>
                    <a:lnTo>
                      <a:pt x="76" y="212"/>
                    </a:lnTo>
                    <a:lnTo>
                      <a:pt x="71" y="224"/>
                    </a:lnTo>
                    <a:lnTo>
                      <a:pt x="38" y="238"/>
                    </a:lnTo>
                    <a:lnTo>
                      <a:pt x="33" y="234"/>
                    </a:lnTo>
                    <a:lnTo>
                      <a:pt x="43" y="222"/>
                    </a:lnTo>
                    <a:lnTo>
                      <a:pt x="40" y="215"/>
                    </a:lnTo>
                    <a:lnTo>
                      <a:pt x="33" y="219"/>
                    </a:lnTo>
                    <a:lnTo>
                      <a:pt x="33" y="212"/>
                    </a:lnTo>
                    <a:lnTo>
                      <a:pt x="40" y="205"/>
                    </a:lnTo>
                    <a:lnTo>
                      <a:pt x="43" y="198"/>
                    </a:lnTo>
                    <a:lnTo>
                      <a:pt x="40" y="184"/>
                    </a:lnTo>
                    <a:lnTo>
                      <a:pt x="43" y="163"/>
                    </a:lnTo>
                    <a:lnTo>
                      <a:pt x="40" y="156"/>
                    </a:lnTo>
                    <a:lnTo>
                      <a:pt x="9" y="132"/>
                    </a:lnTo>
                    <a:lnTo>
                      <a:pt x="2" y="120"/>
                    </a:lnTo>
                    <a:lnTo>
                      <a:pt x="0" y="106"/>
                    </a:lnTo>
                    <a:lnTo>
                      <a:pt x="2" y="89"/>
                    </a:lnTo>
                    <a:lnTo>
                      <a:pt x="59" y="85"/>
                    </a:lnTo>
                    <a:lnTo>
                      <a:pt x="118" y="78"/>
                    </a:lnTo>
                    <a:lnTo>
                      <a:pt x="177" y="73"/>
                    </a:lnTo>
                    <a:lnTo>
                      <a:pt x="236" y="66"/>
                    </a:lnTo>
                    <a:lnTo>
                      <a:pt x="295" y="61"/>
                    </a:lnTo>
                    <a:lnTo>
                      <a:pt x="355" y="54"/>
                    </a:lnTo>
                    <a:lnTo>
                      <a:pt x="411" y="47"/>
                    </a:lnTo>
                    <a:lnTo>
                      <a:pt x="470" y="40"/>
                    </a:lnTo>
                    <a:lnTo>
                      <a:pt x="480" y="56"/>
                    </a:lnTo>
                    <a:lnTo>
                      <a:pt x="499" y="87"/>
                    </a:lnTo>
                    <a:lnTo>
                      <a:pt x="501" y="96"/>
                    </a:lnTo>
                    <a:lnTo>
                      <a:pt x="518" y="94"/>
                    </a:lnTo>
                    <a:lnTo>
                      <a:pt x="546" y="94"/>
                    </a:lnTo>
                    <a:lnTo>
                      <a:pt x="577" y="92"/>
                    </a:lnTo>
                    <a:lnTo>
                      <a:pt x="605" y="89"/>
                    </a:lnTo>
                    <a:lnTo>
                      <a:pt x="634" y="87"/>
                    </a:lnTo>
                    <a:lnTo>
                      <a:pt x="664" y="87"/>
                    </a:lnTo>
                    <a:lnTo>
                      <a:pt x="693" y="85"/>
                    </a:lnTo>
                    <a:lnTo>
                      <a:pt x="721" y="82"/>
                    </a:lnTo>
                    <a:lnTo>
                      <a:pt x="752" y="80"/>
                    </a:lnTo>
                    <a:lnTo>
                      <a:pt x="780" y="78"/>
                    </a:lnTo>
                    <a:lnTo>
                      <a:pt x="811" y="75"/>
                    </a:lnTo>
                    <a:lnTo>
                      <a:pt x="839" y="73"/>
                    </a:lnTo>
                    <a:lnTo>
                      <a:pt x="868" y="73"/>
                    </a:lnTo>
                    <a:lnTo>
                      <a:pt x="898" y="70"/>
                    </a:lnTo>
                    <a:lnTo>
                      <a:pt x="927" y="68"/>
                    </a:lnTo>
                    <a:lnTo>
                      <a:pt x="955" y="66"/>
                    </a:lnTo>
                    <a:lnTo>
                      <a:pt x="986" y="63"/>
                    </a:lnTo>
                    <a:lnTo>
                      <a:pt x="986" y="68"/>
                    </a:lnTo>
                    <a:lnTo>
                      <a:pt x="993" y="80"/>
                    </a:lnTo>
                    <a:lnTo>
                      <a:pt x="995" y="92"/>
                    </a:lnTo>
                    <a:lnTo>
                      <a:pt x="1000" y="96"/>
                    </a:lnTo>
                    <a:lnTo>
                      <a:pt x="1005" y="99"/>
                    </a:lnTo>
                    <a:lnTo>
                      <a:pt x="1014" y="99"/>
                    </a:lnTo>
                    <a:lnTo>
                      <a:pt x="1024" y="92"/>
                    </a:lnTo>
                    <a:lnTo>
                      <a:pt x="1026" y="75"/>
                    </a:lnTo>
                    <a:lnTo>
                      <a:pt x="1026" y="56"/>
                    </a:lnTo>
                    <a:lnTo>
                      <a:pt x="1019" y="37"/>
                    </a:lnTo>
                    <a:lnTo>
                      <a:pt x="1016" y="21"/>
                    </a:lnTo>
                    <a:lnTo>
                      <a:pt x="1019" y="11"/>
                    </a:lnTo>
                    <a:lnTo>
                      <a:pt x="1024" y="9"/>
                    </a:lnTo>
                    <a:lnTo>
                      <a:pt x="1028" y="2"/>
                    </a:lnTo>
                    <a:lnTo>
                      <a:pt x="1033" y="0"/>
                    </a:lnTo>
                    <a:lnTo>
                      <a:pt x="1042" y="2"/>
                    </a:lnTo>
                    <a:lnTo>
                      <a:pt x="1083" y="9"/>
                    </a:lnTo>
                    <a:lnTo>
                      <a:pt x="1113" y="7"/>
                    </a:lnTo>
                    <a:close/>
                    <a:moveTo>
                      <a:pt x="525" y="323"/>
                    </a:moveTo>
                    <a:lnTo>
                      <a:pt x="508" y="333"/>
                    </a:lnTo>
                    <a:lnTo>
                      <a:pt x="487" y="331"/>
                    </a:lnTo>
                    <a:lnTo>
                      <a:pt x="499" y="328"/>
                    </a:lnTo>
                    <a:lnTo>
                      <a:pt x="508" y="328"/>
                    </a:lnTo>
                    <a:lnTo>
                      <a:pt x="529" y="316"/>
                    </a:lnTo>
                    <a:lnTo>
                      <a:pt x="541" y="305"/>
                    </a:lnTo>
                    <a:lnTo>
                      <a:pt x="553" y="300"/>
                    </a:lnTo>
                    <a:lnTo>
                      <a:pt x="525" y="323"/>
                    </a:lnTo>
                    <a:close/>
                    <a:moveTo>
                      <a:pt x="1480" y="690"/>
                    </a:moveTo>
                    <a:lnTo>
                      <a:pt x="1484" y="706"/>
                    </a:lnTo>
                    <a:lnTo>
                      <a:pt x="1461" y="673"/>
                    </a:lnTo>
                    <a:lnTo>
                      <a:pt x="1430" y="619"/>
                    </a:lnTo>
                    <a:lnTo>
                      <a:pt x="1411" y="579"/>
                    </a:lnTo>
                    <a:lnTo>
                      <a:pt x="1421" y="588"/>
                    </a:lnTo>
                    <a:lnTo>
                      <a:pt x="1432" y="612"/>
                    </a:lnTo>
                    <a:lnTo>
                      <a:pt x="1480" y="690"/>
                    </a:lnTo>
                    <a:close/>
                    <a:moveTo>
                      <a:pt x="1144" y="903"/>
                    </a:moveTo>
                    <a:lnTo>
                      <a:pt x="1146" y="917"/>
                    </a:lnTo>
                    <a:lnTo>
                      <a:pt x="1132" y="898"/>
                    </a:lnTo>
                    <a:lnTo>
                      <a:pt x="1123" y="874"/>
                    </a:lnTo>
                    <a:lnTo>
                      <a:pt x="1135" y="881"/>
                    </a:lnTo>
                    <a:lnTo>
                      <a:pt x="1144" y="903"/>
                    </a:lnTo>
                    <a:close/>
                    <a:moveTo>
                      <a:pt x="1156" y="924"/>
                    </a:moveTo>
                    <a:lnTo>
                      <a:pt x="1151" y="931"/>
                    </a:lnTo>
                    <a:lnTo>
                      <a:pt x="1137" y="929"/>
                    </a:lnTo>
                    <a:lnTo>
                      <a:pt x="1128" y="922"/>
                    </a:lnTo>
                    <a:lnTo>
                      <a:pt x="1123" y="907"/>
                    </a:lnTo>
                    <a:lnTo>
                      <a:pt x="1137" y="922"/>
                    </a:lnTo>
                    <a:lnTo>
                      <a:pt x="1142" y="924"/>
                    </a:lnTo>
                    <a:lnTo>
                      <a:pt x="1156" y="924"/>
                    </a:lnTo>
                    <a:close/>
                    <a:moveTo>
                      <a:pt x="1520" y="1149"/>
                    </a:moveTo>
                    <a:lnTo>
                      <a:pt x="1489" y="1196"/>
                    </a:lnTo>
                    <a:lnTo>
                      <a:pt x="1492" y="1186"/>
                    </a:lnTo>
                    <a:lnTo>
                      <a:pt x="1503" y="1160"/>
                    </a:lnTo>
                    <a:lnTo>
                      <a:pt x="1506" y="1151"/>
                    </a:lnTo>
                    <a:lnTo>
                      <a:pt x="1515" y="1142"/>
                    </a:lnTo>
                    <a:lnTo>
                      <a:pt x="1522" y="1130"/>
                    </a:lnTo>
                    <a:lnTo>
                      <a:pt x="1520" y="1116"/>
                    </a:lnTo>
                    <a:lnTo>
                      <a:pt x="1532" y="1104"/>
                    </a:lnTo>
                    <a:lnTo>
                      <a:pt x="1536" y="1101"/>
                    </a:lnTo>
                    <a:lnTo>
                      <a:pt x="1520" y="1149"/>
                    </a:lnTo>
                    <a:close/>
                    <a:moveTo>
                      <a:pt x="1480" y="1210"/>
                    </a:moveTo>
                    <a:lnTo>
                      <a:pt x="1475" y="1210"/>
                    </a:lnTo>
                    <a:lnTo>
                      <a:pt x="1480" y="1201"/>
                    </a:lnTo>
                    <a:lnTo>
                      <a:pt x="1482" y="1201"/>
                    </a:lnTo>
                    <a:lnTo>
                      <a:pt x="1480" y="1210"/>
                    </a:lnTo>
                    <a:close/>
                    <a:moveTo>
                      <a:pt x="1447" y="1236"/>
                    </a:moveTo>
                    <a:lnTo>
                      <a:pt x="1442" y="1236"/>
                    </a:lnTo>
                    <a:lnTo>
                      <a:pt x="1444" y="1234"/>
                    </a:lnTo>
                    <a:lnTo>
                      <a:pt x="1451" y="1227"/>
                    </a:lnTo>
                    <a:lnTo>
                      <a:pt x="1454" y="1229"/>
                    </a:lnTo>
                    <a:lnTo>
                      <a:pt x="1454" y="1231"/>
                    </a:lnTo>
                    <a:lnTo>
                      <a:pt x="1447" y="1236"/>
                    </a:lnTo>
                    <a:close/>
                    <a:moveTo>
                      <a:pt x="1406" y="1262"/>
                    </a:moveTo>
                    <a:lnTo>
                      <a:pt x="1399" y="1269"/>
                    </a:lnTo>
                    <a:lnTo>
                      <a:pt x="1390" y="1267"/>
                    </a:lnTo>
                    <a:lnTo>
                      <a:pt x="1399" y="1260"/>
                    </a:lnTo>
                    <a:lnTo>
                      <a:pt x="1428" y="1250"/>
                    </a:lnTo>
                    <a:lnTo>
                      <a:pt x="1418" y="1257"/>
                    </a:lnTo>
                    <a:lnTo>
                      <a:pt x="1406" y="1262"/>
                    </a:lnTo>
                    <a:close/>
                    <a:moveTo>
                      <a:pt x="1352" y="1286"/>
                    </a:moveTo>
                    <a:lnTo>
                      <a:pt x="1347" y="1291"/>
                    </a:lnTo>
                    <a:lnTo>
                      <a:pt x="1345" y="1291"/>
                    </a:lnTo>
                    <a:lnTo>
                      <a:pt x="1345" y="1283"/>
                    </a:lnTo>
                    <a:lnTo>
                      <a:pt x="1333" y="1272"/>
                    </a:lnTo>
                    <a:lnTo>
                      <a:pt x="1333" y="1267"/>
                    </a:lnTo>
                    <a:lnTo>
                      <a:pt x="1354" y="1279"/>
                    </a:lnTo>
                    <a:lnTo>
                      <a:pt x="1354" y="1281"/>
                    </a:lnTo>
                    <a:lnTo>
                      <a:pt x="1352" y="1286"/>
                    </a:lnTo>
                    <a:close/>
                    <a:moveTo>
                      <a:pt x="1310" y="1305"/>
                    </a:moveTo>
                    <a:lnTo>
                      <a:pt x="1298" y="1307"/>
                    </a:lnTo>
                    <a:lnTo>
                      <a:pt x="1307" y="1298"/>
                    </a:lnTo>
                    <a:lnTo>
                      <a:pt x="1307" y="1283"/>
                    </a:lnTo>
                    <a:lnTo>
                      <a:pt x="1314" y="1293"/>
                    </a:lnTo>
                    <a:lnTo>
                      <a:pt x="1317" y="1300"/>
                    </a:lnTo>
                    <a:lnTo>
                      <a:pt x="1310" y="1305"/>
                    </a:lnTo>
                    <a:close/>
                    <a:moveTo>
                      <a:pt x="1269" y="1321"/>
                    </a:moveTo>
                    <a:lnTo>
                      <a:pt x="1265" y="1324"/>
                    </a:lnTo>
                    <a:lnTo>
                      <a:pt x="1262" y="1321"/>
                    </a:lnTo>
                    <a:lnTo>
                      <a:pt x="1272" y="1314"/>
                    </a:lnTo>
                    <a:lnTo>
                      <a:pt x="1276" y="1314"/>
                    </a:lnTo>
                    <a:lnTo>
                      <a:pt x="1276" y="1319"/>
                    </a:lnTo>
                    <a:lnTo>
                      <a:pt x="1269" y="1321"/>
                    </a:lnTo>
                    <a:close/>
                  </a:path>
                </a:pathLst>
              </a:custGeom>
              <a:solidFill>
                <a:schemeClr val="accent2"/>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5" name="Freeform 52">
                <a:extLst>
                  <a:ext uri="{FF2B5EF4-FFF2-40B4-BE49-F238E27FC236}">
                    <a16:creationId xmlns:a16="http://schemas.microsoft.com/office/drawing/2014/main" id="{F9BC0AAF-495A-7B6A-847B-5353C673A7CD}"/>
                  </a:ext>
                </a:extLst>
              </p:cNvPr>
              <p:cNvSpPr>
                <a:spLocks noEditPoints="1"/>
              </p:cNvSpPr>
              <p:nvPr/>
            </p:nvSpPr>
            <p:spPr bwMode="auto">
              <a:xfrm>
                <a:off x="6503" y="2003"/>
                <a:ext cx="917" cy="941"/>
              </a:xfrm>
              <a:custGeom>
                <a:avLst/>
                <a:gdLst>
                  <a:gd name="T0" fmla="*/ 891 w 917"/>
                  <a:gd name="T1" fmla="*/ 593 h 941"/>
                  <a:gd name="T2" fmla="*/ 884 w 917"/>
                  <a:gd name="T3" fmla="*/ 605 h 941"/>
                  <a:gd name="T4" fmla="*/ 886 w 917"/>
                  <a:gd name="T5" fmla="*/ 624 h 941"/>
                  <a:gd name="T6" fmla="*/ 874 w 917"/>
                  <a:gd name="T7" fmla="*/ 643 h 941"/>
                  <a:gd name="T8" fmla="*/ 867 w 917"/>
                  <a:gd name="T9" fmla="*/ 664 h 941"/>
                  <a:gd name="T10" fmla="*/ 877 w 917"/>
                  <a:gd name="T11" fmla="*/ 671 h 941"/>
                  <a:gd name="T12" fmla="*/ 870 w 917"/>
                  <a:gd name="T13" fmla="*/ 695 h 941"/>
                  <a:gd name="T14" fmla="*/ 851 w 917"/>
                  <a:gd name="T15" fmla="*/ 719 h 941"/>
                  <a:gd name="T16" fmla="*/ 858 w 917"/>
                  <a:gd name="T17" fmla="*/ 752 h 941"/>
                  <a:gd name="T18" fmla="*/ 844 w 917"/>
                  <a:gd name="T19" fmla="*/ 763 h 941"/>
                  <a:gd name="T20" fmla="*/ 844 w 917"/>
                  <a:gd name="T21" fmla="*/ 811 h 941"/>
                  <a:gd name="T22" fmla="*/ 848 w 917"/>
                  <a:gd name="T23" fmla="*/ 849 h 941"/>
                  <a:gd name="T24" fmla="*/ 768 w 917"/>
                  <a:gd name="T25" fmla="*/ 842 h 941"/>
                  <a:gd name="T26" fmla="*/ 756 w 917"/>
                  <a:gd name="T27" fmla="*/ 853 h 941"/>
                  <a:gd name="T28" fmla="*/ 761 w 917"/>
                  <a:gd name="T29" fmla="*/ 898 h 941"/>
                  <a:gd name="T30" fmla="*/ 751 w 917"/>
                  <a:gd name="T31" fmla="*/ 941 h 941"/>
                  <a:gd name="T32" fmla="*/ 733 w 917"/>
                  <a:gd name="T33" fmla="*/ 934 h 941"/>
                  <a:gd name="T34" fmla="*/ 721 w 917"/>
                  <a:gd name="T35" fmla="*/ 905 h 941"/>
                  <a:gd name="T36" fmla="*/ 633 w 917"/>
                  <a:gd name="T37" fmla="*/ 912 h 941"/>
                  <a:gd name="T38" fmla="*/ 546 w 917"/>
                  <a:gd name="T39" fmla="*/ 917 h 941"/>
                  <a:gd name="T40" fmla="*/ 458 w 917"/>
                  <a:gd name="T41" fmla="*/ 924 h 941"/>
                  <a:gd name="T42" fmla="*/ 371 w 917"/>
                  <a:gd name="T43" fmla="*/ 929 h 941"/>
                  <a:gd name="T44" fmla="*/ 283 w 917"/>
                  <a:gd name="T45" fmla="*/ 936 h 941"/>
                  <a:gd name="T46" fmla="*/ 234 w 917"/>
                  <a:gd name="T47" fmla="*/ 929 h 941"/>
                  <a:gd name="T48" fmla="*/ 194 w 917"/>
                  <a:gd name="T49" fmla="*/ 858 h 941"/>
                  <a:gd name="T50" fmla="*/ 179 w 917"/>
                  <a:gd name="T51" fmla="*/ 749 h 941"/>
                  <a:gd name="T52" fmla="*/ 163 w 917"/>
                  <a:gd name="T53" fmla="*/ 700 h 941"/>
                  <a:gd name="T54" fmla="*/ 172 w 917"/>
                  <a:gd name="T55" fmla="*/ 641 h 941"/>
                  <a:gd name="T56" fmla="*/ 189 w 917"/>
                  <a:gd name="T57" fmla="*/ 610 h 941"/>
                  <a:gd name="T58" fmla="*/ 177 w 917"/>
                  <a:gd name="T59" fmla="*/ 586 h 941"/>
                  <a:gd name="T60" fmla="*/ 130 w 917"/>
                  <a:gd name="T61" fmla="*/ 487 h 941"/>
                  <a:gd name="T62" fmla="*/ 106 w 917"/>
                  <a:gd name="T63" fmla="*/ 423 h 941"/>
                  <a:gd name="T64" fmla="*/ 82 w 917"/>
                  <a:gd name="T65" fmla="*/ 345 h 941"/>
                  <a:gd name="T66" fmla="*/ 61 w 917"/>
                  <a:gd name="T67" fmla="*/ 265 h 941"/>
                  <a:gd name="T68" fmla="*/ 38 w 917"/>
                  <a:gd name="T69" fmla="*/ 187 h 941"/>
                  <a:gd name="T70" fmla="*/ 14 w 917"/>
                  <a:gd name="T71" fmla="*/ 109 h 941"/>
                  <a:gd name="T72" fmla="*/ 54 w 917"/>
                  <a:gd name="T73" fmla="*/ 49 h 941"/>
                  <a:gd name="T74" fmla="*/ 222 w 917"/>
                  <a:gd name="T75" fmla="*/ 30 h 941"/>
                  <a:gd name="T76" fmla="*/ 378 w 917"/>
                  <a:gd name="T77" fmla="*/ 9 h 941"/>
                  <a:gd name="T78" fmla="*/ 423 w 917"/>
                  <a:gd name="T79" fmla="*/ 16 h 941"/>
                  <a:gd name="T80" fmla="*/ 432 w 917"/>
                  <a:gd name="T81" fmla="*/ 85 h 941"/>
                  <a:gd name="T82" fmla="*/ 470 w 917"/>
                  <a:gd name="T83" fmla="*/ 106 h 941"/>
                  <a:gd name="T84" fmla="*/ 501 w 917"/>
                  <a:gd name="T85" fmla="*/ 125 h 941"/>
                  <a:gd name="T86" fmla="*/ 551 w 917"/>
                  <a:gd name="T87" fmla="*/ 194 h 941"/>
                  <a:gd name="T88" fmla="*/ 629 w 917"/>
                  <a:gd name="T89" fmla="*/ 255 h 941"/>
                  <a:gd name="T90" fmla="*/ 685 w 917"/>
                  <a:gd name="T91" fmla="*/ 305 h 941"/>
                  <a:gd name="T92" fmla="*/ 709 w 917"/>
                  <a:gd name="T93" fmla="*/ 326 h 941"/>
                  <a:gd name="T94" fmla="*/ 759 w 917"/>
                  <a:gd name="T95" fmla="*/ 364 h 941"/>
                  <a:gd name="T96" fmla="*/ 808 w 917"/>
                  <a:gd name="T97" fmla="*/ 454 h 941"/>
                  <a:gd name="T98" fmla="*/ 863 w 917"/>
                  <a:gd name="T99" fmla="*/ 515 h 941"/>
                  <a:gd name="T100" fmla="*/ 917 w 917"/>
                  <a:gd name="T101" fmla="*/ 558 h 941"/>
                  <a:gd name="T102" fmla="*/ 851 w 917"/>
                  <a:gd name="T103" fmla="*/ 830 h 941"/>
                  <a:gd name="T104" fmla="*/ 855 w 917"/>
                  <a:gd name="T105" fmla="*/ 797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7" h="941">
                    <a:moveTo>
                      <a:pt x="917" y="558"/>
                    </a:moveTo>
                    <a:lnTo>
                      <a:pt x="912" y="579"/>
                    </a:lnTo>
                    <a:lnTo>
                      <a:pt x="891" y="593"/>
                    </a:lnTo>
                    <a:lnTo>
                      <a:pt x="884" y="593"/>
                    </a:lnTo>
                    <a:lnTo>
                      <a:pt x="879" y="598"/>
                    </a:lnTo>
                    <a:lnTo>
                      <a:pt x="884" y="605"/>
                    </a:lnTo>
                    <a:lnTo>
                      <a:pt x="891" y="610"/>
                    </a:lnTo>
                    <a:lnTo>
                      <a:pt x="891" y="615"/>
                    </a:lnTo>
                    <a:lnTo>
                      <a:pt x="886" y="624"/>
                    </a:lnTo>
                    <a:lnTo>
                      <a:pt x="874" y="626"/>
                    </a:lnTo>
                    <a:lnTo>
                      <a:pt x="870" y="636"/>
                    </a:lnTo>
                    <a:lnTo>
                      <a:pt x="874" y="643"/>
                    </a:lnTo>
                    <a:lnTo>
                      <a:pt x="879" y="648"/>
                    </a:lnTo>
                    <a:lnTo>
                      <a:pt x="879" y="655"/>
                    </a:lnTo>
                    <a:lnTo>
                      <a:pt x="867" y="664"/>
                    </a:lnTo>
                    <a:lnTo>
                      <a:pt x="865" y="674"/>
                    </a:lnTo>
                    <a:lnTo>
                      <a:pt x="872" y="674"/>
                    </a:lnTo>
                    <a:lnTo>
                      <a:pt x="877" y="671"/>
                    </a:lnTo>
                    <a:lnTo>
                      <a:pt x="881" y="671"/>
                    </a:lnTo>
                    <a:lnTo>
                      <a:pt x="874" y="685"/>
                    </a:lnTo>
                    <a:lnTo>
                      <a:pt x="870" y="695"/>
                    </a:lnTo>
                    <a:lnTo>
                      <a:pt x="865" y="709"/>
                    </a:lnTo>
                    <a:lnTo>
                      <a:pt x="851" y="714"/>
                    </a:lnTo>
                    <a:lnTo>
                      <a:pt x="851" y="719"/>
                    </a:lnTo>
                    <a:lnTo>
                      <a:pt x="860" y="721"/>
                    </a:lnTo>
                    <a:lnTo>
                      <a:pt x="870" y="730"/>
                    </a:lnTo>
                    <a:lnTo>
                      <a:pt x="858" y="752"/>
                    </a:lnTo>
                    <a:lnTo>
                      <a:pt x="851" y="752"/>
                    </a:lnTo>
                    <a:lnTo>
                      <a:pt x="844" y="749"/>
                    </a:lnTo>
                    <a:lnTo>
                      <a:pt x="844" y="763"/>
                    </a:lnTo>
                    <a:lnTo>
                      <a:pt x="846" y="773"/>
                    </a:lnTo>
                    <a:lnTo>
                      <a:pt x="846" y="789"/>
                    </a:lnTo>
                    <a:lnTo>
                      <a:pt x="844" y="811"/>
                    </a:lnTo>
                    <a:lnTo>
                      <a:pt x="841" y="820"/>
                    </a:lnTo>
                    <a:lnTo>
                      <a:pt x="844" y="834"/>
                    </a:lnTo>
                    <a:lnTo>
                      <a:pt x="848" y="849"/>
                    </a:lnTo>
                    <a:lnTo>
                      <a:pt x="818" y="851"/>
                    </a:lnTo>
                    <a:lnTo>
                      <a:pt x="777" y="844"/>
                    </a:lnTo>
                    <a:lnTo>
                      <a:pt x="768" y="842"/>
                    </a:lnTo>
                    <a:lnTo>
                      <a:pt x="763" y="844"/>
                    </a:lnTo>
                    <a:lnTo>
                      <a:pt x="761" y="851"/>
                    </a:lnTo>
                    <a:lnTo>
                      <a:pt x="756" y="853"/>
                    </a:lnTo>
                    <a:lnTo>
                      <a:pt x="751" y="863"/>
                    </a:lnTo>
                    <a:lnTo>
                      <a:pt x="754" y="879"/>
                    </a:lnTo>
                    <a:lnTo>
                      <a:pt x="761" y="898"/>
                    </a:lnTo>
                    <a:lnTo>
                      <a:pt x="761" y="917"/>
                    </a:lnTo>
                    <a:lnTo>
                      <a:pt x="759" y="934"/>
                    </a:lnTo>
                    <a:lnTo>
                      <a:pt x="751" y="941"/>
                    </a:lnTo>
                    <a:lnTo>
                      <a:pt x="742" y="941"/>
                    </a:lnTo>
                    <a:lnTo>
                      <a:pt x="735" y="938"/>
                    </a:lnTo>
                    <a:lnTo>
                      <a:pt x="733" y="934"/>
                    </a:lnTo>
                    <a:lnTo>
                      <a:pt x="728" y="922"/>
                    </a:lnTo>
                    <a:lnTo>
                      <a:pt x="723" y="910"/>
                    </a:lnTo>
                    <a:lnTo>
                      <a:pt x="721" y="905"/>
                    </a:lnTo>
                    <a:lnTo>
                      <a:pt x="692" y="908"/>
                    </a:lnTo>
                    <a:lnTo>
                      <a:pt x="662" y="910"/>
                    </a:lnTo>
                    <a:lnTo>
                      <a:pt x="633" y="912"/>
                    </a:lnTo>
                    <a:lnTo>
                      <a:pt x="605" y="915"/>
                    </a:lnTo>
                    <a:lnTo>
                      <a:pt x="574" y="917"/>
                    </a:lnTo>
                    <a:lnTo>
                      <a:pt x="546" y="917"/>
                    </a:lnTo>
                    <a:lnTo>
                      <a:pt x="517" y="920"/>
                    </a:lnTo>
                    <a:lnTo>
                      <a:pt x="487" y="922"/>
                    </a:lnTo>
                    <a:lnTo>
                      <a:pt x="458" y="924"/>
                    </a:lnTo>
                    <a:lnTo>
                      <a:pt x="430" y="927"/>
                    </a:lnTo>
                    <a:lnTo>
                      <a:pt x="399" y="929"/>
                    </a:lnTo>
                    <a:lnTo>
                      <a:pt x="371" y="929"/>
                    </a:lnTo>
                    <a:lnTo>
                      <a:pt x="340" y="931"/>
                    </a:lnTo>
                    <a:lnTo>
                      <a:pt x="312" y="934"/>
                    </a:lnTo>
                    <a:lnTo>
                      <a:pt x="283" y="936"/>
                    </a:lnTo>
                    <a:lnTo>
                      <a:pt x="253" y="936"/>
                    </a:lnTo>
                    <a:lnTo>
                      <a:pt x="236" y="938"/>
                    </a:lnTo>
                    <a:lnTo>
                      <a:pt x="234" y="929"/>
                    </a:lnTo>
                    <a:lnTo>
                      <a:pt x="217" y="898"/>
                    </a:lnTo>
                    <a:lnTo>
                      <a:pt x="208" y="882"/>
                    </a:lnTo>
                    <a:lnTo>
                      <a:pt x="194" y="858"/>
                    </a:lnTo>
                    <a:lnTo>
                      <a:pt x="184" y="823"/>
                    </a:lnTo>
                    <a:lnTo>
                      <a:pt x="184" y="763"/>
                    </a:lnTo>
                    <a:lnTo>
                      <a:pt x="179" y="749"/>
                    </a:lnTo>
                    <a:lnTo>
                      <a:pt x="179" y="749"/>
                    </a:lnTo>
                    <a:lnTo>
                      <a:pt x="165" y="721"/>
                    </a:lnTo>
                    <a:lnTo>
                      <a:pt x="163" y="700"/>
                    </a:lnTo>
                    <a:lnTo>
                      <a:pt x="170" y="662"/>
                    </a:lnTo>
                    <a:lnTo>
                      <a:pt x="170" y="662"/>
                    </a:lnTo>
                    <a:lnTo>
                      <a:pt x="172" y="641"/>
                    </a:lnTo>
                    <a:lnTo>
                      <a:pt x="179" y="629"/>
                    </a:lnTo>
                    <a:lnTo>
                      <a:pt x="189" y="619"/>
                    </a:lnTo>
                    <a:lnTo>
                      <a:pt x="189" y="610"/>
                    </a:lnTo>
                    <a:lnTo>
                      <a:pt x="179" y="603"/>
                    </a:lnTo>
                    <a:lnTo>
                      <a:pt x="177" y="596"/>
                    </a:lnTo>
                    <a:lnTo>
                      <a:pt x="177" y="586"/>
                    </a:lnTo>
                    <a:lnTo>
                      <a:pt x="168" y="562"/>
                    </a:lnTo>
                    <a:lnTo>
                      <a:pt x="134" y="506"/>
                    </a:lnTo>
                    <a:lnTo>
                      <a:pt x="130" y="487"/>
                    </a:lnTo>
                    <a:lnTo>
                      <a:pt x="123" y="475"/>
                    </a:lnTo>
                    <a:lnTo>
                      <a:pt x="116" y="449"/>
                    </a:lnTo>
                    <a:lnTo>
                      <a:pt x="106" y="423"/>
                    </a:lnTo>
                    <a:lnTo>
                      <a:pt x="99" y="397"/>
                    </a:lnTo>
                    <a:lnTo>
                      <a:pt x="92" y="371"/>
                    </a:lnTo>
                    <a:lnTo>
                      <a:pt x="82" y="345"/>
                    </a:lnTo>
                    <a:lnTo>
                      <a:pt x="75" y="319"/>
                    </a:lnTo>
                    <a:lnTo>
                      <a:pt x="68" y="293"/>
                    </a:lnTo>
                    <a:lnTo>
                      <a:pt x="61" y="265"/>
                    </a:lnTo>
                    <a:lnTo>
                      <a:pt x="52" y="239"/>
                    </a:lnTo>
                    <a:lnTo>
                      <a:pt x="45" y="213"/>
                    </a:lnTo>
                    <a:lnTo>
                      <a:pt x="38" y="187"/>
                    </a:lnTo>
                    <a:lnTo>
                      <a:pt x="30" y="161"/>
                    </a:lnTo>
                    <a:lnTo>
                      <a:pt x="21" y="135"/>
                    </a:lnTo>
                    <a:lnTo>
                      <a:pt x="14" y="109"/>
                    </a:lnTo>
                    <a:lnTo>
                      <a:pt x="7" y="82"/>
                    </a:lnTo>
                    <a:lnTo>
                      <a:pt x="0" y="56"/>
                    </a:lnTo>
                    <a:lnTo>
                      <a:pt x="54" y="49"/>
                    </a:lnTo>
                    <a:lnTo>
                      <a:pt x="111" y="45"/>
                    </a:lnTo>
                    <a:lnTo>
                      <a:pt x="168" y="38"/>
                    </a:lnTo>
                    <a:lnTo>
                      <a:pt x="222" y="30"/>
                    </a:lnTo>
                    <a:lnTo>
                      <a:pt x="274" y="23"/>
                    </a:lnTo>
                    <a:lnTo>
                      <a:pt x="326" y="16"/>
                    </a:lnTo>
                    <a:lnTo>
                      <a:pt x="378" y="9"/>
                    </a:lnTo>
                    <a:lnTo>
                      <a:pt x="430" y="0"/>
                    </a:lnTo>
                    <a:lnTo>
                      <a:pt x="430" y="0"/>
                    </a:lnTo>
                    <a:lnTo>
                      <a:pt x="423" y="16"/>
                    </a:lnTo>
                    <a:lnTo>
                      <a:pt x="402" y="47"/>
                    </a:lnTo>
                    <a:lnTo>
                      <a:pt x="397" y="68"/>
                    </a:lnTo>
                    <a:lnTo>
                      <a:pt x="432" y="85"/>
                    </a:lnTo>
                    <a:lnTo>
                      <a:pt x="432" y="85"/>
                    </a:lnTo>
                    <a:lnTo>
                      <a:pt x="456" y="101"/>
                    </a:lnTo>
                    <a:lnTo>
                      <a:pt x="470" y="106"/>
                    </a:lnTo>
                    <a:lnTo>
                      <a:pt x="484" y="106"/>
                    </a:lnTo>
                    <a:lnTo>
                      <a:pt x="494" y="111"/>
                    </a:lnTo>
                    <a:lnTo>
                      <a:pt x="501" y="125"/>
                    </a:lnTo>
                    <a:lnTo>
                      <a:pt x="501" y="125"/>
                    </a:lnTo>
                    <a:lnTo>
                      <a:pt x="551" y="194"/>
                    </a:lnTo>
                    <a:lnTo>
                      <a:pt x="551" y="194"/>
                    </a:lnTo>
                    <a:lnTo>
                      <a:pt x="598" y="224"/>
                    </a:lnTo>
                    <a:lnTo>
                      <a:pt x="617" y="239"/>
                    </a:lnTo>
                    <a:lnTo>
                      <a:pt x="629" y="255"/>
                    </a:lnTo>
                    <a:lnTo>
                      <a:pt x="669" y="281"/>
                    </a:lnTo>
                    <a:lnTo>
                      <a:pt x="683" y="293"/>
                    </a:lnTo>
                    <a:lnTo>
                      <a:pt x="685" y="305"/>
                    </a:lnTo>
                    <a:lnTo>
                      <a:pt x="690" y="314"/>
                    </a:lnTo>
                    <a:lnTo>
                      <a:pt x="699" y="317"/>
                    </a:lnTo>
                    <a:lnTo>
                      <a:pt x="709" y="326"/>
                    </a:lnTo>
                    <a:lnTo>
                      <a:pt x="718" y="343"/>
                    </a:lnTo>
                    <a:lnTo>
                      <a:pt x="735" y="354"/>
                    </a:lnTo>
                    <a:lnTo>
                      <a:pt x="759" y="364"/>
                    </a:lnTo>
                    <a:lnTo>
                      <a:pt x="777" y="388"/>
                    </a:lnTo>
                    <a:lnTo>
                      <a:pt x="794" y="430"/>
                    </a:lnTo>
                    <a:lnTo>
                      <a:pt x="808" y="454"/>
                    </a:lnTo>
                    <a:lnTo>
                      <a:pt x="825" y="461"/>
                    </a:lnTo>
                    <a:lnTo>
                      <a:pt x="853" y="494"/>
                    </a:lnTo>
                    <a:lnTo>
                      <a:pt x="863" y="515"/>
                    </a:lnTo>
                    <a:lnTo>
                      <a:pt x="865" y="534"/>
                    </a:lnTo>
                    <a:lnTo>
                      <a:pt x="879" y="548"/>
                    </a:lnTo>
                    <a:lnTo>
                      <a:pt x="917" y="558"/>
                    </a:lnTo>
                    <a:close/>
                    <a:moveTo>
                      <a:pt x="855" y="797"/>
                    </a:moveTo>
                    <a:lnTo>
                      <a:pt x="855" y="849"/>
                    </a:lnTo>
                    <a:lnTo>
                      <a:pt x="851" y="830"/>
                    </a:lnTo>
                    <a:lnTo>
                      <a:pt x="846" y="813"/>
                    </a:lnTo>
                    <a:lnTo>
                      <a:pt x="851" y="801"/>
                    </a:lnTo>
                    <a:lnTo>
                      <a:pt x="855" y="79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6" name="Freeform 53">
                <a:extLst>
                  <a:ext uri="{FF2B5EF4-FFF2-40B4-BE49-F238E27FC236}">
                    <a16:creationId xmlns:a16="http://schemas.microsoft.com/office/drawing/2014/main" id="{D29F3606-5989-E447-68BB-42102672A760}"/>
                  </a:ext>
                </a:extLst>
              </p:cNvPr>
              <p:cNvSpPr>
                <a:spLocks noEditPoints="1"/>
              </p:cNvSpPr>
              <p:nvPr/>
            </p:nvSpPr>
            <p:spPr bwMode="auto">
              <a:xfrm>
                <a:off x="2955" y="4081"/>
                <a:ext cx="357" cy="709"/>
              </a:xfrm>
              <a:custGeom>
                <a:avLst/>
                <a:gdLst>
                  <a:gd name="T0" fmla="*/ 80 w 357"/>
                  <a:gd name="T1" fmla="*/ 62 h 709"/>
                  <a:gd name="T2" fmla="*/ 64 w 357"/>
                  <a:gd name="T3" fmla="*/ 33 h 709"/>
                  <a:gd name="T4" fmla="*/ 101 w 357"/>
                  <a:gd name="T5" fmla="*/ 24 h 709"/>
                  <a:gd name="T6" fmla="*/ 118 w 357"/>
                  <a:gd name="T7" fmla="*/ 59 h 709"/>
                  <a:gd name="T8" fmla="*/ 97 w 357"/>
                  <a:gd name="T9" fmla="*/ 71 h 709"/>
                  <a:gd name="T10" fmla="*/ 0 w 357"/>
                  <a:gd name="T11" fmla="*/ 12 h 709"/>
                  <a:gd name="T12" fmla="*/ 19 w 357"/>
                  <a:gd name="T13" fmla="*/ 2 h 709"/>
                  <a:gd name="T14" fmla="*/ 30 w 357"/>
                  <a:gd name="T15" fmla="*/ 10 h 709"/>
                  <a:gd name="T16" fmla="*/ 9 w 357"/>
                  <a:gd name="T17" fmla="*/ 12 h 709"/>
                  <a:gd name="T18" fmla="*/ 220 w 357"/>
                  <a:gd name="T19" fmla="*/ 258 h 709"/>
                  <a:gd name="T20" fmla="*/ 215 w 357"/>
                  <a:gd name="T21" fmla="*/ 279 h 709"/>
                  <a:gd name="T22" fmla="*/ 191 w 357"/>
                  <a:gd name="T23" fmla="*/ 265 h 709"/>
                  <a:gd name="T24" fmla="*/ 186 w 357"/>
                  <a:gd name="T25" fmla="*/ 246 h 709"/>
                  <a:gd name="T26" fmla="*/ 182 w 357"/>
                  <a:gd name="T27" fmla="*/ 251 h 709"/>
                  <a:gd name="T28" fmla="*/ 170 w 357"/>
                  <a:gd name="T29" fmla="*/ 232 h 709"/>
                  <a:gd name="T30" fmla="*/ 175 w 357"/>
                  <a:gd name="T31" fmla="*/ 199 h 709"/>
                  <a:gd name="T32" fmla="*/ 217 w 357"/>
                  <a:gd name="T33" fmla="*/ 211 h 709"/>
                  <a:gd name="T34" fmla="*/ 210 w 357"/>
                  <a:gd name="T35" fmla="*/ 246 h 709"/>
                  <a:gd name="T36" fmla="*/ 269 w 357"/>
                  <a:gd name="T37" fmla="*/ 345 h 709"/>
                  <a:gd name="T38" fmla="*/ 293 w 357"/>
                  <a:gd name="T39" fmla="*/ 369 h 709"/>
                  <a:gd name="T40" fmla="*/ 272 w 357"/>
                  <a:gd name="T41" fmla="*/ 371 h 709"/>
                  <a:gd name="T42" fmla="*/ 238 w 357"/>
                  <a:gd name="T43" fmla="*/ 326 h 709"/>
                  <a:gd name="T44" fmla="*/ 250 w 357"/>
                  <a:gd name="T45" fmla="*/ 324 h 709"/>
                  <a:gd name="T46" fmla="*/ 314 w 357"/>
                  <a:gd name="T47" fmla="*/ 423 h 709"/>
                  <a:gd name="T48" fmla="*/ 331 w 357"/>
                  <a:gd name="T49" fmla="*/ 454 h 709"/>
                  <a:gd name="T50" fmla="*/ 331 w 357"/>
                  <a:gd name="T51" fmla="*/ 475 h 709"/>
                  <a:gd name="T52" fmla="*/ 290 w 357"/>
                  <a:gd name="T53" fmla="*/ 464 h 709"/>
                  <a:gd name="T54" fmla="*/ 283 w 357"/>
                  <a:gd name="T55" fmla="*/ 442 h 709"/>
                  <a:gd name="T56" fmla="*/ 276 w 357"/>
                  <a:gd name="T57" fmla="*/ 416 h 709"/>
                  <a:gd name="T58" fmla="*/ 290 w 357"/>
                  <a:gd name="T59" fmla="*/ 390 h 709"/>
                  <a:gd name="T60" fmla="*/ 300 w 357"/>
                  <a:gd name="T61" fmla="*/ 414 h 709"/>
                  <a:gd name="T62" fmla="*/ 234 w 357"/>
                  <a:gd name="T63" fmla="*/ 393 h 709"/>
                  <a:gd name="T64" fmla="*/ 253 w 357"/>
                  <a:gd name="T65" fmla="*/ 378 h 709"/>
                  <a:gd name="T66" fmla="*/ 257 w 357"/>
                  <a:gd name="T67" fmla="*/ 400 h 709"/>
                  <a:gd name="T68" fmla="*/ 222 w 357"/>
                  <a:gd name="T69" fmla="*/ 700 h 709"/>
                  <a:gd name="T70" fmla="*/ 205 w 357"/>
                  <a:gd name="T71" fmla="*/ 660 h 709"/>
                  <a:gd name="T72" fmla="*/ 243 w 357"/>
                  <a:gd name="T73" fmla="*/ 579 h 709"/>
                  <a:gd name="T74" fmla="*/ 290 w 357"/>
                  <a:gd name="T75" fmla="*/ 568 h 709"/>
                  <a:gd name="T76" fmla="*/ 312 w 357"/>
                  <a:gd name="T77" fmla="*/ 539 h 709"/>
                  <a:gd name="T78" fmla="*/ 354 w 357"/>
                  <a:gd name="T79" fmla="*/ 643 h 709"/>
                  <a:gd name="T80" fmla="*/ 350 w 357"/>
                  <a:gd name="T81" fmla="*/ 679 h 709"/>
                  <a:gd name="T82" fmla="*/ 345 w 357"/>
                  <a:gd name="T83" fmla="*/ 709 h 709"/>
                  <a:gd name="T84" fmla="*/ 243 w 357"/>
                  <a:gd name="T85" fmla="*/ 69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7" h="709">
                    <a:moveTo>
                      <a:pt x="97" y="71"/>
                    </a:moveTo>
                    <a:lnTo>
                      <a:pt x="82" y="69"/>
                    </a:lnTo>
                    <a:lnTo>
                      <a:pt x="80" y="62"/>
                    </a:lnTo>
                    <a:lnTo>
                      <a:pt x="71" y="55"/>
                    </a:lnTo>
                    <a:lnTo>
                      <a:pt x="71" y="45"/>
                    </a:lnTo>
                    <a:lnTo>
                      <a:pt x="64" y="33"/>
                    </a:lnTo>
                    <a:lnTo>
                      <a:pt x="66" y="24"/>
                    </a:lnTo>
                    <a:lnTo>
                      <a:pt x="80" y="19"/>
                    </a:lnTo>
                    <a:lnTo>
                      <a:pt x="101" y="24"/>
                    </a:lnTo>
                    <a:lnTo>
                      <a:pt x="123" y="43"/>
                    </a:lnTo>
                    <a:lnTo>
                      <a:pt x="123" y="52"/>
                    </a:lnTo>
                    <a:lnTo>
                      <a:pt x="118" y="59"/>
                    </a:lnTo>
                    <a:lnTo>
                      <a:pt x="111" y="62"/>
                    </a:lnTo>
                    <a:lnTo>
                      <a:pt x="104" y="69"/>
                    </a:lnTo>
                    <a:lnTo>
                      <a:pt x="97" y="71"/>
                    </a:lnTo>
                    <a:close/>
                    <a:moveTo>
                      <a:pt x="9" y="12"/>
                    </a:moveTo>
                    <a:lnTo>
                      <a:pt x="2" y="17"/>
                    </a:lnTo>
                    <a:lnTo>
                      <a:pt x="0" y="12"/>
                    </a:lnTo>
                    <a:lnTo>
                      <a:pt x="2" y="7"/>
                    </a:lnTo>
                    <a:lnTo>
                      <a:pt x="9" y="2"/>
                    </a:lnTo>
                    <a:lnTo>
                      <a:pt x="19" y="2"/>
                    </a:lnTo>
                    <a:lnTo>
                      <a:pt x="33" y="0"/>
                    </a:lnTo>
                    <a:lnTo>
                      <a:pt x="35" y="7"/>
                    </a:lnTo>
                    <a:lnTo>
                      <a:pt x="30" y="10"/>
                    </a:lnTo>
                    <a:lnTo>
                      <a:pt x="26" y="14"/>
                    </a:lnTo>
                    <a:lnTo>
                      <a:pt x="14" y="12"/>
                    </a:lnTo>
                    <a:lnTo>
                      <a:pt x="9" y="12"/>
                    </a:lnTo>
                    <a:close/>
                    <a:moveTo>
                      <a:pt x="212" y="251"/>
                    </a:moveTo>
                    <a:lnTo>
                      <a:pt x="215" y="253"/>
                    </a:lnTo>
                    <a:lnTo>
                      <a:pt x="220" y="258"/>
                    </a:lnTo>
                    <a:lnTo>
                      <a:pt x="215" y="267"/>
                    </a:lnTo>
                    <a:lnTo>
                      <a:pt x="215" y="277"/>
                    </a:lnTo>
                    <a:lnTo>
                      <a:pt x="215" y="279"/>
                    </a:lnTo>
                    <a:lnTo>
                      <a:pt x="208" y="279"/>
                    </a:lnTo>
                    <a:lnTo>
                      <a:pt x="196" y="272"/>
                    </a:lnTo>
                    <a:lnTo>
                      <a:pt x="191" y="265"/>
                    </a:lnTo>
                    <a:lnTo>
                      <a:pt x="191" y="255"/>
                    </a:lnTo>
                    <a:lnTo>
                      <a:pt x="184" y="251"/>
                    </a:lnTo>
                    <a:lnTo>
                      <a:pt x="186" y="246"/>
                    </a:lnTo>
                    <a:lnTo>
                      <a:pt x="186" y="244"/>
                    </a:lnTo>
                    <a:lnTo>
                      <a:pt x="182" y="241"/>
                    </a:lnTo>
                    <a:lnTo>
                      <a:pt x="182" y="251"/>
                    </a:lnTo>
                    <a:lnTo>
                      <a:pt x="170" y="244"/>
                    </a:lnTo>
                    <a:lnTo>
                      <a:pt x="168" y="239"/>
                    </a:lnTo>
                    <a:lnTo>
                      <a:pt x="170" y="232"/>
                    </a:lnTo>
                    <a:lnTo>
                      <a:pt x="170" y="211"/>
                    </a:lnTo>
                    <a:lnTo>
                      <a:pt x="175" y="206"/>
                    </a:lnTo>
                    <a:lnTo>
                      <a:pt x="175" y="199"/>
                    </a:lnTo>
                    <a:lnTo>
                      <a:pt x="191" y="208"/>
                    </a:lnTo>
                    <a:lnTo>
                      <a:pt x="210" y="208"/>
                    </a:lnTo>
                    <a:lnTo>
                      <a:pt x="217" y="211"/>
                    </a:lnTo>
                    <a:lnTo>
                      <a:pt x="215" y="237"/>
                    </a:lnTo>
                    <a:lnTo>
                      <a:pt x="210" y="241"/>
                    </a:lnTo>
                    <a:lnTo>
                      <a:pt x="210" y="246"/>
                    </a:lnTo>
                    <a:lnTo>
                      <a:pt x="212" y="251"/>
                    </a:lnTo>
                    <a:close/>
                    <a:moveTo>
                      <a:pt x="250" y="324"/>
                    </a:moveTo>
                    <a:lnTo>
                      <a:pt x="269" y="345"/>
                    </a:lnTo>
                    <a:lnTo>
                      <a:pt x="274" y="348"/>
                    </a:lnTo>
                    <a:lnTo>
                      <a:pt x="276" y="352"/>
                    </a:lnTo>
                    <a:lnTo>
                      <a:pt x="293" y="369"/>
                    </a:lnTo>
                    <a:lnTo>
                      <a:pt x="295" y="371"/>
                    </a:lnTo>
                    <a:lnTo>
                      <a:pt x="288" y="374"/>
                    </a:lnTo>
                    <a:lnTo>
                      <a:pt x="272" y="371"/>
                    </a:lnTo>
                    <a:lnTo>
                      <a:pt x="260" y="352"/>
                    </a:lnTo>
                    <a:lnTo>
                      <a:pt x="234" y="329"/>
                    </a:lnTo>
                    <a:lnTo>
                      <a:pt x="238" y="326"/>
                    </a:lnTo>
                    <a:lnTo>
                      <a:pt x="243" y="324"/>
                    </a:lnTo>
                    <a:lnTo>
                      <a:pt x="248" y="319"/>
                    </a:lnTo>
                    <a:lnTo>
                      <a:pt x="250" y="324"/>
                    </a:lnTo>
                    <a:close/>
                    <a:moveTo>
                      <a:pt x="300" y="414"/>
                    </a:moveTo>
                    <a:lnTo>
                      <a:pt x="300" y="419"/>
                    </a:lnTo>
                    <a:lnTo>
                      <a:pt x="314" y="423"/>
                    </a:lnTo>
                    <a:lnTo>
                      <a:pt x="324" y="428"/>
                    </a:lnTo>
                    <a:lnTo>
                      <a:pt x="331" y="447"/>
                    </a:lnTo>
                    <a:lnTo>
                      <a:pt x="331" y="454"/>
                    </a:lnTo>
                    <a:lnTo>
                      <a:pt x="335" y="466"/>
                    </a:lnTo>
                    <a:lnTo>
                      <a:pt x="335" y="473"/>
                    </a:lnTo>
                    <a:lnTo>
                      <a:pt x="331" y="475"/>
                    </a:lnTo>
                    <a:lnTo>
                      <a:pt x="314" y="475"/>
                    </a:lnTo>
                    <a:lnTo>
                      <a:pt x="300" y="468"/>
                    </a:lnTo>
                    <a:lnTo>
                      <a:pt x="290" y="464"/>
                    </a:lnTo>
                    <a:lnTo>
                      <a:pt x="279" y="456"/>
                    </a:lnTo>
                    <a:lnTo>
                      <a:pt x="279" y="452"/>
                    </a:lnTo>
                    <a:lnTo>
                      <a:pt x="283" y="442"/>
                    </a:lnTo>
                    <a:lnTo>
                      <a:pt x="288" y="428"/>
                    </a:lnTo>
                    <a:lnTo>
                      <a:pt x="281" y="426"/>
                    </a:lnTo>
                    <a:lnTo>
                      <a:pt x="276" y="416"/>
                    </a:lnTo>
                    <a:lnTo>
                      <a:pt x="276" y="400"/>
                    </a:lnTo>
                    <a:lnTo>
                      <a:pt x="279" y="395"/>
                    </a:lnTo>
                    <a:lnTo>
                      <a:pt x="290" y="390"/>
                    </a:lnTo>
                    <a:lnTo>
                      <a:pt x="298" y="395"/>
                    </a:lnTo>
                    <a:lnTo>
                      <a:pt x="300" y="404"/>
                    </a:lnTo>
                    <a:lnTo>
                      <a:pt x="300" y="414"/>
                    </a:lnTo>
                    <a:close/>
                    <a:moveTo>
                      <a:pt x="248" y="402"/>
                    </a:moveTo>
                    <a:lnTo>
                      <a:pt x="241" y="400"/>
                    </a:lnTo>
                    <a:lnTo>
                      <a:pt x="234" y="393"/>
                    </a:lnTo>
                    <a:lnTo>
                      <a:pt x="238" y="386"/>
                    </a:lnTo>
                    <a:lnTo>
                      <a:pt x="241" y="371"/>
                    </a:lnTo>
                    <a:lnTo>
                      <a:pt x="253" y="378"/>
                    </a:lnTo>
                    <a:lnTo>
                      <a:pt x="257" y="386"/>
                    </a:lnTo>
                    <a:lnTo>
                      <a:pt x="257" y="390"/>
                    </a:lnTo>
                    <a:lnTo>
                      <a:pt x="257" y="400"/>
                    </a:lnTo>
                    <a:lnTo>
                      <a:pt x="248" y="402"/>
                    </a:lnTo>
                    <a:close/>
                    <a:moveTo>
                      <a:pt x="229" y="698"/>
                    </a:moveTo>
                    <a:lnTo>
                      <a:pt x="222" y="700"/>
                    </a:lnTo>
                    <a:lnTo>
                      <a:pt x="215" y="695"/>
                    </a:lnTo>
                    <a:lnTo>
                      <a:pt x="203" y="667"/>
                    </a:lnTo>
                    <a:lnTo>
                      <a:pt x="205" y="660"/>
                    </a:lnTo>
                    <a:lnTo>
                      <a:pt x="229" y="631"/>
                    </a:lnTo>
                    <a:lnTo>
                      <a:pt x="238" y="603"/>
                    </a:lnTo>
                    <a:lnTo>
                      <a:pt x="243" y="579"/>
                    </a:lnTo>
                    <a:lnTo>
                      <a:pt x="257" y="575"/>
                    </a:lnTo>
                    <a:lnTo>
                      <a:pt x="272" y="575"/>
                    </a:lnTo>
                    <a:lnTo>
                      <a:pt x="290" y="568"/>
                    </a:lnTo>
                    <a:lnTo>
                      <a:pt x="295" y="546"/>
                    </a:lnTo>
                    <a:lnTo>
                      <a:pt x="305" y="537"/>
                    </a:lnTo>
                    <a:lnTo>
                      <a:pt x="312" y="539"/>
                    </a:lnTo>
                    <a:lnTo>
                      <a:pt x="324" y="568"/>
                    </a:lnTo>
                    <a:lnTo>
                      <a:pt x="354" y="620"/>
                    </a:lnTo>
                    <a:lnTo>
                      <a:pt x="354" y="643"/>
                    </a:lnTo>
                    <a:lnTo>
                      <a:pt x="347" y="657"/>
                    </a:lnTo>
                    <a:lnTo>
                      <a:pt x="354" y="667"/>
                    </a:lnTo>
                    <a:lnTo>
                      <a:pt x="350" y="679"/>
                    </a:lnTo>
                    <a:lnTo>
                      <a:pt x="354" y="695"/>
                    </a:lnTo>
                    <a:lnTo>
                      <a:pt x="357" y="705"/>
                    </a:lnTo>
                    <a:lnTo>
                      <a:pt x="345" y="709"/>
                    </a:lnTo>
                    <a:lnTo>
                      <a:pt x="312" y="707"/>
                    </a:lnTo>
                    <a:lnTo>
                      <a:pt x="281" y="693"/>
                    </a:lnTo>
                    <a:lnTo>
                      <a:pt x="243" y="691"/>
                    </a:lnTo>
                    <a:lnTo>
                      <a:pt x="229" y="69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7" name="Freeform 54">
                <a:extLst>
                  <a:ext uri="{FF2B5EF4-FFF2-40B4-BE49-F238E27FC236}">
                    <a16:creationId xmlns:a16="http://schemas.microsoft.com/office/drawing/2014/main" id="{BADF4028-2812-1871-3521-D937743628BC}"/>
                  </a:ext>
                </a:extLst>
              </p:cNvPr>
              <p:cNvSpPr>
                <a:spLocks/>
              </p:cNvSpPr>
              <p:nvPr/>
            </p:nvSpPr>
            <p:spPr bwMode="auto">
              <a:xfrm>
                <a:off x="4612" y="352"/>
                <a:ext cx="1014" cy="660"/>
              </a:xfrm>
              <a:custGeom>
                <a:avLst/>
                <a:gdLst>
                  <a:gd name="T0" fmla="*/ 957 w 1014"/>
                  <a:gd name="T1" fmla="*/ 230 h 660"/>
                  <a:gd name="T2" fmla="*/ 981 w 1014"/>
                  <a:gd name="T3" fmla="*/ 265 h 660"/>
                  <a:gd name="T4" fmla="*/ 1014 w 1014"/>
                  <a:gd name="T5" fmla="*/ 296 h 660"/>
                  <a:gd name="T6" fmla="*/ 1007 w 1014"/>
                  <a:gd name="T7" fmla="*/ 348 h 660"/>
                  <a:gd name="T8" fmla="*/ 988 w 1014"/>
                  <a:gd name="T9" fmla="*/ 388 h 660"/>
                  <a:gd name="T10" fmla="*/ 926 w 1014"/>
                  <a:gd name="T11" fmla="*/ 428 h 660"/>
                  <a:gd name="T12" fmla="*/ 877 w 1014"/>
                  <a:gd name="T13" fmla="*/ 468 h 660"/>
                  <a:gd name="T14" fmla="*/ 898 w 1014"/>
                  <a:gd name="T15" fmla="*/ 509 h 660"/>
                  <a:gd name="T16" fmla="*/ 879 w 1014"/>
                  <a:gd name="T17" fmla="*/ 580 h 660"/>
                  <a:gd name="T18" fmla="*/ 834 w 1014"/>
                  <a:gd name="T19" fmla="*/ 627 h 660"/>
                  <a:gd name="T20" fmla="*/ 829 w 1014"/>
                  <a:gd name="T21" fmla="*/ 660 h 660"/>
                  <a:gd name="T22" fmla="*/ 799 w 1014"/>
                  <a:gd name="T23" fmla="*/ 634 h 660"/>
                  <a:gd name="T24" fmla="*/ 780 w 1014"/>
                  <a:gd name="T25" fmla="*/ 610 h 660"/>
                  <a:gd name="T26" fmla="*/ 659 w 1014"/>
                  <a:gd name="T27" fmla="*/ 617 h 660"/>
                  <a:gd name="T28" fmla="*/ 539 w 1014"/>
                  <a:gd name="T29" fmla="*/ 622 h 660"/>
                  <a:gd name="T30" fmla="*/ 416 w 1014"/>
                  <a:gd name="T31" fmla="*/ 627 h 660"/>
                  <a:gd name="T32" fmla="*/ 295 w 1014"/>
                  <a:gd name="T33" fmla="*/ 629 h 660"/>
                  <a:gd name="T34" fmla="*/ 175 w 1014"/>
                  <a:gd name="T35" fmla="*/ 632 h 660"/>
                  <a:gd name="T36" fmla="*/ 118 w 1014"/>
                  <a:gd name="T37" fmla="*/ 601 h 660"/>
                  <a:gd name="T38" fmla="*/ 120 w 1014"/>
                  <a:gd name="T39" fmla="*/ 530 h 660"/>
                  <a:gd name="T40" fmla="*/ 111 w 1014"/>
                  <a:gd name="T41" fmla="*/ 497 h 660"/>
                  <a:gd name="T42" fmla="*/ 106 w 1014"/>
                  <a:gd name="T43" fmla="*/ 478 h 660"/>
                  <a:gd name="T44" fmla="*/ 106 w 1014"/>
                  <a:gd name="T45" fmla="*/ 450 h 660"/>
                  <a:gd name="T46" fmla="*/ 97 w 1014"/>
                  <a:gd name="T47" fmla="*/ 438 h 660"/>
                  <a:gd name="T48" fmla="*/ 85 w 1014"/>
                  <a:gd name="T49" fmla="*/ 419 h 660"/>
                  <a:gd name="T50" fmla="*/ 75 w 1014"/>
                  <a:gd name="T51" fmla="*/ 364 h 660"/>
                  <a:gd name="T52" fmla="*/ 64 w 1014"/>
                  <a:gd name="T53" fmla="*/ 329 h 660"/>
                  <a:gd name="T54" fmla="*/ 35 w 1014"/>
                  <a:gd name="T55" fmla="*/ 249 h 660"/>
                  <a:gd name="T56" fmla="*/ 16 w 1014"/>
                  <a:gd name="T57" fmla="*/ 213 h 660"/>
                  <a:gd name="T58" fmla="*/ 0 w 1014"/>
                  <a:gd name="T59" fmla="*/ 182 h 660"/>
                  <a:gd name="T60" fmla="*/ 9 w 1014"/>
                  <a:gd name="T61" fmla="*/ 156 h 660"/>
                  <a:gd name="T62" fmla="*/ 26 w 1014"/>
                  <a:gd name="T63" fmla="*/ 104 h 660"/>
                  <a:gd name="T64" fmla="*/ 21 w 1014"/>
                  <a:gd name="T65" fmla="*/ 83 h 660"/>
                  <a:gd name="T66" fmla="*/ 9 w 1014"/>
                  <a:gd name="T67" fmla="*/ 67 h 660"/>
                  <a:gd name="T68" fmla="*/ 14 w 1014"/>
                  <a:gd name="T69" fmla="*/ 48 h 660"/>
                  <a:gd name="T70" fmla="*/ 26 w 1014"/>
                  <a:gd name="T71" fmla="*/ 22 h 660"/>
                  <a:gd name="T72" fmla="*/ 177 w 1014"/>
                  <a:gd name="T73" fmla="*/ 22 h 660"/>
                  <a:gd name="T74" fmla="*/ 326 w 1014"/>
                  <a:gd name="T75" fmla="*/ 19 h 660"/>
                  <a:gd name="T76" fmla="*/ 475 w 1014"/>
                  <a:gd name="T77" fmla="*/ 15 h 660"/>
                  <a:gd name="T78" fmla="*/ 626 w 1014"/>
                  <a:gd name="T79" fmla="*/ 10 h 660"/>
                  <a:gd name="T80" fmla="*/ 775 w 1014"/>
                  <a:gd name="T81" fmla="*/ 5 h 660"/>
                  <a:gd name="T82" fmla="*/ 832 w 1014"/>
                  <a:gd name="T83" fmla="*/ 24 h 660"/>
                  <a:gd name="T84" fmla="*/ 851 w 1014"/>
                  <a:gd name="T85" fmla="*/ 48 h 660"/>
                  <a:gd name="T86" fmla="*/ 846 w 1014"/>
                  <a:gd name="T87" fmla="*/ 109 h 660"/>
                  <a:gd name="T88" fmla="*/ 879 w 1014"/>
                  <a:gd name="T89" fmla="*/ 163 h 660"/>
                  <a:gd name="T90" fmla="*/ 929 w 1014"/>
                  <a:gd name="T91" fmla="*/ 20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14" h="660">
                    <a:moveTo>
                      <a:pt x="929" y="204"/>
                    </a:moveTo>
                    <a:lnTo>
                      <a:pt x="941" y="218"/>
                    </a:lnTo>
                    <a:lnTo>
                      <a:pt x="957" y="230"/>
                    </a:lnTo>
                    <a:lnTo>
                      <a:pt x="967" y="242"/>
                    </a:lnTo>
                    <a:lnTo>
                      <a:pt x="969" y="253"/>
                    </a:lnTo>
                    <a:lnTo>
                      <a:pt x="981" y="265"/>
                    </a:lnTo>
                    <a:lnTo>
                      <a:pt x="1000" y="277"/>
                    </a:lnTo>
                    <a:lnTo>
                      <a:pt x="1009" y="286"/>
                    </a:lnTo>
                    <a:lnTo>
                      <a:pt x="1014" y="296"/>
                    </a:lnTo>
                    <a:lnTo>
                      <a:pt x="1014" y="312"/>
                    </a:lnTo>
                    <a:lnTo>
                      <a:pt x="1011" y="331"/>
                    </a:lnTo>
                    <a:lnTo>
                      <a:pt x="1007" y="348"/>
                    </a:lnTo>
                    <a:lnTo>
                      <a:pt x="997" y="357"/>
                    </a:lnTo>
                    <a:lnTo>
                      <a:pt x="993" y="372"/>
                    </a:lnTo>
                    <a:lnTo>
                      <a:pt x="988" y="388"/>
                    </a:lnTo>
                    <a:lnTo>
                      <a:pt x="976" y="402"/>
                    </a:lnTo>
                    <a:lnTo>
                      <a:pt x="952" y="419"/>
                    </a:lnTo>
                    <a:lnTo>
                      <a:pt x="926" y="428"/>
                    </a:lnTo>
                    <a:lnTo>
                      <a:pt x="898" y="435"/>
                    </a:lnTo>
                    <a:lnTo>
                      <a:pt x="881" y="450"/>
                    </a:lnTo>
                    <a:lnTo>
                      <a:pt x="877" y="468"/>
                    </a:lnTo>
                    <a:lnTo>
                      <a:pt x="879" y="483"/>
                    </a:lnTo>
                    <a:lnTo>
                      <a:pt x="891" y="495"/>
                    </a:lnTo>
                    <a:lnTo>
                      <a:pt x="898" y="509"/>
                    </a:lnTo>
                    <a:lnTo>
                      <a:pt x="900" y="523"/>
                    </a:lnTo>
                    <a:lnTo>
                      <a:pt x="893" y="547"/>
                    </a:lnTo>
                    <a:lnTo>
                      <a:pt x="879" y="580"/>
                    </a:lnTo>
                    <a:lnTo>
                      <a:pt x="863" y="601"/>
                    </a:lnTo>
                    <a:lnTo>
                      <a:pt x="844" y="613"/>
                    </a:lnTo>
                    <a:lnTo>
                      <a:pt x="834" y="627"/>
                    </a:lnTo>
                    <a:lnTo>
                      <a:pt x="839" y="646"/>
                    </a:lnTo>
                    <a:lnTo>
                      <a:pt x="836" y="655"/>
                    </a:lnTo>
                    <a:lnTo>
                      <a:pt x="829" y="660"/>
                    </a:lnTo>
                    <a:lnTo>
                      <a:pt x="813" y="651"/>
                    </a:lnTo>
                    <a:lnTo>
                      <a:pt x="810" y="641"/>
                    </a:lnTo>
                    <a:lnTo>
                      <a:pt x="799" y="634"/>
                    </a:lnTo>
                    <a:lnTo>
                      <a:pt x="796" y="629"/>
                    </a:lnTo>
                    <a:lnTo>
                      <a:pt x="789" y="625"/>
                    </a:lnTo>
                    <a:lnTo>
                      <a:pt x="780" y="610"/>
                    </a:lnTo>
                    <a:lnTo>
                      <a:pt x="740" y="613"/>
                    </a:lnTo>
                    <a:lnTo>
                      <a:pt x="699" y="615"/>
                    </a:lnTo>
                    <a:lnTo>
                      <a:pt x="659" y="617"/>
                    </a:lnTo>
                    <a:lnTo>
                      <a:pt x="619" y="617"/>
                    </a:lnTo>
                    <a:lnTo>
                      <a:pt x="579" y="620"/>
                    </a:lnTo>
                    <a:lnTo>
                      <a:pt x="539" y="622"/>
                    </a:lnTo>
                    <a:lnTo>
                      <a:pt x="496" y="622"/>
                    </a:lnTo>
                    <a:lnTo>
                      <a:pt x="456" y="625"/>
                    </a:lnTo>
                    <a:lnTo>
                      <a:pt x="416" y="627"/>
                    </a:lnTo>
                    <a:lnTo>
                      <a:pt x="376" y="627"/>
                    </a:lnTo>
                    <a:lnTo>
                      <a:pt x="335" y="627"/>
                    </a:lnTo>
                    <a:lnTo>
                      <a:pt x="295" y="629"/>
                    </a:lnTo>
                    <a:lnTo>
                      <a:pt x="255" y="629"/>
                    </a:lnTo>
                    <a:lnTo>
                      <a:pt x="215" y="629"/>
                    </a:lnTo>
                    <a:lnTo>
                      <a:pt x="175" y="632"/>
                    </a:lnTo>
                    <a:lnTo>
                      <a:pt x="134" y="632"/>
                    </a:lnTo>
                    <a:lnTo>
                      <a:pt x="125" y="615"/>
                    </a:lnTo>
                    <a:lnTo>
                      <a:pt x="118" y="601"/>
                    </a:lnTo>
                    <a:lnTo>
                      <a:pt x="123" y="594"/>
                    </a:lnTo>
                    <a:lnTo>
                      <a:pt x="123" y="570"/>
                    </a:lnTo>
                    <a:lnTo>
                      <a:pt x="120" y="530"/>
                    </a:lnTo>
                    <a:lnTo>
                      <a:pt x="118" y="509"/>
                    </a:lnTo>
                    <a:lnTo>
                      <a:pt x="111" y="504"/>
                    </a:lnTo>
                    <a:lnTo>
                      <a:pt x="111" y="497"/>
                    </a:lnTo>
                    <a:lnTo>
                      <a:pt x="116" y="487"/>
                    </a:lnTo>
                    <a:lnTo>
                      <a:pt x="113" y="480"/>
                    </a:lnTo>
                    <a:lnTo>
                      <a:pt x="106" y="478"/>
                    </a:lnTo>
                    <a:lnTo>
                      <a:pt x="104" y="471"/>
                    </a:lnTo>
                    <a:lnTo>
                      <a:pt x="106" y="459"/>
                    </a:lnTo>
                    <a:lnTo>
                      <a:pt x="106" y="450"/>
                    </a:lnTo>
                    <a:lnTo>
                      <a:pt x="99" y="447"/>
                    </a:lnTo>
                    <a:lnTo>
                      <a:pt x="97" y="445"/>
                    </a:lnTo>
                    <a:lnTo>
                      <a:pt x="97" y="438"/>
                    </a:lnTo>
                    <a:lnTo>
                      <a:pt x="94" y="435"/>
                    </a:lnTo>
                    <a:lnTo>
                      <a:pt x="87" y="433"/>
                    </a:lnTo>
                    <a:lnTo>
                      <a:pt x="85" y="419"/>
                    </a:lnTo>
                    <a:lnTo>
                      <a:pt x="85" y="393"/>
                    </a:lnTo>
                    <a:lnTo>
                      <a:pt x="82" y="374"/>
                    </a:lnTo>
                    <a:lnTo>
                      <a:pt x="75" y="364"/>
                    </a:lnTo>
                    <a:lnTo>
                      <a:pt x="73" y="355"/>
                    </a:lnTo>
                    <a:lnTo>
                      <a:pt x="73" y="346"/>
                    </a:lnTo>
                    <a:lnTo>
                      <a:pt x="64" y="329"/>
                    </a:lnTo>
                    <a:lnTo>
                      <a:pt x="49" y="310"/>
                    </a:lnTo>
                    <a:lnTo>
                      <a:pt x="40" y="282"/>
                    </a:lnTo>
                    <a:lnTo>
                      <a:pt x="35" y="249"/>
                    </a:lnTo>
                    <a:lnTo>
                      <a:pt x="26" y="230"/>
                    </a:lnTo>
                    <a:lnTo>
                      <a:pt x="21" y="230"/>
                    </a:lnTo>
                    <a:lnTo>
                      <a:pt x="16" y="213"/>
                    </a:lnTo>
                    <a:lnTo>
                      <a:pt x="14" y="204"/>
                    </a:lnTo>
                    <a:lnTo>
                      <a:pt x="12" y="199"/>
                    </a:lnTo>
                    <a:lnTo>
                      <a:pt x="0" y="182"/>
                    </a:lnTo>
                    <a:lnTo>
                      <a:pt x="0" y="178"/>
                    </a:lnTo>
                    <a:lnTo>
                      <a:pt x="0" y="171"/>
                    </a:lnTo>
                    <a:lnTo>
                      <a:pt x="9" y="156"/>
                    </a:lnTo>
                    <a:lnTo>
                      <a:pt x="16" y="133"/>
                    </a:lnTo>
                    <a:lnTo>
                      <a:pt x="19" y="116"/>
                    </a:lnTo>
                    <a:lnTo>
                      <a:pt x="26" y="104"/>
                    </a:lnTo>
                    <a:lnTo>
                      <a:pt x="26" y="100"/>
                    </a:lnTo>
                    <a:lnTo>
                      <a:pt x="23" y="90"/>
                    </a:lnTo>
                    <a:lnTo>
                      <a:pt x="21" y="83"/>
                    </a:lnTo>
                    <a:lnTo>
                      <a:pt x="12" y="78"/>
                    </a:lnTo>
                    <a:lnTo>
                      <a:pt x="9" y="76"/>
                    </a:lnTo>
                    <a:lnTo>
                      <a:pt x="9" y="67"/>
                    </a:lnTo>
                    <a:lnTo>
                      <a:pt x="12" y="62"/>
                    </a:lnTo>
                    <a:lnTo>
                      <a:pt x="14" y="55"/>
                    </a:lnTo>
                    <a:lnTo>
                      <a:pt x="14" y="48"/>
                    </a:lnTo>
                    <a:lnTo>
                      <a:pt x="7" y="33"/>
                    </a:lnTo>
                    <a:lnTo>
                      <a:pt x="4" y="22"/>
                    </a:lnTo>
                    <a:lnTo>
                      <a:pt x="26" y="22"/>
                    </a:lnTo>
                    <a:lnTo>
                      <a:pt x="75" y="22"/>
                    </a:lnTo>
                    <a:lnTo>
                      <a:pt x="127" y="22"/>
                    </a:lnTo>
                    <a:lnTo>
                      <a:pt x="177" y="22"/>
                    </a:lnTo>
                    <a:lnTo>
                      <a:pt x="227" y="19"/>
                    </a:lnTo>
                    <a:lnTo>
                      <a:pt x="276" y="19"/>
                    </a:lnTo>
                    <a:lnTo>
                      <a:pt x="326" y="19"/>
                    </a:lnTo>
                    <a:lnTo>
                      <a:pt x="376" y="17"/>
                    </a:lnTo>
                    <a:lnTo>
                      <a:pt x="425" y="17"/>
                    </a:lnTo>
                    <a:lnTo>
                      <a:pt x="475" y="15"/>
                    </a:lnTo>
                    <a:lnTo>
                      <a:pt x="527" y="15"/>
                    </a:lnTo>
                    <a:lnTo>
                      <a:pt x="576" y="12"/>
                    </a:lnTo>
                    <a:lnTo>
                      <a:pt x="626" y="10"/>
                    </a:lnTo>
                    <a:lnTo>
                      <a:pt x="676" y="10"/>
                    </a:lnTo>
                    <a:lnTo>
                      <a:pt x="725" y="7"/>
                    </a:lnTo>
                    <a:lnTo>
                      <a:pt x="775" y="5"/>
                    </a:lnTo>
                    <a:lnTo>
                      <a:pt x="827" y="0"/>
                    </a:lnTo>
                    <a:lnTo>
                      <a:pt x="827" y="15"/>
                    </a:lnTo>
                    <a:lnTo>
                      <a:pt x="832" y="24"/>
                    </a:lnTo>
                    <a:lnTo>
                      <a:pt x="839" y="31"/>
                    </a:lnTo>
                    <a:lnTo>
                      <a:pt x="848" y="36"/>
                    </a:lnTo>
                    <a:lnTo>
                      <a:pt x="851" y="48"/>
                    </a:lnTo>
                    <a:lnTo>
                      <a:pt x="844" y="64"/>
                    </a:lnTo>
                    <a:lnTo>
                      <a:pt x="844" y="85"/>
                    </a:lnTo>
                    <a:lnTo>
                      <a:pt x="846" y="109"/>
                    </a:lnTo>
                    <a:lnTo>
                      <a:pt x="853" y="130"/>
                    </a:lnTo>
                    <a:lnTo>
                      <a:pt x="860" y="149"/>
                    </a:lnTo>
                    <a:lnTo>
                      <a:pt x="879" y="163"/>
                    </a:lnTo>
                    <a:lnTo>
                      <a:pt x="905" y="171"/>
                    </a:lnTo>
                    <a:lnTo>
                      <a:pt x="922" y="185"/>
                    </a:lnTo>
                    <a:lnTo>
                      <a:pt x="929" y="204"/>
                    </a:lnTo>
                    <a:lnTo>
                      <a:pt x="929" y="20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8" name="Freeform 55">
                <a:extLst>
                  <a:ext uri="{FF2B5EF4-FFF2-40B4-BE49-F238E27FC236}">
                    <a16:creationId xmlns:a16="http://schemas.microsoft.com/office/drawing/2014/main" id="{84DA701E-2D94-3E6C-7D23-809598662BAA}"/>
                  </a:ext>
                </a:extLst>
              </p:cNvPr>
              <p:cNvSpPr>
                <a:spLocks/>
              </p:cNvSpPr>
              <p:nvPr/>
            </p:nvSpPr>
            <p:spPr bwMode="auto">
              <a:xfrm>
                <a:off x="1437" y="-1135"/>
                <a:ext cx="1005" cy="1629"/>
              </a:xfrm>
              <a:custGeom>
                <a:avLst/>
                <a:gdLst>
                  <a:gd name="T0" fmla="*/ 988 w 1005"/>
                  <a:gd name="T1" fmla="*/ 1206 h 1629"/>
                  <a:gd name="T2" fmla="*/ 967 w 1005"/>
                  <a:gd name="T3" fmla="*/ 1336 h 1629"/>
                  <a:gd name="T4" fmla="*/ 946 w 1005"/>
                  <a:gd name="T5" fmla="*/ 1466 h 1629"/>
                  <a:gd name="T6" fmla="*/ 924 w 1005"/>
                  <a:gd name="T7" fmla="*/ 1596 h 1629"/>
                  <a:gd name="T8" fmla="*/ 832 w 1005"/>
                  <a:gd name="T9" fmla="*/ 1615 h 1629"/>
                  <a:gd name="T10" fmla="*/ 716 w 1005"/>
                  <a:gd name="T11" fmla="*/ 1594 h 1629"/>
                  <a:gd name="T12" fmla="*/ 601 w 1005"/>
                  <a:gd name="T13" fmla="*/ 1572 h 1629"/>
                  <a:gd name="T14" fmla="*/ 485 w 1005"/>
                  <a:gd name="T15" fmla="*/ 1549 h 1629"/>
                  <a:gd name="T16" fmla="*/ 286 w 1005"/>
                  <a:gd name="T17" fmla="*/ 1509 h 1629"/>
                  <a:gd name="T18" fmla="*/ 57 w 1005"/>
                  <a:gd name="T19" fmla="*/ 1457 h 1629"/>
                  <a:gd name="T20" fmla="*/ 33 w 1005"/>
                  <a:gd name="T21" fmla="*/ 1308 h 1629"/>
                  <a:gd name="T22" fmla="*/ 76 w 1005"/>
                  <a:gd name="T23" fmla="*/ 1123 h 1629"/>
                  <a:gd name="T24" fmla="*/ 109 w 1005"/>
                  <a:gd name="T25" fmla="*/ 1029 h 1629"/>
                  <a:gd name="T26" fmla="*/ 123 w 1005"/>
                  <a:gd name="T27" fmla="*/ 996 h 1629"/>
                  <a:gd name="T28" fmla="*/ 88 w 1005"/>
                  <a:gd name="T29" fmla="*/ 958 h 1629"/>
                  <a:gd name="T30" fmla="*/ 166 w 1005"/>
                  <a:gd name="T31" fmla="*/ 854 h 1629"/>
                  <a:gd name="T32" fmla="*/ 255 w 1005"/>
                  <a:gd name="T33" fmla="*/ 714 h 1629"/>
                  <a:gd name="T34" fmla="*/ 213 w 1005"/>
                  <a:gd name="T35" fmla="*/ 636 h 1629"/>
                  <a:gd name="T36" fmla="*/ 215 w 1005"/>
                  <a:gd name="T37" fmla="*/ 591 h 1629"/>
                  <a:gd name="T38" fmla="*/ 213 w 1005"/>
                  <a:gd name="T39" fmla="*/ 534 h 1629"/>
                  <a:gd name="T40" fmla="*/ 237 w 1005"/>
                  <a:gd name="T41" fmla="*/ 433 h 1629"/>
                  <a:gd name="T42" fmla="*/ 267 w 1005"/>
                  <a:gd name="T43" fmla="*/ 300 h 1629"/>
                  <a:gd name="T44" fmla="*/ 298 w 1005"/>
                  <a:gd name="T45" fmla="*/ 168 h 1629"/>
                  <a:gd name="T46" fmla="*/ 329 w 1005"/>
                  <a:gd name="T47" fmla="*/ 33 h 1629"/>
                  <a:gd name="T48" fmla="*/ 473 w 1005"/>
                  <a:gd name="T49" fmla="*/ 33 h 1629"/>
                  <a:gd name="T50" fmla="*/ 426 w 1005"/>
                  <a:gd name="T51" fmla="*/ 239 h 1629"/>
                  <a:gd name="T52" fmla="*/ 456 w 1005"/>
                  <a:gd name="T53" fmla="*/ 310 h 1629"/>
                  <a:gd name="T54" fmla="*/ 456 w 1005"/>
                  <a:gd name="T55" fmla="*/ 355 h 1629"/>
                  <a:gd name="T56" fmla="*/ 447 w 1005"/>
                  <a:gd name="T57" fmla="*/ 364 h 1629"/>
                  <a:gd name="T58" fmla="*/ 492 w 1005"/>
                  <a:gd name="T59" fmla="*/ 414 h 1629"/>
                  <a:gd name="T60" fmla="*/ 534 w 1005"/>
                  <a:gd name="T61" fmla="*/ 497 h 1629"/>
                  <a:gd name="T62" fmla="*/ 553 w 1005"/>
                  <a:gd name="T63" fmla="*/ 542 h 1629"/>
                  <a:gd name="T64" fmla="*/ 570 w 1005"/>
                  <a:gd name="T65" fmla="*/ 549 h 1629"/>
                  <a:gd name="T66" fmla="*/ 582 w 1005"/>
                  <a:gd name="T67" fmla="*/ 568 h 1629"/>
                  <a:gd name="T68" fmla="*/ 608 w 1005"/>
                  <a:gd name="T69" fmla="*/ 575 h 1629"/>
                  <a:gd name="T70" fmla="*/ 593 w 1005"/>
                  <a:gd name="T71" fmla="*/ 612 h 1629"/>
                  <a:gd name="T72" fmla="*/ 565 w 1005"/>
                  <a:gd name="T73" fmla="*/ 669 h 1629"/>
                  <a:gd name="T74" fmla="*/ 567 w 1005"/>
                  <a:gd name="T75" fmla="*/ 709 h 1629"/>
                  <a:gd name="T76" fmla="*/ 546 w 1005"/>
                  <a:gd name="T77" fmla="*/ 740 h 1629"/>
                  <a:gd name="T78" fmla="*/ 534 w 1005"/>
                  <a:gd name="T79" fmla="*/ 787 h 1629"/>
                  <a:gd name="T80" fmla="*/ 560 w 1005"/>
                  <a:gd name="T81" fmla="*/ 813 h 1629"/>
                  <a:gd name="T82" fmla="*/ 596 w 1005"/>
                  <a:gd name="T83" fmla="*/ 802 h 1629"/>
                  <a:gd name="T84" fmla="*/ 619 w 1005"/>
                  <a:gd name="T85" fmla="*/ 780 h 1629"/>
                  <a:gd name="T86" fmla="*/ 641 w 1005"/>
                  <a:gd name="T87" fmla="*/ 806 h 1629"/>
                  <a:gd name="T88" fmla="*/ 641 w 1005"/>
                  <a:gd name="T89" fmla="*/ 839 h 1629"/>
                  <a:gd name="T90" fmla="*/ 660 w 1005"/>
                  <a:gd name="T91" fmla="*/ 908 h 1629"/>
                  <a:gd name="T92" fmla="*/ 671 w 1005"/>
                  <a:gd name="T93" fmla="*/ 941 h 1629"/>
                  <a:gd name="T94" fmla="*/ 679 w 1005"/>
                  <a:gd name="T95" fmla="*/ 984 h 1629"/>
                  <a:gd name="T96" fmla="*/ 705 w 1005"/>
                  <a:gd name="T97" fmla="*/ 998 h 1629"/>
                  <a:gd name="T98" fmla="*/ 716 w 1005"/>
                  <a:gd name="T99" fmla="*/ 1050 h 1629"/>
                  <a:gd name="T100" fmla="*/ 733 w 1005"/>
                  <a:gd name="T101" fmla="*/ 1083 h 1629"/>
                  <a:gd name="T102" fmla="*/ 745 w 1005"/>
                  <a:gd name="T103" fmla="*/ 1071 h 1629"/>
                  <a:gd name="T104" fmla="*/ 806 w 1005"/>
                  <a:gd name="T105" fmla="*/ 1081 h 1629"/>
                  <a:gd name="T106" fmla="*/ 832 w 1005"/>
                  <a:gd name="T107" fmla="*/ 1066 h 1629"/>
                  <a:gd name="T108" fmla="*/ 917 w 1005"/>
                  <a:gd name="T109" fmla="*/ 1081 h 1629"/>
                  <a:gd name="T110" fmla="*/ 943 w 1005"/>
                  <a:gd name="T111" fmla="*/ 1081 h 1629"/>
                  <a:gd name="T112" fmla="*/ 960 w 1005"/>
                  <a:gd name="T113" fmla="*/ 1050 h 1629"/>
                  <a:gd name="T114" fmla="*/ 981 w 1005"/>
                  <a:gd name="T115" fmla="*/ 1064 h 1629"/>
                  <a:gd name="T116" fmla="*/ 1005 w 1005"/>
                  <a:gd name="T117" fmla="*/ 1109 h 1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5" h="1629">
                    <a:moveTo>
                      <a:pt x="1005" y="1109"/>
                    </a:moveTo>
                    <a:lnTo>
                      <a:pt x="1000" y="1142"/>
                    </a:lnTo>
                    <a:lnTo>
                      <a:pt x="995" y="1175"/>
                    </a:lnTo>
                    <a:lnTo>
                      <a:pt x="988" y="1206"/>
                    </a:lnTo>
                    <a:lnTo>
                      <a:pt x="983" y="1239"/>
                    </a:lnTo>
                    <a:lnTo>
                      <a:pt x="979" y="1272"/>
                    </a:lnTo>
                    <a:lnTo>
                      <a:pt x="974" y="1305"/>
                    </a:lnTo>
                    <a:lnTo>
                      <a:pt x="967" y="1336"/>
                    </a:lnTo>
                    <a:lnTo>
                      <a:pt x="962" y="1369"/>
                    </a:lnTo>
                    <a:lnTo>
                      <a:pt x="957" y="1402"/>
                    </a:lnTo>
                    <a:lnTo>
                      <a:pt x="950" y="1433"/>
                    </a:lnTo>
                    <a:lnTo>
                      <a:pt x="946" y="1466"/>
                    </a:lnTo>
                    <a:lnTo>
                      <a:pt x="941" y="1499"/>
                    </a:lnTo>
                    <a:lnTo>
                      <a:pt x="936" y="1532"/>
                    </a:lnTo>
                    <a:lnTo>
                      <a:pt x="929" y="1563"/>
                    </a:lnTo>
                    <a:lnTo>
                      <a:pt x="924" y="1596"/>
                    </a:lnTo>
                    <a:lnTo>
                      <a:pt x="920" y="1629"/>
                    </a:lnTo>
                    <a:lnTo>
                      <a:pt x="889" y="1624"/>
                    </a:lnTo>
                    <a:lnTo>
                      <a:pt x="861" y="1620"/>
                    </a:lnTo>
                    <a:lnTo>
                      <a:pt x="832" y="1615"/>
                    </a:lnTo>
                    <a:lnTo>
                      <a:pt x="804" y="1608"/>
                    </a:lnTo>
                    <a:lnTo>
                      <a:pt x="773" y="1603"/>
                    </a:lnTo>
                    <a:lnTo>
                      <a:pt x="745" y="1598"/>
                    </a:lnTo>
                    <a:lnTo>
                      <a:pt x="716" y="1594"/>
                    </a:lnTo>
                    <a:lnTo>
                      <a:pt x="688" y="1589"/>
                    </a:lnTo>
                    <a:lnTo>
                      <a:pt x="660" y="1582"/>
                    </a:lnTo>
                    <a:lnTo>
                      <a:pt x="629" y="1577"/>
                    </a:lnTo>
                    <a:lnTo>
                      <a:pt x="601" y="1572"/>
                    </a:lnTo>
                    <a:lnTo>
                      <a:pt x="572" y="1565"/>
                    </a:lnTo>
                    <a:lnTo>
                      <a:pt x="544" y="1561"/>
                    </a:lnTo>
                    <a:lnTo>
                      <a:pt x="515" y="1556"/>
                    </a:lnTo>
                    <a:lnTo>
                      <a:pt x="485" y="1549"/>
                    </a:lnTo>
                    <a:lnTo>
                      <a:pt x="456" y="1544"/>
                    </a:lnTo>
                    <a:lnTo>
                      <a:pt x="400" y="1532"/>
                    </a:lnTo>
                    <a:lnTo>
                      <a:pt x="343" y="1520"/>
                    </a:lnTo>
                    <a:lnTo>
                      <a:pt x="286" y="1509"/>
                    </a:lnTo>
                    <a:lnTo>
                      <a:pt x="229" y="1497"/>
                    </a:lnTo>
                    <a:lnTo>
                      <a:pt x="170" y="1483"/>
                    </a:lnTo>
                    <a:lnTo>
                      <a:pt x="114" y="1471"/>
                    </a:lnTo>
                    <a:lnTo>
                      <a:pt x="57" y="1457"/>
                    </a:lnTo>
                    <a:lnTo>
                      <a:pt x="0" y="1445"/>
                    </a:lnTo>
                    <a:lnTo>
                      <a:pt x="12" y="1397"/>
                    </a:lnTo>
                    <a:lnTo>
                      <a:pt x="21" y="1353"/>
                    </a:lnTo>
                    <a:lnTo>
                      <a:pt x="33" y="1308"/>
                    </a:lnTo>
                    <a:lnTo>
                      <a:pt x="43" y="1260"/>
                    </a:lnTo>
                    <a:lnTo>
                      <a:pt x="55" y="1215"/>
                    </a:lnTo>
                    <a:lnTo>
                      <a:pt x="64" y="1170"/>
                    </a:lnTo>
                    <a:lnTo>
                      <a:pt x="76" y="1123"/>
                    </a:lnTo>
                    <a:lnTo>
                      <a:pt x="88" y="1074"/>
                    </a:lnTo>
                    <a:lnTo>
                      <a:pt x="88" y="1071"/>
                    </a:lnTo>
                    <a:lnTo>
                      <a:pt x="104" y="1043"/>
                    </a:lnTo>
                    <a:lnTo>
                      <a:pt x="109" y="1029"/>
                    </a:lnTo>
                    <a:lnTo>
                      <a:pt x="109" y="1019"/>
                    </a:lnTo>
                    <a:lnTo>
                      <a:pt x="114" y="1012"/>
                    </a:lnTo>
                    <a:lnTo>
                      <a:pt x="121" y="1005"/>
                    </a:lnTo>
                    <a:lnTo>
                      <a:pt x="123" y="996"/>
                    </a:lnTo>
                    <a:lnTo>
                      <a:pt x="118" y="986"/>
                    </a:lnTo>
                    <a:lnTo>
                      <a:pt x="109" y="977"/>
                    </a:lnTo>
                    <a:lnTo>
                      <a:pt x="92" y="969"/>
                    </a:lnTo>
                    <a:lnTo>
                      <a:pt x="88" y="958"/>
                    </a:lnTo>
                    <a:lnTo>
                      <a:pt x="90" y="939"/>
                    </a:lnTo>
                    <a:lnTo>
                      <a:pt x="111" y="910"/>
                    </a:lnTo>
                    <a:lnTo>
                      <a:pt x="144" y="877"/>
                    </a:lnTo>
                    <a:lnTo>
                      <a:pt x="166" y="854"/>
                    </a:lnTo>
                    <a:lnTo>
                      <a:pt x="170" y="837"/>
                    </a:lnTo>
                    <a:lnTo>
                      <a:pt x="194" y="802"/>
                    </a:lnTo>
                    <a:lnTo>
                      <a:pt x="237" y="750"/>
                    </a:lnTo>
                    <a:lnTo>
                      <a:pt x="255" y="714"/>
                    </a:lnTo>
                    <a:lnTo>
                      <a:pt x="253" y="695"/>
                    </a:lnTo>
                    <a:lnTo>
                      <a:pt x="241" y="676"/>
                    </a:lnTo>
                    <a:lnTo>
                      <a:pt x="225" y="657"/>
                    </a:lnTo>
                    <a:lnTo>
                      <a:pt x="213" y="636"/>
                    </a:lnTo>
                    <a:lnTo>
                      <a:pt x="211" y="627"/>
                    </a:lnTo>
                    <a:lnTo>
                      <a:pt x="208" y="612"/>
                    </a:lnTo>
                    <a:lnTo>
                      <a:pt x="211" y="598"/>
                    </a:lnTo>
                    <a:lnTo>
                      <a:pt x="215" y="591"/>
                    </a:lnTo>
                    <a:lnTo>
                      <a:pt x="215" y="577"/>
                    </a:lnTo>
                    <a:lnTo>
                      <a:pt x="211" y="553"/>
                    </a:lnTo>
                    <a:lnTo>
                      <a:pt x="211" y="539"/>
                    </a:lnTo>
                    <a:lnTo>
                      <a:pt x="213" y="534"/>
                    </a:lnTo>
                    <a:lnTo>
                      <a:pt x="213" y="532"/>
                    </a:lnTo>
                    <a:lnTo>
                      <a:pt x="222" y="499"/>
                    </a:lnTo>
                    <a:lnTo>
                      <a:pt x="229" y="466"/>
                    </a:lnTo>
                    <a:lnTo>
                      <a:pt x="237" y="433"/>
                    </a:lnTo>
                    <a:lnTo>
                      <a:pt x="244" y="400"/>
                    </a:lnTo>
                    <a:lnTo>
                      <a:pt x="253" y="367"/>
                    </a:lnTo>
                    <a:lnTo>
                      <a:pt x="260" y="333"/>
                    </a:lnTo>
                    <a:lnTo>
                      <a:pt x="267" y="300"/>
                    </a:lnTo>
                    <a:lnTo>
                      <a:pt x="274" y="267"/>
                    </a:lnTo>
                    <a:lnTo>
                      <a:pt x="284" y="234"/>
                    </a:lnTo>
                    <a:lnTo>
                      <a:pt x="291" y="201"/>
                    </a:lnTo>
                    <a:lnTo>
                      <a:pt x="298" y="168"/>
                    </a:lnTo>
                    <a:lnTo>
                      <a:pt x="307" y="135"/>
                    </a:lnTo>
                    <a:lnTo>
                      <a:pt x="315" y="102"/>
                    </a:lnTo>
                    <a:lnTo>
                      <a:pt x="322" y="69"/>
                    </a:lnTo>
                    <a:lnTo>
                      <a:pt x="329" y="33"/>
                    </a:lnTo>
                    <a:lnTo>
                      <a:pt x="338" y="0"/>
                    </a:lnTo>
                    <a:lnTo>
                      <a:pt x="381" y="12"/>
                    </a:lnTo>
                    <a:lnTo>
                      <a:pt x="440" y="24"/>
                    </a:lnTo>
                    <a:lnTo>
                      <a:pt x="473" y="33"/>
                    </a:lnTo>
                    <a:lnTo>
                      <a:pt x="461" y="83"/>
                    </a:lnTo>
                    <a:lnTo>
                      <a:pt x="449" y="135"/>
                    </a:lnTo>
                    <a:lnTo>
                      <a:pt x="437" y="187"/>
                    </a:lnTo>
                    <a:lnTo>
                      <a:pt x="426" y="239"/>
                    </a:lnTo>
                    <a:lnTo>
                      <a:pt x="437" y="263"/>
                    </a:lnTo>
                    <a:lnTo>
                      <a:pt x="445" y="277"/>
                    </a:lnTo>
                    <a:lnTo>
                      <a:pt x="449" y="293"/>
                    </a:lnTo>
                    <a:lnTo>
                      <a:pt x="456" y="310"/>
                    </a:lnTo>
                    <a:lnTo>
                      <a:pt x="459" y="315"/>
                    </a:lnTo>
                    <a:lnTo>
                      <a:pt x="459" y="331"/>
                    </a:lnTo>
                    <a:lnTo>
                      <a:pt x="454" y="343"/>
                    </a:lnTo>
                    <a:lnTo>
                      <a:pt x="456" y="355"/>
                    </a:lnTo>
                    <a:lnTo>
                      <a:pt x="454" y="362"/>
                    </a:lnTo>
                    <a:lnTo>
                      <a:pt x="449" y="362"/>
                    </a:lnTo>
                    <a:lnTo>
                      <a:pt x="447" y="364"/>
                    </a:lnTo>
                    <a:lnTo>
                      <a:pt x="447" y="364"/>
                    </a:lnTo>
                    <a:lnTo>
                      <a:pt x="449" y="367"/>
                    </a:lnTo>
                    <a:lnTo>
                      <a:pt x="461" y="381"/>
                    </a:lnTo>
                    <a:lnTo>
                      <a:pt x="473" y="400"/>
                    </a:lnTo>
                    <a:lnTo>
                      <a:pt x="492" y="414"/>
                    </a:lnTo>
                    <a:lnTo>
                      <a:pt x="497" y="421"/>
                    </a:lnTo>
                    <a:lnTo>
                      <a:pt x="515" y="459"/>
                    </a:lnTo>
                    <a:lnTo>
                      <a:pt x="523" y="480"/>
                    </a:lnTo>
                    <a:lnTo>
                      <a:pt x="534" y="497"/>
                    </a:lnTo>
                    <a:lnTo>
                      <a:pt x="539" y="516"/>
                    </a:lnTo>
                    <a:lnTo>
                      <a:pt x="549" y="532"/>
                    </a:lnTo>
                    <a:lnTo>
                      <a:pt x="551" y="539"/>
                    </a:lnTo>
                    <a:lnTo>
                      <a:pt x="553" y="542"/>
                    </a:lnTo>
                    <a:lnTo>
                      <a:pt x="553" y="542"/>
                    </a:lnTo>
                    <a:lnTo>
                      <a:pt x="563" y="542"/>
                    </a:lnTo>
                    <a:lnTo>
                      <a:pt x="565" y="542"/>
                    </a:lnTo>
                    <a:lnTo>
                      <a:pt x="570" y="549"/>
                    </a:lnTo>
                    <a:lnTo>
                      <a:pt x="567" y="558"/>
                    </a:lnTo>
                    <a:lnTo>
                      <a:pt x="570" y="563"/>
                    </a:lnTo>
                    <a:lnTo>
                      <a:pt x="577" y="565"/>
                    </a:lnTo>
                    <a:lnTo>
                      <a:pt x="582" y="568"/>
                    </a:lnTo>
                    <a:lnTo>
                      <a:pt x="603" y="568"/>
                    </a:lnTo>
                    <a:lnTo>
                      <a:pt x="608" y="568"/>
                    </a:lnTo>
                    <a:lnTo>
                      <a:pt x="608" y="570"/>
                    </a:lnTo>
                    <a:lnTo>
                      <a:pt x="608" y="575"/>
                    </a:lnTo>
                    <a:lnTo>
                      <a:pt x="608" y="582"/>
                    </a:lnTo>
                    <a:lnTo>
                      <a:pt x="603" y="591"/>
                    </a:lnTo>
                    <a:lnTo>
                      <a:pt x="596" y="601"/>
                    </a:lnTo>
                    <a:lnTo>
                      <a:pt x="593" y="612"/>
                    </a:lnTo>
                    <a:lnTo>
                      <a:pt x="584" y="634"/>
                    </a:lnTo>
                    <a:lnTo>
                      <a:pt x="577" y="648"/>
                    </a:lnTo>
                    <a:lnTo>
                      <a:pt x="575" y="662"/>
                    </a:lnTo>
                    <a:lnTo>
                      <a:pt x="565" y="669"/>
                    </a:lnTo>
                    <a:lnTo>
                      <a:pt x="567" y="681"/>
                    </a:lnTo>
                    <a:lnTo>
                      <a:pt x="563" y="695"/>
                    </a:lnTo>
                    <a:lnTo>
                      <a:pt x="563" y="700"/>
                    </a:lnTo>
                    <a:lnTo>
                      <a:pt x="567" y="709"/>
                    </a:lnTo>
                    <a:lnTo>
                      <a:pt x="567" y="728"/>
                    </a:lnTo>
                    <a:lnTo>
                      <a:pt x="565" y="731"/>
                    </a:lnTo>
                    <a:lnTo>
                      <a:pt x="551" y="735"/>
                    </a:lnTo>
                    <a:lnTo>
                      <a:pt x="546" y="740"/>
                    </a:lnTo>
                    <a:lnTo>
                      <a:pt x="544" y="747"/>
                    </a:lnTo>
                    <a:lnTo>
                      <a:pt x="544" y="769"/>
                    </a:lnTo>
                    <a:lnTo>
                      <a:pt x="537" y="778"/>
                    </a:lnTo>
                    <a:lnTo>
                      <a:pt x="534" y="787"/>
                    </a:lnTo>
                    <a:lnTo>
                      <a:pt x="534" y="790"/>
                    </a:lnTo>
                    <a:lnTo>
                      <a:pt x="546" y="797"/>
                    </a:lnTo>
                    <a:lnTo>
                      <a:pt x="558" y="811"/>
                    </a:lnTo>
                    <a:lnTo>
                      <a:pt x="560" y="813"/>
                    </a:lnTo>
                    <a:lnTo>
                      <a:pt x="565" y="813"/>
                    </a:lnTo>
                    <a:lnTo>
                      <a:pt x="572" y="811"/>
                    </a:lnTo>
                    <a:lnTo>
                      <a:pt x="579" y="806"/>
                    </a:lnTo>
                    <a:lnTo>
                      <a:pt x="596" y="802"/>
                    </a:lnTo>
                    <a:lnTo>
                      <a:pt x="615" y="787"/>
                    </a:lnTo>
                    <a:lnTo>
                      <a:pt x="617" y="783"/>
                    </a:lnTo>
                    <a:lnTo>
                      <a:pt x="617" y="780"/>
                    </a:lnTo>
                    <a:lnTo>
                      <a:pt x="619" y="780"/>
                    </a:lnTo>
                    <a:lnTo>
                      <a:pt x="624" y="785"/>
                    </a:lnTo>
                    <a:lnTo>
                      <a:pt x="634" y="797"/>
                    </a:lnTo>
                    <a:lnTo>
                      <a:pt x="641" y="804"/>
                    </a:lnTo>
                    <a:lnTo>
                      <a:pt x="641" y="806"/>
                    </a:lnTo>
                    <a:lnTo>
                      <a:pt x="643" y="809"/>
                    </a:lnTo>
                    <a:lnTo>
                      <a:pt x="641" y="818"/>
                    </a:lnTo>
                    <a:lnTo>
                      <a:pt x="643" y="828"/>
                    </a:lnTo>
                    <a:lnTo>
                      <a:pt x="641" y="839"/>
                    </a:lnTo>
                    <a:lnTo>
                      <a:pt x="645" y="854"/>
                    </a:lnTo>
                    <a:lnTo>
                      <a:pt x="645" y="870"/>
                    </a:lnTo>
                    <a:lnTo>
                      <a:pt x="655" y="891"/>
                    </a:lnTo>
                    <a:lnTo>
                      <a:pt x="660" y="908"/>
                    </a:lnTo>
                    <a:lnTo>
                      <a:pt x="664" y="915"/>
                    </a:lnTo>
                    <a:lnTo>
                      <a:pt x="669" y="925"/>
                    </a:lnTo>
                    <a:lnTo>
                      <a:pt x="671" y="934"/>
                    </a:lnTo>
                    <a:lnTo>
                      <a:pt x="671" y="941"/>
                    </a:lnTo>
                    <a:lnTo>
                      <a:pt x="662" y="955"/>
                    </a:lnTo>
                    <a:lnTo>
                      <a:pt x="664" y="960"/>
                    </a:lnTo>
                    <a:lnTo>
                      <a:pt x="667" y="967"/>
                    </a:lnTo>
                    <a:lnTo>
                      <a:pt x="679" y="984"/>
                    </a:lnTo>
                    <a:lnTo>
                      <a:pt x="681" y="986"/>
                    </a:lnTo>
                    <a:lnTo>
                      <a:pt x="693" y="986"/>
                    </a:lnTo>
                    <a:lnTo>
                      <a:pt x="700" y="991"/>
                    </a:lnTo>
                    <a:lnTo>
                      <a:pt x="705" y="998"/>
                    </a:lnTo>
                    <a:lnTo>
                      <a:pt x="709" y="1010"/>
                    </a:lnTo>
                    <a:lnTo>
                      <a:pt x="712" y="1022"/>
                    </a:lnTo>
                    <a:lnTo>
                      <a:pt x="712" y="1033"/>
                    </a:lnTo>
                    <a:lnTo>
                      <a:pt x="716" y="1050"/>
                    </a:lnTo>
                    <a:lnTo>
                      <a:pt x="714" y="1062"/>
                    </a:lnTo>
                    <a:lnTo>
                      <a:pt x="719" y="1066"/>
                    </a:lnTo>
                    <a:lnTo>
                      <a:pt x="726" y="1076"/>
                    </a:lnTo>
                    <a:lnTo>
                      <a:pt x="733" y="1083"/>
                    </a:lnTo>
                    <a:lnTo>
                      <a:pt x="738" y="1083"/>
                    </a:lnTo>
                    <a:lnTo>
                      <a:pt x="740" y="1083"/>
                    </a:lnTo>
                    <a:lnTo>
                      <a:pt x="742" y="1076"/>
                    </a:lnTo>
                    <a:lnTo>
                      <a:pt x="745" y="1071"/>
                    </a:lnTo>
                    <a:lnTo>
                      <a:pt x="757" y="1066"/>
                    </a:lnTo>
                    <a:lnTo>
                      <a:pt x="768" y="1066"/>
                    </a:lnTo>
                    <a:lnTo>
                      <a:pt x="804" y="1081"/>
                    </a:lnTo>
                    <a:lnTo>
                      <a:pt x="806" y="1081"/>
                    </a:lnTo>
                    <a:lnTo>
                      <a:pt x="809" y="1078"/>
                    </a:lnTo>
                    <a:lnTo>
                      <a:pt x="818" y="1069"/>
                    </a:lnTo>
                    <a:lnTo>
                      <a:pt x="823" y="1066"/>
                    </a:lnTo>
                    <a:lnTo>
                      <a:pt x="832" y="1066"/>
                    </a:lnTo>
                    <a:lnTo>
                      <a:pt x="856" y="1074"/>
                    </a:lnTo>
                    <a:lnTo>
                      <a:pt x="882" y="1076"/>
                    </a:lnTo>
                    <a:lnTo>
                      <a:pt x="896" y="1081"/>
                    </a:lnTo>
                    <a:lnTo>
                      <a:pt x="917" y="1081"/>
                    </a:lnTo>
                    <a:lnTo>
                      <a:pt x="941" y="1088"/>
                    </a:lnTo>
                    <a:lnTo>
                      <a:pt x="943" y="1088"/>
                    </a:lnTo>
                    <a:lnTo>
                      <a:pt x="946" y="1085"/>
                    </a:lnTo>
                    <a:lnTo>
                      <a:pt x="943" y="1081"/>
                    </a:lnTo>
                    <a:lnTo>
                      <a:pt x="943" y="1071"/>
                    </a:lnTo>
                    <a:lnTo>
                      <a:pt x="950" y="1062"/>
                    </a:lnTo>
                    <a:lnTo>
                      <a:pt x="955" y="1055"/>
                    </a:lnTo>
                    <a:lnTo>
                      <a:pt x="960" y="1050"/>
                    </a:lnTo>
                    <a:lnTo>
                      <a:pt x="967" y="1050"/>
                    </a:lnTo>
                    <a:lnTo>
                      <a:pt x="972" y="1050"/>
                    </a:lnTo>
                    <a:lnTo>
                      <a:pt x="976" y="1057"/>
                    </a:lnTo>
                    <a:lnTo>
                      <a:pt x="981" y="1064"/>
                    </a:lnTo>
                    <a:lnTo>
                      <a:pt x="986" y="1085"/>
                    </a:lnTo>
                    <a:lnTo>
                      <a:pt x="991" y="1095"/>
                    </a:lnTo>
                    <a:lnTo>
                      <a:pt x="998" y="1102"/>
                    </a:lnTo>
                    <a:lnTo>
                      <a:pt x="1005" y="110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999" name="Freeform 56">
                <a:extLst>
                  <a:ext uri="{FF2B5EF4-FFF2-40B4-BE49-F238E27FC236}">
                    <a16:creationId xmlns:a16="http://schemas.microsoft.com/office/drawing/2014/main" id="{2A67434C-01A8-A0FE-5FB7-13609D7B0308}"/>
                  </a:ext>
                </a:extLst>
              </p:cNvPr>
              <p:cNvSpPr>
                <a:spLocks/>
              </p:cNvSpPr>
              <p:nvPr/>
            </p:nvSpPr>
            <p:spPr bwMode="auto">
              <a:xfrm>
                <a:off x="5432" y="527"/>
                <a:ext cx="669" cy="1171"/>
              </a:xfrm>
              <a:custGeom>
                <a:avLst/>
                <a:gdLst>
                  <a:gd name="T0" fmla="*/ 558 w 669"/>
                  <a:gd name="T1" fmla="*/ 59 h 1171"/>
                  <a:gd name="T2" fmla="*/ 577 w 669"/>
                  <a:gd name="T3" fmla="*/ 85 h 1171"/>
                  <a:gd name="T4" fmla="*/ 605 w 669"/>
                  <a:gd name="T5" fmla="*/ 149 h 1171"/>
                  <a:gd name="T6" fmla="*/ 622 w 669"/>
                  <a:gd name="T7" fmla="*/ 277 h 1171"/>
                  <a:gd name="T8" fmla="*/ 638 w 669"/>
                  <a:gd name="T9" fmla="*/ 464 h 1171"/>
                  <a:gd name="T10" fmla="*/ 655 w 669"/>
                  <a:gd name="T11" fmla="*/ 648 h 1171"/>
                  <a:gd name="T12" fmla="*/ 643 w 669"/>
                  <a:gd name="T13" fmla="*/ 669 h 1171"/>
                  <a:gd name="T14" fmla="*/ 641 w 669"/>
                  <a:gd name="T15" fmla="*/ 695 h 1171"/>
                  <a:gd name="T16" fmla="*/ 664 w 669"/>
                  <a:gd name="T17" fmla="*/ 747 h 1171"/>
                  <a:gd name="T18" fmla="*/ 659 w 669"/>
                  <a:gd name="T19" fmla="*/ 797 h 1171"/>
                  <a:gd name="T20" fmla="*/ 641 w 669"/>
                  <a:gd name="T21" fmla="*/ 842 h 1171"/>
                  <a:gd name="T22" fmla="*/ 619 w 669"/>
                  <a:gd name="T23" fmla="*/ 882 h 1171"/>
                  <a:gd name="T24" fmla="*/ 603 w 669"/>
                  <a:gd name="T25" fmla="*/ 892 h 1171"/>
                  <a:gd name="T26" fmla="*/ 610 w 669"/>
                  <a:gd name="T27" fmla="*/ 913 h 1171"/>
                  <a:gd name="T28" fmla="*/ 605 w 669"/>
                  <a:gd name="T29" fmla="*/ 927 h 1171"/>
                  <a:gd name="T30" fmla="*/ 598 w 669"/>
                  <a:gd name="T31" fmla="*/ 944 h 1171"/>
                  <a:gd name="T32" fmla="*/ 591 w 669"/>
                  <a:gd name="T33" fmla="*/ 967 h 1171"/>
                  <a:gd name="T34" fmla="*/ 596 w 669"/>
                  <a:gd name="T35" fmla="*/ 993 h 1171"/>
                  <a:gd name="T36" fmla="*/ 596 w 669"/>
                  <a:gd name="T37" fmla="*/ 1043 h 1171"/>
                  <a:gd name="T38" fmla="*/ 534 w 669"/>
                  <a:gd name="T39" fmla="*/ 1086 h 1171"/>
                  <a:gd name="T40" fmla="*/ 544 w 669"/>
                  <a:gd name="T41" fmla="*/ 1123 h 1171"/>
                  <a:gd name="T42" fmla="*/ 518 w 669"/>
                  <a:gd name="T43" fmla="*/ 1140 h 1171"/>
                  <a:gd name="T44" fmla="*/ 430 w 669"/>
                  <a:gd name="T45" fmla="*/ 1149 h 1171"/>
                  <a:gd name="T46" fmla="*/ 416 w 669"/>
                  <a:gd name="T47" fmla="*/ 1159 h 1171"/>
                  <a:gd name="T48" fmla="*/ 404 w 669"/>
                  <a:gd name="T49" fmla="*/ 1157 h 1171"/>
                  <a:gd name="T50" fmla="*/ 407 w 669"/>
                  <a:gd name="T51" fmla="*/ 1166 h 1171"/>
                  <a:gd name="T52" fmla="*/ 395 w 669"/>
                  <a:gd name="T53" fmla="*/ 1166 h 1171"/>
                  <a:gd name="T54" fmla="*/ 366 w 669"/>
                  <a:gd name="T55" fmla="*/ 1112 h 1171"/>
                  <a:gd name="T56" fmla="*/ 364 w 669"/>
                  <a:gd name="T57" fmla="*/ 1069 h 1171"/>
                  <a:gd name="T58" fmla="*/ 340 w 669"/>
                  <a:gd name="T59" fmla="*/ 1019 h 1171"/>
                  <a:gd name="T60" fmla="*/ 262 w 669"/>
                  <a:gd name="T61" fmla="*/ 972 h 1171"/>
                  <a:gd name="T62" fmla="*/ 208 w 669"/>
                  <a:gd name="T63" fmla="*/ 920 h 1171"/>
                  <a:gd name="T64" fmla="*/ 239 w 669"/>
                  <a:gd name="T65" fmla="*/ 809 h 1171"/>
                  <a:gd name="T66" fmla="*/ 239 w 669"/>
                  <a:gd name="T67" fmla="*/ 795 h 1171"/>
                  <a:gd name="T68" fmla="*/ 203 w 669"/>
                  <a:gd name="T69" fmla="*/ 778 h 1171"/>
                  <a:gd name="T70" fmla="*/ 151 w 669"/>
                  <a:gd name="T71" fmla="*/ 771 h 1171"/>
                  <a:gd name="T72" fmla="*/ 54 w 669"/>
                  <a:gd name="T73" fmla="*/ 646 h 1171"/>
                  <a:gd name="T74" fmla="*/ 9 w 669"/>
                  <a:gd name="T75" fmla="*/ 577 h 1171"/>
                  <a:gd name="T76" fmla="*/ 9 w 669"/>
                  <a:gd name="T77" fmla="*/ 485 h 1171"/>
                  <a:gd name="T78" fmla="*/ 14 w 669"/>
                  <a:gd name="T79" fmla="*/ 452 h 1171"/>
                  <a:gd name="T80" fmla="*/ 59 w 669"/>
                  <a:gd name="T81" fmla="*/ 405 h 1171"/>
                  <a:gd name="T82" fmla="*/ 78 w 669"/>
                  <a:gd name="T83" fmla="*/ 334 h 1171"/>
                  <a:gd name="T84" fmla="*/ 57 w 669"/>
                  <a:gd name="T85" fmla="*/ 293 h 1171"/>
                  <a:gd name="T86" fmla="*/ 106 w 669"/>
                  <a:gd name="T87" fmla="*/ 253 h 1171"/>
                  <a:gd name="T88" fmla="*/ 168 w 669"/>
                  <a:gd name="T89" fmla="*/ 213 h 1171"/>
                  <a:gd name="T90" fmla="*/ 187 w 669"/>
                  <a:gd name="T91" fmla="*/ 173 h 1171"/>
                  <a:gd name="T92" fmla="*/ 194 w 669"/>
                  <a:gd name="T93" fmla="*/ 121 h 1171"/>
                  <a:gd name="T94" fmla="*/ 161 w 669"/>
                  <a:gd name="T95" fmla="*/ 90 h 1171"/>
                  <a:gd name="T96" fmla="*/ 137 w 669"/>
                  <a:gd name="T97" fmla="*/ 55 h 1171"/>
                  <a:gd name="T98" fmla="*/ 182 w 669"/>
                  <a:gd name="T99" fmla="*/ 26 h 1171"/>
                  <a:gd name="T100" fmla="*/ 390 w 669"/>
                  <a:gd name="T101" fmla="*/ 12 h 1171"/>
                  <a:gd name="T102" fmla="*/ 551 w 669"/>
                  <a:gd name="T103" fmla="*/ 0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9" h="1171">
                    <a:moveTo>
                      <a:pt x="551" y="0"/>
                    </a:moveTo>
                    <a:lnTo>
                      <a:pt x="553" y="33"/>
                    </a:lnTo>
                    <a:lnTo>
                      <a:pt x="558" y="59"/>
                    </a:lnTo>
                    <a:lnTo>
                      <a:pt x="565" y="71"/>
                    </a:lnTo>
                    <a:lnTo>
                      <a:pt x="570" y="81"/>
                    </a:lnTo>
                    <a:lnTo>
                      <a:pt x="577" y="85"/>
                    </a:lnTo>
                    <a:lnTo>
                      <a:pt x="586" y="102"/>
                    </a:lnTo>
                    <a:lnTo>
                      <a:pt x="596" y="130"/>
                    </a:lnTo>
                    <a:lnTo>
                      <a:pt x="605" y="149"/>
                    </a:lnTo>
                    <a:lnTo>
                      <a:pt x="610" y="156"/>
                    </a:lnTo>
                    <a:lnTo>
                      <a:pt x="617" y="213"/>
                    </a:lnTo>
                    <a:lnTo>
                      <a:pt x="622" y="277"/>
                    </a:lnTo>
                    <a:lnTo>
                      <a:pt x="626" y="338"/>
                    </a:lnTo>
                    <a:lnTo>
                      <a:pt x="633" y="402"/>
                    </a:lnTo>
                    <a:lnTo>
                      <a:pt x="638" y="464"/>
                    </a:lnTo>
                    <a:lnTo>
                      <a:pt x="645" y="528"/>
                    </a:lnTo>
                    <a:lnTo>
                      <a:pt x="650" y="589"/>
                    </a:lnTo>
                    <a:lnTo>
                      <a:pt x="655" y="648"/>
                    </a:lnTo>
                    <a:lnTo>
                      <a:pt x="655" y="651"/>
                    </a:lnTo>
                    <a:lnTo>
                      <a:pt x="648" y="658"/>
                    </a:lnTo>
                    <a:lnTo>
                      <a:pt x="643" y="669"/>
                    </a:lnTo>
                    <a:lnTo>
                      <a:pt x="648" y="681"/>
                    </a:lnTo>
                    <a:lnTo>
                      <a:pt x="645" y="688"/>
                    </a:lnTo>
                    <a:lnTo>
                      <a:pt x="641" y="695"/>
                    </a:lnTo>
                    <a:lnTo>
                      <a:pt x="645" y="707"/>
                    </a:lnTo>
                    <a:lnTo>
                      <a:pt x="657" y="729"/>
                    </a:lnTo>
                    <a:lnTo>
                      <a:pt x="664" y="747"/>
                    </a:lnTo>
                    <a:lnTo>
                      <a:pt x="669" y="769"/>
                    </a:lnTo>
                    <a:lnTo>
                      <a:pt x="669" y="783"/>
                    </a:lnTo>
                    <a:lnTo>
                      <a:pt x="659" y="797"/>
                    </a:lnTo>
                    <a:lnTo>
                      <a:pt x="655" y="826"/>
                    </a:lnTo>
                    <a:lnTo>
                      <a:pt x="648" y="837"/>
                    </a:lnTo>
                    <a:lnTo>
                      <a:pt x="641" y="842"/>
                    </a:lnTo>
                    <a:lnTo>
                      <a:pt x="633" y="854"/>
                    </a:lnTo>
                    <a:lnTo>
                      <a:pt x="626" y="873"/>
                    </a:lnTo>
                    <a:lnTo>
                      <a:pt x="619" y="882"/>
                    </a:lnTo>
                    <a:lnTo>
                      <a:pt x="612" y="882"/>
                    </a:lnTo>
                    <a:lnTo>
                      <a:pt x="607" y="885"/>
                    </a:lnTo>
                    <a:lnTo>
                      <a:pt x="603" y="892"/>
                    </a:lnTo>
                    <a:lnTo>
                      <a:pt x="605" y="899"/>
                    </a:lnTo>
                    <a:lnTo>
                      <a:pt x="610" y="906"/>
                    </a:lnTo>
                    <a:lnTo>
                      <a:pt x="610" y="913"/>
                    </a:lnTo>
                    <a:lnTo>
                      <a:pt x="603" y="920"/>
                    </a:lnTo>
                    <a:lnTo>
                      <a:pt x="603" y="925"/>
                    </a:lnTo>
                    <a:lnTo>
                      <a:pt x="605" y="927"/>
                    </a:lnTo>
                    <a:lnTo>
                      <a:pt x="605" y="930"/>
                    </a:lnTo>
                    <a:lnTo>
                      <a:pt x="600" y="932"/>
                    </a:lnTo>
                    <a:lnTo>
                      <a:pt x="598" y="944"/>
                    </a:lnTo>
                    <a:lnTo>
                      <a:pt x="598" y="958"/>
                    </a:lnTo>
                    <a:lnTo>
                      <a:pt x="596" y="967"/>
                    </a:lnTo>
                    <a:lnTo>
                      <a:pt x="591" y="967"/>
                    </a:lnTo>
                    <a:lnTo>
                      <a:pt x="591" y="972"/>
                    </a:lnTo>
                    <a:lnTo>
                      <a:pt x="603" y="989"/>
                    </a:lnTo>
                    <a:lnTo>
                      <a:pt x="596" y="993"/>
                    </a:lnTo>
                    <a:lnTo>
                      <a:pt x="589" y="1010"/>
                    </a:lnTo>
                    <a:lnTo>
                      <a:pt x="589" y="1026"/>
                    </a:lnTo>
                    <a:lnTo>
                      <a:pt x="596" y="1043"/>
                    </a:lnTo>
                    <a:lnTo>
                      <a:pt x="584" y="1060"/>
                    </a:lnTo>
                    <a:lnTo>
                      <a:pt x="551" y="1074"/>
                    </a:lnTo>
                    <a:lnTo>
                      <a:pt x="534" y="1086"/>
                    </a:lnTo>
                    <a:lnTo>
                      <a:pt x="532" y="1093"/>
                    </a:lnTo>
                    <a:lnTo>
                      <a:pt x="537" y="1107"/>
                    </a:lnTo>
                    <a:lnTo>
                      <a:pt x="544" y="1123"/>
                    </a:lnTo>
                    <a:lnTo>
                      <a:pt x="546" y="1135"/>
                    </a:lnTo>
                    <a:lnTo>
                      <a:pt x="541" y="1142"/>
                    </a:lnTo>
                    <a:lnTo>
                      <a:pt x="518" y="1140"/>
                    </a:lnTo>
                    <a:lnTo>
                      <a:pt x="473" y="1128"/>
                    </a:lnTo>
                    <a:lnTo>
                      <a:pt x="444" y="1131"/>
                    </a:lnTo>
                    <a:lnTo>
                      <a:pt x="430" y="1149"/>
                    </a:lnTo>
                    <a:lnTo>
                      <a:pt x="428" y="1161"/>
                    </a:lnTo>
                    <a:lnTo>
                      <a:pt x="430" y="1171"/>
                    </a:lnTo>
                    <a:lnTo>
                      <a:pt x="416" y="1159"/>
                    </a:lnTo>
                    <a:lnTo>
                      <a:pt x="409" y="1154"/>
                    </a:lnTo>
                    <a:lnTo>
                      <a:pt x="407" y="1157"/>
                    </a:lnTo>
                    <a:lnTo>
                      <a:pt x="404" y="1157"/>
                    </a:lnTo>
                    <a:lnTo>
                      <a:pt x="404" y="1161"/>
                    </a:lnTo>
                    <a:lnTo>
                      <a:pt x="404" y="1164"/>
                    </a:lnTo>
                    <a:lnTo>
                      <a:pt x="407" y="1166"/>
                    </a:lnTo>
                    <a:lnTo>
                      <a:pt x="407" y="1168"/>
                    </a:lnTo>
                    <a:lnTo>
                      <a:pt x="404" y="1168"/>
                    </a:lnTo>
                    <a:lnTo>
                      <a:pt x="395" y="1166"/>
                    </a:lnTo>
                    <a:lnTo>
                      <a:pt x="383" y="1152"/>
                    </a:lnTo>
                    <a:lnTo>
                      <a:pt x="371" y="1131"/>
                    </a:lnTo>
                    <a:lnTo>
                      <a:pt x="366" y="1112"/>
                    </a:lnTo>
                    <a:lnTo>
                      <a:pt x="371" y="1097"/>
                    </a:lnTo>
                    <a:lnTo>
                      <a:pt x="371" y="1083"/>
                    </a:lnTo>
                    <a:lnTo>
                      <a:pt x="364" y="1069"/>
                    </a:lnTo>
                    <a:lnTo>
                      <a:pt x="359" y="1055"/>
                    </a:lnTo>
                    <a:lnTo>
                      <a:pt x="357" y="1041"/>
                    </a:lnTo>
                    <a:lnTo>
                      <a:pt x="340" y="1019"/>
                    </a:lnTo>
                    <a:lnTo>
                      <a:pt x="305" y="993"/>
                    </a:lnTo>
                    <a:lnTo>
                      <a:pt x="279" y="977"/>
                    </a:lnTo>
                    <a:lnTo>
                      <a:pt x="262" y="972"/>
                    </a:lnTo>
                    <a:lnTo>
                      <a:pt x="243" y="958"/>
                    </a:lnTo>
                    <a:lnTo>
                      <a:pt x="222" y="937"/>
                    </a:lnTo>
                    <a:lnTo>
                      <a:pt x="208" y="920"/>
                    </a:lnTo>
                    <a:lnTo>
                      <a:pt x="208" y="911"/>
                    </a:lnTo>
                    <a:lnTo>
                      <a:pt x="215" y="878"/>
                    </a:lnTo>
                    <a:lnTo>
                      <a:pt x="239" y="809"/>
                    </a:lnTo>
                    <a:lnTo>
                      <a:pt x="241" y="799"/>
                    </a:lnTo>
                    <a:lnTo>
                      <a:pt x="241" y="797"/>
                    </a:lnTo>
                    <a:lnTo>
                      <a:pt x="239" y="795"/>
                    </a:lnTo>
                    <a:lnTo>
                      <a:pt x="236" y="792"/>
                    </a:lnTo>
                    <a:lnTo>
                      <a:pt x="225" y="785"/>
                    </a:lnTo>
                    <a:lnTo>
                      <a:pt x="203" y="778"/>
                    </a:lnTo>
                    <a:lnTo>
                      <a:pt x="182" y="776"/>
                    </a:lnTo>
                    <a:lnTo>
                      <a:pt x="165" y="785"/>
                    </a:lnTo>
                    <a:lnTo>
                      <a:pt x="151" y="771"/>
                    </a:lnTo>
                    <a:lnTo>
                      <a:pt x="137" y="731"/>
                    </a:lnTo>
                    <a:lnTo>
                      <a:pt x="104" y="688"/>
                    </a:lnTo>
                    <a:lnTo>
                      <a:pt x="54" y="646"/>
                    </a:lnTo>
                    <a:lnTo>
                      <a:pt x="26" y="617"/>
                    </a:lnTo>
                    <a:lnTo>
                      <a:pt x="16" y="601"/>
                    </a:lnTo>
                    <a:lnTo>
                      <a:pt x="9" y="577"/>
                    </a:lnTo>
                    <a:lnTo>
                      <a:pt x="2" y="544"/>
                    </a:lnTo>
                    <a:lnTo>
                      <a:pt x="0" y="518"/>
                    </a:lnTo>
                    <a:lnTo>
                      <a:pt x="9" y="485"/>
                    </a:lnTo>
                    <a:lnTo>
                      <a:pt x="16" y="480"/>
                    </a:lnTo>
                    <a:lnTo>
                      <a:pt x="19" y="471"/>
                    </a:lnTo>
                    <a:lnTo>
                      <a:pt x="14" y="452"/>
                    </a:lnTo>
                    <a:lnTo>
                      <a:pt x="24" y="438"/>
                    </a:lnTo>
                    <a:lnTo>
                      <a:pt x="43" y="426"/>
                    </a:lnTo>
                    <a:lnTo>
                      <a:pt x="59" y="405"/>
                    </a:lnTo>
                    <a:lnTo>
                      <a:pt x="73" y="372"/>
                    </a:lnTo>
                    <a:lnTo>
                      <a:pt x="80" y="348"/>
                    </a:lnTo>
                    <a:lnTo>
                      <a:pt x="78" y="334"/>
                    </a:lnTo>
                    <a:lnTo>
                      <a:pt x="71" y="320"/>
                    </a:lnTo>
                    <a:lnTo>
                      <a:pt x="59" y="308"/>
                    </a:lnTo>
                    <a:lnTo>
                      <a:pt x="57" y="293"/>
                    </a:lnTo>
                    <a:lnTo>
                      <a:pt x="61" y="275"/>
                    </a:lnTo>
                    <a:lnTo>
                      <a:pt x="78" y="260"/>
                    </a:lnTo>
                    <a:lnTo>
                      <a:pt x="106" y="253"/>
                    </a:lnTo>
                    <a:lnTo>
                      <a:pt x="132" y="244"/>
                    </a:lnTo>
                    <a:lnTo>
                      <a:pt x="156" y="227"/>
                    </a:lnTo>
                    <a:lnTo>
                      <a:pt x="168" y="213"/>
                    </a:lnTo>
                    <a:lnTo>
                      <a:pt x="173" y="197"/>
                    </a:lnTo>
                    <a:lnTo>
                      <a:pt x="177" y="182"/>
                    </a:lnTo>
                    <a:lnTo>
                      <a:pt x="187" y="173"/>
                    </a:lnTo>
                    <a:lnTo>
                      <a:pt x="191" y="156"/>
                    </a:lnTo>
                    <a:lnTo>
                      <a:pt x="194" y="137"/>
                    </a:lnTo>
                    <a:lnTo>
                      <a:pt x="194" y="121"/>
                    </a:lnTo>
                    <a:lnTo>
                      <a:pt x="189" y="111"/>
                    </a:lnTo>
                    <a:lnTo>
                      <a:pt x="180" y="102"/>
                    </a:lnTo>
                    <a:lnTo>
                      <a:pt x="161" y="90"/>
                    </a:lnTo>
                    <a:lnTo>
                      <a:pt x="149" y="78"/>
                    </a:lnTo>
                    <a:lnTo>
                      <a:pt x="147" y="67"/>
                    </a:lnTo>
                    <a:lnTo>
                      <a:pt x="137" y="55"/>
                    </a:lnTo>
                    <a:lnTo>
                      <a:pt x="121" y="43"/>
                    </a:lnTo>
                    <a:lnTo>
                      <a:pt x="109" y="29"/>
                    </a:lnTo>
                    <a:lnTo>
                      <a:pt x="182" y="26"/>
                    </a:lnTo>
                    <a:lnTo>
                      <a:pt x="251" y="22"/>
                    </a:lnTo>
                    <a:lnTo>
                      <a:pt x="321" y="17"/>
                    </a:lnTo>
                    <a:lnTo>
                      <a:pt x="390" y="12"/>
                    </a:lnTo>
                    <a:lnTo>
                      <a:pt x="461" y="7"/>
                    </a:lnTo>
                    <a:lnTo>
                      <a:pt x="532" y="3"/>
                    </a:lnTo>
                    <a:lnTo>
                      <a:pt x="551" y="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0" name="Freeform 57">
                <a:extLst>
                  <a:ext uri="{FF2B5EF4-FFF2-40B4-BE49-F238E27FC236}">
                    <a16:creationId xmlns:a16="http://schemas.microsoft.com/office/drawing/2014/main" id="{057BCD67-D8FD-8FD9-7F67-753B2C1E6D52}"/>
                  </a:ext>
                </a:extLst>
              </p:cNvPr>
              <p:cNvSpPr>
                <a:spLocks/>
              </p:cNvSpPr>
              <p:nvPr/>
            </p:nvSpPr>
            <p:spPr bwMode="auto">
              <a:xfrm>
                <a:off x="6023" y="631"/>
                <a:ext cx="522" cy="885"/>
              </a:xfrm>
              <a:custGeom>
                <a:avLst/>
                <a:gdLst>
                  <a:gd name="T0" fmla="*/ 463 w 522"/>
                  <a:gd name="T1" fmla="*/ 149 h 885"/>
                  <a:gd name="T2" fmla="*/ 487 w 522"/>
                  <a:gd name="T3" fmla="*/ 353 h 885"/>
                  <a:gd name="T4" fmla="*/ 510 w 522"/>
                  <a:gd name="T5" fmla="*/ 558 h 885"/>
                  <a:gd name="T6" fmla="*/ 510 w 522"/>
                  <a:gd name="T7" fmla="*/ 577 h 885"/>
                  <a:gd name="T8" fmla="*/ 510 w 522"/>
                  <a:gd name="T9" fmla="*/ 596 h 885"/>
                  <a:gd name="T10" fmla="*/ 522 w 522"/>
                  <a:gd name="T11" fmla="*/ 613 h 885"/>
                  <a:gd name="T12" fmla="*/ 470 w 522"/>
                  <a:gd name="T13" fmla="*/ 646 h 885"/>
                  <a:gd name="T14" fmla="*/ 461 w 522"/>
                  <a:gd name="T15" fmla="*/ 648 h 885"/>
                  <a:gd name="T16" fmla="*/ 442 w 522"/>
                  <a:gd name="T17" fmla="*/ 641 h 885"/>
                  <a:gd name="T18" fmla="*/ 425 w 522"/>
                  <a:gd name="T19" fmla="*/ 672 h 885"/>
                  <a:gd name="T20" fmla="*/ 399 w 522"/>
                  <a:gd name="T21" fmla="*/ 712 h 885"/>
                  <a:gd name="T22" fmla="*/ 373 w 522"/>
                  <a:gd name="T23" fmla="*/ 745 h 885"/>
                  <a:gd name="T24" fmla="*/ 350 w 522"/>
                  <a:gd name="T25" fmla="*/ 804 h 885"/>
                  <a:gd name="T26" fmla="*/ 310 w 522"/>
                  <a:gd name="T27" fmla="*/ 804 h 885"/>
                  <a:gd name="T28" fmla="*/ 288 w 522"/>
                  <a:gd name="T29" fmla="*/ 778 h 885"/>
                  <a:gd name="T30" fmla="*/ 281 w 522"/>
                  <a:gd name="T31" fmla="*/ 778 h 885"/>
                  <a:gd name="T32" fmla="*/ 269 w 522"/>
                  <a:gd name="T33" fmla="*/ 785 h 885"/>
                  <a:gd name="T34" fmla="*/ 267 w 522"/>
                  <a:gd name="T35" fmla="*/ 804 h 885"/>
                  <a:gd name="T36" fmla="*/ 260 w 522"/>
                  <a:gd name="T37" fmla="*/ 826 h 885"/>
                  <a:gd name="T38" fmla="*/ 236 w 522"/>
                  <a:gd name="T39" fmla="*/ 842 h 885"/>
                  <a:gd name="T40" fmla="*/ 187 w 522"/>
                  <a:gd name="T41" fmla="*/ 837 h 885"/>
                  <a:gd name="T42" fmla="*/ 161 w 522"/>
                  <a:gd name="T43" fmla="*/ 868 h 885"/>
                  <a:gd name="T44" fmla="*/ 104 w 522"/>
                  <a:gd name="T45" fmla="*/ 844 h 885"/>
                  <a:gd name="T46" fmla="*/ 85 w 522"/>
                  <a:gd name="T47" fmla="*/ 844 h 885"/>
                  <a:gd name="T48" fmla="*/ 83 w 522"/>
                  <a:gd name="T49" fmla="*/ 859 h 885"/>
                  <a:gd name="T50" fmla="*/ 73 w 522"/>
                  <a:gd name="T51" fmla="*/ 868 h 885"/>
                  <a:gd name="T52" fmla="*/ 54 w 522"/>
                  <a:gd name="T53" fmla="*/ 861 h 885"/>
                  <a:gd name="T54" fmla="*/ 33 w 522"/>
                  <a:gd name="T55" fmla="*/ 859 h 885"/>
                  <a:gd name="T56" fmla="*/ 31 w 522"/>
                  <a:gd name="T57" fmla="*/ 878 h 885"/>
                  <a:gd name="T58" fmla="*/ 14 w 522"/>
                  <a:gd name="T59" fmla="*/ 882 h 885"/>
                  <a:gd name="T60" fmla="*/ 0 w 522"/>
                  <a:gd name="T61" fmla="*/ 863 h 885"/>
                  <a:gd name="T62" fmla="*/ 7 w 522"/>
                  <a:gd name="T63" fmla="*/ 840 h 885"/>
                  <a:gd name="T64" fmla="*/ 14 w 522"/>
                  <a:gd name="T65" fmla="*/ 823 h 885"/>
                  <a:gd name="T66" fmla="*/ 19 w 522"/>
                  <a:gd name="T67" fmla="*/ 809 h 885"/>
                  <a:gd name="T68" fmla="*/ 12 w 522"/>
                  <a:gd name="T69" fmla="*/ 788 h 885"/>
                  <a:gd name="T70" fmla="*/ 28 w 522"/>
                  <a:gd name="T71" fmla="*/ 778 h 885"/>
                  <a:gd name="T72" fmla="*/ 50 w 522"/>
                  <a:gd name="T73" fmla="*/ 738 h 885"/>
                  <a:gd name="T74" fmla="*/ 68 w 522"/>
                  <a:gd name="T75" fmla="*/ 693 h 885"/>
                  <a:gd name="T76" fmla="*/ 73 w 522"/>
                  <a:gd name="T77" fmla="*/ 643 h 885"/>
                  <a:gd name="T78" fmla="*/ 50 w 522"/>
                  <a:gd name="T79" fmla="*/ 591 h 885"/>
                  <a:gd name="T80" fmla="*/ 52 w 522"/>
                  <a:gd name="T81" fmla="*/ 565 h 885"/>
                  <a:gd name="T82" fmla="*/ 64 w 522"/>
                  <a:gd name="T83" fmla="*/ 544 h 885"/>
                  <a:gd name="T84" fmla="*/ 47 w 522"/>
                  <a:gd name="T85" fmla="*/ 360 h 885"/>
                  <a:gd name="T86" fmla="*/ 31 w 522"/>
                  <a:gd name="T87" fmla="*/ 173 h 885"/>
                  <a:gd name="T88" fmla="*/ 21 w 522"/>
                  <a:gd name="T89" fmla="*/ 55 h 885"/>
                  <a:gd name="T90" fmla="*/ 35 w 522"/>
                  <a:gd name="T91" fmla="*/ 62 h 885"/>
                  <a:gd name="T92" fmla="*/ 64 w 522"/>
                  <a:gd name="T93" fmla="*/ 69 h 885"/>
                  <a:gd name="T94" fmla="*/ 123 w 522"/>
                  <a:gd name="T95" fmla="*/ 36 h 885"/>
                  <a:gd name="T96" fmla="*/ 258 w 522"/>
                  <a:gd name="T97" fmla="*/ 22 h 885"/>
                  <a:gd name="T98" fmla="*/ 399 w 522"/>
                  <a:gd name="T99" fmla="*/ 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2" h="885">
                    <a:moveTo>
                      <a:pt x="447" y="12"/>
                    </a:moveTo>
                    <a:lnTo>
                      <a:pt x="456" y="81"/>
                    </a:lnTo>
                    <a:lnTo>
                      <a:pt x="463" y="149"/>
                    </a:lnTo>
                    <a:lnTo>
                      <a:pt x="470" y="216"/>
                    </a:lnTo>
                    <a:lnTo>
                      <a:pt x="480" y="284"/>
                    </a:lnTo>
                    <a:lnTo>
                      <a:pt x="487" y="353"/>
                    </a:lnTo>
                    <a:lnTo>
                      <a:pt x="494" y="421"/>
                    </a:lnTo>
                    <a:lnTo>
                      <a:pt x="503" y="487"/>
                    </a:lnTo>
                    <a:lnTo>
                      <a:pt x="510" y="558"/>
                    </a:lnTo>
                    <a:lnTo>
                      <a:pt x="508" y="561"/>
                    </a:lnTo>
                    <a:lnTo>
                      <a:pt x="506" y="570"/>
                    </a:lnTo>
                    <a:lnTo>
                      <a:pt x="510" y="577"/>
                    </a:lnTo>
                    <a:lnTo>
                      <a:pt x="513" y="584"/>
                    </a:lnTo>
                    <a:lnTo>
                      <a:pt x="508" y="591"/>
                    </a:lnTo>
                    <a:lnTo>
                      <a:pt x="510" y="596"/>
                    </a:lnTo>
                    <a:lnTo>
                      <a:pt x="518" y="596"/>
                    </a:lnTo>
                    <a:lnTo>
                      <a:pt x="522" y="603"/>
                    </a:lnTo>
                    <a:lnTo>
                      <a:pt x="522" y="613"/>
                    </a:lnTo>
                    <a:lnTo>
                      <a:pt x="506" y="627"/>
                    </a:lnTo>
                    <a:lnTo>
                      <a:pt x="477" y="641"/>
                    </a:lnTo>
                    <a:lnTo>
                      <a:pt x="470" y="646"/>
                    </a:lnTo>
                    <a:lnTo>
                      <a:pt x="466" y="648"/>
                    </a:lnTo>
                    <a:lnTo>
                      <a:pt x="461" y="648"/>
                    </a:lnTo>
                    <a:lnTo>
                      <a:pt x="461" y="648"/>
                    </a:lnTo>
                    <a:lnTo>
                      <a:pt x="458" y="646"/>
                    </a:lnTo>
                    <a:lnTo>
                      <a:pt x="451" y="641"/>
                    </a:lnTo>
                    <a:lnTo>
                      <a:pt x="442" y="641"/>
                    </a:lnTo>
                    <a:lnTo>
                      <a:pt x="425" y="643"/>
                    </a:lnTo>
                    <a:lnTo>
                      <a:pt x="421" y="655"/>
                    </a:lnTo>
                    <a:lnTo>
                      <a:pt x="425" y="672"/>
                    </a:lnTo>
                    <a:lnTo>
                      <a:pt x="421" y="686"/>
                    </a:lnTo>
                    <a:lnTo>
                      <a:pt x="409" y="698"/>
                    </a:lnTo>
                    <a:lnTo>
                      <a:pt x="399" y="712"/>
                    </a:lnTo>
                    <a:lnTo>
                      <a:pt x="395" y="729"/>
                    </a:lnTo>
                    <a:lnTo>
                      <a:pt x="385" y="740"/>
                    </a:lnTo>
                    <a:lnTo>
                      <a:pt x="373" y="745"/>
                    </a:lnTo>
                    <a:lnTo>
                      <a:pt x="364" y="759"/>
                    </a:lnTo>
                    <a:lnTo>
                      <a:pt x="359" y="788"/>
                    </a:lnTo>
                    <a:lnTo>
                      <a:pt x="350" y="804"/>
                    </a:lnTo>
                    <a:lnTo>
                      <a:pt x="340" y="811"/>
                    </a:lnTo>
                    <a:lnTo>
                      <a:pt x="328" y="811"/>
                    </a:lnTo>
                    <a:lnTo>
                      <a:pt x="310" y="804"/>
                    </a:lnTo>
                    <a:lnTo>
                      <a:pt x="298" y="795"/>
                    </a:lnTo>
                    <a:lnTo>
                      <a:pt x="295" y="785"/>
                    </a:lnTo>
                    <a:lnTo>
                      <a:pt x="288" y="778"/>
                    </a:lnTo>
                    <a:lnTo>
                      <a:pt x="284" y="776"/>
                    </a:lnTo>
                    <a:lnTo>
                      <a:pt x="281" y="776"/>
                    </a:lnTo>
                    <a:lnTo>
                      <a:pt x="281" y="778"/>
                    </a:lnTo>
                    <a:lnTo>
                      <a:pt x="281" y="781"/>
                    </a:lnTo>
                    <a:lnTo>
                      <a:pt x="281" y="785"/>
                    </a:lnTo>
                    <a:lnTo>
                      <a:pt x="269" y="785"/>
                    </a:lnTo>
                    <a:lnTo>
                      <a:pt x="267" y="790"/>
                    </a:lnTo>
                    <a:lnTo>
                      <a:pt x="269" y="797"/>
                    </a:lnTo>
                    <a:lnTo>
                      <a:pt x="267" y="804"/>
                    </a:lnTo>
                    <a:lnTo>
                      <a:pt x="260" y="807"/>
                    </a:lnTo>
                    <a:lnTo>
                      <a:pt x="258" y="814"/>
                    </a:lnTo>
                    <a:lnTo>
                      <a:pt x="260" y="826"/>
                    </a:lnTo>
                    <a:lnTo>
                      <a:pt x="255" y="835"/>
                    </a:lnTo>
                    <a:lnTo>
                      <a:pt x="248" y="844"/>
                    </a:lnTo>
                    <a:lnTo>
                      <a:pt x="236" y="842"/>
                    </a:lnTo>
                    <a:lnTo>
                      <a:pt x="217" y="830"/>
                    </a:lnTo>
                    <a:lnTo>
                      <a:pt x="201" y="828"/>
                    </a:lnTo>
                    <a:lnTo>
                      <a:pt x="187" y="837"/>
                    </a:lnTo>
                    <a:lnTo>
                      <a:pt x="175" y="849"/>
                    </a:lnTo>
                    <a:lnTo>
                      <a:pt x="168" y="863"/>
                    </a:lnTo>
                    <a:lnTo>
                      <a:pt x="161" y="868"/>
                    </a:lnTo>
                    <a:lnTo>
                      <a:pt x="146" y="859"/>
                    </a:lnTo>
                    <a:lnTo>
                      <a:pt x="118" y="847"/>
                    </a:lnTo>
                    <a:lnTo>
                      <a:pt x="104" y="844"/>
                    </a:lnTo>
                    <a:lnTo>
                      <a:pt x="94" y="849"/>
                    </a:lnTo>
                    <a:lnTo>
                      <a:pt x="87" y="849"/>
                    </a:lnTo>
                    <a:lnTo>
                      <a:pt x="85" y="844"/>
                    </a:lnTo>
                    <a:lnTo>
                      <a:pt x="83" y="844"/>
                    </a:lnTo>
                    <a:lnTo>
                      <a:pt x="80" y="847"/>
                    </a:lnTo>
                    <a:lnTo>
                      <a:pt x="83" y="859"/>
                    </a:lnTo>
                    <a:lnTo>
                      <a:pt x="80" y="866"/>
                    </a:lnTo>
                    <a:lnTo>
                      <a:pt x="76" y="870"/>
                    </a:lnTo>
                    <a:lnTo>
                      <a:pt x="73" y="868"/>
                    </a:lnTo>
                    <a:lnTo>
                      <a:pt x="68" y="861"/>
                    </a:lnTo>
                    <a:lnTo>
                      <a:pt x="64" y="859"/>
                    </a:lnTo>
                    <a:lnTo>
                      <a:pt x="54" y="861"/>
                    </a:lnTo>
                    <a:lnTo>
                      <a:pt x="45" y="861"/>
                    </a:lnTo>
                    <a:lnTo>
                      <a:pt x="35" y="856"/>
                    </a:lnTo>
                    <a:lnTo>
                      <a:pt x="33" y="859"/>
                    </a:lnTo>
                    <a:lnTo>
                      <a:pt x="31" y="861"/>
                    </a:lnTo>
                    <a:lnTo>
                      <a:pt x="33" y="870"/>
                    </a:lnTo>
                    <a:lnTo>
                      <a:pt x="31" y="878"/>
                    </a:lnTo>
                    <a:lnTo>
                      <a:pt x="28" y="882"/>
                    </a:lnTo>
                    <a:lnTo>
                      <a:pt x="21" y="885"/>
                    </a:lnTo>
                    <a:lnTo>
                      <a:pt x="14" y="882"/>
                    </a:lnTo>
                    <a:lnTo>
                      <a:pt x="12" y="885"/>
                    </a:lnTo>
                    <a:lnTo>
                      <a:pt x="0" y="868"/>
                    </a:lnTo>
                    <a:lnTo>
                      <a:pt x="0" y="863"/>
                    </a:lnTo>
                    <a:lnTo>
                      <a:pt x="5" y="863"/>
                    </a:lnTo>
                    <a:lnTo>
                      <a:pt x="7" y="854"/>
                    </a:lnTo>
                    <a:lnTo>
                      <a:pt x="7" y="840"/>
                    </a:lnTo>
                    <a:lnTo>
                      <a:pt x="9" y="828"/>
                    </a:lnTo>
                    <a:lnTo>
                      <a:pt x="14" y="826"/>
                    </a:lnTo>
                    <a:lnTo>
                      <a:pt x="14" y="823"/>
                    </a:lnTo>
                    <a:lnTo>
                      <a:pt x="12" y="821"/>
                    </a:lnTo>
                    <a:lnTo>
                      <a:pt x="12" y="816"/>
                    </a:lnTo>
                    <a:lnTo>
                      <a:pt x="19" y="809"/>
                    </a:lnTo>
                    <a:lnTo>
                      <a:pt x="19" y="802"/>
                    </a:lnTo>
                    <a:lnTo>
                      <a:pt x="14" y="795"/>
                    </a:lnTo>
                    <a:lnTo>
                      <a:pt x="12" y="788"/>
                    </a:lnTo>
                    <a:lnTo>
                      <a:pt x="16" y="781"/>
                    </a:lnTo>
                    <a:lnTo>
                      <a:pt x="21" y="778"/>
                    </a:lnTo>
                    <a:lnTo>
                      <a:pt x="28" y="778"/>
                    </a:lnTo>
                    <a:lnTo>
                      <a:pt x="35" y="769"/>
                    </a:lnTo>
                    <a:lnTo>
                      <a:pt x="42" y="750"/>
                    </a:lnTo>
                    <a:lnTo>
                      <a:pt x="50" y="738"/>
                    </a:lnTo>
                    <a:lnTo>
                      <a:pt x="57" y="733"/>
                    </a:lnTo>
                    <a:lnTo>
                      <a:pt x="64" y="722"/>
                    </a:lnTo>
                    <a:lnTo>
                      <a:pt x="68" y="693"/>
                    </a:lnTo>
                    <a:lnTo>
                      <a:pt x="78" y="679"/>
                    </a:lnTo>
                    <a:lnTo>
                      <a:pt x="78" y="665"/>
                    </a:lnTo>
                    <a:lnTo>
                      <a:pt x="73" y="643"/>
                    </a:lnTo>
                    <a:lnTo>
                      <a:pt x="66" y="625"/>
                    </a:lnTo>
                    <a:lnTo>
                      <a:pt x="54" y="603"/>
                    </a:lnTo>
                    <a:lnTo>
                      <a:pt x="50" y="591"/>
                    </a:lnTo>
                    <a:lnTo>
                      <a:pt x="54" y="584"/>
                    </a:lnTo>
                    <a:lnTo>
                      <a:pt x="57" y="577"/>
                    </a:lnTo>
                    <a:lnTo>
                      <a:pt x="52" y="565"/>
                    </a:lnTo>
                    <a:lnTo>
                      <a:pt x="57" y="554"/>
                    </a:lnTo>
                    <a:lnTo>
                      <a:pt x="64" y="547"/>
                    </a:lnTo>
                    <a:lnTo>
                      <a:pt x="64" y="544"/>
                    </a:lnTo>
                    <a:lnTo>
                      <a:pt x="59" y="485"/>
                    </a:lnTo>
                    <a:lnTo>
                      <a:pt x="54" y="424"/>
                    </a:lnTo>
                    <a:lnTo>
                      <a:pt x="47" y="360"/>
                    </a:lnTo>
                    <a:lnTo>
                      <a:pt x="42" y="298"/>
                    </a:lnTo>
                    <a:lnTo>
                      <a:pt x="35" y="234"/>
                    </a:lnTo>
                    <a:lnTo>
                      <a:pt x="31" y="173"/>
                    </a:lnTo>
                    <a:lnTo>
                      <a:pt x="26" y="109"/>
                    </a:lnTo>
                    <a:lnTo>
                      <a:pt x="19" y="52"/>
                    </a:lnTo>
                    <a:lnTo>
                      <a:pt x="21" y="55"/>
                    </a:lnTo>
                    <a:lnTo>
                      <a:pt x="28" y="59"/>
                    </a:lnTo>
                    <a:lnTo>
                      <a:pt x="33" y="62"/>
                    </a:lnTo>
                    <a:lnTo>
                      <a:pt x="35" y="62"/>
                    </a:lnTo>
                    <a:lnTo>
                      <a:pt x="38" y="67"/>
                    </a:lnTo>
                    <a:lnTo>
                      <a:pt x="47" y="69"/>
                    </a:lnTo>
                    <a:lnTo>
                      <a:pt x="64" y="69"/>
                    </a:lnTo>
                    <a:lnTo>
                      <a:pt x="78" y="64"/>
                    </a:lnTo>
                    <a:lnTo>
                      <a:pt x="92" y="59"/>
                    </a:lnTo>
                    <a:lnTo>
                      <a:pt x="123" y="36"/>
                    </a:lnTo>
                    <a:lnTo>
                      <a:pt x="161" y="33"/>
                    </a:lnTo>
                    <a:lnTo>
                      <a:pt x="208" y="26"/>
                    </a:lnTo>
                    <a:lnTo>
                      <a:pt x="258" y="22"/>
                    </a:lnTo>
                    <a:lnTo>
                      <a:pt x="305" y="17"/>
                    </a:lnTo>
                    <a:lnTo>
                      <a:pt x="352" y="12"/>
                    </a:lnTo>
                    <a:lnTo>
                      <a:pt x="399" y="5"/>
                    </a:lnTo>
                    <a:lnTo>
                      <a:pt x="447" y="0"/>
                    </a:lnTo>
                    <a:lnTo>
                      <a:pt x="447" y="1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1" name="Freeform 58">
                <a:extLst>
                  <a:ext uri="{FF2B5EF4-FFF2-40B4-BE49-F238E27FC236}">
                    <a16:creationId xmlns:a16="http://schemas.microsoft.com/office/drawing/2014/main" id="{11F196B9-1B0E-B524-208A-DC0DF8808BB1}"/>
                  </a:ext>
                </a:extLst>
              </p:cNvPr>
              <p:cNvSpPr>
                <a:spLocks/>
              </p:cNvSpPr>
              <p:nvPr/>
            </p:nvSpPr>
            <p:spPr bwMode="auto">
              <a:xfrm>
                <a:off x="3695" y="1078"/>
                <a:ext cx="1245" cy="662"/>
              </a:xfrm>
              <a:custGeom>
                <a:avLst/>
                <a:gdLst>
                  <a:gd name="T0" fmla="*/ 1207 w 1245"/>
                  <a:gd name="T1" fmla="*/ 662 h 662"/>
                  <a:gd name="T2" fmla="*/ 1129 w 1245"/>
                  <a:gd name="T3" fmla="*/ 662 h 662"/>
                  <a:gd name="T4" fmla="*/ 1051 w 1245"/>
                  <a:gd name="T5" fmla="*/ 662 h 662"/>
                  <a:gd name="T6" fmla="*/ 973 w 1245"/>
                  <a:gd name="T7" fmla="*/ 662 h 662"/>
                  <a:gd name="T8" fmla="*/ 895 w 1245"/>
                  <a:gd name="T9" fmla="*/ 662 h 662"/>
                  <a:gd name="T10" fmla="*/ 817 w 1245"/>
                  <a:gd name="T11" fmla="*/ 662 h 662"/>
                  <a:gd name="T12" fmla="*/ 739 w 1245"/>
                  <a:gd name="T13" fmla="*/ 660 h 662"/>
                  <a:gd name="T14" fmla="*/ 661 w 1245"/>
                  <a:gd name="T15" fmla="*/ 658 h 662"/>
                  <a:gd name="T16" fmla="*/ 583 w 1245"/>
                  <a:gd name="T17" fmla="*/ 658 h 662"/>
                  <a:gd name="T18" fmla="*/ 505 w 1245"/>
                  <a:gd name="T19" fmla="*/ 655 h 662"/>
                  <a:gd name="T20" fmla="*/ 427 w 1245"/>
                  <a:gd name="T21" fmla="*/ 650 h 662"/>
                  <a:gd name="T22" fmla="*/ 349 w 1245"/>
                  <a:gd name="T23" fmla="*/ 648 h 662"/>
                  <a:gd name="T24" fmla="*/ 271 w 1245"/>
                  <a:gd name="T25" fmla="*/ 643 h 662"/>
                  <a:gd name="T26" fmla="*/ 196 w 1245"/>
                  <a:gd name="T27" fmla="*/ 641 h 662"/>
                  <a:gd name="T28" fmla="*/ 118 w 1245"/>
                  <a:gd name="T29" fmla="*/ 636 h 662"/>
                  <a:gd name="T30" fmla="*/ 40 w 1245"/>
                  <a:gd name="T31" fmla="*/ 632 h 662"/>
                  <a:gd name="T32" fmla="*/ 2 w 1245"/>
                  <a:gd name="T33" fmla="*/ 589 h 662"/>
                  <a:gd name="T34" fmla="*/ 7 w 1245"/>
                  <a:gd name="T35" fmla="*/ 511 h 662"/>
                  <a:gd name="T36" fmla="*/ 14 w 1245"/>
                  <a:gd name="T37" fmla="*/ 433 h 662"/>
                  <a:gd name="T38" fmla="*/ 18 w 1245"/>
                  <a:gd name="T39" fmla="*/ 353 h 662"/>
                  <a:gd name="T40" fmla="*/ 23 w 1245"/>
                  <a:gd name="T41" fmla="*/ 275 h 662"/>
                  <a:gd name="T42" fmla="*/ 28 w 1245"/>
                  <a:gd name="T43" fmla="*/ 196 h 662"/>
                  <a:gd name="T44" fmla="*/ 33 w 1245"/>
                  <a:gd name="T45" fmla="*/ 118 h 662"/>
                  <a:gd name="T46" fmla="*/ 37 w 1245"/>
                  <a:gd name="T47" fmla="*/ 38 h 662"/>
                  <a:gd name="T48" fmla="*/ 73 w 1245"/>
                  <a:gd name="T49" fmla="*/ 3 h 662"/>
                  <a:gd name="T50" fmla="*/ 141 w 1245"/>
                  <a:gd name="T51" fmla="*/ 5 h 662"/>
                  <a:gd name="T52" fmla="*/ 210 w 1245"/>
                  <a:gd name="T53" fmla="*/ 10 h 662"/>
                  <a:gd name="T54" fmla="*/ 276 w 1245"/>
                  <a:gd name="T55" fmla="*/ 14 h 662"/>
                  <a:gd name="T56" fmla="*/ 345 w 1245"/>
                  <a:gd name="T57" fmla="*/ 17 h 662"/>
                  <a:gd name="T58" fmla="*/ 413 w 1245"/>
                  <a:gd name="T59" fmla="*/ 19 h 662"/>
                  <a:gd name="T60" fmla="*/ 479 w 1245"/>
                  <a:gd name="T61" fmla="*/ 22 h 662"/>
                  <a:gd name="T62" fmla="*/ 548 w 1245"/>
                  <a:gd name="T63" fmla="*/ 24 h 662"/>
                  <a:gd name="T64" fmla="*/ 617 w 1245"/>
                  <a:gd name="T65" fmla="*/ 26 h 662"/>
                  <a:gd name="T66" fmla="*/ 683 w 1245"/>
                  <a:gd name="T67" fmla="*/ 29 h 662"/>
                  <a:gd name="T68" fmla="*/ 751 w 1245"/>
                  <a:gd name="T69" fmla="*/ 29 h 662"/>
                  <a:gd name="T70" fmla="*/ 820 w 1245"/>
                  <a:gd name="T71" fmla="*/ 31 h 662"/>
                  <a:gd name="T72" fmla="*/ 886 w 1245"/>
                  <a:gd name="T73" fmla="*/ 31 h 662"/>
                  <a:gd name="T74" fmla="*/ 955 w 1245"/>
                  <a:gd name="T75" fmla="*/ 31 h 662"/>
                  <a:gd name="T76" fmla="*/ 1023 w 1245"/>
                  <a:gd name="T77" fmla="*/ 31 h 662"/>
                  <a:gd name="T78" fmla="*/ 1089 w 1245"/>
                  <a:gd name="T79" fmla="*/ 31 h 662"/>
                  <a:gd name="T80" fmla="*/ 1155 w 1245"/>
                  <a:gd name="T81" fmla="*/ 59 h 662"/>
                  <a:gd name="T82" fmla="*/ 1177 w 1245"/>
                  <a:gd name="T83" fmla="*/ 55 h 662"/>
                  <a:gd name="T84" fmla="*/ 1193 w 1245"/>
                  <a:gd name="T85" fmla="*/ 76 h 662"/>
                  <a:gd name="T86" fmla="*/ 1184 w 1245"/>
                  <a:gd name="T87" fmla="*/ 85 h 662"/>
                  <a:gd name="T88" fmla="*/ 1163 w 1245"/>
                  <a:gd name="T89" fmla="*/ 116 h 662"/>
                  <a:gd name="T90" fmla="*/ 1184 w 1245"/>
                  <a:gd name="T91" fmla="*/ 152 h 662"/>
                  <a:gd name="T92" fmla="*/ 1200 w 1245"/>
                  <a:gd name="T93" fmla="*/ 187 h 662"/>
                  <a:gd name="T94" fmla="*/ 1238 w 1245"/>
                  <a:gd name="T95" fmla="*/ 215 h 662"/>
                  <a:gd name="T96" fmla="*/ 1238 w 1245"/>
                  <a:gd name="T97" fmla="*/ 251 h 662"/>
                  <a:gd name="T98" fmla="*/ 1241 w 1245"/>
                  <a:gd name="T99" fmla="*/ 305 h 662"/>
                  <a:gd name="T100" fmla="*/ 1241 w 1245"/>
                  <a:gd name="T101" fmla="*/ 360 h 662"/>
                  <a:gd name="T102" fmla="*/ 1243 w 1245"/>
                  <a:gd name="T103" fmla="*/ 414 h 662"/>
                  <a:gd name="T104" fmla="*/ 1243 w 1245"/>
                  <a:gd name="T105" fmla="*/ 468 h 662"/>
                  <a:gd name="T106" fmla="*/ 1243 w 1245"/>
                  <a:gd name="T107" fmla="*/ 523 h 662"/>
                  <a:gd name="T108" fmla="*/ 1245 w 1245"/>
                  <a:gd name="T109" fmla="*/ 580 h 662"/>
                  <a:gd name="T110" fmla="*/ 1245 w 1245"/>
                  <a:gd name="T111" fmla="*/ 634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5" h="662">
                    <a:moveTo>
                      <a:pt x="1245" y="660"/>
                    </a:moveTo>
                    <a:lnTo>
                      <a:pt x="1207" y="662"/>
                    </a:lnTo>
                    <a:lnTo>
                      <a:pt x="1167" y="662"/>
                    </a:lnTo>
                    <a:lnTo>
                      <a:pt x="1129" y="662"/>
                    </a:lnTo>
                    <a:lnTo>
                      <a:pt x="1089" y="662"/>
                    </a:lnTo>
                    <a:lnTo>
                      <a:pt x="1051" y="662"/>
                    </a:lnTo>
                    <a:lnTo>
                      <a:pt x="1011" y="662"/>
                    </a:lnTo>
                    <a:lnTo>
                      <a:pt x="973" y="662"/>
                    </a:lnTo>
                    <a:lnTo>
                      <a:pt x="936" y="662"/>
                    </a:lnTo>
                    <a:lnTo>
                      <a:pt x="895" y="662"/>
                    </a:lnTo>
                    <a:lnTo>
                      <a:pt x="858" y="662"/>
                    </a:lnTo>
                    <a:lnTo>
                      <a:pt x="817" y="662"/>
                    </a:lnTo>
                    <a:lnTo>
                      <a:pt x="780" y="660"/>
                    </a:lnTo>
                    <a:lnTo>
                      <a:pt x="739" y="660"/>
                    </a:lnTo>
                    <a:lnTo>
                      <a:pt x="702" y="660"/>
                    </a:lnTo>
                    <a:lnTo>
                      <a:pt x="661" y="658"/>
                    </a:lnTo>
                    <a:lnTo>
                      <a:pt x="624" y="658"/>
                    </a:lnTo>
                    <a:lnTo>
                      <a:pt x="583" y="658"/>
                    </a:lnTo>
                    <a:lnTo>
                      <a:pt x="546" y="655"/>
                    </a:lnTo>
                    <a:lnTo>
                      <a:pt x="505" y="655"/>
                    </a:lnTo>
                    <a:lnTo>
                      <a:pt x="468" y="653"/>
                    </a:lnTo>
                    <a:lnTo>
                      <a:pt x="427" y="650"/>
                    </a:lnTo>
                    <a:lnTo>
                      <a:pt x="390" y="650"/>
                    </a:lnTo>
                    <a:lnTo>
                      <a:pt x="349" y="648"/>
                    </a:lnTo>
                    <a:lnTo>
                      <a:pt x="312" y="646"/>
                    </a:lnTo>
                    <a:lnTo>
                      <a:pt x="271" y="643"/>
                    </a:lnTo>
                    <a:lnTo>
                      <a:pt x="234" y="643"/>
                    </a:lnTo>
                    <a:lnTo>
                      <a:pt x="196" y="641"/>
                    </a:lnTo>
                    <a:lnTo>
                      <a:pt x="156" y="639"/>
                    </a:lnTo>
                    <a:lnTo>
                      <a:pt x="118" y="636"/>
                    </a:lnTo>
                    <a:lnTo>
                      <a:pt x="78" y="634"/>
                    </a:lnTo>
                    <a:lnTo>
                      <a:pt x="40" y="632"/>
                    </a:lnTo>
                    <a:lnTo>
                      <a:pt x="0" y="629"/>
                    </a:lnTo>
                    <a:lnTo>
                      <a:pt x="2" y="589"/>
                    </a:lnTo>
                    <a:lnTo>
                      <a:pt x="4" y="551"/>
                    </a:lnTo>
                    <a:lnTo>
                      <a:pt x="7" y="511"/>
                    </a:lnTo>
                    <a:lnTo>
                      <a:pt x="11" y="471"/>
                    </a:lnTo>
                    <a:lnTo>
                      <a:pt x="14" y="433"/>
                    </a:lnTo>
                    <a:lnTo>
                      <a:pt x="16" y="393"/>
                    </a:lnTo>
                    <a:lnTo>
                      <a:pt x="18" y="353"/>
                    </a:lnTo>
                    <a:lnTo>
                      <a:pt x="21" y="315"/>
                    </a:lnTo>
                    <a:lnTo>
                      <a:pt x="23" y="275"/>
                    </a:lnTo>
                    <a:lnTo>
                      <a:pt x="26" y="237"/>
                    </a:lnTo>
                    <a:lnTo>
                      <a:pt x="28" y="196"/>
                    </a:lnTo>
                    <a:lnTo>
                      <a:pt x="30" y="156"/>
                    </a:lnTo>
                    <a:lnTo>
                      <a:pt x="33" y="118"/>
                    </a:lnTo>
                    <a:lnTo>
                      <a:pt x="35" y="78"/>
                    </a:lnTo>
                    <a:lnTo>
                      <a:pt x="37" y="38"/>
                    </a:lnTo>
                    <a:lnTo>
                      <a:pt x="40" y="0"/>
                    </a:lnTo>
                    <a:lnTo>
                      <a:pt x="73" y="3"/>
                    </a:lnTo>
                    <a:lnTo>
                      <a:pt x="108" y="5"/>
                    </a:lnTo>
                    <a:lnTo>
                      <a:pt x="141" y="5"/>
                    </a:lnTo>
                    <a:lnTo>
                      <a:pt x="174" y="7"/>
                    </a:lnTo>
                    <a:lnTo>
                      <a:pt x="210" y="10"/>
                    </a:lnTo>
                    <a:lnTo>
                      <a:pt x="243" y="12"/>
                    </a:lnTo>
                    <a:lnTo>
                      <a:pt x="276" y="14"/>
                    </a:lnTo>
                    <a:lnTo>
                      <a:pt x="312" y="14"/>
                    </a:lnTo>
                    <a:lnTo>
                      <a:pt x="345" y="17"/>
                    </a:lnTo>
                    <a:lnTo>
                      <a:pt x="378" y="19"/>
                    </a:lnTo>
                    <a:lnTo>
                      <a:pt x="413" y="19"/>
                    </a:lnTo>
                    <a:lnTo>
                      <a:pt x="446" y="22"/>
                    </a:lnTo>
                    <a:lnTo>
                      <a:pt x="479" y="22"/>
                    </a:lnTo>
                    <a:lnTo>
                      <a:pt x="515" y="24"/>
                    </a:lnTo>
                    <a:lnTo>
                      <a:pt x="548" y="24"/>
                    </a:lnTo>
                    <a:lnTo>
                      <a:pt x="581" y="26"/>
                    </a:lnTo>
                    <a:lnTo>
                      <a:pt x="617" y="26"/>
                    </a:lnTo>
                    <a:lnTo>
                      <a:pt x="650" y="26"/>
                    </a:lnTo>
                    <a:lnTo>
                      <a:pt x="683" y="29"/>
                    </a:lnTo>
                    <a:lnTo>
                      <a:pt x="718" y="29"/>
                    </a:lnTo>
                    <a:lnTo>
                      <a:pt x="751" y="29"/>
                    </a:lnTo>
                    <a:lnTo>
                      <a:pt x="784" y="31"/>
                    </a:lnTo>
                    <a:lnTo>
                      <a:pt x="820" y="31"/>
                    </a:lnTo>
                    <a:lnTo>
                      <a:pt x="853" y="31"/>
                    </a:lnTo>
                    <a:lnTo>
                      <a:pt x="886" y="31"/>
                    </a:lnTo>
                    <a:lnTo>
                      <a:pt x="921" y="31"/>
                    </a:lnTo>
                    <a:lnTo>
                      <a:pt x="955" y="31"/>
                    </a:lnTo>
                    <a:lnTo>
                      <a:pt x="988" y="31"/>
                    </a:lnTo>
                    <a:lnTo>
                      <a:pt x="1023" y="31"/>
                    </a:lnTo>
                    <a:lnTo>
                      <a:pt x="1056" y="31"/>
                    </a:lnTo>
                    <a:lnTo>
                      <a:pt x="1089" y="31"/>
                    </a:lnTo>
                    <a:lnTo>
                      <a:pt x="1118" y="31"/>
                    </a:lnTo>
                    <a:lnTo>
                      <a:pt x="1155" y="59"/>
                    </a:lnTo>
                    <a:lnTo>
                      <a:pt x="1167" y="59"/>
                    </a:lnTo>
                    <a:lnTo>
                      <a:pt x="1177" y="55"/>
                    </a:lnTo>
                    <a:lnTo>
                      <a:pt x="1186" y="59"/>
                    </a:lnTo>
                    <a:lnTo>
                      <a:pt x="1193" y="76"/>
                    </a:lnTo>
                    <a:lnTo>
                      <a:pt x="1191" y="85"/>
                    </a:lnTo>
                    <a:lnTo>
                      <a:pt x="1184" y="85"/>
                    </a:lnTo>
                    <a:lnTo>
                      <a:pt x="1174" y="95"/>
                    </a:lnTo>
                    <a:lnTo>
                      <a:pt x="1163" y="116"/>
                    </a:lnTo>
                    <a:lnTo>
                      <a:pt x="1167" y="135"/>
                    </a:lnTo>
                    <a:lnTo>
                      <a:pt x="1184" y="152"/>
                    </a:lnTo>
                    <a:lnTo>
                      <a:pt x="1196" y="168"/>
                    </a:lnTo>
                    <a:lnTo>
                      <a:pt x="1200" y="187"/>
                    </a:lnTo>
                    <a:lnTo>
                      <a:pt x="1212" y="201"/>
                    </a:lnTo>
                    <a:lnTo>
                      <a:pt x="1238" y="215"/>
                    </a:lnTo>
                    <a:lnTo>
                      <a:pt x="1238" y="222"/>
                    </a:lnTo>
                    <a:lnTo>
                      <a:pt x="1238" y="251"/>
                    </a:lnTo>
                    <a:lnTo>
                      <a:pt x="1241" y="277"/>
                    </a:lnTo>
                    <a:lnTo>
                      <a:pt x="1241" y="305"/>
                    </a:lnTo>
                    <a:lnTo>
                      <a:pt x="1241" y="331"/>
                    </a:lnTo>
                    <a:lnTo>
                      <a:pt x="1241" y="360"/>
                    </a:lnTo>
                    <a:lnTo>
                      <a:pt x="1241" y="386"/>
                    </a:lnTo>
                    <a:lnTo>
                      <a:pt x="1243" y="414"/>
                    </a:lnTo>
                    <a:lnTo>
                      <a:pt x="1243" y="442"/>
                    </a:lnTo>
                    <a:lnTo>
                      <a:pt x="1243" y="468"/>
                    </a:lnTo>
                    <a:lnTo>
                      <a:pt x="1243" y="497"/>
                    </a:lnTo>
                    <a:lnTo>
                      <a:pt x="1243" y="523"/>
                    </a:lnTo>
                    <a:lnTo>
                      <a:pt x="1245" y="551"/>
                    </a:lnTo>
                    <a:lnTo>
                      <a:pt x="1245" y="580"/>
                    </a:lnTo>
                    <a:lnTo>
                      <a:pt x="1245" y="606"/>
                    </a:lnTo>
                    <a:lnTo>
                      <a:pt x="1245" y="634"/>
                    </a:lnTo>
                    <a:lnTo>
                      <a:pt x="1245" y="66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2" name="Freeform 59">
                <a:extLst>
                  <a:ext uri="{FF2B5EF4-FFF2-40B4-BE49-F238E27FC236}">
                    <a16:creationId xmlns:a16="http://schemas.microsoft.com/office/drawing/2014/main" id="{D9CD3C80-0E9C-B500-09B7-88483D37F3E8}"/>
                  </a:ext>
                </a:extLst>
              </p:cNvPr>
              <p:cNvSpPr>
                <a:spLocks noEditPoints="1"/>
              </p:cNvSpPr>
              <p:nvPr/>
            </p:nvSpPr>
            <p:spPr bwMode="auto">
              <a:xfrm>
                <a:off x="5801" y="1178"/>
                <a:ext cx="1245" cy="628"/>
              </a:xfrm>
              <a:custGeom>
                <a:avLst/>
                <a:gdLst>
                  <a:gd name="T0" fmla="*/ 1123 w 1245"/>
                  <a:gd name="T1" fmla="*/ 137 h 628"/>
                  <a:gd name="T2" fmla="*/ 1146 w 1245"/>
                  <a:gd name="T3" fmla="*/ 189 h 628"/>
                  <a:gd name="T4" fmla="*/ 1189 w 1245"/>
                  <a:gd name="T5" fmla="*/ 245 h 628"/>
                  <a:gd name="T6" fmla="*/ 1165 w 1245"/>
                  <a:gd name="T7" fmla="*/ 349 h 628"/>
                  <a:gd name="T8" fmla="*/ 1120 w 1245"/>
                  <a:gd name="T9" fmla="*/ 406 h 628"/>
                  <a:gd name="T10" fmla="*/ 1030 w 1245"/>
                  <a:gd name="T11" fmla="*/ 482 h 628"/>
                  <a:gd name="T12" fmla="*/ 988 w 1245"/>
                  <a:gd name="T13" fmla="*/ 506 h 628"/>
                  <a:gd name="T14" fmla="*/ 983 w 1245"/>
                  <a:gd name="T15" fmla="*/ 508 h 628"/>
                  <a:gd name="T16" fmla="*/ 865 w 1245"/>
                  <a:gd name="T17" fmla="*/ 520 h 628"/>
                  <a:gd name="T18" fmla="*/ 628 w 1245"/>
                  <a:gd name="T19" fmla="*/ 541 h 628"/>
                  <a:gd name="T20" fmla="*/ 399 w 1245"/>
                  <a:gd name="T21" fmla="*/ 562 h 628"/>
                  <a:gd name="T22" fmla="*/ 267 w 1245"/>
                  <a:gd name="T23" fmla="*/ 569 h 628"/>
                  <a:gd name="T24" fmla="*/ 255 w 1245"/>
                  <a:gd name="T25" fmla="*/ 607 h 628"/>
                  <a:gd name="T26" fmla="*/ 170 w 1245"/>
                  <a:gd name="T27" fmla="*/ 617 h 628"/>
                  <a:gd name="T28" fmla="*/ 52 w 1245"/>
                  <a:gd name="T29" fmla="*/ 624 h 628"/>
                  <a:gd name="T30" fmla="*/ 38 w 1245"/>
                  <a:gd name="T31" fmla="*/ 602 h 628"/>
                  <a:gd name="T32" fmla="*/ 66 w 1245"/>
                  <a:gd name="T33" fmla="*/ 579 h 628"/>
                  <a:gd name="T34" fmla="*/ 59 w 1245"/>
                  <a:gd name="T35" fmla="*/ 510 h 628"/>
                  <a:gd name="T36" fmla="*/ 149 w 1245"/>
                  <a:gd name="T37" fmla="*/ 489 h 628"/>
                  <a:gd name="T38" fmla="*/ 168 w 1245"/>
                  <a:gd name="T39" fmla="*/ 456 h 628"/>
                  <a:gd name="T40" fmla="*/ 215 w 1245"/>
                  <a:gd name="T41" fmla="*/ 409 h 628"/>
                  <a:gd name="T42" fmla="*/ 229 w 1245"/>
                  <a:gd name="T43" fmla="*/ 342 h 628"/>
                  <a:gd name="T44" fmla="*/ 250 w 1245"/>
                  <a:gd name="T45" fmla="*/ 335 h 628"/>
                  <a:gd name="T46" fmla="*/ 255 w 1245"/>
                  <a:gd name="T47" fmla="*/ 309 h 628"/>
                  <a:gd name="T48" fmla="*/ 286 w 1245"/>
                  <a:gd name="T49" fmla="*/ 309 h 628"/>
                  <a:gd name="T50" fmla="*/ 302 w 1245"/>
                  <a:gd name="T51" fmla="*/ 319 h 628"/>
                  <a:gd name="T52" fmla="*/ 307 w 1245"/>
                  <a:gd name="T53" fmla="*/ 297 h 628"/>
                  <a:gd name="T54" fmla="*/ 342 w 1245"/>
                  <a:gd name="T55" fmla="*/ 300 h 628"/>
                  <a:gd name="T56" fmla="*/ 397 w 1245"/>
                  <a:gd name="T57" fmla="*/ 302 h 628"/>
                  <a:gd name="T58" fmla="*/ 458 w 1245"/>
                  <a:gd name="T59" fmla="*/ 295 h 628"/>
                  <a:gd name="T60" fmla="*/ 480 w 1245"/>
                  <a:gd name="T61" fmla="*/ 267 h 628"/>
                  <a:gd name="T62" fmla="*/ 489 w 1245"/>
                  <a:gd name="T63" fmla="*/ 243 h 628"/>
                  <a:gd name="T64" fmla="*/ 503 w 1245"/>
                  <a:gd name="T65" fmla="*/ 231 h 628"/>
                  <a:gd name="T66" fmla="*/ 517 w 1245"/>
                  <a:gd name="T67" fmla="*/ 238 h 628"/>
                  <a:gd name="T68" fmla="*/ 565 w 1245"/>
                  <a:gd name="T69" fmla="*/ 264 h 628"/>
                  <a:gd name="T70" fmla="*/ 595 w 1245"/>
                  <a:gd name="T71" fmla="*/ 198 h 628"/>
                  <a:gd name="T72" fmla="*/ 631 w 1245"/>
                  <a:gd name="T73" fmla="*/ 151 h 628"/>
                  <a:gd name="T74" fmla="*/ 647 w 1245"/>
                  <a:gd name="T75" fmla="*/ 96 h 628"/>
                  <a:gd name="T76" fmla="*/ 683 w 1245"/>
                  <a:gd name="T77" fmla="*/ 101 h 628"/>
                  <a:gd name="T78" fmla="*/ 699 w 1245"/>
                  <a:gd name="T79" fmla="*/ 94 h 628"/>
                  <a:gd name="T80" fmla="*/ 740 w 1245"/>
                  <a:gd name="T81" fmla="*/ 49 h 628"/>
                  <a:gd name="T82" fmla="*/ 732 w 1245"/>
                  <a:gd name="T83" fmla="*/ 30 h 628"/>
                  <a:gd name="T84" fmla="*/ 742 w 1245"/>
                  <a:gd name="T85" fmla="*/ 2 h 628"/>
                  <a:gd name="T86" fmla="*/ 784 w 1245"/>
                  <a:gd name="T87" fmla="*/ 2 h 628"/>
                  <a:gd name="T88" fmla="*/ 836 w 1245"/>
                  <a:gd name="T89" fmla="*/ 44 h 628"/>
                  <a:gd name="T90" fmla="*/ 919 w 1245"/>
                  <a:gd name="T91" fmla="*/ 75 h 628"/>
                  <a:gd name="T92" fmla="*/ 966 w 1245"/>
                  <a:gd name="T93" fmla="*/ 68 h 628"/>
                  <a:gd name="T94" fmla="*/ 1059 w 1245"/>
                  <a:gd name="T95" fmla="*/ 47 h 628"/>
                  <a:gd name="T96" fmla="*/ 1111 w 1245"/>
                  <a:gd name="T97" fmla="*/ 96 h 628"/>
                  <a:gd name="T98" fmla="*/ 0 w 1245"/>
                  <a:gd name="T99" fmla="*/ 621 h 628"/>
                  <a:gd name="T100" fmla="*/ 9 w 1245"/>
                  <a:gd name="T101" fmla="*/ 62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5" h="628">
                    <a:moveTo>
                      <a:pt x="1111" y="96"/>
                    </a:moveTo>
                    <a:lnTo>
                      <a:pt x="1115" y="101"/>
                    </a:lnTo>
                    <a:lnTo>
                      <a:pt x="1123" y="132"/>
                    </a:lnTo>
                    <a:lnTo>
                      <a:pt x="1123" y="137"/>
                    </a:lnTo>
                    <a:lnTo>
                      <a:pt x="1118" y="151"/>
                    </a:lnTo>
                    <a:lnTo>
                      <a:pt x="1120" y="158"/>
                    </a:lnTo>
                    <a:lnTo>
                      <a:pt x="1127" y="167"/>
                    </a:lnTo>
                    <a:lnTo>
                      <a:pt x="1146" y="189"/>
                    </a:lnTo>
                    <a:lnTo>
                      <a:pt x="1151" y="198"/>
                    </a:lnTo>
                    <a:lnTo>
                      <a:pt x="1158" y="205"/>
                    </a:lnTo>
                    <a:lnTo>
                      <a:pt x="1167" y="219"/>
                    </a:lnTo>
                    <a:lnTo>
                      <a:pt x="1189" y="245"/>
                    </a:lnTo>
                    <a:lnTo>
                      <a:pt x="1222" y="264"/>
                    </a:lnTo>
                    <a:lnTo>
                      <a:pt x="1245" y="269"/>
                    </a:lnTo>
                    <a:lnTo>
                      <a:pt x="1191" y="328"/>
                    </a:lnTo>
                    <a:lnTo>
                      <a:pt x="1165" y="349"/>
                    </a:lnTo>
                    <a:lnTo>
                      <a:pt x="1141" y="368"/>
                    </a:lnTo>
                    <a:lnTo>
                      <a:pt x="1139" y="373"/>
                    </a:lnTo>
                    <a:lnTo>
                      <a:pt x="1134" y="390"/>
                    </a:lnTo>
                    <a:lnTo>
                      <a:pt x="1120" y="406"/>
                    </a:lnTo>
                    <a:lnTo>
                      <a:pt x="1113" y="423"/>
                    </a:lnTo>
                    <a:lnTo>
                      <a:pt x="1089" y="439"/>
                    </a:lnTo>
                    <a:lnTo>
                      <a:pt x="1073" y="458"/>
                    </a:lnTo>
                    <a:lnTo>
                      <a:pt x="1030" y="482"/>
                    </a:lnTo>
                    <a:lnTo>
                      <a:pt x="1007" y="491"/>
                    </a:lnTo>
                    <a:lnTo>
                      <a:pt x="990" y="503"/>
                    </a:lnTo>
                    <a:lnTo>
                      <a:pt x="990" y="506"/>
                    </a:lnTo>
                    <a:lnTo>
                      <a:pt x="988" y="506"/>
                    </a:lnTo>
                    <a:lnTo>
                      <a:pt x="988" y="506"/>
                    </a:lnTo>
                    <a:lnTo>
                      <a:pt x="985" y="506"/>
                    </a:lnTo>
                    <a:lnTo>
                      <a:pt x="985" y="508"/>
                    </a:lnTo>
                    <a:lnTo>
                      <a:pt x="983" y="508"/>
                    </a:lnTo>
                    <a:lnTo>
                      <a:pt x="983" y="508"/>
                    </a:lnTo>
                    <a:lnTo>
                      <a:pt x="981" y="508"/>
                    </a:lnTo>
                    <a:lnTo>
                      <a:pt x="924" y="515"/>
                    </a:lnTo>
                    <a:lnTo>
                      <a:pt x="865" y="520"/>
                    </a:lnTo>
                    <a:lnTo>
                      <a:pt x="806" y="527"/>
                    </a:lnTo>
                    <a:lnTo>
                      <a:pt x="747" y="532"/>
                    </a:lnTo>
                    <a:lnTo>
                      <a:pt x="688" y="536"/>
                    </a:lnTo>
                    <a:lnTo>
                      <a:pt x="628" y="541"/>
                    </a:lnTo>
                    <a:lnTo>
                      <a:pt x="572" y="546"/>
                    </a:lnTo>
                    <a:lnTo>
                      <a:pt x="513" y="548"/>
                    </a:lnTo>
                    <a:lnTo>
                      <a:pt x="456" y="555"/>
                    </a:lnTo>
                    <a:lnTo>
                      <a:pt x="399" y="562"/>
                    </a:lnTo>
                    <a:lnTo>
                      <a:pt x="345" y="569"/>
                    </a:lnTo>
                    <a:lnTo>
                      <a:pt x="288" y="574"/>
                    </a:lnTo>
                    <a:lnTo>
                      <a:pt x="283" y="569"/>
                    </a:lnTo>
                    <a:lnTo>
                      <a:pt x="267" y="569"/>
                    </a:lnTo>
                    <a:lnTo>
                      <a:pt x="246" y="569"/>
                    </a:lnTo>
                    <a:lnTo>
                      <a:pt x="243" y="569"/>
                    </a:lnTo>
                    <a:lnTo>
                      <a:pt x="253" y="591"/>
                    </a:lnTo>
                    <a:lnTo>
                      <a:pt x="255" y="607"/>
                    </a:lnTo>
                    <a:lnTo>
                      <a:pt x="253" y="610"/>
                    </a:lnTo>
                    <a:lnTo>
                      <a:pt x="227" y="612"/>
                    </a:lnTo>
                    <a:lnTo>
                      <a:pt x="198" y="614"/>
                    </a:lnTo>
                    <a:lnTo>
                      <a:pt x="170" y="617"/>
                    </a:lnTo>
                    <a:lnTo>
                      <a:pt x="139" y="619"/>
                    </a:lnTo>
                    <a:lnTo>
                      <a:pt x="111" y="621"/>
                    </a:lnTo>
                    <a:lnTo>
                      <a:pt x="80" y="624"/>
                    </a:lnTo>
                    <a:lnTo>
                      <a:pt x="52" y="624"/>
                    </a:lnTo>
                    <a:lnTo>
                      <a:pt x="19" y="628"/>
                    </a:lnTo>
                    <a:lnTo>
                      <a:pt x="26" y="607"/>
                    </a:lnTo>
                    <a:lnTo>
                      <a:pt x="33" y="602"/>
                    </a:lnTo>
                    <a:lnTo>
                      <a:pt x="38" y="602"/>
                    </a:lnTo>
                    <a:lnTo>
                      <a:pt x="45" y="605"/>
                    </a:lnTo>
                    <a:lnTo>
                      <a:pt x="49" y="605"/>
                    </a:lnTo>
                    <a:lnTo>
                      <a:pt x="59" y="598"/>
                    </a:lnTo>
                    <a:lnTo>
                      <a:pt x="66" y="579"/>
                    </a:lnTo>
                    <a:lnTo>
                      <a:pt x="68" y="558"/>
                    </a:lnTo>
                    <a:lnTo>
                      <a:pt x="68" y="536"/>
                    </a:lnTo>
                    <a:lnTo>
                      <a:pt x="61" y="520"/>
                    </a:lnTo>
                    <a:lnTo>
                      <a:pt x="59" y="510"/>
                    </a:lnTo>
                    <a:lnTo>
                      <a:pt x="64" y="496"/>
                    </a:lnTo>
                    <a:lnTo>
                      <a:pt x="75" y="480"/>
                    </a:lnTo>
                    <a:lnTo>
                      <a:pt x="106" y="477"/>
                    </a:lnTo>
                    <a:lnTo>
                      <a:pt x="149" y="489"/>
                    </a:lnTo>
                    <a:lnTo>
                      <a:pt x="175" y="491"/>
                    </a:lnTo>
                    <a:lnTo>
                      <a:pt x="177" y="484"/>
                    </a:lnTo>
                    <a:lnTo>
                      <a:pt x="175" y="472"/>
                    </a:lnTo>
                    <a:lnTo>
                      <a:pt x="168" y="456"/>
                    </a:lnTo>
                    <a:lnTo>
                      <a:pt x="163" y="442"/>
                    </a:lnTo>
                    <a:lnTo>
                      <a:pt x="165" y="435"/>
                    </a:lnTo>
                    <a:lnTo>
                      <a:pt x="182" y="423"/>
                    </a:lnTo>
                    <a:lnTo>
                      <a:pt x="215" y="409"/>
                    </a:lnTo>
                    <a:lnTo>
                      <a:pt x="227" y="392"/>
                    </a:lnTo>
                    <a:lnTo>
                      <a:pt x="220" y="375"/>
                    </a:lnTo>
                    <a:lnTo>
                      <a:pt x="220" y="359"/>
                    </a:lnTo>
                    <a:lnTo>
                      <a:pt x="229" y="342"/>
                    </a:lnTo>
                    <a:lnTo>
                      <a:pt x="234" y="338"/>
                    </a:lnTo>
                    <a:lnTo>
                      <a:pt x="236" y="335"/>
                    </a:lnTo>
                    <a:lnTo>
                      <a:pt x="243" y="338"/>
                    </a:lnTo>
                    <a:lnTo>
                      <a:pt x="250" y="335"/>
                    </a:lnTo>
                    <a:lnTo>
                      <a:pt x="253" y="331"/>
                    </a:lnTo>
                    <a:lnTo>
                      <a:pt x="255" y="323"/>
                    </a:lnTo>
                    <a:lnTo>
                      <a:pt x="253" y="312"/>
                    </a:lnTo>
                    <a:lnTo>
                      <a:pt x="255" y="309"/>
                    </a:lnTo>
                    <a:lnTo>
                      <a:pt x="257" y="309"/>
                    </a:lnTo>
                    <a:lnTo>
                      <a:pt x="267" y="314"/>
                    </a:lnTo>
                    <a:lnTo>
                      <a:pt x="276" y="314"/>
                    </a:lnTo>
                    <a:lnTo>
                      <a:pt x="286" y="309"/>
                    </a:lnTo>
                    <a:lnTo>
                      <a:pt x="290" y="312"/>
                    </a:lnTo>
                    <a:lnTo>
                      <a:pt x="295" y="321"/>
                    </a:lnTo>
                    <a:lnTo>
                      <a:pt x="298" y="323"/>
                    </a:lnTo>
                    <a:lnTo>
                      <a:pt x="302" y="319"/>
                    </a:lnTo>
                    <a:lnTo>
                      <a:pt x="305" y="312"/>
                    </a:lnTo>
                    <a:lnTo>
                      <a:pt x="302" y="300"/>
                    </a:lnTo>
                    <a:lnTo>
                      <a:pt x="305" y="297"/>
                    </a:lnTo>
                    <a:lnTo>
                      <a:pt x="307" y="297"/>
                    </a:lnTo>
                    <a:lnTo>
                      <a:pt x="309" y="302"/>
                    </a:lnTo>
                    <a:lnTo>
                      <a:pt x="316" y="302"/>
                    </a:lnTo>
                    <a:lnTo>
                      <a:pt x="326" y="297"/>
                    </a:lnTo>
                    <a:lnTo>
                      <a:pt x="342" y="300"/>
                    </a:lnTo>
                    <a:lnTo>
                      <a:pt x="371" y="312"/>
                    </a:lnTo>
                    <a:lnTo>
                      <a:pt x="383" y="321"/>
                    </a:lnTo>
                    <a:lnTo>
                      <a:pt x="390" y="316"/>
                    </a:lnTo>
                    <a:lnTo>
                      <a:pt x="397" y="302"/>
                    </a:lnTo>
                    <a:lnTo>
                      <a:pt x="409" y="290"/>
                    </a:lnTo>
                    <a:lnTo>
                      <a:pt x="423" y="281"/>
                    </a:lnTo>
                    <a:lnTo>
                      <a:pt x="439" y="283"/>
                    </a:lnTo>
                    <a:lnTo>
                      <a:pt x="458" y="295"/>
                    </a:lnTo>
                    <a:lnTo>
                      <a:pt x="470" y="297"/>
                    </a:lnTo>
                    <a:lnTo>
                      <a:pt x="477" y="288"/>
                    </a:lnTo>
                    <a:lnTo>
                      <a:pt x="482" y="279"/>
                    </a:lnTo>
                    <a:lnTo>
                      <a:pt x="480" y="267"/>
                    </a:lnTo>
                    <a:lnTo>
                      <a:pt x="484" y="260"/>
                    </a:lnTo>
                    <a:lnTo>
                      <a:pt x="489" y="255"/>
                    </a:lnTo>
                    <a:lnTo>
                      <a:pt x="491" y="250"/>
                    </a:lnTo>
                    <a:lnTo>
                      <a:pt x="489" y="243"/>
                    </a:lnTo>
                    <a:lnTo>
                      <a:pt x="494" y="238"/>
                    </a:lnTo>
                    <a:lnTo>
                      <a:pt x="503" y="236"/>
                    </a:lnTo>
                    <a:lnTo>
                      <a:pt x="506" y="234"/>
                    </a:lnTo>
                    <a:lnTo>
                      <a:pt x="503" y="231"/>
                    </a:lnTo>
                    <a:lnTo>
                      <a:pt x="503" y="229"/>
                    </a:lnTo>
                    <a:lnTo>
                      <a:pt x="506" y="229"/>
                    </a:lnTo>
                    <a:lnTo>
                      <a:pt x="510" y="231"/>
                    </a:lnTo>
                    <a:lnTo>
                      <a:pt x="517" y="238"/>
                    </a:lnTo>
                    <a:lnTo>
                      <a:pt x="520" y="248"/>
                    </a:lnTo>
                    <a:lnTo>
                      <a:pt x="532" y="257"/>
                    </a:lnTo>
                    <a:lnTo>
                      <a:pt x="550" y="264"/>
                    </a:lnTo>
                    <a:lnTo>
                      <a:pt x="565" y="264"/>
                    </a:lnTo>
                    <a:lnTo>
                      <a:pt x="572" y="257"/>
                    </a:lnTo>
                    <a:lnTo>
                      <a:pt x="581" y="241"/>
                    </a:lnTo>
                    <a:lnTo>
                      <a:pt x="586" y="212"/>
                    </a:lnTo>
                    <a:lnTo>
                      <a:pt x="595" y="198"/>
                    </a:lnTo>
                    <a:lnTo>
                      <a:pt x="607" y="193"/>
                    </a:lnTo>
                    <a:lnTo>
                      <a:pt x="617" y="182"/>
                    </a:lnTo>
                    <a:lnTo>
                      <a:pt x="621" y="165"/>
                    </a:lnTo>
                    <a:lnTo>
                      <a:pt x="631" y="151"/>
                    </a:lnTo>
                    <a:lnTo>
                      <a:pt x="643" y="139"/>
                    </a:lnTo>
                    <a:lnTo>
                      <a:pt x="647" y="125"/>
                    </a:lnTo>
                    <a:lnTo>
                      <a:pt x="643" y="108"/>
                    </a:lnTo>
                    <a:lnTo>
                      <a:pt x="647" y="96"/>
                    </a:lnTo>
                    <a:lnTo>
                      <a:pt x="664" y="94"/>
                    </a:lnTo>
                    <a:lnTo>
                      <a:pt x="673" y="94"/>
                    </a:lnTo>
                    <a:lnTo>
                      <a:pt x="680" y="99"/>
                    </a:lnTo>
                    <a:lnTo>
                      <a:pt x="683" y="101"/>
                    </a:lnTo>
                    <a:lnTo>
                      <a:pt x="683" y="101"/>
                    </a:lnTo>
                    <a:lnTo>
                      <a:pt x="688" y="101"/>
                    </a:lnTo>
                    <a:lnTo>
                      <a:pt x="692" y="99"/>
                    </a:lnTo>
                    <a:lnTo>
                      <a:pt x="699" y="94"/>
                    </a:lnTo>
                    <a:lnTo>
                      <a:pt x="728" y="80"/>
                    </a:lnTo>
                    <a:lnTo>
                      <a:pt x="744" y="66"/>
                    </a:lnTo>
                    <a:lnTo>
                      <a:pt x="744" y="56"/>
                    </a:lnTo>
                    <a:lnTo>
                      <a:pt x="740" y="49"/>
                    </a:lnTo>
                    <a:lnTo>
                      <a:pt x="732" y="49"/>
                    </a:lnTo>
                    <a:lnTo>
                      <a:pt x="730" y="44"/>
                    </a:lnTo>
                    <a:lnTo>
                      <a:pt x="735" y="37"/>
                    </a:lnTo>
                    <a:lnTo>
                      <a:pt x="732" y="30"/>
                    </a:lnTo>
                    <a:lnTo>
                      <a:pt x="728" y="21"/>
                    </a:lnTo>
                    <a:lnTo>
                      <a:pt x="730" y="11"/>
                    </a:lnTo>
                    <a:lnTo>
                      <a:pt x="732" y="9"/>
                    </a:lnTo>
                    <a:lnTo>
                      <a:pt x="742" y="2"/>
                    </a:lnTo>
                    <a:lnTo>
                      <a:pt x="751" y="0"/>
                    </a:lnTo>
                    <a:lnTo>
                      <a:pt x="758" y="7"/>
                    </a:lnTo>
                    <a:lnTo>
                      <a:pt x="770" y="7"/>
                    </a:lnTo>
                    <a:lnTo>
                      <a:pt x="784" y="2"/>
                    </a:lnTo>
                    <a:lnTo>
                      <a:pt x="796" y="2"/>
                    </a:lnTo>
                    <a:lnTo>
                      <a:pt x="810" y="9"/>
                    </a:lnTo>
                    <a:lnTo>
                      <a:pt x="822" y="23"/>
                    </a:lnTo>
                    <a:lnTo>
                      <a:pt x="836" y="44"/>
                    </a:lnTo>
                    <a:lnTo>
                      <a:pt x="855" y="56"/>
                    </a:lnTo>
                    <a:lnTo>
                      <a:pt x="884" y="59"/>
                    </a:lnTo>
                    <a:lnTo>
                      <a:pt x="905" y="63"/>
                    </a:lnTo>
                    <a:lnTo>
                      <a:pt x="919" y="75"/>
                    </a:lnTo>
                    <a:lnTo>
                      <a:pt x="929" y="78"/>
                    </a:lnTo>
                    <a:lnTo>
                      <a:pt x="940" y="70"/>
                    </a:lnTo>
                    <a:lnTo>
                      <a:pt x="952" y="66"/>
                    </a:lnTo>
                    <a:lnTo>
                      <a:pt x="966" y="68"/>
                    </a:lnTo>
                    <a:lnTo>
                      <a:pt x="985" y="75"/>
                    </a:lnTo>
                    <a:lnTo>
                      <a:pt x="1009" y="70"/>
                    </a:lnTo>
                    <a:lnTo>
                      <a:pt x="1040" y="49"/>
                    </a:lnTo>
                    <a:lnTo>
                      <a:pt x="1059" y="47"/>
                    </a:lnTo>
                    <a:lnTo>
                      <a:pt x="1068" y="63"/>
                    </a:lnTo>
                    <a:lnTo>
                      <a:pt x="1085" y="80"/>
                    </a:lnTo>
                    <a:lnTo>
                      <a:pt x="1111" y="94"/>
                    </a:lnTo>
                    <a:lnTo>
                      <a:pt x="1111" y="96"/>
                    </a:lnTo>
                    <a:close/>
                    <a:moveTo>
                      <a:pt x="12" y="628"/>
                    </a:moveTo>
                    <a:lnTo>
                      <a:pt x="0" y="628"/>
                    </a:lnTo>
                    <a:lnTo>
                      <a:pt x="0" y="626"/>
                    </a:lnTo>
                    <a:lnTo>
                      <a:pt x="0" y="621"/>
                    </a:lnTo>
                    <a:lnTo>
                      <a:pt x="0" y="617"/>
                    </a:lnTo>
                    <a:lnTo>
                      <a:pt x="2" y="617"/>
                    </a:lnTo>
                    <a:lnTo>
                      <a:pt x="4" y="617"/>
                    </a:lnTo>
                    <a:lnTo>
                      <a:pt x="9" y="621"/>
                    </a:lnTo>
                    <a:lnTo>
                      <a:pt x="12" y="62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3" name="Freeform 60">
                <a:extLst>
                  <a:ext uri="{FF2B5EF4-FFF2-40B4-BE49-F238E27FC236}">
                    <a16:creationId xmlns:a16="http://schemas.microsoft.com/office/drawing/2014/main" id="{99977FFE-D48F-82C2-F6D2-86CD3CB69E17}"/>
                  </a:ext>
                </a:extLst>
              </p:cNvPr>
              <p:cNvSpPr>
                <a:spLocks noEditPoints="1"/>
              </p:cNvSpPr>
              <p:nvPr/>
            </p:nvSpPr>
            <p:spPr bwMode="auto">
              <a:xfrm>
                <a:off x="5056" y="2556"/>
                <a:ext cx="981" cy="835"/>
              </a:xfrm>
              <a:custGeom>
                <a:avLst/>
                <a:gdLst>
                  <a:gd name="T0" fmla="*/ 733 w 981"/>
                  <a:gd name="T1" fmla="*/ 549 h 835"/>
                  <a:gd name="T2" fmla="*/ 728 w 981"/>
                  <a:gd name="T3" fmla="*/ 622 h 835"/>
                  <a:gd name="T4" fmla="*/ 806 w 981"/>
                  <a:gd name="T5" fmla="*/ 586 h 835"/>
                  <a:gd name="T6" fmla="*/ 794 w 981"/>
                  <a:gd name="T7" fmla="*/ 622 h 835"/>
                  <a:gd name="T8" fmla="*/ 853 w 981"/>
                  <a:gd name="T9" fmla="*/ 608 h 835"/>
                  <a:gd name="T10" fmla="*/ 879 w 981"/>
                  <a:gd name="T11" fmla="*/ 650 h 835"/>
                  <a:gd name="T12" fmla="*/ 846 w 981"/>
                  <a:gd name="T13" fmla="*/ 683 h 835"/>
                  <a:gd name="T14" fmla="*/ 818 w 981"/>
                  <a:gd name="T15" fmla="*/ 702 h 835"/>
                  <a:gd name="T16" fmla="*/ 922 w 981"/>
                  <a:gd name="T17" fmla="*/ 757 h 835"/>
                  <a:gd name="T18" fmla="*/ 939 w 981"/>
                  <a:gd name="T19" fmla="*/ 806 h 835"/>
                  <a:gd name="T20" fmla="*/ 898 w 981"/>
                  <a:gd name="T21" fmla="*/ 830 h 835"/>
                  <a:gd name="T22" fmla="*/ 861 w 981"/>
                  <a:gd name="T23" fmla="*/ 778 h 835"/>
                  <a:gd name="T24" fmla="*/ 809 w 981"/>
                  <a:gd name="T25" fmla="*/ 764 h 835"/>
                  <a:gd name="T26" fmla="*/ 738 w 981"/>
                  <a:gd name="T27" fmla="*/ 733 h 835"/>
                  <a:gd name="T28" fmla="*/ 757 w 981"/>
                  <a:gd name="T29" fmla="*/ 776 h 835"/>
                  <a:gd name="T30" fmla="*/ 726 w 981"/>
                  <a:gd name="T31" fmla="*/ 813 h 835"/>
                  <a:gd name="T32" fmla="*/ 645 w 981"/>
                  <a:gd name="T33" fmla="*/ 813 h 835"/>
                  <a:gd name="T34" fmla="*/ 539 w 981"/>
                  <a:gd name="T35" fmla="*/ 780 h 835"/>
                  <a:gd name="T36" fmla="*/ 534 w 981"/>
                  <a:gd name="T37" fmla="*/ 733 h 835"/>
                  <a:gd name="T38" fmla="*/ 454 w 981"/>
                  <a:gd name="T39" fmla="*/ 698 h 835"/>
                  <a:gd name="T40" fmla="*/ 369 w 981"/>
                  <a:gd name="T41" fmla="*/ 712 h 835"/>
                  <a:gd name="T42" fmla="*/ 270 w 981"/>
                  <a:gd name="T43" fmla="*/ 738 h 835"/>
                  <a:gd name="T44" fmla="*/ 137 w 981"/>
                  <a:gd name="T45" fmla="*/ 702 h 835"/>
                  <a:gd name="T46" fmla="*/ 45 w 981"/>
                  <a:gd name="T47" fmla="*/ 698 h 835"/>
                  <a:gd name="T48" fmla="*/ 62 w 981"/>
                  <a:gd name="T49" fmla="*/ 662 h 835"/>
                  <a:gd name="T50" fmla="*/ 66 w 981"/>
                  <a:gd name="T51" fmla="*/ 577 h 835"/>
                  <a:gd name="T52" fmla="*/ 95 w 981"/>
                  <a:gd name="T53" fmla="*/ 482 h 835"/>
                  <a:gd name="T54" fmla="*/ 99 w 981"/>
                  <a:gd name="T55" fmla="*/ 423 h 835"/>
                  <a:gd name="T56" fmla="*/ 64 w 981"/>
                  <a:gd name="T57" fmla="*/ 345 h 835"/>
                  <a:gd name="T58" fmla="*/ 43 w 981"/>
                  <a:gd name="T59" fmla="*/ 277 h 835"/>
                  <a:gd name="T60" fmla="*/ 2 w 981"/>
                  <a:gd name="T61" fmla="*/ 154 h 835"/>
                  <a:gd name="T62" fmla="*/ 0 w 981"/>
                  <a:gd name="T63" fmla="*/ 21 h 835"/>
                  <a:gd name="T64" fmla="*/ 161 w 981"/>
                  <a:gd name="T65" fmla="*/ 17 h 835"/>
                  <a:gd name="T66" fmla="*/ 319 w 981"/>
                  <a:gd name="T67" fmla="*/ 9 h 835"/>
                  <a:gd name="T68" fmla="*/ 480 w 981"/>
                  <a:gd name="T69" fmla="*/ 2 h 835"/>
                  <a:gd name="T70" fmla="*/ 520 w 981"/>
                  <a:gd name="T71" fmla="*/ 45 h 835"/>
                  <a:gd name="T72" fmla="*/ 520 w 981"/>
                  <a:gd name="T73" fmla="*/ 83 h 835"/>
                  <a:gd name="T74" fmla="*/ 551 w 981"/>
                  <a:gd name="T75" fmla="*/ 132 h 835"/>
                  <a:gd name="T76" fmla="*/ 551 w 981"/>
                  <a:gd name="T77" fmla="*/ 175 h 835"/>
                  <a:gd name="T78" fmla="*/ 525 w 981"/>
                  <a:gd name="T79" fmla="*/ 222 h 835"/>
                  <a:gd name="T80" fmla="*/ 468 w 981"/>
                  <a:gd name="T81" fmla="*/ 319 h 835"/>
                  <a:gd name="T82" fmla="*/ 447 w 981"/>
                  <a:gd name="T83" fmla="*/ 385 h 835"/>
                  <a:gd name="T84" fmla="*/ 489 w 981"/>
                  <a:gd name="T85" fmla="*/ 428 h 835"/>
                  <a:gd name="T86" fmla="*/ 707 w 981"/>
                  <a:gd name="T87" fmla="*/ 416 h 835"/>
                  <a:gd name="T88" fmla="*/ 780 w 981"/>
                  <a:gd name="T89" fmla="*/ 478 h 835"/>
                  <a:gd name="T90" fmla="*/ 811 w 981"/>
                  <a:gd name="T91" fmla="*/ 525 h 835"/>
                  <a:gd name="T92" fmla="*/ 842 w 981"/>
                  <a:gd name="T93" fmla="*/ 577 h 835"/>
                  <a:gd name="T94" fmla="*/ 882 w 981"/>
                  <a:gd name="T95" fmla="*/ 603 h 835"/>
                  <a:gd name="T96" fmla="*/ 903 w 981"/>
                  <a:gd name="T97" fmla="*/ 589 h 835"/>
                  <a:gd name="T98" fmla="*/ 969 w 981"/>
                  <a:gd name="T99" fmla="*/ 598 h 835"/>
                  <a:gd name="T100" fmla="*/ 960 w 981"/>
                  <a:gd name="T101" fmla="*/ 683 h 835"/>
                  <a:gd name="T102" fmla="*/ 435 w 981"/>
                  <a:gd name="T103" fmla="*/ 750 h 835"/>
                  <a:gd name="T104" fmla="*/ 419 w 981"/>
                  <a:gd name="T105" fmla="*/ 721 h 835"/>
                  <a:gd name="T106" fmla="*/ 435 w 981"/>
                  <a:gd name="T107" fmla="*/ 75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1" h="835">
                    <a:moveTo>
                      <a:pt x="846" y="579"/>
                    </a:moveTo>
                    <a:lnTo>
                      <a:pt x="835" y="586"/>
                    </a:lnTo>
                    <a:lnTo>
                      <a:pt x="766" y="568"/>
                    </a:lnTo>
                    <a:lnTo>
                      <a:pt x="747" y="551"/>
                    </a:lnTo>
                    <a:lnTo>
                      <a:pt x="733" y="549"/>
                    </a:lnTo>
                    <a:lnTo>
                      <a:pt x="714" y="549"/>
                    </a:lnTo>
                    <a:lnTo>
                      <a:pt x="695" y="570"/>
                    </a:lnTo>
                    <a:lnTo>
                      <a:pt x="683" y="601"/>
                    </a:lnTo>
                    <a:lnTo>
                      <a:pt x="707" y="615"/>
                    </a:lnTo>
                    <a:lnTo>
                      <a:pt x="728" y="622"/>
                    </a:lnTo>
                    <a:lnTo>
                      <a:pt x="761" y="612"/>
                    </a:lnTo>
                    <a:lnTo>
                      <a:pt x="778" y="598"/>
                    </a:lnTo>
                    <a:lnTo>
                      <a:pt x="794" y="598"/>
                    </a:lnTo>
                    <a:lnTo>
                      <a:pt x="801" y="594"/>
                    </a:lnTo>
                    <a:lnTo>
                      <a:pt x="806" y="586"/>
                    </a:lnTo>
                    <a:lnTo>
                      <a:pt x="820" y="591"/>
                    </a:lnTo>
                    <a:lnTo>
                      <a:pt x="820" y="596"/>
                    </a:lnTo>
                    <a:lnTo>
                      <a:pt x="811" y="605"/>
                    </a:lnTo>
                    <a:lnTo>
                      <a:pt x="801" y="612"/>
                    </a:lnTo>
                    <a:lnTo>
                      <a:pt x="794" y="622"/>
                    </a:lnTo>
                    <a:lnTo>
                      <a:pt x="809" y="636"/>
                    </a:lnTo>
                    <a:lnTo>
                      <a:pt x="830" y="641"/>
                    </a:lnTo>
                    <a:lnTo>
                      <a:pt x="837" y="638"/>
                    </a:lnTo>
                    <a:lnTo>
                      <a:pt x="842" y="620"/>
                    </a:lnTo>
                    <a:lnTo>
                      <a:pt x="853" y="608"/>
                    </a:lnTo>
                    <a:lnTo>
                      <a:pt x="870" y="608"/>
                    </a:lnTo>
                    <a:lnTo>
                      <a:pt x="868" y="615"/>
                    </a:lnTo>
                    <a:lnTo>
                      <a:pt x="872" y="622"/>
                    </a:lnTo>
                    <a:lnTo>
                      <a:pt x="879" y="634"/>
                    </a:lnTo>
                    <a:lnTo>
                      <a:pt x="879" y="650"/>
                    </a:lnTo>
                    <a:lnTo>
                      <a:pt x="882" y="655"/>
                    </a:lnTo>
                    <a:lnTo>
                      <a:pt x="865" y="664"/>
                    </a:lnTo>
                    <a:lnTo>
                      <a:pt x="851" y="669"/>
                    </a:lnTo>
                    <a:lnTo>
                      <a:pt x="839" y="679"/>
                    </a:lnTo>
                    <a:lnTo>
                      <a:pt x="846" y="683"/>
                    </a:lnTo>
                    <a:lnTo>
                      <a:pt x="835" y="690"/>
                    </a:lnTo>
                    <a:lnTo>
                      <a:pt x="827" y="688"/>
                    </a:lnTo>
                    <a:lnTo>
                      <a:pt x="823" y="690"/>
                    </a:lnTo>
                    <a:lnTo>
                      <a:pt x="823" y="698"/>
                    </a:lnTo>
                    <a:lnTo>
                      <a:pt x="818" y="702"/>
                    </a:lnTo>
                    <a:lnTo>
                      <a:pt x="827" y="719"/>
                    </a:lnTo>
                    <a:lnTo>
                      <a:pt x="846" y="728"/>
                    </a:lnTo>
                    <a:lnTo>
                      <a:pt x="858" y="742"/>
                    </a:lnTo>
                    <a:lnTo>
                      <a:pt x="910" y="757"/>
                    </a:lnTo>
                    <a:lnTo>
                      <a:pt x="922" y="757"/>
                    </a:lnTo>
                    <a:lnTo>
                      <a:pt x="936" y="773"/>
                    </a:lnTo>
                    <a:lnTo>
                      <a:pt x="946" y="780"/>
                    </a:lnTo>
                    <a:lnTo>
                      <a:pt x="955" y="783"/>
                    </a:lnTo>
                    <a:lnTo>
                      <a:pt x="955" y="795"/>
                    </a:lnTo>
                    <a:lnTo>
                      <a:pt x="939" y="806"/>
                    </a:lnTo>
                    <a:lnTo>
                      <a:pt x="936" y="816"/>
                    </a:lnTo>
                    <a:lnTo>
                      <a:pt x="931" y="823"/>
                    </a:lnTo>
                    <a:lnTo>
                      <a:pt x="924" y="816"/>
                    </a:lnTo>
                    <a:lnTo>
                      <a:pt x="915" y="811"/>
                    </a:lnTo>
                    <a:lnTo>
                      <a:pt x="898" y="830"/>
                    </a:lnTo>
                    <a:lnTo>
                      <a:pt x="891" y="835"/>
                    </a:lnTo>
                    <a:lnTo>
                      <a:pt x="894" y="816"/>
                    </a:lnTo>
                    <a:lnTo>
                      <a:pt x="887" y="809"/>
                    </a:lnTo>
                    <a:lnTo>
                      <a:pt x="875" y="790"/>
                    </a:lnTo>
                    <a:lnTo>
                      <a:pt x="861" y="778"/>
                    </a:lnTo>
                    <a:lnTo>
                      <a:pt x="849" y="776"/>
                    </a:lnTo>
                    <a:lnTo>
                      <a:pt x="842" y="768"/>
                    </a:lnTo>
                    <a:lnTo>
                      <a:pt x="830" y="766"/>
                    </a:lnTo>
                    <a:lnTo>
                      <a:pt x="823" y="768"/>
                    </a:lnTo>
                    <a:lnTo>
                      <a:pt x="809" y="764"/>
                    </a:lnTo>
                    <a:lnTo>
                      <a:pt x="806" y="754"/>
                    </a:lnTo>
                    <a:lnTo>
                      <a:pt x="801" y="747"/>
                    </a:lnTo>
                    <a:lnTo>
                      <a:pt x="792" y="740"/>
                    </a:lnTo>
                    <a:lnTo>
                      <a:pt x="738" y="726"/>
                    </a:lnTo>
                    <a:lnTo>
                      <a:pt x="738" y="733"/>
                    </a:lnTo>
                    <a:lnTo>
                      <a:pt x="742" y="738"/>
                    </a:lnTo>
                    <a:lnTo>
                      <a:pt x="749" y="740"/>
                    </a:lnTo>
                    <a:lnTo>
                      <a:pt x="759" y="747"/>
                    </a:lnTo>
                    <a:lnTo>
                      <a:pt x="759" y="766"/>
                    </a:lnTo>
                    <a:lnTo>
                      <a:pt x="757" y="776"/>
                    </a:lnTo>
                    <a:lnTo>
                      <a:pt x="757" y="787"/>
                    </a:lnTo>
                    <a:lnTo>
                      <a:pt x="754" y="802"/>
                    </a:lnTo>
                    <a:lnTo>
                      <a:pt x="747" y="811"/>
                    </a:lnTo>
                    <a:lnTo>
                      <a:pt x="733" y="818"/>
                    </a:lnTo>
                    <a:lnTo>
                      <a:pt x="726" y="813"/>
                    </a:lnTo>
                    <a:lnTo>
                      <a:pt x="714" y="787"/>
                    </a:lnTo>
                    <a:lnTo>
                      <a:pt x="700" y="780"/>
                    </a:lnTo>
                    <a:lnTo>
                      <a:pt x="676" y="780"/>
                    </a:lnTo>
                    <a:lnTo>
                      <a:pt x="662" y="787"/>
                    </a:lnTo>
                    <a:lnTo>
                      <a:pt x="645" y="813"/>
                    </a:lnTo>
                    <a:lnTo>
                      <a:pt x="634" y="818"/>
                    </a:lnTo>
                    <a:lnTo>
                      <a:pt x="584" y="809"/>
                    </a:lnTo>
                    <a:lnTo>
                      <a:pt x="530" y="790"/>
                    </a:lnTo>
                    <a:lnTo>
                      <a:pt x="532" y="785"/>
                    </a:lnTo>
                    <a:lnTo>
                      <a:pt x="539" y="780"/>
                    </a:lnTo>
                    <a:lnTo>
                      <a:pt x="556" y="783"/>
                    </a:lnTo>
                    <a:lnTo>
                      <a:pt x="556" y="776"/>
                    </a:lnTo>
                    <a:lnTo>
                      <a:pt x="537" y="754"/>
                    </a:lnTo>
                    <a:lnTo>
                      <a:pt x="534" y="745"/>
                    </a:lnTo>
                    <a:lnTo>
                      <a:pt x="534" y="733"/>
                    </a:lnTo>
                    <a:lnTo>
                      <a:pt x="530" y="733"/>
                    </a:lnTo>
                    <a:lnTo>
                      <a:pt x="520" y="742"/>
                    </a:lnTo>
                    <a:lnTo>
                      <a:pt x="485" y="735"/>
                    </a:lnTo>
                    <a:lnTo>
                      <a:pt x="475" y="726"/>
                    </a:lnTo>
                    <a:lnTo>
                      <a:pt x="454" y="698"/>
                    </a:lnTo>
                    <a:lnTo>
                      <a:pt x="426" y="698"/>
                    </a:lnTo>
                    <a:lnTo>
                      <a:pt x="414" y="681"/>
                    </a:lnTo>
                    <a:lnTo>
                      <a:pt x="390" y="688"/>
                    </a:lnTo>
                    <a:lnTo>
                      <a:pt x="378" y="698"/>
                    </a:lnTo>
                    <a:lnTo>
                      <a:pt x="369" y="712"/>
                    </a:lnTo>
                    <a:lnTo>
                      <a:pt x="374" y="719"/>
                    </a:lnTo>
                    <a:lnTo>
                      <a:pt x="383" y="728"/>
                    </a:lnTo>
                    <a:lnTo>
                      <a:pt x="381" y="733"/>
                    </a:lnTo>
                    <a:lnTo>
                      <a:pt x="348" y="742"/>
                    </a:lnTo>
                    <a:lnTo>
                      <a:pt x="270" y="738"/>
                    </a:lnTo>
                    <a:lnTo>
                      <a:pt x="248" y="731"/>
                    </a:lnTo>
                    <a:lnTo>
                      <a:pt x="218" y="714"/>
                    </a:lnTo>
                    <a:lnTo>
                      <a:pt x="175" y="702"/>
                    </a:lnTo>
                    <a:lnTo>
                      <a:pt x="156" y="700"/>
                    </a:lnTo>
                    <a:lnTo>
                      <a:pt x="137" y="702"/>
                    </a:lnTo>
                    <a:lnTo>
                      <a:pt x="80" y="707"/>
                    </a:lnTo>
                    <a:lnTo>
                      <a:pt x="66" y="709"/>
                    </a:lnTo>
                    <a:lnTo>
                      <a:pt x="54" y="716"/>
                    </a:lnTo>
                    <a:lnTo>
                      <a:pt x="47" y="709"/>
                    </a:lnTo>
                    <a:lnTo>
                      <a:pt x="45" y="698"/>
                    </a:lnTo>
                    <a:lnTo>
                      <a:pt x="52" y="698"/>
                    </a:lnTo>
                    <a:lnTo>
                      <a:pt x="59" y="690"/>
                    </a:lnTo>
                    <a:lnTo>
                      <a:pt x="64" y="676"/>
                    </a:lnTo>
                    <a:lnTo>
                      <a:pt x="66" y="667"/>
                    </a:lnTo>
                    <a:lnTo>
                      <a:pt x="62" y="662"/>
                    </a:lnTo>
                    <a:lnTo>
                      <a:pt x="73" y="641"/>
                    </a:lnTo>
                    <a:lnTo>
                      <a:pt x="76" y="634"/>
                    </a:lnTo>
                    <a:lnTo>
                      <a:pt x="73" y="598"/>
                    </a:lnTo>
                    <a:lnTo>
                      <a:pt x="66" y="584"/>
                    </a:lnTo>
                    <a:lnTo>
                      <a:pt x="66" y="577"/>
                    </a:lnTo>
                    <a:lnTo>
                      <a:pt x="73" y="558"/>
                    </a:lnTo>
                    <a:lnTo>
                      <a:pt x="71" y="539"/>
                    </a:lnTo>
                    <a:lnTo>
                      <a:pt x="80" y="518"/>
                    </a:lnTo>
                    <a:lnTo>
                      <a:pt x="88" y="506"/>
                    </a:lnTo>
                    <a:lnTo>
                      <a:pt x="95" y="482"/>
                    </a:lnTo>
                    <a:lnTo>
                      <a:pt x="97" y="466"/>
                    </a:lnTo>
                    <a:lnTo>
                      <a:pt x="99" y="456"/>
                    </a:lnTo>
                    <a:lnTo>
                      <a:pt x="97" y="445"/>
                    </a:lnTo>
                    <a:lnTo>
                      <a:pt x="102" y="435"/>
                    </a:lnTo>
                    <a:lnTo>
                      <a:pt x="99" y="423"/>
                    </a:lnTo>
                    <a:lnTo>
                      <a:pt x="97" y="407"/>
                    </a:lnTo>
                    <a:lnTo>
                      <a:pt x="90" y="400"/>
                    </a:lnTo>
                    <a:lnTo>
                      <a:pt x="76" y="376"/>
                    </a:lnTo>
                    <a:lnTo>
                      <a:pt x="76" y="367"/>
                    </a:lnTo>
                    <a:lnTo>
                      <a:pt x="64" y="345"/>
                    </a:lnTo>
                    <a:lnTo>
                      <a:pt x="62" y="336"/>
                    </a:lnTo>
                    <a:lnTo>
                      <a:pt x="50" y="324"/>
                    </a:lnTo>
                    <a:lnTo>
                      <a:pt x="47" y="317"/>
                    </a:lnTo>
                    <a:lnTo>
                      <a:pt x="45" y="286"/>
                    </a:lnTo>
                    <a:lnTo>
                      <a:pt x="43" y="277"/>
                    </a:lnTo>
                    <a:lnTo>
                      <a:pt x="31" y="260"/>
                    </a:lnTo>
                    <a:lnTo>
                      <a:pt x="5" y="234"/>
                    </a:lnTo>
                    <a:lnTo>
                      <a:pt x="5" y="208"/>
                    </a:lnTo>
                    <a:lnTo>
                      <a:pt x="5" y="182"/>
                    </a:lnTo>
                    <a:lnTo>
                      <a:pt x="2" y="154"/>
                    </a:lnTo>
                    <a:lnTo>
                      <a:pt x="2" y="128"/>
                    </a:lnTo>
                    <a:lnTo>
                      <a:pt x="2" y="102"/>
                    </a:lnTo>
                    <a:lnTo>
                      <a:pt x="2" y="73"/>
                    </a:lnTo>
                    <a:lnTo>
                      <a:pt x="0" y="47"/>
                    </a:lnTo>
                    <a:lnTo>
                      <a:pt x="0" y="21"/>
                    </a:lnTo>
                    <a:lnTo>
                      <a:pt x="33" y="21"/>
                    </a:lnTo>
                    <a:lnTo>
                      <a:pt x="64" y="19"/>
                    </a:lnTo>
                    <a:lnTo>
                      <a:pt x="97" y="19"/>
                    </a:lnTo>
                    <a:lnTo>
                      <a:pt x="128" y="17"/>
                    </a:lnTo>
                    <a:lnTo>
                      <a:pt x="161" y="17"/>
                    </a:lnTo>
                    <a:lnTo>
                      <a:pt x="192" y="17"/>
                    </a:lnTo>
                    <a:lnTo>
                      <a:pt x="225" y="14"/>
                    </a:lnTo>
                    <a:lnTo>
                      <a:pt x="255" y="14"/>
                    </a:lnTo>
                    <a:lnTo>
                      <a:pt x="288" y="12"/>
                    </a:lnTo>
                    <a:lnTo>
                      <a:pt x="319" y="9"/>
                    </a:lnTo>
                    <a:lnTo>
                      <a:pt x="352" y="9"/>
                    </a:lnTo>
                    <a:lnTo>
                      <a:pt x="383" y="7"/>
                    </a:lnTo>
                    <a:lnTo>
                      <a:pt x="416" y="7"/>
                    </a:lnTo>
                    <a:lnTo>
                      <a:pt x="447" y="5"/>
                    </a:lnTo>
                    <a:lnTo>
                      <a:pt x="480" y="2"/>
                    </a:lnTo>
                    <a:lnTo>
                      <a:pt x="515" y="0"/>
                    </a:lnTo>
                    <a:lnTo>
                      <a:pt x="515" y="12"/>
                    </a:lnTo>
                    <a:lnTo>
                      <a:pt x="525" y="17"/>
                    </a:lnTo>
                    <a:lnTo>
                      <a:pt x="527" y="28"/>
                    </a:lnTo>
                    <a:lnTo>
                      <a:pt x="520" y="45"/>
                    </a:lnTo>
                    <a:lnTo>
                      <a:pt x="520" y="57"/>
                    </a:lnTo>
                    <a:lnTo>
                      <a:pt x="527" y="62"/>
                    </a:lnTo>
                    <a:lnTo>
                      <a:pt x="527" y="69"/>
                    </a:lnTo>
                    <a:lnTo>
                      <a:pt x="520" y="76"/>
                    </a:lnTo>
                    <a:lnTo>
                      <a:pt x="520" y="83"/>
                    </a:lnTo>
                    <a:lnTo>
                      <a:pt x="525" y="92"/>
                    </a:lnTo>
                    <a:lnTo>
                      <a:pt x="530" y="102"/>
                    </a:lnTo>
                    <a:lnTo>
                      <a:pt x="530" y="111"/>
                    </a:lnTo>
                    <a:lnTo>
                      <a:pt x="537" y="125"/>
                    </a:lnTo>
                    <a:lnTo>
                      <a:pt x="551" y="132"/>
                    </a:lnTo>
                    <a:lnTo>
                      <a:pt x="558" y="144"/>
                    </a:lnTo>
                    <a:lnTo>
                      <a:pt x="560" y="149"/>
                    </a:lnTo>
                    <a:lnTo>
                      <a:pt x="560" y="154"/>
                    </a:lnTo>
                    <a:lnTo>
                      <a:pt x="560" y="163"/>
                    </a:lnTo>
                    <a:lnTo>
                      <a:pt x="551" y="175"/>
                    </a:lnTo>
                    <a:lnTo>
                      <a:pt x="541" y="184"/>
                    </a:lnTo>
                    <a:lnTo>
                      <a:pt x="539" y="187"/>
                    </a:lnTo>
                    <a:lnTo>
                      <a:pt x="537" y="192"/>
                    </a:lnTo>
                    <a:lnTo>
                      <a:pt x="537" y="206"/>
                    </a:lnTo>
                    <a:lnTo>
                      <a:pt x="525" y="222"/>
                    </a:lnTo>
                    <a:lnTo>
                      <a:pt x="504" y="241"/>
                    </a:lnTo>
                    <a:lnTo>
                      <a:pt x="489" y="265"/>
                    </a:lnTo>
                    <a:lnTo>
                      <a:pt x="482" y="293"/>
                    </a:lnTo>
                    <a:lnTo>
                      <a:pt x="475" y="312"/>
                    </a:lnTo>
                    <a:lnTo>
                      <a:pt x="468" y="319"/>
                    </a:lnTo>
                    <a:lnTo>
                      <a:pt x="463" y="336"/>
                    </a:lnTo>
                    <a:lnTo>
                      <a:pt x="463" y="357"/>
                    </a:lnTo>
                    <a:lnTo>
                      <a:pt x="459" y="369"/>
                    </a:lnTo>
                    <a:lnTo>
                      <a:pt x="449" y="374"/>
                    </a:lnTo>
                    <a:lnTo>
                      <a:pt x="447" y="385"/>
                    </a:lnTo>
                    <a:lnTo>
                      <a:pt x="454" y="407"/>
                    </a:lnTo>
                    <a:lnTo>
                      <a:pt x="452" y="416"/>
                    </a:lnTo>
                    <a:lnTo>
                      <a:pt x="445" y="426"/>
                    </a:lnTo>
                    <a:lnTo>
                      <a:pt x="445" y="430"/>
                    </a:lnTo>
                    <a:lnTo>
                      <a:pt x="489" y="428"/>
                    </a:lnTo>
                    <a:lnTo>
                      <a:pt x="532" y="426"/>
                    </a:lnTo>
                    <a:lnTo>
                      <a:pt x="577" y="423"/>
                    </a:lnTo>
                    <a:lnTo>
                      <a:pt x="619" y="421"/>
                    </a:lnTo>
                    <a:lnTo>
                      <a:pt x="664" y="419"/>
                    </a:lnTo>
                    <a:lnTo>
                      <a:pt x="707" y="416"/>
                    </a:lnTo>
                    <a:lnTo>
                      <a:pt x="752" y="414"/>
                    </a:lnTo>
                    <a:lnTo>
                      <a:pt x="794" y="411"/>
                    </a:lnTo>
                    <a:lnTo>
                      <a:pt x="792" y="435"/>
                    </a:lnTo>
                    <a:lnTo>
                      <a:pt x="780" y="468"/>
                    </a:lnTo>
                    <a:lnTo>
                      <a:pt x="780" y="478"/>
                    </a:lnTo>
                    <a:lnTo>
                      <a:pt x="785" y="489"/>
                    </a:lnTo>
                    <a:lnTo>
                      <a:pt x="785" y="494"/>
                    </a:lnTo>
                    <a:lnTo>
                      <a:pt x="790" y="504"/>
                    </a:lnTo>
                    <a:lnTo>
                      <a:pt x="801" y="511"/>
                    </a:lnTo>
                    <a:lnTo>
                      <a:pt x="811" y="525"/>
                    </a:lnTo>
                    <a:lnTo>
                      <a:pt x="823" y="549"/>
                    </a:lnTo>
                    <a:lnTo>
                      <a:pt x="825" y="558"/>
                    </a:lnTo>
                    <a:lnTo>
                      <a:pt x="832" y="575"/>
                    </a:lnTo>
                    <a:lnTo>
                      <a:pt x="837" y="577"/>
                    </a:lnTo>
                    <a:lnTo>
                      <a:pt x="842" y="577"/>
                    </a:lnTo>
                    <a:lnTo>
                      <a:pt x="846" y="579"/>
                    </a:lnTo>
                    <a:close/>
                    <a:moveTo>
                      <a:pt x="903" y="598"/>
                    </a:moveTo>
                    <a:lnTo>
                      <a:pt x="903" y="608"/>
                    </a:lnTo>
                    <a:lnTo>
                      <a:pt x="894" y="603"/>
                    </a:lnTo>
                    <a:lnTo>
                      <a:pt x="882" y="603"/>
                    </a:lnTo>
                    <a:lnTo>
                      <a:pt x="887" y="601"/>
                    </a:lnTo>
                    <a:lnTo>
                      <a:pt x="891" y="596"/>
                    </a:lnTo>
                    <a:lnTo>
                      <a:pt x="891" y="594"/>
                    </a:lnTo>
                    <a:lnTo>
                      <a:pt x="908" y="579"/>
                    </a:lnTo>
                    <a:lnTo>
                      <a:pt x="903" y="589"/>
                    </a:lnTo>
                    <a:lnTo>
                      <a:pt x="903" y="598"/>
                    </a:lnTo>
                    <a:close/>
                    <a:moveTo>
                      <a:pt x="979" y="650"/>
                    </a:moveTo>
                    <a:lnTo>
                      <a:pt x="976" y="657"/>
                    </a:lnTo>
                    <a:lnTo>
                      <a:pt x="979" y="624"/>
                    </a:lnTo>
                    <a:lnTo>
                      <a:pt x="969" y="598"/>
                    </a:lnTo>
                    <a:lnTo>
                      <a:pt x="976" y="610"/>
                    </a:lnTo>
                    <a:lnTo>
                      <a:pt x="981" y="624"/>
                    </a:lnTo>
                    <a:lnTo>
                      <a:pt x="979" y="650"/>
                    </a:lnTo>
                    <a:close/>
                    <a:moveTo>
                      <a:pt x="969" y="672"/>
                    </a:moveTo>
                    <a:lnTo>
                      <a:pt x="960" y="683"/>
                    </a:lnTo>
                    <a:lnTo>
                      <a:pt x="960" y="679"/>
                    </a:lnTo>
                    <a:lnTo>
                      <a:pt x="967" y="667"/>
                    </a:lnTo>
                    <a:lnTo>
                      <a:pt x="972" y="662"/>
                    </a:lnTo>
                    <a:lnTo>
                      <a:pt x="969" y="672"/>
                    </a:lnTo>
                    <a:close/>
                    <a:moveTo>
                      <a:pt x="435" y="750"/>
                    </a:moveTo>
                    <a:lnTo>
                      <a:pt x="428" y="754"/>
                    </a:lnTo>
                    <a:lnTo>
                      <a:pt x="395" y="738"/>
                    </a:lnTo>
                    <a:lnTo>
                      <a:pt x="395" y="728"/>
                    </a:lnTo>
                    <a:lnTo>
                      <a:pt x="409" y="721"/>
                    </a:lnTo>
                    <a:lnTo>
                      <a:pt x="419" y="721"/>
                    </a:lnTo>
                    <a:lnTo>
                      <a:pt x="433" y="731"/>
                    </a:lnTo>
                    <a:lnTo>
                      <a:pt x="437" y="733"/>
                    </a:lnTo>
                    <a:lnTo>
                      <a:pt x="442" y="735"/>
                    </a:lnTo>
                    <a:lnTo>
                      <a:pt x="440" y="742"/>
                    </a:lnTo>
                    <a:lnTo>
                      <a:pt x="435" y="75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4" name="Freeform 61">
                <a:extLst>
                  <a:ext uri="{FF2B5EF4-FFF2-40B4-BE49-F238E27FC236}">
                    <a16:creationId xmlns:a16="http://schemas.microsoft.com/office/drawing/2014/main" id="{63701B95-FA56-1D21-4B55-6BBF0CE23AED}"/>
                  </a:ext>
                </a:extLst>
              </p:cNvPr>
              <p:cNvSpPr>
                <a:spLocks noEditPoints="1"/>
              </p:cNvSpPr>
              <p:nvPr/>
            </p:nvSpPr>
            <p:spPr bwMode="auto">
              <a:xfrm>
                <a:off x="8200" y="-33"/>
                <a:ext cx="581" cy="312"/>
              </a:xfrm>
              <a:custGeom>
                <a:avLst/>
                <a:gdLst>
                  <a:gd name="T0" fmla="*/ 371 w 581"/>
                  <a:gd name="T1" fmla="*/ 21 h 312"/>
                  <a:gd name="T2" fmla="*/ 392 w 581"/>
                  <a:gd name="T3" fmla="*/ 38 h 312"/>
                  <a:gd name="T4" fmla="*/ 407 w 581"/>
                  <a:gd name="T5" fmla="*/ 38 h 312"/>
                  <a:gd name="T6" fmla="*/ 390 w 581"/>
                  <a:gd name="T7" fmla="*/ 59 h 312"/>
                  <a:gd name="T8" fmla="*/ 371 w 581"/>
                  <a:gd name="T9" fmla="*/ 94 h 312"/>
                  <a:gd name="T10" fmla="*/ 397 w 581"/>
                  <a:gd name="T11" fmla="*/ 125 h 312"/>
                  <a:gd name="T12" fmla="*/ 437 w 581"/>
                  <a:gd name="T13" fmla="*/ 165 h 312"/>
                  <a:gd name="T14" fmla="*/ 468 w 581"/>
                  <a:gd name="T15" fmla="*/ 206 h 312"/>
                  <a:gd name="T16" fmla="*/ 529 w 581"/>
                  <a:gd name="T17" fmla="*/ 194 h 312"/>
                  <a:gd name="T18" fmla="*/ 522 w 581"/>
                  <a:gd name="T19" fmla="*/ 151 h 312"/>
                  <a:gd name="T20" fmla="*/ 503 w 581"/>
                  <a:gd name="T21" fmla="*/ 144 h 312"/>
                  <a:gd name="T22" fmla="*/ 499 w 581"/>
                  <a:gd name="T23" fmla="*/ 130 h 312"/>
                  <a:gd name="T24" fmla="*/ 541 w 581"/>
                  <a:gd name="T25" fmla="*/ 149 h 312"/>
                  <a:gd name="T26" fmla="*/ 563 w 581"/>
                  <a:gd name="T27" fmla="*/ 206 h 312"/>
                  <a:gd name="T28" fmla="*/ 496 w 581"/>
                  <a:gd name="T29" fmla="*/ 236 h 312"/>
                  <a:gd name="T30" fmla="*/ 461 w 581"/>
                  <a:gd name="T31" fmla="*/ 260 h 312"/>
                  <a:gd name="T32" fmla="*/ 447 w 581"/>
                  <a:gd name="T33" fmla="*/ 232 h 312"/>
                  <a:gd name="T34" fmla="*/ 388 w 581"/>
                  <a:gd name="T35" fmla="*/ 295 h 312"/>
                  <a:gd name="T36" fmla="*/ 376 w 581"/>
                  <a:gd name="T37" fmla="*/ 243 h 312"/>
                  <a:gd name="T38" fmla="*/ 357 w 581"/>
                  <a:gd name="T39" fmla="*/ 248 h 312"/>
                  <a:gd name="T40" fmla="*/ 343 w 581"/>
                  <a:gd name="T41" fmla="*/ 234 h 312"/>
                  <a:gd name="T42" fmla="*/ 329 w 581"/>
                  <a:gd name="T43" fmla="*/ 208 h 312"/>
                  <a:gd name="T44" fmla="*/ 305 w 581"/>
                  <a:gd name="T45" fmla="*/ 206 h 312"/>
                  <a:gd name="T46" fmla="*/ 262 w 581"/>
                  <a:gd name="T47" fmla="*/ 217 h 312"/>
                  <a:gd name="T48" fmla="*/ 225 w 581"/>
                  <a:gd name="T49" fmla="*/ 225 h 312"/>
                  <a:gd name="T50" fmla="*/ 170 w 581"/>
                  <a:gd name="T51" fmla="*/ 236 h 312"/>
                  <a:gd name="T52" fmla="*/ 116 w 581"/>
                  <a:gd name="T53" fmla="*/ 251 h 312"/>
                  <a:gd name="T54" fmla="*/ 109 w 581"/>
                  <a:gd name="T55" fmla="*/ 253 h 312"/>
                  <a:gd name="T56" fmla="*/ 71 w 581"/>
                  <a:gd name="T57" fmla="*/ 260 h 312"/>
                  <a:gd name="T58" fmla="*/ 31 w 581"/>
                  <a:gd name="T59" fmla="*/ 269 h 312"/>
                  <a:gd name="T60" fmla="*/ 0 w 581"/>
                  <a:gd name="T61" fmla="*/ 272 h 312"/>
                  <a:gd name="T62" fmla="*/ 2 w 581"/>
                  <a:gd name="T63" fmla="*/ 215 h 312"/>
                  <a:gd name="T64" fmla="*/ 2 w 581"/>
                  <a:gd name="T65" fmla="*/ 161 h 312"/>
                  <a:gd name="T66" fmla="*/ 19 w 581"/>
                  <a:gd name="T67" fmla="*/ 120 h 312"/>
                  <a:gd name="T68" fmla="*/ 64 w 581"/>
                  <a:gd name="T69" fmla="*/ 111 h 312"/>
                  <a:gd name="T70" fmla="*/ 109 w 581"/>
                  <a:gd name="T71" fmla="*/ 102 h 312"/>
                  <a:gd name="T72" fmla="*/ 165 w 581"/>
                  <a:gd name="T73" fmla="*/ 87 h 312"/>
                  <a:gd name="T74" fmla="*/ 229 w 581"/>
                  <a:gd name="T75" fmla="*/ 73 h 312"/>
                  <a:gd name="T76" fmla="*/ 295 w 581"/>
                  <a:gd name="T77" fmla="*/ 57 h 312"/>
                  <a:gd name="T78" fmla="*/ 326 w 581"/>
                  <a:gd name="T79" fmla="*/ 21 h 312"/>
                  <a:gd name="T80" fmla="*/ 364 w 581"/>
                  <a:gd name="T81" fmla="*/ 0 h 312"/>
                  <a:gd name="T82" fmla="*/ 447 w 581"/>
                  <a:gd name="T83" fmla="*/ 307 h 312"/>
                  <a:gd name="T84" fmla="*/ 473 w 581"/>
                  <a:gd name="T85" fmla="*/ 279 h 312"/>
                  <a:gd name="T86" fmla="*/ 581 w 581"/>
                  <a:gd name="T87" fmla="*/ 288 h 312"/>
                  <a:gd name="T88" fmla="*/ 563 w 581"/>
                  <a:gd name="T89" fmla="*/ 284 h 312"/>
                  <a:gd name="T90" fmla="*/ 565 w 581"/>
                  <a:gd name="T91" fmla="*/ 26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1" h="312">
                    <a:moveTo>
                      <a:pt x="364" y="0"/>
                    </a:moveTo>
                    <a:lnTo>
                      <a:pt x="362" y="12"/>
                    </a:lnTo>
                    <a:lnTo>
                      <a:pt x="371" y="21"/>
                    </a:lnTo>
                    <a:lnTo>
                      <a:pt x="376" y="31"/>
                    </a:lnTo>
                    <a:lnTo>
                      <a:pt x="385" y="38"/>
                    </a:lnTo>
                    <a:lnTo>
                      <a:pt x="392" y="38"/>
                    </a:lnTo>
                    <a:lnTo>
                      <a:pt x="397" y="35"/>
                    </a:lnTo>
                    <a:lnTo>
                      <a:pt x="402" y="33"/>
                    </a:lnTo>
                    <a:lnTo>
                      <a:pt x="407" y="38"/>
                    </a:lnTo>
                    <a:lnTo>
                      <a:pt x="407" y="42"/>
                    </a:lnTo>
                    <a:lnTo>
                      <a:pt x="399" y="47"/>
                    </a:lnTo>
                    <a:lnTo>
                      <a:pt x="390" y="59"/>
                    </a:lnTo>
                    <a:lnTo>
                      <a:pt x="378" y="66"/>
                    </a:lnTo>
                    <a:lnTo>
                      <a:pt x="376" y="80"/>
                    </a:lnTo>
                    <a:lnTo>
                      <a:pt x="371" y="94"/>
                    </a:lnTo>
                    <a:lnTo>
                      <a:pt x="359" y="120"/>
                    </a:lnTo>
                    <a:lnTo>
                      <a:pt x="369" y="125"/>
                    </a:lnTo>
                    <a:lnTo>
                      <a:pt x="397" y="125"/>
                    </a:lnTo>
                    <a:lnTo>
                      <a:pt x="411" y="128"/>
                    </a:lnTo>
                    <a:lnTo>
                      <a:pt x="440" y="161"/>
                    </a:lnTo>
                    <a:lnTo>
                      <a:pt x="437" y="165"/>
                    </a:lnTo>
                    <a:lnTo>
                      <a:pt x="437" y="173"/>
                    </a:lnTo>
                    <a:lnTo>
                      <a:pt x="456" y="180"/>
                    </a:lnTo>
                    <a:lnTo>
                      <a:pt x="468" y="206"/>
                    </a:lnTo>
                    <a:lnTo>
                      <a:pt x="485" y="210"/>
                    </a:lnTo>
                    <a:lnTo>
                      <a:pt x="506" y="210"/>
                    </a:lnTo>
                    <a:lnTo>
                      <a:pt x="529" y="194"/>
                    </a:lnTo>
                    <a:lnTo>
                      <a:pt x="546" y="177"/>
                    </a:lnTo>
                    <a:lnTo>
                      <a:pt x="541" y="168"/>
                    </a:lnTo>
                    <a:lnTo>
                      <a:pt x="522" y="151"/>
                    </a:lnTo>
                    <a:lnTo>
                      <a:pt x="518" y="142"/>
                    </a:lnTo>
                    <a:lnTo>
                      <a:pt x="506" y="137"/>
                    </a:lnTo>
                    <a:lnTo>
                      <a:pt x="503" y="144"/>
                    </a:lnTo>
                    <a:lnTo>
                      <a:pt x="496" y="139"/>
                    </a:lnTo>
                    <a:lnTo>
                      <a:pt x="494" y="135"/>
                    </a:lnTo>
                    <a:lnTo>
                      <a:pt x="499" y="130"/>
                    </a:lnTo>
                    <a:lnTo>
                      <a:pt x="506" y="130"/>
                    </a:lnTo>
                    <a:lnTo>
                      <a:pt x="515" y="132"/>
                    </a:lnTo>
                    <a:lnTo>
                      <a:pt x="541" y="149"/>
                    </a:lnTo>
                    <a:lnTo>
                      <a:pt x="555" y="180"/>
                    </a:lnTo>
                    <a:lnTo>
                      <a:pt x="563" y="199"/>
                    </a:lnTo>
                    <a:lnTo>
                      <a:pt x="563" y="206"/>
                    </a:lnTo>
                    <a:lnTo>
                      <a:pt x="555" y="206"/>
                    </a:lnTo>
                    <a:lnTo>
                      <a:pt x="546" y="210"/>
                    </a:lnTo>
                    <a:lnTo>
                      <a:pt x="496" y="236"/>
                    </a:lnTo>
                    <a:lnTo>
                      <a:pt x="487" y="248"/>
                    </a:lnTo>
                    <a:lnTo>
                      <a:pt x="463" y="265"/>
                    </a:lnTo>
                    <a:lnTo>
                      <a:pt x="461" y="260"/>
                    </a:lnTo>
                    <a:lnTo>
                      <a:pt x="459" y="251"/>
                    </a:lnTo>
                    <a:lnTo>
                      <a:pt x="451" y="229"/>
                    </a:lnTo>
                    <a:lnTo>
                      <a:pt x="447" y="232"/>
                    </a:lnTo>
                    <a:lnTo>
                      <a:pt x="414" y="277"/>
                    </a:lnTo>
                    <a:lnTo>
                      <a:pt x="399" y="284"/>
                    </a:lnTo>
                    <a:lnTo>
                      <a:pt x="388" y="295"/>
                    </a:lnTo>
                    <a:lnTo>
                      <a:pt x="383" y="291"/>
                    </a:lnTo>
                    <a:lnTo>
                      <a:pt x="373" y="267"/>
                    </a:lnTo>
                    <a:lnTo>
                      <a:pt x="376" y="243"/>
                    </a:lnTo>
                    <a:lnTo>
                      <a:pt x="371" y="246"/>
                    </a:lnTo>
                    <a:lnTo>
                      <a:pt x="366" y="255"/>
                    </a:lnTo>
                    <a:lnTo>
                      <a:pt x="357" y="248"/>
                    </a:lnTo>
                    <a:lnTo>
                      <a:pt x="352" y="243"/>
                    </a:lnTo>
                    <a:lnTo>
                      <a:pt x="345" y="241"/>
                    </a:lnTo>
                    <a:lnTo>
                      <a:pt x="343" y="234"/>
                    </a:lnTo>
                    <a:lnTo>
                      <a:pt x="340" y="222"/>
                    </a:lnTo>
                    <a:lnTo>
                      <a:pt x="333" y="222"/>
                    </a:lnTo>
                    <a:lnTo>
                      <a:pt x="329" y="208"/>
                    </a:lnTo>
                    <a:lnTo>
                      <a:pt x="324" y="199"/>
                    </a:lnTo>
                    <a:lnTo>
                      <a:pt x="314" y="201"/>
                    </a:lnTo>
                    <a:lnTo>
                      <a:pt x="305" y="206"/>
                    </a:lnTo>
                    <a:lnTo>
                      <a:pt x="288" y="208"/>
                    </a:lnTo>
                    <a:lnTo>
                      <a:pt x="274" y="213"/>
                    </a:lnTo>
                    <a:lnTo>
                      <a:pt x="262" y="217"/>
                    </a:lnTo>
                    <a:lnTo>
                      <a:pt x="262" y="215"/>
                    </a:lnTo>
                    <a:lnTo>
                      <a:pt x="243" y="220"/>
                    </a:lnTo>
                    <a:lnTo>
                      <a:pt x="225" y="225"/>
                    </a:lnTo>
                    <a:lnTo>
                      <a:pt x="208" y="229"/>
                    </a:lnTo>
                    <a:lnTo>
                      <a:pt x="189" y="234"/>
                    </a:lnTo>
                    <a:lnTo>
                      <a:pt x="170" y="236"/>
                    </a:lnTo>
                    <a:lnTo>
                      <a:pt x="154" y="241"/>
                    </a:lnTo>
                    <a:lnTo>
                      <a:pt x="135" y="246"/>
                    </a:lnTo>
                    <a:lnTo>
                      <a:pt x="116" y="251"/>
                    </a:lnTo>
                    <a:lnTo>
                      <a:pt x="116" y="255"/>
                    </a:lnTo>
                    <a:lnTo>
                      <a:pt x="111" y="258"/>
                    </a:lnTo>
                    <a:lnTo>
                      <a:pt x="109" y="253"/>
                    </a:lnTo>
                    <a:lnTo>
                      <a:pt x="97" y="255"/>
                    </a:lnTo>
                    <a:lnTo>
                      <a:pt x="83" y="258"/>
                    </a:lnTo>
                    <a:lnTo>
                      <a:pt x="71" y="260"/>
                    </a:lnTo>
                    <a:lnTo>
                      <a:pt x="57" y="265"/>
                    </a:lnTo>
                    <a:lnTo>
                      <a:pt x="45" y="267"/>
                    </a:lnTo>
                    <a:lnTo>
                      <a:pt x="31" y="269"/>
                    </a:lnTo>
                    <a:lnTo>
                      <a:pt x="19" y="272"/>
                    </a:lnTo>
                    <a:lnTo>
                      <a:pt x="5" y="274"/>
                    </a:lnTo>
                    <a:lnTo>
                      <a:pt x="0" y="272"/>
                    </a:lnTo>
                    <a:lnTo>
                      <a:pt x="0" y="253"/>
                    </a:lnTo>
                    <a:lnTo>
                      <a:pt x="0" y="234"/>
                    </a:lnTo>
                    <a:lnTo>
                      <a:pt x="2" y="215"/>
                    </a:lnTo>
                    <a:lnTo>
                      <a:pt x="2" y="199"/>
                    </a:lnTo>
                    <a:lnTo>
                      <a:pt x="2" y="180"/>
                    </a:lnTo>
                    <a:lnTo>
                      <a:pt x="2" y="161"/>
                    </a:lnTo>
                    <a:lnTo>
                      <a:pt x="2" y="142"/>
                    </a:lnTo>
                    <a:lnTo>
                      <a:pt x="2" y="123"/>
                    </a:lnTo>
                    <a:lnTo>
                      <a:pt x="19" y="120"/>
                    </a:lnTo>
                    <a:lnTo>
                      <a:pt x="33" y="118"/>
                    </a:lnTo>
                    <a:lnTo>
                      <a:pt x="47" y="113"/>
                    </a:lnTo>
                    <a:lnTo>
                      <a:pt x="64" y="111"/>
                    </a:lnTo>
                    <a:lnTo>
                      <a:pt x="78" y="109"/>
                    </a:lnTo>
                    <a:lnTo>
                      <a:pt x="92" y="104"/>
                    </a:lnTo>
                    <a:lnTo>
                      <a:pt x="109" y="102"/>
                    </a:lnTo>
                    <a:lnTo>
                      <a:pt x="123" y="97"/>
                    </a:lnTo>
                    <a:lnTo>
                      <a:pt x="144" y="92"/>
                    </a:lnTo>
                    <a:lnTo>
                      <a:pt x="165" y="87"/>
                    </a:lnTo>
                    <a:lnTo>
                      <a:pt x="187" y="83"/>
                    </a:lnTo>
                    <a:lnTo>
                      <a:pt x="208" y="78"/>
                    </a:lnTo>
                    <a:lnTo>
                      <a:pt x="229" y="73"/>
                    </a:lnTo>
                    <a:lnTo>
                      <a:pt x="253" y="68"/>
                    </a:lnTo>
                    <a:lnTo>
                      <a:pt x="274" y="61"/>
                    </a:lnTo>
                    <a:lnTo>
                      <a:pt x="295" y="57"/>
                    </a:lnTo>
                    <a:lnTo>
                      <a:pt x="307" y="47"/>
                    </a:lnTo>
                    <a:lnTo>
                      <a:pt x="317" y="28"/>
                    </a:lnTo>
                    <a:lnTo>
                      <a:pt x="326" y="21"/>
                    </a:lnTo>
                    <a:lnTo>
                      <a:pt x="338" y="7"/>
                    </a:lnTo>
                    <a:lnTo>
                      <a:pt x="345" y="5"/>
                    </a:lnTo>
                    <a:lnTo>
                      <a:pt x="364" y="0"/>
                    </a:lnTo>
                    <a:close/>
                    <a:moveTo>
                      <a:pt x="494" y="291"/>
                    </a:moveTo>
                    <a:lnTo>
                      <a:pt x="456" y="312"/>
                    </a:lnTo>
                    <a:lnTo>
                      <a:pt x="447" y="307"/>
                    </a:lnTo>
                    <a:lnTo>
                      <a:pt x="456" y="303"/>
                    </a:lnTo>
                    <a:lnTo>
                      <a:pt x="466" y="284"/>
                    </a:lnTo>
                    <a:lnTo>
                      <a:pt x="473" y="279"/>
                    </a:lnTo>
                    <a:lnTo>
                      <a:pt x="489" y="284"/>
                    </a:lnTo>
                    <a:lnTo>
                      <a:pt x="494" y="291"/>
                    </a:lnTo>
                    <a:close/>
                    <a:moveTo>
                      <a:pt x="581" y="288"/>
                    </a:moveTo>
                    <a:lnTo>
                      <a:pt x="572" y="295"/>
                    </a:lnTo>
                    <a:lnTo>
                      <a:pt x="541" y="295"/>
                    </a:lnTo>
                    <a:lnTo>
                      <a:pt x="563" y="284"/>
                    </a:lnTo>
                    <a:lnTo>
                      <a:pt x="565" y="281"/>
                    </a:lnTo>
                    <a:lnTo>
                      <a:pt x="565" y="269"/>
                    </a:lnTo>
                    <a:lnTo>
                      <a:pt x="565" y="265"/>
                    </a:lnTo>
                    <a:lnTo>
                      <a:pt x="579" y="284"/>
                    </a:lnTo>
                    <a:lnTo>
                      <a:pt x="581" y="28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5" name="Freeform 62">
                <a:extLst>
                  <a:ext uri="{FF2B5EF4-FFF2-40B4-BE49-F238E27FC236}">
                    <a16:creationId xmlns:a16="http://schemas.microsoft.com/office/drawing/2014/main" id="{24D128EF-9103-EB07-A050-14E4869038B7}"/>
                  </a:ext>
                </a:extLst>
              </p:cNvPr>
              <p:cNvSpPr>
                <a:spLocks noEditPoints="1"/>
              </p:cNvSpPr>
              <p:nvPr/>
            </p:nvSpPr>
            <p:spPr bwMode="auto">
              <a:xfrm>
                <a:off x="7375" y="804"/>
                <a:ext cx="768" cy="362"/>
              </a:xfrm>
              <a:custGeom>
                <a:avLst/>
                <a:gdLst>
                  <a:gd name="T0" fmla="*/ 615 w 768"/>
                  <a:gd name="T1" fmla="*/ 97 h 362"/>
                  <a:gd name="T2" fmla="*/ 650 w 768"/>
                  <a:gd name="T3" fmla="*/ 227 h 362"/>
                  <a:gd name="T4" fmla="*/ 659 w 768"/>
                  <a:gd name="T5" fmla="*/ 258 h 362"/>
                  <a:gd name="T6" fmla="*/ 662 w 768"/>
                  <a:gd name="T7" fmla="*/ 258 h 362"/>
                  <a:gd name="T8" fmla="*/ 749 w 768"/>
                  <a:gd name="T9" fmla="*/ 236 h 362"/>
                  <a:gd name="T10" fmla="*/ 763 w 768"/>
                  <a:gd name="T11" fmla="*/ 253 h 362"/>
                  <a:gd name="T12" fmla="*/ 754 w 768"/>
                  <a:gd name="T13" fmla="*/ 251 h 362"/>
                  <a:gd name="T14" fmla="*/ 740 w 768"/>
                  <a:gd name="T15" fmla="*/ 310 h 362"/>
                  <a:gd name="T16" fmla="*/ 693 w 768"/>
                  <a:gd name="T17" fmla="*/ 348 h 362"/>
                  <a:gd name="T18" fmla="*/ 657 w 768"/>
                  <a:gd name="T19" fmla="*/ 350 h 362"/>
                  <a:gd name="T20" fmla="*/ 636 w 768"/>
                  <a:gd name="T21" fmla="*/ 324 h 362"/>
                  <a:gd name="T22" fmla="*/ 638 w 768"/>
                  <a:gd name="T23" fmla="*/ 281 h 362"/>
                  <a:gd name="T24" fmla="*/ 619 w 768"/>
                  <a:gd name="T25" fmla="*/ 293 h 362"/>
                  <a:gd name="T26" fmla="*/ 598 w 768"/>
                  <a:gd name="T27" fmla="*/ 300 h 362"/>
                  <a:gd name="T28" fmla="*/ 563 w 768"/>
                  <a:gd name="T29" fmla="*/ 248 h 362"/>
                  <a:gd name="T30" fmla="*/ 600 w 768"/>
                  <a:gd name="T31" fmla="*/ 234 h 362"/>
                  <a:gd name="T32" fmla="*/ 553 w 768"/>
                  <a:gd name="T33" fmla="*/ 213 h 362"/>
                  <a:gd name="T34" fmla="*/ 555 w 768"/>
                  <a:gd name="T35" fmla="*/ 201 h 362"/>
                  <a:gd name="T36" fmla="*/ 537 w 768"/>
                  <a:gd name="T37" fmla="*/ 187 h 362"/>
                  <a:gd name="T38" fmla="*/ 558 w 768"/>
                  <a:gd name="T39" fmla="*/ 165 h 362"/>
                  <a:gd name="T40" fmla="*/ 539 w 768"/>
                  <a:gd name="T41" fmla="*/ 125 h 362"/>
                  <a:gd name="T42" fmla="*/ 589 w 768"/>
                  <a:gd name="T43" fmla="*/ 76 h 362"/>
                  <a:gd name="T44" fmla="*/ 579 w 768"/>
                  <a:gd name="T45" fmla="*/ 57 h 362"/>
                  <a:gd name="T46" fmla="*/ 560 w 768"/>
                  <a:gd name="T47" fmla="*/ 40 h 362"/>
                  <a:gd name="T48" fmla="*/ 551 w 768"/>
                  <a:gd name="T49" fmla="*/ 71 h 362"/>
                  <a:gd name="T50" fmla="*/ 527 w 768"/>
                  <a:gd name="T51" fmla="*/ 76 h 362"/>
                  <a:gd name="T52" fmla="*/ 513 w 768"/>
                  <a:gd name="T53" fmla="*/ 90 h 362"/>
                  <a:gd name="T54" fmla="*/ 511 w 768"/>
                  <a:gd name="T55" fmla="*/ 118 h 362"/>
                  <a:gd name="T56" fmla="*/ 501 w 768"/>
                  <a:gd name="T57" fmla="*/ 142 h 362"/>
                  <a:gd name="T58" fmla="*/ 496 w 768"/>
                  <a:gd name="T59" fmla="*/ 161 h 362"/>
                  <a:gd name="T60" fmla="*/ 508 w 768"/>
                  <a:gd name="T61" fmla="*/ 196 h 362"/>
                  <a:gd name="T62" fmla="*/ 527 w 768"/>
                  <a:gd name="T63" fmla="*/ 269 h 362"/>
                  <a:gd name="T64" fmla="*/ 544 w 768"/>
                  <a:gd name="T65" fmla="*/ 303 h 362"/>
                  <a:gd name="T66" fmla="*/ 499 w 768"/>
                  <a:gd name="T67" fmla="*/ 265 h 362"/>
                  <a:gd name="T68" fmla="*/ 553 w 768"/>
                  <a:gd name="T69" fmla="*/ 322 h 362"/>
                  <a:gd name="T70" fmla="*/ 560 w 768"/>
                  <a:gd name="T71" fmla="*/ 350 h 362"/>
                  <a:gd name="T72" fmla="*/ 475 w 768"/>
                  <a:gd name="T73" fmla="*/ 312 h 362"/>
                  <a:gd name="T74" fmla="*/ 454 w 768"/>
                  <a:gd name="T75" fmla="*/ 314 h 362"/>
                  <a:gd name="T76" fmla="*/ 414 w 768"/>
                  <a:gd name="T77" fmla="*/ 322 h 362"/>
                  <a:gd name="T78" fmla="*/ 430 w 768"/>
                  <a:gd name="T79" fmla="*/ 253 h 362"/>
                  <a:gd name="T80" fmla="*/ 442 w 768"/>
                  <a:gd name="T81" fmla="*/ 213 h 362"/>
                  <a:gd name="T82" fmla="*/ 397 w 768"/>
                  <a:gd name="T83" fmla="*/ 203 h 362"/>
                  <a:gd name="T84" fmla="*/ 338 w 768"/>
                  <a:gd name="T85" fmla="*/ 173 h 362"/>
                  <a:gd name="T86" fmla="*/ 295 w 768"/>
                  <a:gd name="T87" fmla="*/ 144 h 362"/>
                  <a:gd name="T88" fmla="*/ 281 w 768"/>
                  <a:gd name="T89" fmla="*/ 128 h 362"/>
                  <a:gd name="T90" fmla="*/ 267 w 768"/>
                  <a:gd name="T91" fmla="*/ 106 h 362"/>
                  <a:gd name="T92" fmla="*/ 248 w 768"/>
                  <a:gd name="T93" fmla="*/ 97 h 362"/>
                  <a:gd name="T94" fmla="*/ 187 w 768"/>
                  <a:gd name="T95" fmla="*/ 102 h 362"/>
                  <a:gd name="T96" fmla="*/ 165 w 768"/>
                  <a:gd name="T97" fmla="*/ 130 h 362"/>
                  <a:gd name="T98" fmla="*/ 123 w 768"/>
                  <a:gd name="T99" fmla="*/ 128 h 362"/>
                  <a:gd name="T100" fmla="*/ 116 w 768"/>
                  <a:gd name="T101" fmla="*/ 121 h 362"/>
                  <a:gd name="T102" fmla="*/ 78 w 768"/>
                  <a:gd name="T103" fmla="*/ 158 h 362"/>
                  <a:gd name="T104" fmla="*/ 19 w 768"/>
                  <a:gd name="T105" fmla="*/ 227 h 362"/>
                  <a:gd name="T106" fmla="*/ 0 w 768"/>
                  <a:gd name="T107" fmla="*/ 121 h 362"/>
                  <a:gd name="T108" fmla="*/ 147 w 768"/>
                  <a:gd name="T109" fmla="*/ 92 h 362"/>
                  <a:gd name="T110" fmla="*/ 295 w 768"/>
                  <a:gd name="T111" fmla="*/ 64 h 362"/>
                  <a:gd name="T112" fmla="*/ 442 w 768"/>
                  <a:gd name="T113" fmla="*/ 33 h 362"/>
                  <a:gd name="T114" fmla="*/ 586 w 768"/>
                  <a:gd name="T115" fmla="*/ 0 h 362"/>
                  <a:gd name="T116" fmla="*/ 761 w 768"/>
                  <a:gd name="T117" fmla="*/ 281 h 362"/>
                  <a:gd name="T118" fmla="*/ 756 w 768"/>
                  <a:gd name="T119" fmla="*/ 3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8" h="362">
                    <a:moveTo>
                      <a:pt x="586" y="0"/>
                    </a:moveTo>
                    <a:lnTo>
                      <a:pt x="596" y="33"/>
                    </a:lnTo>
                    <a:lnTo>
                      <a:pt x="605" y="66"/>
                    </a:lnTo>
                    <a:lnTo>
                      <a:pt x="615" y="97"/>
                    </a:lnTo>
                    <a:lnTo>
                      <a:pt x="622" y="130"/>
                    </a:lnTo>
                    <a:lnTo>
                      <a:pt x="631" y="161"/>
                    </a:lnTo>
                    <a:lnTo>
                      <a:pt x="641" y="194"/>
                    </a:lnTo>
                    <a:lnTo>
                      <a:pt x="650" y="227"/>
                    </a:lnTo>
                    <a:lnTo>
                      <a:pt x="657" y="258"/>
                    </a:lnTo>
                    <a:lnTo>
                      <a:pt x="659" y="258"/>
                    </a:lnTo>
                    <a:lnTo>
                      <a:pt x="659" y="258"/>
                    </a:lnTo>
                    <a:lnTo>
                      <a:pt x="659" y="258"/>
                    </a:lnTo>
                    <a:lnTo>
                      <a:pt x="659" y="258"/>
                    </a:lnTo>
                    <a:lnTo>
                      <a:pt x="659" y="258"/>
                    </a:lnTo>
                    <a:lnTo>
                      <a:pt x="659" y="258"/>
                    </a:lnTo>
                    <a:lnTo>
                      <a:pt x="662" y="258"/>
                    </a:lnTo>
                    <a:lnTo>
                      <a:pt x="662" y="258"/>
                    </a:lnTo>
                    <a:lnTo>
                      <a:pt x="678" y="253"/>
                    </a:lnTo>
                    <a:lnTo>
                      <a:pt x="714" y="246"/>
                    </a:lnTo>
                    <a:lnTo>
                      <a:pt x="749" y="236"/>
                    </a:lnTo>
                    <a:lnTo>
                      <a:pt x="766" y="234"/>
                    </a:lnTo>
                    <a:lnTo>
                      <a:pt x="768" y="239"/>
                    </a:lnTo>
                    <a:lnTo>
                      <a:pt x="768" y="248"/>
                    </a:lnTo>
                    <a:lnTo>
                      <a:pt x="763" y="253"/>
                    </a:lnTo>
                    <a:lnTo>
                      <a:pt x="763" y="243"/>
                    </a:lnTo>
                    <a:lnTo>
                      <a:pt x="759" y="241"/>
                    </a:lnTo>
                    <a:lnTo>
                      <a:pt x="756" y="246"/>
                    </a:lnTo>
                    <a:lnTo>
                      <a:pt x="754" y="251"/>
                    </a:lnTo>
                    <a:lnTo>
                      <a:pt x="756" y="269"/>
                    </a:lnTo>
                    <a:lnTo>
                      <a:pt x="756" y="279"/>
                    </a:lnTo>
                    <a:lnTo>
                      <a:pt x="747" y="284"/>
                    </a:lnTo>
                    <a:lnTo>
                      <a:pt x="740" y="310"/>
                    </a:lnTo>
                    <a:lnTo>
                      <a:pt x="733" y="324"/>
                    </a:lnTo>
                    <a:lnTo>
                      <a:pt x="733" y="333"/>
                    </a:lnTo>
                    <a:lnTo>
                      <a:pt x="716" y="340"/>
                    </a:lnTo>
                    <a:lnTo>
                      <a:pt x="693" y="348"/>
                    </a:lnTo>
                    <a:lnTo>
                      <a:pt x="690" y="359"/>
                    </a:lnTo>
                    <a:lnTo>
                      <a:pt x="676" y="357"/>
                    </a:lnTo>
                    <a:lnTo>
                      <a:pt x="657" y="362"/>
                    </a:lnTo>
                    <a:lnTo>
                      <a:pt x="657" y="350"/>
                    </a:lnTo>
                    <a:lnTo>
                      <a:pt x="662" y="336"/>
                    </a:lnTo>
                    <a:lnTo>
                      <a:pt x="648" y="329"/>
                    </a:lnTo>
                    <a:lnTo>
                      <a:pt x="643" y="329"/>
                    </a:lnTo>
                    <a:lnTo>
                      <a:pt x="636" y="324"/>
                    </a:lnTo>
                    <a:lnTo>
                      <a:pt x="641" y="314"/>
                    </a:lnTo>
                    <a:lnTo>
                      <a:pt x="643" y="303"/>
                    </a:lnTo>
                    <a:lnTo>
                      <a:pt x="638" y="293"/>
                    </a:lnTo>
                    <a:lnTo>
                      <a:pt x="638" y="281"/>
                    </a:lnTo>
                    <a:lnTo>
                      <a:pt x="633" y="286"/>
                    </a:lnTo>
                    <a:lnTo>
                      <a:pt x="629" y="296"/>
                    </a:lnTo>
                    <a:lnTo>
                      <a:pt x="624" y="300"/>
                    </a:lnTo>
                    <a:lnTo>
                      <a:pt x="619" y="293"/>
                    </a:lnTo>
                    <a:lnTo>
                      <a:pt x="617" y="296"/>
                    </a:lnTo>
                    <a:lnTo>
                      <a:pt x="615" y="303"/>
                    </a:lnTo>
                    <a:lnTo>
                      <a:pt x="610" y="307"/>
                    </a:lnTo>
                    <a:lnTo>
                      <a:pt x="598" y="300"/>
                    </a:lnTo>
                    <a:lnTo>
                      <a:pt x="581" y="296"/>
                    </a:lnTo>
                    <a:lnTo>
                      <a:pt x="570" y="281"/>
                    </a:lnTo>
                    <a:lnTo>
                      <a:pt x="563" y="272"/>
                    </a:lnTo>
                    <a:lnTo>
                      <a:pt x="563" y="248"/>
                    </a:lnTo>
                    <a:lnTo>
                      <a:pt x="572" y="241"/>
                    </a:lnTo>
                    <a:lnTo>
                      <a:pt x="586" y="243"/>
                    </a:lnTo>
                    <a:lnTo>
                      <a:pt x="605" y="239"/>
                    </a:lnTo>
                    <a:lnTo>
                      <a:pt x="600" y="234"/>
                    </a:lnTo>
                    <a:lnTo>
                      <a:pt x="593" y="236"/>
                    </a:lnTo>
                    <a:lnTo>
                      <a:pt x="572" y="222"/>
                    </a:lnTo>
                    <a:lnTo>
                      <a:pt x="563" y="213"/>
                    </a:lnTo>
                    <a:lnTo>
                      <a:pt x="553" y="213"/>
                    </a:lnTo>
                    <a:lnTo>
                      <a:pt x="548" y="225"/>
                    </a:lnTo>
                    <a:lnTo>
                      <a:pt x="544" y="229"/>
                    </a:lnTo>
                    <a:lnTo>
                      <a:pt x="546" y="206"/>
                    </a:lnTo>
                    <a:lnTo>
                      <a:pt x="555" y="201"/>
                    </a:lnTo>
                    <a:lnTo>
                      <a:pt x="565" y="194"/>
                    </a:lnTo>
                    <a:lnTo>
                      <a:pt x="560" y="180"/>
                    </a:lnTo>
                    <a:lnTo>
                      <a:pt x="551" y="177"/>
                    </a:lnTo>
                    <a:lnTo>
                      <a:pt x="537" y="187"/>
                    </a:lnTo>
                    <a:lnTo>
                      <a:pt x="537" y="177"/>
                    </a:lnTo>
                    <a:lnTo>
                      <a:pt x="537" y="165"/>
                    </a:lnTo>
                    <a:lnTo>
                      <a:pt x="546" y="163"/>
                    </a:lnTo>
                    <a:lnTo>
                      <a:pt x="558" y="165"/>
                    </a:lnTo>
                    <a:lnTo>
                      <a:pt x="560" y="144"/>
                    </a:lnTo>
                    <a:lnTo>
                      <a:pt x="560" y="137"/>
                    </a:lnTo>
                    <a:lnTo>
                      <a:pt x="548" y="151"/>
                    </a:lnTo>
                    <a:lnTo>
                      <a:pt x="539" y="125"/>
                    </a:lnTo>
                    <a:lnTo>
                      <a:pt x="548" y="97"/>
                    </a:lnTo>
                    <a:lnTo>
                      <a:pt x="558" y="83"/>
                    </a:lnTo>
                    <a:lnTo>
                      <a:pt x="574" y="80"/>
                    </a:lnTo>
                    <a:lnTo>
                      <a:pt x="589" y="76"/>
                    </a:lnTo>
                    <a:lnTo>
                      <a:pt x="577" y="73"/>
                    </a:lnTo>
                    <a:lnTo>
                      <a:pt x="567" y="73"/>
                    </a:lnTo>
                    <a:lnTo>
                      <a:pt x="572" y="61"/>
                    </a:lnTo>
                    <a:lnTo>
                      <a:pt x="579" y="57"/>
                    </a:lnTo>
                    <a:lnTo>
                      <a:pt x="584" y="47"/>
                    </a:lnTo>
                    <a:lnTo>
                      <a:pt x="567" y="52"/>
                    </a:lnTo>
                    <a:lnTo>
                      <a:pt x="565" y="35"/>
                    </a:lnTo>
                    <a:lnTo>
                      <a:pt x="560" y="40"/>
                    </a:lnTo>
                    <a:lnTo>
                      <a:pt x="551" y="43"/>
                    </a:lnTo>
                    <a:lnTo>
                      <a:pt x="548" y="52"/>
                    </a:lnTo>
                    <a:lnTo>
                      <a:pt x="551" y="64"/>
                    </a:lnTo>
                    <a:lnTo>
                      <a:pt x="551" y="71"/>
                    </a:lnTo>
                    <a:lnTo>
                      <a:pt x="546" y="78"/>
                    </a:lnTo>
                    <a:lnTo>
                      <a:pt x="534" y="85"/>
                    </a:lnTo>
                    <a:lnTo>
                      <a:pt x="532" y="78"/>
                    </a:lnTo>
                    <a:lnTo>
                      <a:pt x="527" y="76"/>
                    </a:lnTo>
                    <a:lnTo>
                      <a:pt x="529" y="92"/>
                    </a:lnTo>
                    <a:lnTo>
                      <a:pt x="527" y="99"/>
                    </a:lnTo>
                    <a:lnTo>
                      <a:pt x="515" y="85"/>
                    </a:lnTo>
                    <a:lnTo>
                      <a:pt x="513" y="90"/>
                    </a:lnTo>
                    <a:lnTo>
                      <a:pt x="515" y="95"/>
                    </a:lnTo>
                    <a:lnTo>
                      <a:pt x="515" y="102"/>
                    </a:lnTo>
                    <a:lnTo>
                      <a:pt x="508" y="109"/>
                    </a:lnTo>
                    <a:lnTo>
                      <a:pt x="511" y="118"/>
                    </a:lnTo>
                    <a:lnTo>
                      <a:pt x="508" y="125"/>
                    </a:lnTo>
                    <a:lnTo>
                      <a:pt x="482" y="121"/>
                    </a:lnTo>
                    <a:lnTo>
                      <a:pt x="482" y="125"/>
                    </a:lnTo>
                    <a:lnTo>
                      <a:pt x="501" y="142"/>
                    </a:lnTo>
                    <a:lnTo>
                      <a:pt x="513" y="147"/>
                    </a:lnTo>
                    <a:lnTo>
                      <a:pt x="515" y="156"/>
                    </a:lnTo>
                    <a:lnTo>
                      <a:pt x="508" y="168"/>
                    </a:lnTo>
                    <a:lnTo>
                      <a:pt x="496" y="161"/>
                    </a:lnTo>
                    <a:lnTo>
                      <a:pt x="494" y="163"/>
                    </a:lnTo>
                    <a:lnTo>
                      <a:pt x="503" y="175"/>
                    </a:lnTo>
                    <a:lnTo>
                      <a:pt x="511" y="184"/>
                    </a:lnTo>
                    <a:lnTo>
                      <a:pt x="508" y="196"/>
                    </a:lnTo>
                    <a:lnTo>
                      <a:pt x="511" y="208"/>
                    </a:lnTo>
                    <a:lnTo>
                      <a:pt x="513" y="217"/>
                    </a:lnTo>
                    <a:lnTo>
                      <a:pt x="513" y="229"/>
                    </a:lnTo>
                    <a:lnTo>
                      <a:pt x="527" y="269"/>
                    </a:lnTo>
                    <a:lnTo>
                      <a:pt x="537" y="281"/>
                    </a:lnTo>
                    <a:lnTo>
                      <a:pt x="546" y="291"/>
                    </a:lnTo>
                    <a:lnTo>
                      <a:pt x="551" y="300"/>
                    </a:lnTo>
                    <a:lnTo>
                      <a:pt x="544" y="303"/>
                    </a:lnTo>
                    <a:lnTo>
                      <a:pt x="532" y="298"/>
                    </a:lnTo>
                    <a:lnTo>
                      <a:pt x="520" y="293"/>
                    </a:lnTo>
                    <a:lnTo>
                      <a:pt x="503" y="274"/>
                    </a:lnTo>
                    <a:lnTo>
                      <a:pt x="499" y="265"/>
                    </a:lnTo>
                    <a:lnTo>
                      <a:pt x="494" y="260"/>
                    </a:lnTo>
                    <a:lnTo>
                      <a:pt x="499" y="274"/>
                    </a:lnTo>
                    <a:lnTo>
                      <a:pt x="508" y="291"/>
                    </a:lnTo>
                    <a:lnTo>
                      <a:pt x="553" y="322"/>
                    </a:lnTo>
                    <a:lnTo>
                      <a:pt x="565" y="333"/>
                    </a:lnTo>
                    <a:lnTo>
                      <a:pt x="572" y="345"/>
                    </a:lnTo>
                    <a:lnTo>
                      <a:pt x="572" y="355"/>
                    </a:lnTo>
                    <a:lnTo>
                      <a:pt x="560" y="350"/>
                    </a:lnTo>
                    <a:lnTo>
                      <a:pt x="551" y="343"/>
                    </a:lnTo>
                    <a:lnTo>
                      <a:pt x="525" y="336"/>
                    </a:lnTo>
                    <a:lnTo>
                      <a:pt x="496" y="336"/>
                    </a:lnTo>
                    <a:lnTo>
                      <a:pt x="475" y="312"/>
                    </a:lnTo>
                    <a:lnTo>
                      <a:pt x="477" y="324"/>
                    </a:lnTo>
                    <a:lnTo>
                      <a:pt x="475" y="333"/>
                    </a:lnTo>
                    <a:lnTo>
                      <a:pt x="463" y="324"/>
                    </a:lnTo>
                    <a:lnTo>
                      <a:pt x="454" y="314"/>
                    </a:lnTo>
                    <a:lnTo>
                      <a:pt x="449" y="305"/>
                    </a:lnTo>
                    <a:lnTo>
                      <a:pt x="437" y="307"/>
                    </a:lnTo>
                    <a:lnTo>
                      <a:pt x="428" y="322"/>
                    </a:lnTo>
                    <a:lnTo>
                      <a:pt x="414" y="322"/>
                    </a:lnTo>
                    <a:lnTo>
                      <a:pt x="409" y="303"/>
                    </a:lnTo>
                    <a:lnTo>
                      <a:pt x="411" y="293"/>
                    </a:lnTo>
                    <a:lnTo>
                      <a:pt x="418" y="267"/>
                    </a:lnTo>
                    <a:lnTo>
                      <a:pt x="430" y="253"/>
                    </a:lnTo>
                    <a:lnTo>
                      <a:pt x="433" y="236"/>
                    </a:lnTo>
                    <a:lnTo>
                      <a:pt x="425" y="215"/>
                    </a:lnTo>
                    <a:lnTo>
                      <a:pt x="430" y="232"/>
                    </a:lnTo>
                    <a:lnTo>
                      <a:pt x="442" y="213"/>
                    </a:lnTo>
                    <a:lnTo>
                      <a:pt x="430" y="201"/>
                    </a:lnTo>
                    <a:lnTo>
                      <a:pt x="418" y="189"/>
                    </a:lnTo>
                    <a:lnTo>
                      <a:pt x="409" y="206"/>
                    </a:lnTo>
                    <a:lnTo>
                      <a:pt x="397" y="203"/>
                    </a:lnTo>
                    <a:lnTo>
                      <a:pt x="376" y="189"/>
                    </a:lnTo>
                    <a:lnTo>
                      <a:pt x="345" y="184"/>
                    </a:lnTo>
                    <a:lnTo>
                      <a:pt x="338" y="180"/>
                    </a:lnTo>
                    <a:lnTo>
                      <a:pt x="338" y="173"/>
                    </a:lnTo>
                    <a:lnTo>
                      <a:pt x="340" y="161"/>
                    </a:lnTo>
                    <a:lnTo>
                      <a:pt x="329" y="154"/>
                    </a:lnTo>
                    <a:lnTo>
                      <a:pt x="305" y="149"/>
                    </a:lnTo>
                    <a:lnTo>
                      <a:pt x="295" y="144"/>
                    </a:lnTo>
                    <a:lnTo>
                      <a:pt x="293" y="142"/>
                    </a:lnTo>
                    <a:lnTo>
                      <a:pt x="291" y="132"/>
                    </a:lnTo>
                    <a:lnTo>
                      <a:pt x="286" y="128"/>
                    </a:lnTo>
                    <a:lnTo>
                      <a:pt x="281" y="128"/>
                    </a:lnTo>
                    <a:lnTo>
                      <a:pt x="279" y="123"/>
                    </a:lnTo>
                    <a:lnTo>
                      <a:pt x="281" y="116"/>
                    </a:lnTo>
                    <a:lnTo>
                      <a:pt x="277" y="111"/>
                    </a:lnTo>
                    <a:lnTo>
                      <a:pt x="267" y="106"/>
                    </a:lnTo>
                    <a:lnTo>
                      <a:pt x="262" y="102"/>
                    </a:lnTo>
                    <a:lnTo>
                      <a:pt x="265" y="97"/>
                    </a:lnTo>
                    <a:lnTo>
                      <a:pt x="260" y="95"/>
                    </a:lnTo>
                    <a:lnTo>
                      <a:pt x="248" y="97"/>
                    </a:lnTo>
                    <a:lnTo>
                      <a:pt x="236" y="95"/>
                    </a:lnTo>
                    <a:lnTo>
                      <a:pt x="222" y="87"/>
                    </a:lnTo>
                    <a:lnTo>
                      <a:pt x="208" y="87"/>
                    </a:lnTo>
                    <a:lnTo>
                      <a:pt x="187" y="102"/>
                    </a:lnTo>
                    <a:lnTo>
                      <a:pt x="175" y="109"/>
                    </a:lnTo>
                    <a:lnTo>
                      <a:pt x="170" y="113"/>
                    </a:lnTo>
                    <a:lnTo>
                      <a:pt x="170" y="125"/>
                    </a:lnTo>
                    <a:lnTo>
                      <a:pt x="165" y="130"/>
                    </a:lnTo>
                    <a:lnTo>
                      <a:pt x="151" y="132"/>
                    </a:lnTo>
                    <a:lnTo>
                      <a:pt x="149" y="132"/>
                    </a:lnTo>
                    <a:lnTo>
                      <a:pt x="135" y="132"/>
                    </a:lnTo>
                    <a:lnTo>
                      <a:pt x="123" y="128"/>
                    </a:lnTo>
                    <a:lnTo>
                      <a:pt x="121" y="125"/>
                    </a:lnTo>
                    <a:lnTo>
                      <a:pt x="121" y="121"/>
                    </a:lnTo>
                    <a:lnTo>
                      <a:pt x="118" y="118"/>
                    </a:lnTo>
                    <a:lnTo>
                      <a:pt x="116" y="121"/>
                    </a:lnTo>
                    <a:lnTo>
                      <a:pt x="113" y="123"/>
                    </a:lnTo>
                    <a:lnTo>
                      <a:pt x="111" y="132"/>
                    </a:lnTo>
                    <a:lnTo>
                      <a:pt x="92" y="161"/>
                    </a:lnTo>
                    <a:lnTo>
                      <a:pt x="78" y="158"/>
                    </a:lnTo>
                    <a:lnTo>
                      <a:pt x="73" y="158"/>
                    </a:lnTo>
                    <a:lnTo>
                      <a:pt x="45" y="201"/>
                    </a:lnTo>
                    <a:lnTo>
                      <a:pt x="35" y="208"/>
                    </a:lnTo>
                    <a:lnTo>
                      <a:pt x="19" y="227"/>
                    </a:lnTo>
                    <a:lnTo>
                      <a:pt x="14" y="201"/>
                    </a:lnTo>
                    <a:lnTo>
                      <a:pt x="9" y="173"/>
                    </a:lnTo>
                    <a:lnTo>
                      <a:pt x="5" y="147"/>
                    </a:lnTo>
                    <a:lnTo>
                      <a:pt x="0" y="121"/>
                    </a:lnTo>
                    <a:lnTo>
                      <a:pt x="38" y="113"/>
                    </a:lnTo>
                    <a:lnTo>
                      <a:pt x="73" y="106"/>
                    </a:lnTo>
                    <a:lnTo>
                      <a:pt x="111" y="99"/>
                    </a:lnTo>
                    <a:lnTo>
                      <a:pt x="147" y="92"/>
                    </a:lnTo>
                    <a:lnTo>
                      <a:pt x="184" y="85"/>
                    </a:lnTo>
                    <a:lnTo>
                      <a:pt x="222" y="78"/>
                    </a:lnTo>
                    <a:lnTo>
                      <a:pt x="258" y="71"/>
                    </a:lnTo>
                    <a:lnTo>
                      <a:pt x="295" y="64"/>
                    </a:lnTo>
                    <a:lnTo>
                      <a:pt x="331" y="57"/>
                    </a:lnTo>
                    <a:lnTo>
                      <a:pt x="369" y="47"/>
                    </a:lnTo>
                    <a:lnTo>
                      <a:pt x="404" y="40"/>
                    </a:lnTo>
                    <a:lnTo>
                      <a:pt x="442" y="33"/>
                    </a:lnTo>
                    <a:lnTo>
                      <a:pt x="477" y="24"/>
                    </a:lnTo>
                    <a:lnTo>
                      <a:pt x="515" y="16"/>
                    </a:lnTo>
                    <a:lnTo>
                      <a:pt x="551" y="9"/>
                    </a:lnTo>
                    <a:lnTo>
                      <a:pt x="586" y="0"/>
                    </a:lnTo>
                    <a:close/>
                    <a:moveTo>
                      <a:pt x="756" y="324"/>
                    </a:moveTo>
                    <a:lnTo>
                      <a:pt x="752" y="326"/>
                    </a:lnTo>
                    <a:lnTo>
                      <a:pt x="754" y="319"/>
                    </a:lnTo>
                    <a:lnTo>
                      <a:pt x="761" y="281"/>
                    </a:lnTo>
                    <a:lnTo>
                      <a:pt x="763" y="267"/>
                    </a:lnTo>
                    <a:lnTo>
                      <a:pt x="763" y="293"/>
                    </a:lnTo>
                    <a:lnTo>
                      <a:pt x="759" y="317"/>
                    </a:lnTo>
                    <a:lnTo>
                      <a:pt x="756" y="32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6" name="Freeform 63">
                <a:extLst>
                  <a:ext uri="{FF2B5EF4-FFF2-40B4-BE49-F238E27FC236}">
                    <a16:creationId xmlns:a16="http://schemas.microsoft.com/office/drawing/2014/main" id="{CEE770E0-6D80-AFF8-A9D2-8C510B603D38}"/>
                  </a:ext>
                </a:extLst>
              </p:cNvPr>
              <p:cNvSpPr>
                <a:spLocks noEditPoints="1"/>
              </p:cNvSpPr>
              <p:nvPr/>
            </p:nvSpPr>
            <p:spPr bwMode="auto">
              <a:xfrm>
                <a:off x="8384" y="-1050"/>
                <a:ext cx="615" cy="974"/>
              </a:xfrm>
              <a:custGeom>
                <a:avLst/>
                <a:gdLst>
                  <a:gd name="T0" fmla="*/ 187 w 615"/>
                  <a:gd name="T1" fmla="*/ 57 h 974"/>
                  <a:gd name="T2" fmla="*/ 246 w 615"/>
                  <a:gd name="T3" fmla="*/ 24 h 974"/>
                  <a:gd name="T4" fmla="*/ 277 w 615"/>
                  <a:gd name="T5" fmla="*/ 0 h 974"/>
                  <a:gd name="T6" fmla="*/ 362 w 615"/>
                  <a:gd name="T7" fmla="*/ 64 h 974"/>
                  <a:gd name="T8" fmla="*/ 402 w 615"/>
                  <a:gd name="T9" fmla="*/ 185 h 974"/>
                  <a:gd name="T10" fmla="*/ 433 w 615"/>
                  <a:gd name="T11" fmla="*/ 267 h 974"/>
                  <a:gd name="T12" fmla="*/ 438 w 615"/>
                  <a:gd name="T13" fmla="*/ 284 h 974"/>
                  <a:gd name="T14" fmla="*/ 440 w 615"/>
                  <a:gd name="T15" fmla="*/ 308 h 974"/>
                  <a:gd name="T16" fmla="*/ 459 w 615"/>
                  <a:gd name="T17" fmla="*/ 315 h 974"/>
                  <a:gd name="T18" fmla="*/ 492 w 615"/>
                  <a:gd name="T19" fmla="*/ 317 h 974"/>
                  <a:gd name="T20" fmla="*/ 504 w 615"/>
                  <a:gd name="T21" fmla="*/ 336 h 974"/>
                  <a:gd name="T22" fmla="*/ 511 w 615"/>
                  <a:gd name="T23" fmla="*/ 355 h 974"/>
                  <a:gd name="T24" fmla="*/ 518 w 615"/>
                  <a:gd name="T25" fmla="*/ 383 h 974"/>
                  <a:gd name="T26" fmla="*/ 546 w 615"/>
                  <a:gd name="T27" fmla="*/ 402 h 974"/>
                  <a:gd name="T28" fmla="*/ 561 w 615"/>
                  <a:gd name="T29" fmla="*/ 388 h 974"/>
                  <a:gd name="T30" fmla="*/ 582 w 615"/>
                  <a:gd name="T31" fmla="*/ 405 h 974"/>
                  <a:gd name="T32" fmla="*/ 610 w 615"/>
                  <a:gd name="T33" fmla="*/ 445 h 974"/>
                  <a:gd name="T34" fmla="*/ 570 w 615"/>
                  <a:gd name="T35" fmla="*/ 497 h 974"/>
                  <a:gd name="T36" fmla="*/ 537 w 615"/>
                  <a:gd name="T37" fmla="*/ 537 h 974"/>
                  <a:gd name="T38" fmla="*/ 509 w 615"/>
                  <a:gd name="T39" fmla="*/ 570 h 974"/>
                  <a:gd name="T40" fmla="*/ 492 w 615"/>
                  <a:gd name="T41" fmla="*/ 591 h 974"/>
                  <a:gd name="T42" fmla="*/ 461 w 615"/>
                  <a:gd name="T43" fmla="*/ 570 h 974"/>
                  <a:gd name="T44" fmla="*/ 442 w 615"/>
                  <a:gd name="T45" fmla="*/ 594 h 974"/>
                  <a:gd name="T46" fmla="*/ 423 w 615"/>
                  <a:gd name="T47" fmla="*/ 613 h 974"/>
                  <a:gd name="T48" fmla="*/ 416 w 615"/>
                  <a:gd name="T49" fmla="*/ 631 h 974"/>
                  <a:gd name="T50" fmla="*/ 393 w 615"/>
                  <a:gd name="T51" fmla="*/ 608 h 974"/>
                  <a:gd name="T52" fmla="*/ 381 w 615"/>
                  <a:gd name="T53" fmla="*/ 598 h 974"/>
                  <a:gd name="T54" fmla="*/ 357 w 615"/>
                  <a:gd name="T55" fmla="*/ 622 h 974"/>
                  <a:gd name="T56" fmla="*/ 355 w 615"/>
                  <a:gd name="T57" fmla="*/ 710 h 974"/>
                  <a:gd name="T58" fmla="*/ 315 w 615"/>
                  <a:gd name="T59" fmla="*/ 752 h 974"/>
                  <a:gd name="T60" fmla="*/ 298 w 615"/>
                  <a:gd name="T61" fmla="*/ 759 h 974"/>
                  <a:gd name="T62" fmla="*/ 279 w 615"/>
                  <a:gd name="T63" fmla="*/ 750 h 974"/>
                  <a:gd name="T64" fmla="*/ 267 w 615"/>
                  <a:gd name="T65" fmla="*/ 764 h 974"/>
                  <a:gd name="T66" fmla="*/ 267 w 615"/>
                  <a:gd name="T67" fmla="*/ 790 h 974"/>
                  <a:gd name="T68" fmla="*/ 246 w 615"/>
                  <a:gd name="T69" fmla="*/ 790 h 974"/>
                  <a:gd name="T70" fmla="*/ 213 w 615"/>
                  <a:gd name="T71" fmla="*/ 832 h 974"/>
                  <a:gd name="T72" fmla="*/ 194 w 615"/>
                  <a:gd name="T73" fmla="*/ 908 h 974"/>
                  <a:gd name="T74" fmla="*/ 161 w 615"/>
                  <a:gd name="T75" fmla="*/ 958 h 974"/>
                  <a:gd name="T76" fmla="*/ 121 w 615"/>
                  <a:gd name="T77" fmla="*/ 906 h 974"/>
                  <a:gd name="T78" fmla="*/ 95 w 615"/>
                  <a:gd name="T79" fmla="*/ 823 h 974"/>
                  <a:gd name="T80" fmla="*/ 67 w 615"/>
                  <a:gd name="T81" fmla="*/ 736 h 974"/>
                  <a:gd name="T82" fmla="*/ 36 w 615"/>
                  <a:gd name="T83" fmla="*/ 646 h 974"/>
                  <a:gd name="T84" fmla="*/ 5 w 615"/>
                  <a:gd name="T85" fmla="*/ 556 h 974"/>
                  <a:gd name="T86" fmla="*/ 15 w 615"/>
                  <a:gd name="T87" fmla="*/ 523 h 974"/>
                  <a:gd name="T88" fmla="*/ 33 w 615"/>
                  <a:gd name="T89" fmla="*/ 523 h 974"/>
                  <a:gd name="T90" fmla="*/ 45 w 615"/>
                  <a:gd name="T91" fmla="*/ 499 h 974"/>
                  <a:gd name="T92" fmla="*/ 41 w 615"/>
                  <a:gd name="T93" fmla="*/ 468 h 974"/>
                  <a:gd name="T94" fmla="*/ 67 w 615"/>
                  <a:gd name="T95" fmla="*/ 407 h 974"/>
                  <a:gd name="T96" fmla="*/ 71 w 615"/>
                  <a:gd name="T97" fmla="*/ 364 h 974"/>
                  <a:gd name="T98" fmla="*/ 67 w 615"/>
                  <a:gd name="T99" fmla="*/ 286 h 974"/>
                  <a:gd name="T100" fmla="*/ 81 w 615"/>
                  <a:gd name="T101" fmla="*/ 170 h 974"/>
                  <a:gd name="T102" fmla="*/ 121 w 615"/>
                  <a:gd name="T103" fmla="*/ 47 h 974"/>
                  <a:gd name="T104" fmla="*/ 159 w 615"/>
                  <a:gd name="T105" fmla="*/ 19 h 974"/>
                  <a:gd name="T106" fmla="*/ 468 w 615"/>
                  <a:gd name="T107" fmla="*/ 613 h 974"/>
                  <a:gd name="T108" fmla="*/ 449 w 615"/>
                  <a:gd name="T109" fmla="*/ 627 h 974"/>
                  <a:gd name="T110" fmla="*/ 452 w 615"/>
                  <a:gd name="T111" fmla="*/ 587 h 974"/>
                  <a:gd name="T112" fmla="*/ 421 w 615"/>
                  <a:gd name="T113" fmla="*/ 655 h 974"/>
                  <a:gd name="T114" fmla="*/ 407 w 615"/>
                  <a:gd name="T115" fmla="*/ 646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5" h="974">
                    <a:moveTo>
                      <a:pt x="166" y="45"/>
                    </a:moveTo>
                    <a:lnTo>
                      <a:pt x="168" y="50"/>
                    </a:lnTo>
                    <a:lnTo>
                      <a:pt x="178" y="55"/>
                    </a:lnTo>
                    <a:lnTo>
                      <a:pt x="187" y="57"/>
                    </a:lnTo>
                    <a:lnTo>
                      <a:pt x="194" y="57"/>
                    </a:lnTo>
                    <a:lnTo>
                      <a:pt x="204" y="55"/>
                    </a:lnTo>
                    <a:lnTo>
                      <a:pt x="223" y="38"/>
                    </a:lnTo>
                    <a:lnTo>
                      <a:pt x="246" y="24"/>
                    </a:lnTo>
                    <a:lnTo>
                      <a:pt x="258" y="12"/>
                    </a:lnTo>
                    <a:lnTo>
                      <a:pt x="260" y="5"/>
                    </a:lnTo>
                    <a:lnTo>
                      <a:pt x="265" y="3"/>
                    </a:lnTo>
                    <a:lnTo>
                      <a:pt x="277" y="0"/>
                    </a:lnTo>
                    <a:lnTo>
                      <a:pt x="301" y="10"/>
                    </a:lnTo>
                    <a:lnTo>
                      <a:pt x="329" y="24"/>
                    </a:lnTo>
                    <a:lnTo>
                      <a:pt x="353" y="36"/>
                    </a:lnTo>
                    <a:lnTo>
                      <a:pt x="362" y="64"/>
                    </a:lnTo>
                    <a:lnTo>
                      <a:pt x="374" y="95"/>
                    </a:lnTo>
                    <a:lnTo>
                      <a:pt x="383" y="128"/>
                    </a:lnTo>
                    <a:lnTo>
                      <a:pt x="393" y="152"/>
                    </a:lnTo>
                    <a:lnTo>
                      <a:pt x="402" y="185"/>
                    </a:lnTo>
                    <a:lnTo>
                      <a:pt x="412" y="211"/>
                    </a:lnTo>
                    <a:lnTo>
                      <a:pt x="423" y="244"/>
                    </a:lnTo>
                    <a:lnTo>
                      <a:pt x="428" y="263"/>
                    </a:lnTo>
                    <a:lnTo>
                      <a:pt x="433" y="267"/>
                    </a:lnTo>
                    <a:lnTo>
                      <a:pt x="433" y="274"/>
                    </a:lnTo>
                    <a:lnTo>
                      <a:pt x="435" y="279"/>
                    </a:lnTo>
                    <a:lnTo>
                      <a:pt x="435" y="282"/>
                    </a:lnTo>
                    <a:lnTo>
                      <a:pt x="438" y="284"/>
                    </a:lnTo>
                    <a:lnTo>
                      <a:pt x="440" y="289"/>
                    </a:lnTo>
                    <a:lnTo>
                      <a:pt x="438" y="293"/>
                    </a:lnTo>
                    <a:lnTo>
                      <a:pt x="438" y="300"/>
                    </a:lnTo>
                    <a:lnTo>
                      <a:pt x="440" y="308"/>
                    </a:lnTo>
                    <a:lnTo>
                      <a:pt x="445" y="312"/>
                    </a:lnTo>
                    <a:lnTo>
                      <a:pt x="449" y="315"/>
                    </a:lnTo>
                    <a:lnTo>
                      <a:pt x="454" y="312"/>
                    </a:lnTo>
                    <a:lnTo>
                      <a:pt x="459" y="315"/>
                    </a:lnTo>
                    <a:lnTo>
                      <a:pt x="466" y="319"/>
                    </a:lnTo>
                    <a:lnTo>
                      <a:pt x="478" y="319"/>
                    </a:lnTo>
                    <a:lnTo>
                      <a:pt x="487" y="319"/>
                    </a:lnTo>
                    <a:lnTo>
                      <a:pt x="492" y="317"/>
                    </a:lnTo>
                    <a:lnTo>
                      <a:pt x="501" y="317"/>
                    </a:lnTo>
                    <a:lnTo>
                      <a:pt x="506" y="324"/>
                    </a:lnTo>
                    <a:lnTo>
                      <a:pt x="506" y="331"/>
                    </a:lnTo>
                    <a:lnTo>
                      <a:pt x="504" y="336"/>
                    </a:lnTo>
                    <a:lnTo>
                      <a:pt x="499" y="341"/>
                    </a:lnTo>
                    <a:lnTo>
                      <a:pt x="501" y="345"/>
                    </a:lnTo>
                    <a:lnTo>
                      <a:pt x="506" y="350"/>
                    </a:lnTo>
                    <a:lnTo>
                      <a:pt x="511" y="355"/>
                    </a:lnTo>
                    <a:lnTo>
                      <a:pt x="516" y="362"/>
                    </a:lnTo>
                    <a:lnTo>
                      <a:pt x="518" y="369"/>
                    </a:lnTo>
                    <a:lnTo>
                      <a:pt x="516" y="376"/>
                    </a:lnTo>
                    <a:lnTo>
                      <a:pt x="518" y="383"/>
                    </a:lnTo>
                    <a:lnTo>
                      <a:pt x="523" y="388"/>
                    </a:lnTo>
                    <a:lnTo>
                      <a:pt x="532" y="395"/>
                    </a:lnTo>
                    <a:lnTo>
                      <a:pt x="539" y="400"/>
                    </a:lnTo>
                    <a:lnTo>
                      <a:pt x="546" y="402"/>
                    </a:lnTo>
                    <a:lnTo>
                      <a:pt x="551" y="397"/>
                    </a:lnTo>
                    <a:lnTo>
                      <a:pt x="551" y="393"/>
                    </a:lnTo>
                    <a:lnTo>
                      <a:pt x="553" y="388"/>
                    </a:lnTo>
                    <a:lnTo>
                      <a:pt x="561" y="388"/>
                    </a:lnTo>
                    <a:lnTo>
                      <a:pt x="565" y="390"/>
                    </a:lnTo>
                    <a:lnTo>
                      <a:pt x="572" y="390"/>
                    </a:lnTo>
                    <a:lnTo>
                      <a:pt x="575" y="395"/>
                    </a:lnTo>
                    <a:lnTo>
                      <a:pt x="582" y="405"/>
                    </a:lnTo>
                    <a:lnTo>
                      <a:pt x="591" y="423"/>
                    </a:lnTo>
                    <a:lnTo>
                      <a:pt x="589" y="435"/>
                    </a:lnTo>
                    <a:lnTo>
                      <a:pt x="596" y="447"/>
                    </a:lnTo>
                    <a:lnTo>
                      <a:pt x="610" y="445"/>
                    </a:lnTo>
                    <a:lnTo>
                      <a:pt x="613" y="447"/>
                    </a:lnTo>
                    <a:lnTo>
                      <a:pt x="615" y="452"/>
                    </a:lnTo>
                    <a:lnTo>
                      <a:pt x="596" y="492"/>
                    </a:lnTo>
                    <a:lnTo>
                      <a:pt x="570" y="497"/>
                    </a:lnTo>
                    <a:lnTo>
                      <a:pt x="561" y="509"/>
                    </a:lnTo>
                    <a:lnTo>
                      <a:pt x="546" y="516"/>
                    </a:lnTo>
                    <a:lnTo>
                      <a:pt x="544" y="530"/>
                    </a:lnTo>
                    <a:lnTo>
                      <a:pt x="537" y="537"/>
                    </a:lnTo>
                    <a:lnTo>
                      <a:pt x="527" y="539"/>
                    </a:lnTo>
                    <a:lnTo>
                      <a:pt x="516" y="537"/>
                    </a:lnTo>
                    <a:lnTo>
                      <a:pt x="511" y="542"/>
                    </a:lnTo>
                    <a:lnTo>
                      <a:pt x="509" y="570"/>
                    </a:lnTo>
                    <a:lnTo>
                      <a:pt x="499" y="570"/>
                    </a:lnTo>
                    <a:lnTo>
                      <a:pt x="499" y="579"/>
                    </a:lnTo>
                    <a:lnTo>
                      <a:pt x="497" y="584"/>
                    </a:lnTo>
                    <a:lnTo>
                      <a:pt x="492" y="591"/>
                    </a:lnTo>
                    <a:lnTo>
                      <a:pt x="483" y="582"/>
                    </a:lnTo>
                    <a:lnTo>
                      <a:pt x="475" y="572"/>
                    </a:lnTo>
                    <a:lnTo>
                      <a:pt x="471" y="572"/>
                    </a:lnTo>
                    <a:lnTo>
                      <a:pt x="461" y="570"/>
                    </a:lnTo>
                    <a:lnTo>
                      <a:pt x="457" y="572"/>
                    </a:lnTo>
                    <a:lnTo>
                      <a:pt x="452" y="577"/>
                    </a:lnTo>
                    <a:lnTo>
                      <a:pt x="447" y="584"/>
                    </a:lnTo>
                    <a:lnTo>
                      <a:pt x="442" y="594"/>
                    </a:lnTo>
                    <a:lnTo>
                      <a:pt x="433" y="589"/>
                    </a:lnTo>
                    <a:lnTo>
                      <a:pt x="426" y="584"/>
                    </a:lnTo>
                    <a:lnTo>
                      <a:pt x="426" y="598"/>
                    </a:lnTo>
                    <a:lnTo>
                      <a:pt x="423" y="613"/>
                    </a:lnTo>
                    <a:lnTo>
                      <a:pt x="431" y="627"/>
                    </a:lnTo>
                    <a:lnTo>
                      <a:pt x="431" y="639"/>
                    </a:lnTo>
                    <a:lnTo>
                      <a:pt x="423" y="636"/>
                    </a:lnTo>
                    <a:lnTo>
                      <a:pt x="416" y="631"/>
                    </a:lnTo>
                    <a:lnTo>
                      <a:pt x="397" y="629"/>
                    </a:lnTo>
                    <a:lnTo>
                      <a:pt x="386" y="634"/>
                    </a:lnTo>
                    <a:lnTo>
                      <a:pt x="386" y="624"/>
                    </a:lnTo>
                    <a:lnTo>
                      <a:pt x="393" y="608"/>
                    </a:lnTo>
                    <a:lnTo>
                      <a:pt x="388" y="608"/>
                    </a:lnTo>
                    <a:lnTo>
                      <a:pt x="383" y="610"/>
                    </a:lnTo>
                    <a:lnTo>
                      <a:pt x="381" y="610"/>
                    </a:lnTo>
                    <a:lnTo>
                      <a:pt x="381" y="598"/>
                    </a:lnTo>
                    <a:lnTo>
                      <a:pt x="376" y="584"/>
                    </a:lnTo>
                    <a:lnTo>
                      <a:pt x="374" y="591"/>
                    </a:lnTo>
                    <a:lnTo>
                      <a:pt x="371" y="605"/>
                    </a:lnTo>
                    <a:lnTo>
                      <a:pt x="357" y="622"/>
                    </a:lnTo>
                    <a:lnTo>
                      <a:pt x="362" y="639"/>
                    </a:lnTo>
                    <a:lnTo>
                      <a:pt x="357" y="679"/>
                    </a:lnTo>
                    <a:lnTo>
                      <a:pt x="362" y="695"/>
                    </a:lnTo>
                    <a:lnTo>
                      <a:pt x="355" y="710"/>
                    </a:lnTo>
                    <a:lnTo>
                      <a:pt x="345" y="724"/>
                    </a:lnTo>
                    <a:lnTo>
                      <a:pt x="329" y="726"/>
                    </a:lnTo>
                    <a:lnTo>
                      <a:pt x="317" y="738"/>
                    </a:lnTo>
                    <a:lnTo>
                      <a:pt x="315" y="752"/>
                    </a:lnTo>
                    <a:lnTo>
                      <a:pt x="308" y="754"/>
                    </a:lnTo>
                    <a:lnTo>
                      <a:pt x="301" y="743"/>
                    </a:lnTo>
                    <a:lnTo>
                      <a:pt x="298" y="738"/>
                    </a:lnTo>
                    <a:lnTo>
                      <a:pt x="298" y="759"/>
                    </a:lnTo>
                    <a:lnTo>
                      <a:pt x="293" y="762"/>
                    </a:lnTo>
                    <a:lnTo>
                      <a:pt x="289" y="750"/>
                    </a:lnTo>
                    <a:lnTo>
                      <a:pt x="284" y="740"/>
                    </a:lnTo>
                    <a:lnTo>
                      <a:pt x="279" y="750"/>
                    </a:lnTo>
                    <a:lnTo>
                      <a:pt x="282" y="773"/>
                    </a:lnTo>
                    <a:lnTo>
                      <a:pt x="275" y="773"/>
                    </a:lnTo>
                    <a:lnTo>
                      <a:pt x="272" y="766"/>
                    </a:lnTo>
                    <a:lnTo>
                      <a:pt x="267" y="764"/>
                    </a:lnTo>
                    <a:lnTo>
                      <a:pt x="270" y="773"/>
                    </a:lnTo>
                    <a:lnTo>
                      <a:pt x="275" y="785"/>
                    </a:lnTo>
                    <a:lnTo>
                      <a:pt x="275" y="792"/>
                    </a:lnTo>
                    <a:lnTo>
                      <a:pt x="267" y="790"/>
                    </a:lnTo>
                    <a:lnTo>
                      <a:pt x="263" y="785"/>
                    </a:lnTo>
                    <a:lnTo>
                      <a:pt x="256" y="792"/>
                    </a:lnTo>
                    <a:lnTo>
                      <a:pt x="249" y="797"/>
                    </a:lnTo>
                    <a:lnTo>
                      <a:pt x="246" y="790"/>
                    </a:lnTo>
                    <a:lnTo>
                      <a:pt x="246" y="783"/>
                    </a:lnTo>
                    <a:lnTo>
                      <a:pt x="232" y="790"/>
                    </a:lnTo>
                    <a:lnTo>
                      <a:pt x="220" y="809"/>
                    </a:lnTo>
                    <a:lnTo>
                      <a:pt x="213" y="832"/>
                    </a:lnTo>
                    <a:lnTo>
                      <a:pt x="218" y="835"/>
                    </a:lnTo>
                    <a:lnTo>
                      <a:pt x="225" y="840"/>
                    </a:lnTo>
                    <a:lnTo>
                      <a:pt x="211" y="875"/>
                    </a:lnTo>
                    <a:lnTo>
                      <a:pt x="194" y="908"/>
                    </a:lnTo>
                    <a:lnTo>
                      <a:pt x="189" y="958"/>
                    </a:lnTo>
                    <a:lnTo>
                      <a:pt x="182" y="965"/>
                    </a:lnTo>
                    <a:lnTo>
                      <a:pt x="178" y="974"/>
                    </a:lnTo>
                    <a:lnTo>
                      <a:pt x="161" y="958"/>
                    </a:lnTo>
                    <a:lnTo>
                      <a:pt x="154" y="944"/>
                    </a:lnTo>
                    <a:lnTo>
                      <a:pt x="135" y="929"/>
                    </a:lnTo>
                    <a:lnTo>
                      <a:pt x="128" y="920"/>
                    </a:lnTo>
                    <a:lnTo>
                      <a:pt x="121" y="906"/>
                    </a:lnTo>
                    <a:lnTo>
                      <a:pt x="119" y="889"/>
                    </a:lnTo>
                    <a:lnTo>
                      <a:pt x="111" y="868"/>
                    </a:lnTo>
                    <a:lnTo>
                      <a:pt x="104" y="847"/>
                    </a:lnTo>
                    <a:lnTo>
                      <a:pt x="95" y="823"/>
                    </a:lnTo>
                    <a:lnTo>
                      <a:pt x="88" y="802"/>
                    </a:lnTo>
                    <a:lnTo>
                      <a:pt x="81" y="778"/>
                    </a:lnTo>
                    <a:lnTo>
                      <a:pt x="74" y="757"/>
                    </a:lnTo>
                    <a:lnTo>
                      <a:pt x="67" y="736"/>
                    </a:lnTo>
                    <a:lnTo>
                      <a:pt x="59" y="712"/>
                    </a:lnTo>
                    <a:lnTo>
                      <a:pt x="50" y="691"/>
                    </a:lnTo>
                    <a:lnTo>
                      <a:pt x="43" y="667"/>
                    </a:lnTo>
                    <a:lnTo>
                      <a:pt x="36" y="646"/>
                    </a:lnTo>
                    <a:lnTo>
                      <a:pt x="29" y="624"/>
                    </a:lnTo>
                    <a:lnTo>
                      <a:pt x="22" y="601"/>
                    </a:lnTo>
                    <a:lnTo>
                      <a:pt x="15" y="579"/>
                    </a:lnTo>
                    <a:lnTo>
                      <a:pt x="5" y="556"/>
                    </a:lnTo>
                    <a:lnTo>
                      <a:pt x="0" y="537"/>
                    </a:lnTo>
                    <a:lnTo>
                      <a:pt x="3" y="532"/>
                    </a:lnTo>
                    <a:lnTo>
                      <a:pt x="10" y="525"/>
                    </a:lnTo>
                    <a:lnTo>
                      <a:pt x="15" y="523"/>
                    </a:lnTo>
                    <a:lnTo>
                      <a:pt x="22" y="532"/>
                    </a:lnTo>
                    <a:lnTo>
                      <a:pt x="29" y="537"/>
                    </a:lnTo>
                    <a:lnTo>
                      <a:pt x="33" y="532"/>
                    </a:lnTo>
                    <a:lnTo>
                      <a:pt x="33" y="523"/>
                    </a:lnTo>
                    <a:lnTo>
                      <a:pt x="31" y="513"/>
                    </a:lnTo>
                    <a:lnTo>
                      <a:pt x="33" y="504"/>
                    </a:lnTo>
                    <a:lnTo>
                      <a:pt x="41" y="499"/>
                    </a:lnTo>
                    <a:lnTo>
                      <a:pt x="45" y="499"/>
                    </a:lnTo>
                    <a:lnTo>
                      <a:pt x="48" y="494"/>
                    </a:lnTo>
                    <a:lnTo>
                      <a:pt x="45" y="487"/>
                    </a:lnTo>
                    <a:lnTo>
                      <a:pt x="41" y="480"/>
                    </a:lnTo>
                    <a:lnTo>
                      <a:pt x="41" y="468"/>
                    </a:lnTo>
                    <a:lnTo>
                      <a:pt x="50" y="445"/>
                    </a:lnTo>
                    <a:lnTo>
                      <a:pt x="64" y="428"/>
                    </a:lnTo>
                    <a:lnTo>
                      <a:pt x="69" y="419"/>
                    </a:lnTo>
                    <a:lnTo>
                      <a:pt x="67" y="407"/>
                    </a:lnTo>
                    <a:lnTo>
                      <a:pt x="74" y="390"/>
                    </a:lnTo>
                    <a:lnTo>
                      <a:pt x="76" y="381"/>
                    </a:lnTo>
                    <a:lnTo>
                      <a:pt x="76" y="374"/>
                    </a:lnTo>
                    <a:lnTo>
                      <a:pt x="71" y="364"/>
                    </a:lnTo>
                    <a:lnTo>
                      <a:pt x="67" y="350"/>
                    </a:lnTo>
                    <a:lnTo>
                      <a:pt x="64" y="329"/>
                    </a:lnTo>
                    <a:lnTo>
                      <a:pt x="62" y="308"/>
                    </a:lnTo>
                    <a:lnTo>
                      <a:pt x="67" y="286"/>
                    </a:lnTo>
                    <a:lnTo>
                      <a:pt x="76" y="263"/>
                    </a:lnTo>
                    <a:lnTo>
                      <a:pt x="74" y="234"/>
                    </a:lnTo>
                    <a:lnTo>
                      <a:pt x="69" y="204"/>
                    </a:lnTo>
                    <a:lnTo>
                      <a:pt x="81" y="170"/>
                    </a:lnTo>
                    <a:lnTo>
                      <a:pt x="93" y="135"/>
                    </a:lnTo>
                    <a:lnTo>
                      <a:pt x="100" y="114"/>
                    </a:lnTo>
                    <a:lnTo>
                      <a:pt x="111" y="73"/>
                    </a:lnTo>
                    <a:lnTo>
                      <a:pt x="121" y="47"/>
                    </a:lnTo>
                    <a:lnTo>
                      <a:pt x="126" y="33"/>
                    </a:lnTo>
                    <a:lnTo>
                      <a:pt x="130" y="19"/>
                    </a:lnTo>
                    <a:lnTo>
                      <a:pt x="145" y="19"/>
                    </a:lnTo>
                    <a:lnTo>
                      <a:pt x="159" y="19"/>
                    </a:lnTo>
                    <a:lnTo>
                      <a:pt x="163" y="38"/>
                    </a:lnTo>
                    <a:lnTo>
                      <a:pt x="166" y="45"/>
                    </a:lnTo>
                    <a:close/>
                    <a:moveTo>
                      <a:pt x="475" y="608"/>
                    </a:moveTo>
                    <a:lnTo>
                      <a:pt x="468" y="613"/>
                    </a:lnTo>
                    <a:lnTo>
                      <a:pt x="459" y="615"/>
                    </a:lnTo>
                    <a:lnTo>
                      <a:pt x="461" y="624"/>
                    </a:lnTo>
                    <a:lnTo>
                      <a:pt x="461" y="629"/>
                    </a:lnTo>
                    <a:lnTo>
                      <a:pt x="449" y="627"/>
                    </a:lnTo>
                    <a:lnTo>
                      <a:pt x="445" y="624"/>
                    </a:lnTo>
                    <a:lnTo>
                      <a:pt x="442" y="610"/>
                    </a:lnTo>
                    <a:lnTo>
                      <a:pt x="447" y="594"/>
                    </a:lnTo>
                    <a:lnTo>
                      <a:pt x="452" y="587"/>
                    </a:lnTo>
                    <a:lnTo>
                      <a:pt x="461" y="589"/>
                    </a:lnTo>
                    <a:lnTo>
                      <a:pt x="473" y="601"/>
                    </a:lnTo>
                    <a:lnTo>
                      <a:pt x="475" y="608"/>
                    </a:lnTo>
                    <a:close/>
                    <a:moveTo>
                      <a:pt x="421" y="655"/>
                    </a:moveTo>
                    <a:lnTo>
                      <a:pt x="416" y="660"/>
                    </a:lnTo>
                    <a:lnTo>
                      <a:pt x="409" y="660"/>
                    </a:lnTo>
                    <a:lnTo>
                      <a:pt x="407" y="650"/>
                    </a:lnTo>
                    <a:lnTo>
                      <a:pt x="407" y="646"/>
                    </a:lnTo>
                    <a:lnTo>
                      <a:pt x="409" y="643"/>
                    </a:lnTo>
                    <a:lnTo>
                      <a:pt x="414" y="646"/>
                    </a:lnTo>
                    <a:lnTo>
                      <a:pt x="421" y="655"/>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7" name="Freeform 64">
                <a:extLst>
                  <a:ext uri="{FF2B5EF4-FFF2-40B4-BE49-F238E27FC236}">
                    <a16:creationId xmlns:a16="http://schemas.microsoft.com/office/drawing/2014/main" id="{5054495F-7392-27D5-C5C7-FEDF06BFE1F6}"/>
                  </a:ext>
                </a:extLst>
              </p:cNvPr>
              <p:cNvSpPr>
                <a:spLocks noEditPoints="1"/>
              </p:cNvSpPr>
              <p:nvPr/>
            </p:nvSpPr>
            <p:spPr bwMode="auto">
              <a:xfrm>
                <a:off x="5527" y="-662"/>
                <a:ext cx="1274" cy="1329"/>
              </a:xfrm>
              <a:custGeom>
                <a:avLst/>
                <a:gdLst>
                  <a:gd name="T0" fmla="*/ 160 w 1274"/>
                  <a:gd name="T1" fmla="*/ 66 h 1329"/>
                  <a:gd name="T2" fmla="*/ 238 w 1274"/>
                  <a:gd name="T3" fmla="*/ 19 h 1329"/>
                  <a:gd name="T4" fmla="*/ 278 w 1274"/>
                  <a:gd name="T5" fmla="*/ 246 h 1329"/>
                  <a:gd name="T6" fmla="*/ 278 w 1274"/>
                  <a:gd name="T7" fmla="*/ 222 h 1329"/>
                  <a:gd name="T8" fmla="*/ 364 w 1274"/>
                  <a:gd name="T9" fmla="*/ 142 h 1329"/>
                  <a:gd name="T10" fmla="*/ 888 w 1274"/>
                  <a:gd name="T11" fmla="*/ 293 h 1329"/>
                  <a:gd name="T12" fmla="*/ 928 w 1274"/>
                  <a:gd name="T13" fmla="*/ 355 h 1329"/>
                  <a:gd name="T14" fmla="*/ 952 w 1274"/>
                  <a:gd name="T15" fmla="*/ 397 h 1329"/>
                  <a:gd name="T16" fmla="*/ 855 w 1274"/>
                  <a:gd name="T17" fmla="*/ 390 h 1329"/>
                  <a:gd name="T18" fmla="*/ 808 w 1274"/>
                  <a:gd name="T19" fmla="*/ 411 h 1329"/>
                  <a:gd name="T20" fmla="*/ 671 w 1274"/>
                  <a:gd name="T21" fmla="*/ 437 h 1329"/>
                  <a:gd name="T22" fmla="*/ 583 w 1274"/>
                  <a:gd name="T23" fmla="*/ 489 h 1329"/>
                  <a:gd name="T24" fmla="*/ 579 w 1274"/>
                  <a:gd name="T25" fmla="*/ 475 h 1329"/>
                  <a:gd name="T26" fmla="*/ 524 w 1274"/>
                  <a:gd name="T27" fmla="*/ 504 h 1329"/>
                  <a:gd name="T28" fmla="*/ 494 w 1274"/>
                  <a:gd name="T29" fmla="*/ 511 h 1329"/>
                  <a:gd name="T30" fmla="*/ 423 w 1274"/>
                  <a:gd name="T31" fmla="*/ 627 h 1329"/>
                  <a:gd name="T32" fmla="*/ 392 w 1274"/>
                  <a:gd name="T33" fmla="*/ 582 h 1329"/>
                  <a:gd name="T34" fmla="*/ 347 w 1274"/>
                  <a:gd name="T35" fmla="*/ 494 h 1329"/>
                  <a:gd name="T36" fmla="*/ 217 w 1274"/>
                  <a:gd name="T37" fmla="*/ 447 h 1329"/>
                  <a:gd name="T38" fmla="*/ 44 w 1274"/>
                  <a:gd name="T39" fmla="*/ 407 h 1329"/>
                  <a:gd name="T40" fmla="*/ 0 w 1274"/>
                  <a:gd name="T41" fmla="*/ 355 h 1329"/>
                  <a:gd name="T42" fmla="*/ 186 w 1274"/>
                  <a:gd name="T43" fmla="*/ 255 h 1329"/>
                  <a:gd name="T44" fmla="*/ 252 w 1274"/>
                  <a:gd name="T45" fmla="*/ 220 h 1329"/>
                  <a:gd name="T46" fmla="*/ 281 w 1274"/>
                  <a:gd name="T47" fmla="*/ 291 h 1329"/>
                  <a:gd name="T48" fmla="*/ 394 w 1274"/>
                  <a:gd name="T49" fmla="*/ 272 h 1329"/>
                  <a:gd name="T50" fmla="*/ 494 w 1274"/>
                  <a:gd name="T51" fmla="*/ 326 h 1329"/>
                  <a:gd name="T52" fmla="*/ 583 w 1274"/>
                  <a:gd name="T53" fmla="*/ 307 h 1329"/>
                  <a:gd name="T54" fmla="*/ 780 w 1274"/>
                  <a:gd name="T55" fmla="*/ 243 h 1329"/>
                  <a:gd name="T56" fmla="*/ 813 w 1274"/>
                  <a:gd name="T57" fmla="*/ 307 h 1329"/>
                  <a:gd name="T58" fmla="*/ 919 w 1274"/>
                  <a:gd name="T59" fmla="*/ 317 h 1329"/>
                  <a:gd name="T60" fmla="*/ 914 w 1274"/>
                  <a:gd name="T61" fmla="*/ 286 h 1329"/>
                  <a:gd name="T62" fmla="*/ 921 w 1274"/>
                  <a:gd name="T63" fmla="*/ 329 h 1329"/>
                  <a:gd name="T64" fmla="*/ 969 w 1274"/>
                  <a:gd name="T65" fmla="*/ 390 h 1329"/>
                  <a:gd name="T66" fmla="*/ 992 w 1274"/>
                  <a:gd name="T67" fmla="*/ 362 h 1329"/>
                  <a:gd name="T68" fmla="*/ 898 w 1274"/>
                  <a:gd name="T69" fmla="*/ 449 h 1329"/>
                  <a:gd name="T70" fmla="*/ 910 w 1274"/>
                  <a:gd name="T71" fmla="*/ 466 h 1329"/>
                  <a:gd name="T72" fmla="*/ 1044 w 1274"/>
                  <a:gd name="T73" fmla="*/ 518 h 1329"/>
                  <a:gd name="T74" fmla="*/ 1082 w 1274"/>
                  <a:gd name="T75" fmla="*/ 575 h 1329"/>
                  <a:gd name="T76" fmla="*/ 1089 w 1274"/>
                  <a:gd name="T77" fmla="*/ 660 h 1329"/>
                  <a:gd name="T78" fmla="*/ 1066 w 1274"/>
                  <a:gd name="T79" fmla="*/ 776 h 1329"/>
                  <a:gd name="T80" fmla="*/ 1018 w 1274"/>
                  <a:gd name="T81" fmla="*/ 854 h 1329"/>
                  <a:gd name="T82" fmla="*/ 1094 w 1274"/>
                  <a:gd name="T83" fmla="*/ 849 h 1329"/>
                  <a:gd name="T84" fmla="*/ 1155 w 1274"/>
                  <a:gd name="T85" fmla="*/ 776 h 1329"/>
                  <a:gd name="T86" fmla="*/ 1274 w 1274"/>
                  <a:gd name="T87" fmla="*/ 981 h 1329"/>
                  <a:gd name="T88" fmla="*/ 1186 w 1274"/>
                  <a:gd name="T89" fmla="*/ 1161 h 1329"/>
                  <a:gd name="T90" fmla="*/ 1170 w 1274"/>
                  <a:gd name="T91" fmla="*/ 1229 h 1329"/>
                  <a:gd name="T92" fmla="*/ 895 w 1274"/>
                  <a:gd name="T93" fmla="*/ 1298 h 1329"/>
                  <a:gd name="T94" fmla="*/ 659 w 1274"/>
                  <a:gd name="T95" fmla="*/ 1277 h 1329"/>
                  <a:gd name="T96" fmla="*/ 676 w 1274"/>
                  <a:gd name="T97" fmla="*/ 1029 h 1329"/>
                  <a:gd name="T98" fmla="*/ 621 w 1274"/>
                  <a:gd name="T99" fmla="*/ 842 h 1329"/>
                  <a:gd name="T100" fmla="*/ 650 w 1274"/>
                  <a:gd name="T101" fmla="*/ 697 h 1329"/>
                  <a:gd name="T102" fmla="*/ 711 w 1274"/>
                  <a:gd name="T103" fmla="*/ 629 h 1329"/>
                  <a:gd name="T104" fmla="*/ 739 w 1274"/>
                  <a:gd name="T105" fmla="*/ 636 h 1329"/>
                  <a:gd name="T106" fmla="*/ 751 w 1274"/>
                  <a:gd name="T107" fmla="*/ 629 h 1329"/>
                  <a:gd name="T108" fmla="*/ 770 w 1274"/>
                  <a:gd name="T109" fmla="*/ 608 h 1329"/>
                  <a:gd name="T110" fmla="*/ 824 w 1274"/>
                  <a:gd name="T111" fmla="*/ 527 h 1329"/>
                  <a:gd name="T112" fmla="*/ 815 w 1274"/>
                  <a:gd name="T113" fmla="*/ 454 h 1329"/>
                  <a:gd name="T114" fmla="*/ 728 w 1274"/>
                  <a:gd name="T115" fmla="*/ 466 h 1329"/>
                  <a:gd name="T116" fmla="*/ 666 w 1274"/>
                  <a:gd name="T117" fmla="*/ 605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4" h="1329">
                    <a:moveTo>
                      <a:pt x="189" y="59"/>
                    </a:moveTo>
                    <a:lnTo>
                      <a:pt x="189" y="61"/>
                    </a:lnTo>
                    <a:lnTo>
                      <a:pt x="193" y="61"/>
                    </a:lnTo>
                    <a:lnTo>
                      <a:pt x="193" y="64"/>
                    </a:lnTo>
                    <a:lnTo>
                      <a:pt x="189" y="69"/>
                    </a:lnTo>
                    <a:lnTo>
                      <a:pt x="172" y="76"/>
                    </a:lnTo>
                    <a:lnTo>
                      <a:pt x="163" y="78"/>
                    </a:lnTo>
                    <a:lnTo>
                      <a:pt x="156" y="76"/>
                    </a:lnTo>
                    <a:lnTo>
                      <a:pt x="156" y="71"/>
                    </a:lnTo>
                    <a:lnTo>
                      <a:pt x="160" y="66"/>
                    </a:lnTo>
                    <a:lnTo>
                      <a:pt x="158" y="61"/>
                    </a:lnTo>
                    <a:lnTo>
                      <a:pt x="156" y="61"/>
                    </a:lnTo>
                    <a:lnTo>
                      <a:pt x="156" y="59"/>
                    </a:lnTo>
                    <a:lnTo>
                      <a:pt x="163" y="54"/>
                    </a:lnTo>
                    <a:lnTo>
                      <a:pt x="215" y="19"/>
                    </a:lnTo>
                    <a:lnTo>
                      <a:pt x="238" y="5"/>
                    </a:lnTo>
                    <a:lnTo>
                      <a:pt x="250" y="0"/>
                    </a:lnTo>
                    <a:lnTo>
                      <a:pt x="252" y="2"/>
                    </a:lnTo>
                    <a:lnTo>
                      <a:pt x="238" y="14"/>
                    </a:lnTo>
                    <a:lnTo>
                      <a:pt x="238" y="19"/>
                    </a:lnTo>
                    <a:lnTo>
                      <a:pt x="238" y="24"/>
                    </a:lnTo>
                    <a:lnTo>
                      <a:pt x="234" y="28"/>
                    </a:lnTo>
                    <a:lnTo>
                      <a:pt x="196" y="54"/>
                    </a:lnTo>
                    <a:lnTo>
                      <a:pt x="189" y="59"/>
                    </a:lnTo>
                    <a:close/>
                    <a:moveTo>
                      <a:pt x="307" y="201"/>
                    </a:moveTo>
                    <a:lnTo>
                      <a:pt x="304" y="208"/>
                    </a:lnTo>
                    <a:lnTo>
                      <a:pt x="307" y="213"/>
                    </a:lnTo>
                    <a:lnTo>
                      <a:pt x="290" y="232"/>
                    </a:lnTo>
                    <a:lnTo>
                      <a:pt x="283" y="243"/>
                    </a:lnTo>
                    <a:lnTo>
                      <a:pt x="278" y="246"/>
                    </a:lnTo>
                    <a:lnTo>
                      <a:pt x="274" y="239"/>
                    </a:lnTo>
                    <a:lnTo>
                      <a:pt x="274" y="232"/>
                    </a:lnTo>
                    <a:lnTo>
                      <a:pt x="278" y="227"/>
                    </a:lnTo>
                    <a:lnTo>
                      <a:pt x="281" y="220"/>
                    </a:lnTo>
                    <a:lnTo>
                      <a:pt x="281" y="210"/>
                    </a:lnTo>
                    <a:lnTo>
                      <a:pt x="278" y="208"/>
                    </a:lnTo>
                    <a:lnTo>
                      <a:pt x="274" y="217"/>
                    </a:lnTo>
                    <a:lnTo>
                      <a:pt x="278" y="217"/>
                    </a:lnTo>
                    <a:lnTo>
                      <a:pt x="278" y="220"/>
                    </a:lnTo>
                    <a:lnTo>
                      <a:pt x="278" y="222"/>
                    </a:lnTo>
                    <a:lnTo>
                      <a:pt x="257" y="220"/>
                    </a:lnTo>
                    <a:lnTo>
                      <a:pt x="250" y="213"/>
                    </a:lnTo>
                    <a:lnTo>
                      <a:pt x="250" y="203"/>
                    </a:lnTo>
                    <a:lnTo>
                      <a:pt x="257" y="191"/>
                    </a:lnTo>
                    <a:lnTo>
                      <a:pt x="278" y="165"/>
                    </a:lnTo>
                    <a:lnTo>
                      <a:pt x="288" y="158"/>
                    </a:lnTo>
                    <a:lnTo>
                      <a:pt x="319" y="144"/>
                    </a:lnTo>
                    <a:lnTo>
                      <a:pt x="335" y="139"/>
                    </a:lnTo>
                    <a:lnTo>
                      <a:pt x="352" y="139"/>
                    </a:lnTo>
                    <a:lnTo>
                      <a:pt x="364" y="142"/>
                    </a:lnTo>
                    <a:lnTo>
                      <a:pt x="373" y="147"/>
                    </a:lnTo>
                    <a:lnTo>
                      <a:pt x="366" y="154"/>
                    </a:lnTo>
                    <a:lnTo>
                      <a:pt x="333" y="161"/>
                    </a:lnTo>
                    <a:lnTo>
                      <a:pt x="333" y="161"/>
                    </a:lnTo>
                    <a:lnTo>
                      <a:pt x="338" y="165"/>
                    </a:lnTo>
                    <a:lnTo>
                      <a:pt x="340" y="168"/>
                    </a:lnTo>
                    <a:lnTo>
                      <a:pt x="335" y="175"/>
                    </a:lnTo>
                    <a:lnTo>
                      <a:pt x="307" y="201"/>
                    </a:lnTo>
                    <a:close/>
                    <a:moveTo>
                      <a:pt x="884" y="291"/>
                    </a:moveTo>
                    <a:lnTo>
                      <a:pt x="888" y="293"/>
                    </a:lnTo>
                    <a:lnTo>
                      <a:pt x="891" y="298"/>
                    </a:lnTo>
                    <a:lnTo>
                      <a:pt x="900" y="310"/>
                    </a:lnTo>
                    <a:lnTo>
                      <a:pt x="905" y="317"/>
                    </a:lnTo>
                    <a:lnTo>
                      <a:pt x="910" y="331"/>
                    </a:lnTo>
                    <a:lnTo>
                      <a:pt x="912" y="333"/>
                    </a:lnTo>
                    <a:lnTo>
                      <a:pt x="912" y="343"/>
                    </a:lnTo>
                    <a:lnTo>
                      <a:pt x="907" y="348"/>
                    </a:lnTo>
                    <a:lnTo>
                      <a:pt x="907" y="352"/>
                    </a:lnTo>
                    <a:lnTo>
                      <a:pt x="910" y="355"/>
                    </a:lnTo>
                    <a:lnTo>
                      <a:pt x="928" y="355"/>
                    </a:lnTo>
                    <a:lnTo>
                      <a:pt x="936" y="357"/>
                    </a:lnTo>
                    <a:lnTo>
                      <a:pt x="940" y="362"/>
                    </a:lnTo>
                    <a:lnTo>
                      <a:pt x="938" y="366"/>
                    </a:lnTo>
                    <a:lnTo>
                      <a:pt x="940" y="371"/>
                    </a:lnTo>
                    <a:lnTo>
                      <a:pt x="945" y="378"/>
                    </a:lnTo>
                    <a:lnTo>
                      <a:pt x="959" y="383"/>
                    </a:lnTo>
                    <a:lnTo>
                      <a:pt x="964" y="388"/>
                    </a:lnTo>
                    <a:lnTo>
                      <a:pt x="964" y="392"/>
                    </a:lnTo>
                    <a:lnTo>
                      <a:pt x="959" y="395"/>
                    </a:lnTo>
                    <a:lnTo>
                      <a:pt x="952" y="397"/>
                    </a:lnTo>
                    <a:lnTo>
                      <a:pt x="898" y="397"/>
                    </a:lnTo>
                    <a:lnTo>
                      <a:pt x="884" y="397"/>
                    </a:lnTo>
                    <a:lnTo>
                      <a:pt x="881" y="400"/>
                    </a:lnTo>
                    <a:lnTo>
                      <a:pt x="879" y="402"/>
                    </a:lnTo>
                    <a:lnTo>
                      <a:pt x="876" y="400"/>
                    </a:lnTo>
                    <a:lnTo>
                      <a:pt x="872" y="402"/>
                    </a:lnTo>
                    <a:lnTo>
                      <a:pt x="869" y="400"/>
                    </a:lnTo>
                    <a:lnTo>
                      <a:pt x="867" y="395"/>
                    </a:lnTo>
                    <a:lnTo>
                      <a:pt x="862" y="390"/>
                    </a:lnTo>
                    <a:lnTo>
                      <a:pt x="855" y="390"/>
                    </a:lnTo>
                    <a:lnTo>
                      <a:pt x="848" y="395"/>
                    </a:lnTo>
                    <a:lnTo>
                      <a:pt x="843" y="411"/>
                    </a:lnTo>
                    <a:lnTo>
                      <a:pt x="846" y="416"/>
                    </a:lnTo>
                    <a:lnTo>
                      <a:pt x="846" y="426"/>
                    </a:lnTo>
                    <a:lnTo>
                      <a:pt x="848" y="428"/>
                    </a:lnTo>
                    <a:lnTo>
                      <a:pt x="848" y="430"/>
                    </a:lnTo>
                    <a:lnTo>
                      <a:pt x="846" y="433"/>
                    </a:lnTo>
                    <a:lnTo>
                      <a:pt x="841" y="433"/>
                    </a:lnTo>
                    <a:lnTo>
                      <a:pt x="834" y="430"/>
                    </a:lnTo>
                    <a:lnTo>
                      <a:pt x="808" y="411"/>
                    </a:lnTo>
                    <a:lnTo>
                      <a:pt x="787" y="400"/>
                    </a:lnTo>
                    <a:lnTo>
                      <a:pt x="763" y="395"/>
                    </a:lnTo>
                    <a:lnTo>
                      <a:pt x="744" y="392"/>
                    </a:lnTo>
                    <a:lnTo>
                      <a:pt x="730" y="395"/>
                    </a:lnTo>
                    <a:lnTo>
                      <a:pt x="718" y="402"/>
                    </a:lnTo>
                    <a:lnTo>
                      <a:pt x="711" y="414"/>
                    </a:lnTo>
                    <a:lnTo>
                      <a:pt x="699" y="423"/>
                    </a:lnTo>
                    <a:lnTo>
                      <a:pt x="680" y="428"/>
                    </a:lnTo>
                    <a:lnTo>
                      <a:pt x="671" y="430"/>
                    </a:lnTo>
                    <a:lnTo>
                      <a:pt x="671" y="437"/>
                    </a:lnTo>
                    <a:lnTo>
                      <a:pt x="664" y="437"/>
                    </a:lnTo>
                    <a:lnTo>
                      <a:pt x="650" y="435"/>
                    </a:lnTo>
                    <a:lnTo>
                      <a:pt x="638" y="435"/>
                    </a:lnTo>
                    <a:lnTo>
                      <a:pt x="626" y="437"/>
                    </a:lnTo>
                    <a:lnTo>
                      <a:pt x="616" y="442"/>
                    </a:lnTo>
                    <a:lnTo>
                      <a:pt x="609" y="459"/>
                    </a:lnTo>
                    <a:lnTo>
                      <a:pt x="607" y="466"/>
                    </a:lnTo>
                    <a:lnTo>
                      <a:pt x="602" y="473"/>
                    </a:lnTo>
                    <a:lnTo>
                      <a:pt x="583" y="485"/>
                    </a:lnTo>
                    <a:lnTo>
                      <a:pt x="583" y="489"/>
                    </a:lnTo>
                    <a:lnTo>
                      <a:pt x="574" y="501"/>
                    </a:lnTo>
                    <a:lnTo>
                      <a:pt x="572" y="508"/>
                    </a:lnTo>
                    <a:lnTo>
                      <a:pt x="572" y="515"/>
                    </a:lnTo>
                    <a:lnTo>
                      <a:pt x="569" y="515"/>
                    </a:lnTo>
                    <a:lnTo>
                      <a:pt x="562" y="508"/>
                    </a:lnTo>
                    <a:lnTo>
                      <a:pt x="560" y="499"/>
                    </a:lnTo>
                    <a:lnTo>
                      <a:pt x="567" y="487"/>
                    </a:lnTo>
                    <a:lnTo>
                      <a:pt x="572" y="480"/>
                    </a:lnTo>
                    <a:lnTo>
                      <a:pt x="576" y="480"/>
                    </a:lnTo>
                    <a:lnTo>
                      <a:pt x="579" y="475"/>
                    </a:lnTo>
                    <a:lnTo>
                      <a:pt x="579" y="463"/>
                    </a:lnTo>
                    <a:lnTo>
                      <a:pt x="576" y="459"/>
                    </a:lnTo>
                    <a:lnTo>
                      <a:pt x="567" y="461"/>
                    </a:lnTo>
                    <a:lnTo>
                      <a:pt x="562" y="468"/>
                    </a:lnTo>
                    <a:lnTo>
                      <a:pt x="555" y="468"/>
                    </a:lnTo>
                    <a:lnTo>
                      <a:pt x="548" y="466"/>
                    </a:lnTo>
                    <a:lnTo>
                      <a:pt x="543" y="473"/>
                    </a:lnTo>
                    <a:lnTo>
                      <a:pt x="538" y="487"/>
                    </a:lnTo>
                    <a:lnTo>
                      <a:pt x="531" y="499"/>
                    </a:lnTo>
                    <a:lnTo>
                      <a:pt x="524" y="504"/>
                    </a:lnTo>
                    <a:lnTo>
                      <a:pt x="517" y="499"/>
                    </a:lnTo>
                    <a:lnTo>
                      <a:pt x="515" y="485"/>
                    </a:lnTo>
                    <a:lnTo>
                      <a:pt x="512" y="475"/>
                    </a:lnTo>
                    <a:lnTo>
                      <a:pt x="515" y="461"/>
                    </a:lnTo>
                    <a:lnTo>
                      <a:pt x="512" y="459"/>
                    </a:lnTo>
                    <a:lnTo>
                      <a:pt x="510" y="463"/>
                    </a:lnTo>
                    <a:lnTo>
                      <a:pt x="505" y="475"/>
                    </a:lnTo>
                    <a:lnTo>
                      <a:pt x="501" y="499"/>
                    </a:lnTo>
                    <a:lnTo>
                      <a:pt x="498" y="508"/>
                    </a:lnTo>
                    <a:lnTo>
                      <a:pt x="494" y="511"/>
                    </a:lnTo>
                    <a:lnTo>
                      <a:pt x="484" y="527"/>
                    </a:lnTo>
                    <a:lnTo>
                      <a:pt x="475" y="553"/>
                    </a:lnTo>
                    <a:lnTo>
                      <a:pt x="463" y="582"/>
                    </a:lnTo>
                    <a:lnTo>
                      <a:pt x="449" y="608"/>
                    </a:lnTo>
                    <a:lnTo>
                      <a:pt x="442" y="619"/>
                    </a:lnTo>
                    <a:lnTo>
                      <a:pt x="437" y="622"/>
                    </a:lnTo>
                    <a:lnTo>
                      <a:pt x="437" y="627"/>
                    </a:lnTo>
                    <a:lnTo>
                      <a:pt x="437" y="638"/>
                    </a:lnTo>
                    <a:lnTo>
                      <a:pt x="430" y="636"/>
                    </a:lnTo>
                    <a:lnTo>
                      <a:pt x="423" y="627"/>
                    </a:lnTo>
                    <a:lnTo>
                      <a:pt x="418" y="619"/>
                    </a:lnTo>
                    <a:lnTo>
                      <a:pt x="418" y="610"/>
                    </a:lnTo>
                    <a:lnTo>
                      <a:pt x="425" y="589"/>
                    </a:lnTo>
                    <a:lnTo>
                      <a:pt x="425" y="584"/>
                    </a:lnTo>
                    <a:lnTo>
                      <a:pt x="423" y="584"/>
                    </a:lnTo>
                    <a:lnTo>
                      <a:pt x="418" y="582"/>
                    </a:lnTo>
                    <a:lnTo>
                      <a:pt x="408" y="586"/>
                    </a:lnTo>
                    <a:lnTo>
                      <a:pt x="397" y="586"/>
                    </a:lnTo>
                    <a:lnTo>
                      <a:pt x="394" y="586"/>
                    </a:lnTo>
                    <a:lnTo>
                      <a:pt x="392" y="582"/>
                    </a:lnTo>
                    <a:lnTo>
                      <a:pt x="392" y="577"/>
                    </a:lnTo>
                    <a:lnTo>
                      <a:pt x="392" y="570"/>
                    </a:lnTo>
                    <a:lnTo>
                      <a:pt x="399" y="556"/>
                    </a:lnTo>
                    <a:lnTo>
                      <a:pt x="397" y="544"/>
                    </a:lnTo>
                    <a:lnTo>
                      <a:pt x="399" y="537"/>
                    </a:lnTo>
                    <a:lnTo>
                      <a:pt x="397" y="525"/>
                    </a:lnTo>
                    <a:lnTo>
                      <a:pt x="397" y="518"/>
                    </a:lnTo>
                    <a:lnTo>
                      <a:pt x="390" y="513"/>
                    </a:lnTo>
                    <a:lnTo>
                      <a:pt x="378" y="504"/>
                    </a:lnTo>
                    <a:lnTo>
                      <a:pt x="347" y="494"/>
                    </a:lnTo>
                    <a:lnTo>
                      <a:pt x="349" y="482"/>
                    </a:lnTo>
                    <a:lnTo>
                      <a:pt x="347" y="475"/>
                    </a:lnTo>
                    <a:lnTo>
                      <a:pt x="340" y="468"/>
                    </a:lnTo>
                    <a:lnTo>
                      <a:pt x="309" y="461"/>
                    </a:lnTo>
                    <a:lnTo>
                      <a:pt x="288" y="459"/>
                    </a:lnTo>
                    <a:lnTo>
                      <a:pt x="269" y="459"/>
                    </a:lnTo>
                    <a:lnTo>
                      <a:pt x="255" y="456"/>
                    </a:lnTo>
                    <a:lnTo>
                      <a:pt x="238" y="456"/>
                    </a:lnTo>
                    <a:lnTo>
                      <a:pt x="226" y="452"/>
                    </a:lnTo>
                    <a:lnTo>
                      <a:pt x="217" y="447"/>
                    </a:lnTo>
                    <a:lnTo>
                      <a:pt x="205" y="442"/>
                    </a:lnTo>
                    <a:lnTo>
                      <a:pt x="196" y="437"/>
                    </a:lnTo>
                    <a:lnTo>
                      <a:pt x="177" y="433"/>
                    </a:lnTo>
                    <a:lnTo>
                      <a:pt x="158" y="430"/>
                    </a:lnTo>
                    <a:lnTo>
                      <a:pt x="139" y="426"/>
                    </a:lnTo>
                    <a:lnTo>
                      <a:pt x="120" y="421"/>
                    </a:lnTo>
                    <a:lnTo>
                      <a:pt x="101" y="418"/>
                    </a:lnTo>
                    <a:lnTo>
                      <a:pt x="82" y="414"/>
                    </a:lnTo>
                    <a:lnTo>
                      <a:pt x="63" y="409"/>
                    </a:lnTo>
                    <a:lnTo>
                      <a:pt x="44" y="407"/>
                    </a:lnTo>
                    <a:lnTo>
                      <a:pt x="40" y="397"/>
                    </a:lnTo>
                    <a:lnTo>
                      <a:pt x="35" y="390"/>
                    </a:lnTo>
                    <a:lnTo>
                      <a:pt x="30" y="381"/>
                    </a:lnTo>
                    <a:lnTo>
                      <a:pt x="26" y="371"/>
                    </a:lnTo>
                    <a:lnTo>
                      <a:pt x="18" y="369"/>
                    </a:lnTo>
                    <a:lnTo>
                      <a:pt x="14" y="366"/>
                    </a:lnTo>
                    <a:lnTo>
                      <a:pt x="9" y="362"/>
                    </a:lnTo>
                    <a:lnTo>
                      <a:pt x="2" y="364"/>
                    </a:lnTo>
                    <a:lnTo>
                      <a:pt x="0" y="357"/>
                    </a:lnTo>
                    <a:lnTo>
                      <a:pt x="0" y="355"/>
                    </a:lnTo>
                    <a:lnTo>
                      <a:pt x="9" y="352"/>
                    </a:lnTo>
                    <a:lnTo>
                      <a:pt x="35" y="340"/>
                    </a:lnTo>
                    <a:lnTo>
                      <a:pt x="59" y="326"/>
                    </a:lnTo>
                    <a:lnTo>
                      <a:pt x="78" y="307"/>
                    </a:lnTo>
                    <a:lnTo>
                      <a:pt x="101" y="298"/>
                    </a:lnTo>
                    <a:lnTo>
                      <a:pt x="130" y="291"/>
                    </a:lnTo>
                    <a:lnTo>
                      <a:pt x="148" y="284"/>
                    </a:lnTo>
                    <a:lnTo>
                      <a:pt x="160" y="277"/>
                    </a:lnTo>
                    <a:lnTo>
                      <a:pt x="177" y="260"/>
                    </a:lnTo>
                    <a:lnTo>
                      <a:pt x="186" y="255"/>
                    </a:lnTo>
                    <a:lnTo>
                      <a:pt x="196" y="253"/>
                    </a:lnTo>
                    <a:lnTo>
                      <a:pt x="205" y="246"/>
                    </a:lnTo>
                    <a:lnTo>
                      <a:pt x="210" y="234"/>
                    </a:lnTo>
                    <a:lnTo>
                      <a:pt x="222" y="222"/>
                    </a:lnTo>
                    <a:lnTo>
                      <a:pt x="236" y="208"/>
                    </a:lnTo>
                    <a:lnTo>
                      <a:pt x="245" y="201"/>
                    </a:lnTo>
                    <a:lnTo>
                      <a:pt x="248" y="203"/>
                    </a:lnTo>
                    <a:lnTo>
                      <a:pt x="248" y="208"/>
                    </a:lnTo>
                    <a:lnTo>
                      <a:pt x="248" y="215"/>
                    </a:lnTo>
                    <a:lnTo>
                      <a:pt x="252" y="220"/>
                    </a:lnTo>
                    <a:lnTo>
                      <a:pt x="262" y="225"/>
                    </a:lnTo>
                    <a:lnTo>
                      <a:pt x="267" y="229"/>
                    </a:lnTo>
                    <a:lnTo>
                      <a:pt x="267" y="236"/>
                    </a:lnTo>
                    <a:lnTo>
                      <a:pt x="269" y="241"/>
                    </a:lnTo>
                    <a:lnTo>
                      <a:pt x="276" y="246"/>
                    </a:lnTo>
                    <a:lnTo>
                      <a:pt x="278" y="258"/>
                    </a:lnTo>
                    <a:lnTo>
                      <a:pt x="276" y="274"/>
                    </a:lnTo>
                    <a:lnTo>
                      <a:pt x="276" y="284"/>
                    </a:lnTo>
                    <a:lnTo>
                      <a:pt x="278" y="288"/>
                    </a:lnTo>
                    <a:lnTo>
                      <a:pt x="281" y="291"/>
                    </a:lnTo>
                    <a:lnTo>
                      <a:pt x="286" y="288"/>
                    </a:lnTo>
                    <a:lnTo>
                      <a:pt x="288" y="281"/>
                    </a:lnTo>
                    <a:lnTo>
                      <a:pt x="290" y="279"/>
                    </a:lnTo>
                    <a:lnTo>
                      <a:pt x="290" y="274"/>
                    </a:lnTo>
                    <a:lnTo>
                      <a:pt x="314" y="255"/>
                    </a:lnTo>
                    <a:lnTo>
                      <a:pt x="316" y="255"/>
                    </a:lnTo>
                    <a:lnTo>
                      <a:pt x="326" y="258"/>
                    </a:lnTo>
                    <a:lnTo>
                      <a:pt x="364" y="260"/>
                    </a:lnTo>
                    <a:lnTo>
                      <a:pt x="378" y="265"/>
                    </a:lnTo>
                    <a:lnTo>
                      <a:pt x="394" y="272"/>
                    </a:lnTo>
                    <a:lnTo>
                      <a:pt x="399" y="274"/>
                    </a:lnTo>
                    <a:lnTo>
                      <a:pt x="420" y="305"/>
                    </a:lnTo>
                    <a:lnTo>
                      <a:pt x="430" y="314"/>
                    </a:lnTo>
                    <a:lnTo>
                      <a:pt x="437" y="317"/>
                    </a:lnTo>
                    <a:lnTo>
                      <a:pt x="439" y="322"/>
                    </a:lnTo>
                    <a:lnTo>
                      <a:pt x="442" y="333"/>
                    </a:lnTo>
                    <a:lnTo>
                      <a:pt x="446" y="336"/>
                    </a:lnTo>
                    <a:lnTo>
                      <a:pt x="472" y="336"/>
                    </a:lnTo>
                    <a:lnTo>
                      <a:pt x="486" y="331"/>
                    </a:lnTo>
                    <a:lnTo>
                      <a:pt x="494" y="326"/>
                    </a:lnTo>
                    <a:lnTo>
                      <a:pt x="501" y="329"/>
                    </a:lnTo>
                    <a:lnTo>
                      <a:pt x="512" y="338"/>
                    </a:lnTo>
                    <a:lnTo>
                      <a:pt x="522" y="340"/>
                    </a:lnTo>
                    <a:lnTo>
                      <a:pt x="529" y="333"/>
                    </a:lnTo>
                    <a:lnTo>
                      <a:pt x="538" y="333"/>
                    </a:lnTo>
                    <a:lnTo>
                      <a:pt x="546" y="338"/>
                    </a:lnTo>
                    <a:lnTo>
                      <a:pt x="550" y="340"/>
                    </a:lnTo>
                    <a:lnTo>
                      <a:pt x="553" y="340"/>
                    </a:lnTo>
                    <a:lnTo>
                      <a:pt x="567" y="324"/>
                    </a:lnTo>
                    <a:lnTo>
                      <a:pt x="583" y="307"/>
                    </a:lnTo>
                    <a:lnTo>
                      <a:pt x="607" y="291"/>
                    </a:lnTo>
                    <a:lnTo>
                      <a:pt x="621" y="284"/>
                    </a:lnTo>
                    <a:lnTo>
                      <a:pt x="626" y="284"/>
                    </a:lnTo>
                    <a:lnTo>
                      <a:pt x="647" y="277"/>
                    </a:lnTo>
                    <a:lnTo>
                      <a:pt x="668" y="274"/>
                    </a:lnTo>
                    <a:lnTo>
                      <a:pt x="697" y="274"/>
                    </a:lnTo>
                    <a:lnTo>
                      <a:pt x="720" y="267"/>
                    </a:lnTo>
                    <a:lnTo>
                      <a:pt x="742" y="255"/>
                    </a:lnTo>
                    <a:lnTo>
                      <a:pt x="763" y="248"/>
                    </a:lnTo>
                    <a:lnTo>
                      <a:pt x="780" y="243"/>
                    </a:lnTo>
                    <a:lnTo>
                      <a:pt x="787" y="246"/>
                    </a:lnTo>
                    <a:lnTo>
                      <a:pt x="784" y="253"/>
                    </a:lnTo>
                    <a:lnTo>
                      <a:pt x="784" y="265"/>
                    </a:lnTo>
                    <a:lnTo>
                      <a:pt x="784" y="281"/>
                    </a:lnTo>
                    <a:lnTo>
                      <a:pt x="784" y="291"/>
                    </a:lnTo>
                    <a:lnTo>
                      <a:pt x="782" y="296"/>
                    </a:lnTo>
                    <a:lnTo>
                      <a:pt x="782" y="300"/>
                    </a:lnTo>
                    <a:lnTo>
                      <a:pt x="784" y="303"/>
                    </a:lnTo>
                    <a:lnTo>
                      <a:pt x="803" y="303"/>
                    </a:lnTo>
                    <a:lnTo>
                      <a:pt x="813" y="307"/>
                    </a:lnTo>
                    <a:lnTo>
                      <a:pt x="822" y="305"/>
                    </a:lnTo>
                    <a:lnTo>
                      <a:pt x="834" y="300"/>
                    </a:lnTo>
                    <a:lnTo>
                      <a:pt x="843" y="300"/>
                    </a:lnTo>
                    <a:lnTo>
                      <a:pt x="850" y="307"/>
                    </a:lnTo>
                    <a:lnTo>
                      <a:pt x="860" y="307"/>
                    </a:lnTo>
                    <a:lnTo>
                      <a:pt x="869" y="300"/>
                    </a:lnTo>
                    <a:lnTo>
                      <a:pt x="874" y="296"/>
                    </a:lnTo>
                    <a:lnTo>
                      <a:pt x="879" y="291"/>
                    </a:lnTo>
                    <a:lnTo>
                      <a:pt x="884" y="291"/>
                    </a:lnTo>
                    <a:close/>
                    <a:moveTo>
                      <a:pt x="919" y="317"/>
                    </a:moveTo>
                    <a:lnTo>
                      <a:pt x="919" y="322"/>
                    </a:lnTo>
                    <a:lnTo>
                      <a:pt x="914" y="319"/>
                    </a:lnTo>
                    <a:lnTo>
                      <a:pt x="912" y="317"/>
                    </a:lnTo>
                    <a:lnTo>
                      <a:pt x="907" y="312"/>
                    </a:lnTo>
                    <a:lnTo>
                      <a:pt x="902" y="300"/>
                    </a:lnTo>
                    <a:lnTo>
                      <a:pt x="895" y="293"/>
                    </a:lnTo>
                    <a:lnTo>
                      <a:pt x="902" y="281"/>
                    </a:lnTo>
                    <a:lnTo>
                      <a:pt x="907" y="279"/>
                    </a:lnTo>
                    <a:lnTo>
                      <a:pt x="914" y="281"/>
                    </a:lnTo>
                    <a:lnTo>
                      <a:pt x="914" y="286"/>
                    </a:lnTo>
                    <a:lnTo>
                      <a:pt x="912" y="296"/>
                    </a:lnTo>
                    <a:lnTo>
                      <a:pt x="914" y="307"/>
                    </a:lnTo>
                    <a:lnTo>
                      <a:pt x="919" y="317"/>
                    </a:lnTo>
                    <a:close/>
                    <a:moveTo>
                      <a:pt x="924" y="340"/>
                    </a:moveTo>
                    <a:lnTo>
                      <a:pt x="921" y="340"/>
                    </a:lnTo>
                    <a:lnTo>
                      <a:pt x="914" y="333"/>
                    </a:lnTo>
                    <a:lnTo>
                      <a:pt x="912" y="329"/>
                    </a:lnTo>
                    <a:lnTo>
                      <a:pt x="912" y="326"/>
                    </a:lnTo>
                    <a:lnTo>
                      <a:pt x="914" y="324"/>
                    </a:lnTo>
                    <a:lnTo>
                      <a:pt x="921" y="329"/>
                    </a:lnTo>
                    <a:lnTo>
                      <a:pt x="924" y="331"/>
                    </a:lnTo>
                    <a:lnTo>
                      <a:pt x="924" y="338"/>
                    </a:lnTo>
                    <a:lnTo>
                      <a:pt x="924" y="340"/>
                    </a:lnTo>
                    <a:close/>
                    <a:moveTo>
                      <a:pt x="1021" y="376"/>
                    </a:moveTo>
                    <a:lnTo>
                      <a:pt x="1023" y="381"/>
                    </a:lnTo>
                    <a:lnTo>
                      <a:pt x="1021" y="388"/>
                    </a:lnTo>
                    <a:lnTo>
                      <a:pt x="1011" y="395"/>
                    </a:lnTo>
                    <a:lnTo>
                      <a:pt x="990" y="397"/>
                    </a:lnTo>
                    <a:lnTo>
                      <a:pt x="976" y="395"/>
                    </a:lnTo>
                    <a:lnTo>
                      <a:pt x="969" y="390"/>
                    </a:lnTo>
                    <a:lnTo>
                      <a:pt x="966" y="388"/>
                    </a:lnTo>
                    <a:lnTo>
                      <a:pt x="966" y="383"/>
                    </a:lnTo>
                    <a:lnTo>
                      <a:pt x="971" y="383"/>
                    </a:lnTo>
                    <a:lnTo>
                      <a:pt x="976" y="385"/>
                    </a:lnTo>
                    <a:lnTo>
                      <a:pt x="980" y="383"/>
                    </a:lnTo>
                    <a:lnTo>
                      <a:pt x="990" y="376"/>
                    </a:lnTo>
                    <a:lnTo>
                      <a:pt x="992" y="371"/>
                    </a:lnTo>
                    <a:lnTo>
                      <a:pt x="995" y="369"/>
                    </a:lnTo>
                    <a:lnTo>
                      <a:pt x="990" y="364"/>
                    </a:lnTo>
                    <a:lnTo>
                      <a:pt x="992" y="362"/>
                    </a:lnTo>
                    <a:lnTo>
                      <a:pt x="1004" y="362"/>
                    </a:lnTo>
                    <a:lnTo>
                      <a:pt x="1009" y="364"/>
                    </a:lnTo>
                    <a:lnTo>
                      <a:pt x="1016" y="376"/>
                    </a:lnTo>
                    <a:lnTo>
                      <a:pt x="1021" y="376"/>
                    </a:lnTo>
                    <a:close/>
                    <a:moveTo>
                      <a:pt x="872" y="437"/>
                    </a:moveTo>
                    <a:lnTo>
                      <a:pt x="891" y="437"/>
                    </a:lnTo>
                    <a:lnTo>
                      <a:pt x="893" y="437"/>
                    </a:lnTo>
                    <a:lnTo>
                      <a:pt x="898" y="442"/>
                    </a:lnTo>
                    <a:lnTo>
                      <a:pt x="900" y="447"/>
                    </a:lnTo>
                    <a:lnTo>
                      <a:pt x="898" y="449"/>
                    </a:lnTo>
                    <a:lnTo>
                      <a:pt x="895" y="454"/>
                    </a:lnTo>
                    <a:lnTo>
                      <a:pt x="891" y="454"/>
                    </a:lnTo>
                    <a:lnTo>
                      <a:pt x="884" y="452"/>
                    </a:lnTo>
                    <a:lnTo>
                      <a:pt x="872" y="442"/>
                    </a:lnTo>
                    <a:lnTo>
                      <a:pt x="872" y="437"/>
                    </a:lnTo>
                    <a:close/>
                    <a:moveTo>
                      <a:pt x="843" y="447"/>
                    </a:moveTo>
                    <a:lnTo>
                      <a:pt x="853" y="449"/>
                    </a:lnTo>
                    <a:lnTo>
                      <a:pt x="874" y="461"/>
                    </a:lnTo>
                    <a:lnTo>
                      <a:pt x="893" y="466"/>
                    </a:lnTo>
                    <a:lnTo>
                      <a:pt x="910" y="466"/>
                    </a:lnTo>
                    <a:lnTo>
                      <a:pt x="924" y="468"/>
                    </a:lnTo>
                    <a:lnTo>
                      <a:pt x="931" y="475"/>
                    </a:lnTo>
                    <a:lnTo>
                      <a:pt x="938" y="482"/>
                    </a:lnTo>
                    <a:lnTo>
                      <a:pt x="943" y="489"/>
                    </a:lnTo>
                    <a:lnTo>
                      <a:pt x="952" y="494"/>
                    </a:lnTo>
                    <a:lnTo>
                      <a:pt x="964" y="494"/>
                    </a:lnTo>
                    <a:lnTo>
                      <a:pt x="976" y="496"/>
                    </a:lnTo>
                    <a:lnTo>
                      <a:pt x="983" y="501"/>
                    </a:lnTo>
                    <a:lnTo>
                      <a:pt x="1025" y="511"/>
                    </a:lnTo>
                    <a:lnTo>
                      <a:pt x="1044" y="518"/>
                    </a:lnTo>
                    <a:lnTo>
                      <a:pt x="1054" y="525"/>
                    </a:lnTo>
                    <a:lnTo>
                      <a:pt x="1058" y="530"/>
                    </a:lnTo>
                    <a:lnTo>
                      <a:pt x="1058" y="534"/>
                    </a:lnTo>
                    <a:lnTo>
                      <a:pt x="1061" y="541"/>
                    </a:lnTo>
                    <a:lnTo>
                      <a:pt x="1068" y="551"/>
                    </a:lnTo>
                    <a:lnTo>
                      <a:pt x="1070" y="551"/>
                    </a:lnTo>
                    <a:lnTo>
                      <a:pt x="1073" y="556"/>
                    </a:lnTo>
                    <a:lnTo>
                      <a:pt x="1075" y="565"/>
                    </a:lnTo>
                    <a:lnTo>
                      <a:pt x="1077" y="572"/>
                    </a:lnTo>
                    <a:lnTo>
                      <a:pt x="1082" y="575"/>
                    </a:lnTo>
                    <a:lnTo>
                      <a:pt x="1080" y="577"/>
                    </a:lnTo>
                    <a:lnTo>
                      <a:pt x="1068" y="572"/>
                    </a:lnTo>
                    <a:lnTo>
                      <a:pt x="1061" y="575"/>
                    </a:lnTo>
                    <a:lnTo>
                      <a:pt x="1058" y="584"/>
                    </a:lnTo>
                    <a:lnTo>
                      <a:pt x="1058" y="591"/>
                    </a:lnTo>
                    <a:lnTo>
                      <a:pt x="1061" y="596"/>
                    </a:lnTo>
                    <a:lnTo>
                      <a:pt x="1080" y="612"/>
                    </a:lnTo>
                    <a:lnTo>
                      <a:pt x="1087" y="631"/>
                    </a:lnTo>
                    <a:lnTo>
                      <a:pt x="1092" y="650"/>
                    </a:lnTo>
                    <a:lnTo>
                      <a:pt x="1089" y="660"/>
                    </a:lnTo>
                    <a:lnTo>
                      <a:pt x="1092" y="679"/>
                    </a:lnTo>
                    <a:lnTo>
                      <a:pt x="1094" y="707"/>
                    </a:lnTo>
                    <a:lnTo>
                      <a:pt x="1094" y="716"/>
                    </a:lnTo>
                    <a:lnTo>
                      <a:pt x="1092" y="726"/>
                    </a:lnTo>
                    <a:lnTo>
                      <a:pt x="1077" y="742"/>
                    </a:lnTo>
                    <a:lnTo>
                      <a:pt x="1077" y="740"/>
                    </a:lnTo>
                    <a:lnTo>
                      <a:pt x="1073" y="740"/>
                    </a:lnTo>
                    <a:lnTo>
                      <a:pt x="1070" y="742"/>
                    </a:lnTo>
                    <a:lnTo>
                      <a:pt x="1066" y="754"/>
                    </a:lnTo>
                    <a:lnTo>
                      <a:pt x="1066" y="776"/>
                    </a:lnTo>
                    <a:lnTo>
                      <a:pt x="1061" y="790"/>
                    </a:lnTo>
                    <a:lnTo>
                      <a:pt x="1054" y="792"/>
                    </a:lnTo>
                    <a:lnTo>
                      <a:pt x="1051" y="794"/>
                    </a:lnTo>
                    <a:lnTo>
                      <a:pt x="1051" y="799"/>
                    </a:lnTo>
                    <a:lnTo>
                      <a:pt x="1044" y="804"/>
                    </a:lnTo>
                    <a:lnTo>
                      <a:pt x="1032" y="806"/>
                    </a:lnTo>
                    <a:lnTo>
                      <a:pt x="1023" y="813"/>
                    </a:lnTo>
                    <a:lnTo>
                      <a:pt x="1021" y="835"/>
                    </a:lnTo>
                    <a:lnTo>
                      <a:pt x="1021" y="842"/>
                    </a:lnTo>
                    <a:lnTo>
                      <a:pt x="1018" y="854"/>
                    </a:lnTo>
                    <a:lnTo>
                      <a:pt x="1021" y="863"/>
                    </a:lnTo>
                    <a:lnTo>
                      <a:pt x="1025" y="870"/>
                    </a:lnTo>
                    <a:lnTo>
                      <a:pt x="1037" y="877"/>
                    </a:lnTo>
                    <a:lnTo>
                      <a:pt x="1054" y="882"/>
                    </a:lnTo>
                    <a:lnTo>
                      <a:pt x="1066" y="882"/>
                    </a:lnTo>
                    <a:lnTo>
                      <a:pt x="1073" y="877"/>
                    </a:lnTo>
                    <a:lnTo>
                      <a:pt x="1077" y="863"/>
                    </a:lnTo>
                    <a:lnTo>
                      <a:pt x="1084" y="858"/>
                    </a:lnTo>
                    <a:lnTo>
                      <a:pt x="1092" y="854"/>
                    </a:lnTo>
                    <a:lnTo>
                      <a:pt x="1094" y="849"/>
                    </a:lnTo>
                    <a:lnTo>
                      <a:pt x="1106" y="820"/>
                    </a:lnTo>
                    <a:lnTo>
                      <a:pt x="1106" y="816"/>
                    </a:lnTo>
                    <a:lnTo>
                      <a:pt x="1099" y="813"/>
                    </a:lnTo>
                    <a:lnTo>
                      <a:pt x="1099" y="811"/>
                    </a:lnTo>
                    <a:lnTo>
                      <a:pt x="1106" y="811"/>
                    </a:lnTo>
                    <a:lnTo>
                      <a:pt x="1113" y="806"/>
                    </a:lnTo>
                    <a:lnTo>
                      <a:pt x="1115" y="799"/>
                    </a:lnTo>
                    <a:lnTo>
                      <a:pt x="1125" y="794"/>
                    </a:lnTo>
                    <a:lnTo>
                      <a:pt x="1144" y="785"/>
                    </a:lnTo>
                    <a:lnTo>
                      <a:pt x="1155" y="776"/>
                    </a:lnTo>
                    <a:lnTo>
                      <a:pt x="1160" y="773"/>
                    </a:lnTo>
                    <a:lnTo>
                      <a:pt x="1172" y="776"/>
                    </a:lnTo>
                    <a:lnTo>
                      <a:pt x="1186" y="783"/>
                    </a:lnTo>
                    <a:lnTo>
                      <a:pt x="1200" y="794"/>
                    </a:lnTo>
                    <a:lnTo>
                      <a:pt x="1210" y="811"/>
                    </a:lnTo>
                    <a:lnTo>
                      <a:pt x="1229" y="856"/>
                    </a:lnTo>
                    <a:lnTo>
                      <a:pt x="1250" y="927"/>
                    </a:lnTo>
                    <a:lnTo>
                      <a:pt x="1266" y="967"/>
                    </a:lnTo>
                    <a:lnTo>
                      <a:pt x="1271" y="976"/>
                    </a:lnTo>
                    <a:lnTo>
                      <a:pt x="1274" y="981"/>
                    </a:lnTo>
                    <a:lnTo>
                      <a:pt x="1271" y="1040"/>
                    </a:lnTo>
                    <a:lnTo>
                      <a:pt x="1266" y="1064"/>
                    </a:lnTo>
                    <a:lnTo>
                      <a:pt x="1252" y="1081"/>
                    </a:lnTo>
                    <a:lnTo>
                      <a:pt x="1240" y="1097"/>
                    </a:lnTo>
                    <a:lnTo>
                      <a:pt x="1224" y="1123"/>
                    </a:lnTo>
                    <a:lnTo>
                      <a:pt x="1205" y="1137"/>
                    </a:lnTo>
                    <a:lnTo>
                      <a:pt x="1196" y="1144"/>
                    </a:lnTo>
                    <a:lnTo>
                      <a:pt x="1193" y="1149"/>
                    </a:lnTo>
                    <a:lnTo>
                      <a:pt x="1191" y="1149"/>
                    </a:lnTo>
                    <a:lnTo>
                      <a:pt x="1186" y="1161"/>
                    </a:lnTo>
                    <a:lnTo>
                      <a:pt x="1184" y="1180"/>
                    </a:lnTo>
                    <a:lnTo>
                      <a:pt x="1184" y="1192"/>
                    </a:lnTo>
                    <a:lnTo>
                      <a:pt x="1186" y="1199"/>
                    </a:lnTo>
                    <a:lnTo>
                      <a:pt x="1184" y="1203"/>
                    </a:lnTo>
                    <a:lnTo>
                      <a:pt x="1177" y="1213"/>
                    </a:lnTo>
                    <a:lnTo>
                      <a:pt x="1174" y="1218"/>
                    </a:lnTo>
                    <a:lnTo>
                      <a:pt x="1177" y="1222"/>
                    </a:lnTo>
                    <a:lnTo>
                      <a:pt x="1174" y="1225"/>
                    </a:lnTo>
                    <a:lnTo>
                      <a:pt x="1172" y="1225"/>
                    </a:lnTo>
                    <a:lnTo>
                      <a:pt x="1170" y="1229"/>
                    </a:lnTo>
                    <a:lnTo>
                      <a:pt x="1162" y="1239"/>
                    </a:lnTo>
                    <a:lnTo>
                      <a:pt x="1153" y="1265"/>
                    </a:lnTo>
                    <a:lnTo>
                      <a:pt x="1153" y="1270"/>
                    </a:lnTo>
                    <a:lnTo>
                      <a:pt x="1151" y="1270"/>
                    </a:lnTo>
                    <a:lnTo>
                      <a:pt x="1099" y="1279"/>
                    </a:lnTo>
                    <a:lnTo>
                      <a:pt x="1047" y="1289"/>
                    </a:lnTo>
                    <a:lnTo>
                      <a:pt x="995" y="1296"/>
                    </a:lnTo>
                    <a:lnTo>
                      <a:pt x="943" y="1305"/>
                    </a:lnTo>
                    <a:lnTo>
                      <a:pt x="943" y="1293"/>
                    </a:lnTo>
                    <a:lnTo>
                      <a:pt x="895" y="1298"/>
                    </a:lnTo>
                    <a:lnTo>
                      <a:pt x="848" y="1305"/>
                    </a:lnTo>
                    <a:lnTo>
                      <a:pt x="801" y="1310"/>
                    </a:lnTo>
                    <a:lnTo>
                      <a:pt x="751" y="1315"/>
                    </a:lnTo>
                    <a:lnTo>
                      <a:pt x="704" y="1319"/>
                    </a:lnTo>
                    <a:lnTo>
                      <a:pt x="657" y="1326"/>
                    </a:lnTo>
                    <a:lnTo>
                      <a:pt x="619" y="1329"/>
                    </a:lnTo>
                    <a:lnTo>
                      <a:pt x="628" y="1322"/>
                    </a:lnTo>
                    <a:lnTo>
                      <a:pt x="642" y="1308"/>
                    </a:lnTo>
                    <a:lnTo>
                      <a:pt x="652" y="1293"/>
                    </a:lnTo>
                    <a:lnTo>
                      <a:pt x="659" y="1277"/>
                    </a:lnTo>
                    <a:lnTo>
                      <a:pt x="666" y="1256"/>
                    </a:lnTo>
                    <a:lnTo>
                      <a:pt x="680" y="1225"/>
                    </a:lnTo>
                    <a:lnTo>
                      <a:pt x="687" y="1206"/>
                    </a:lnTo>
                    <a:lnTo>
                      <a:pt x="692" y="1182"/>
                    </a:lnTo>
                    <a:lnTo>
                      <a:pt x="694" y="1159"/>
                    </a:lnTo>
                    <a:lnTo>
                      <a:pt x="697" y="1133"/>
                    </a:lnTo>
                    <a:lnTo>
                      <a:pt x="697" y="1107"/>
                    </a:lnTo>
                    <a:lnTo>
                      <a:pt x="692" y="1081"/>
                    </a:lnTo>
                    <a:lnTo>
                      <a:pt x="685" y="1055"/>
                    </a:lnTo>
                    <a:lnTo>
                      <a:pt x="676" y="1029"/>
                    </a:lnTo>
                    <a:lnTo>
                      <a:pt x="668" y="1014"/>
                    </a:lnTo>
                    <a:lnTo>
                      <a:pt x="666" y="1010"/>
                    </a:lnTo>
                    <a:lnTo>
                      <a:pt x="650" y="976"/>
                    </a:lnTo>
                    <a:lnTo>
                      <a:pt x="628" y="932"/>
                    </a:lnTo>
                    <a:lnTo>
                      <a:pt x="628" y="927"/>
                    </a:lnTo>
                    <a:lnTo>
                      <a:pt x="640" y="896"/>
                    </a:lnTo>
                    <a:lnTo>
                      <a:pt x="640" y="891"/>
                    </a:lnTo>
                    <a:lnTo>
                      <a:pt x="635" y="870"/>
                    </a:lnTo>
                    <a:lnTo>
                      <a:pt x="631" y="858"/>
                    </a:lnTo>
                    <a:lnTo>
                      <a:pt x="621" y="842"/>
                    </a:lnTo>
                    <a:lnTo>
                      <a:pt x="621" y="839"/>
                    </a:lnTo>
                    <a:lnTo>
                      <a:pt x="635" y="818"/>
                    </a:lnTo>
                    <a:lnTo>
                      <a:pt x="642" y="802"/>
                    </a:lnTo>
                    <a:lnTo>
                      <a:pt x="650" y="780"/>
                    </a:lnTo>
                    <a:lnTo>
                      <a:pt x="652" y="759"/>
                    </a:lnTo>
                    <a:lnTo>
                      <a:pt x="652" y="733"/>
                    </a:lnTo>
                    <a:lnTo>
                      <a:pt x="652" y="716"/>
                    </a:lnTo>
                    <a:lnTo>
                      <a:pt x="647" y="709"/>
                    </a:lnTo>
                    <a:lnTo>
                      <a:pt x="647" y="702"/>
                    </a:lnTo>
                    <a:lnTo>
                      <a:pt x="650" y="697"/>
                    </a:lnTo>
                    <a:lnTo>
                      <a:pt x="666" y="690"/>
                    </a:lnTo>
                    <a:lnTo>
                      <a:pt x="671" y="681"/>
                    </a:lnTo>
                    <a:lnTo>
                      <a:pt x="668" y="662"/>
                    </a:lnTo>
                    <a:lnTo>
                      <a:pt x="671" y="655"/>
                    </a:lnTo>
                    <a:lnTo>
                      <a:pt x="678" y="653"/>
                    </a:lnTo>
                    <a:lnTo>
                      <a:pt x="683" y="650"/>
                    </a:lnTo>
                    <a:lnTo>
                      <a:pt x="687" y="641"/>
                    </a:lnTo>
                    <a:lnTo>
                      <a:pt x="692" y="638"/>
                    </a:lnTo>
                    <a:lnTo>
                      <a:pt x="702" y="641"/>
                    </a:lnTo>
                    <a:lnTo>
                      <a:pt x="711" y="629"/>
                    </a:lnTo>
                    <a:lnTo>
                      <a:pt x="723" y="603"/>
                    </a:lnTo>
                    <a:lnTo>
                      <a:pt x="732" y="589"/>
                    </a:lnTo>
                    <a:lnTo>
                      <a:pt x="739" y="584"/>
                    </a:lnTo>
                    <a:lnTo>
                      <a:pt x="739" y="586"/>
                    </a:lnTo>
                    <a:lnTo>
                      <a:pt x="737" y="596"/>
                    </a:lnTo>
                    <a:lnTo>
                      <a:pt x="735" y="603"/>
                    </a:lnTo>
                    <a:lnTo>
                      <a:pt x="739" y="612"/>
                    </a:lnTo>
                    <a:lnTo>
                      <a:pt x="737" y="619"/>
                    </a:lnTo>
                    <a:lnTo>
                      <a:pt x="735" y="631"/>
                    </a:lnTo>
                    <a:lnTo>
                      <a:pt x="739" y="636"/>
                    </a:lnTo>
                    <a:lnTo>
                      <a:pt x="735" y="655"/>
                    </a:lnTo>
                    <a:lnTo>
                      <a:pt x="735" y="664"/>
                    </a:lnTo>
                    <a:lnTo>
                      <a:pt x="739" y="671"/>
                    </a:lnTo>
                    <a:lnTo>
                      <a:pt x="744" y="667"/>
                    </a:lnTo>
                    <a:lnTo>
                      <a:pt x="746" y="655"/>
                    </a:lnTo>
                    <a:lnTo>
                      <a:pt x="749" y="648"/>
                    </a:lnTo>
                    <a:lnTo>
                      <a:pt x="746" y="648"/>
                    </a:lnTo>
                    <a:lnTo>
                      <a:pt x="746" y="643"/>
                    </a:lnTo>
                    <a:lnTo>
                      <a:pt x="749" y="634"/>
                    </a:lnTo>
                    <a:lnTo>
                      <a:pt x="751" y="629"/>
                    </a:lnTo>
                    <a:lnTo>
                      <a:pt x="754" y="629"/>
                    </a:lnTo>
                    <a:lnTo>
                      <a:pt x="756" y="634"/>
                    </a:lnTo>
                    <a:lnTo>
                      <a:pt x="756" y="643"/>
                    </a:lnTo>
                    <a:lnTo>
                      <a:pt x="751" y="667"/>
                    </a:lnTo>
                    <a:lnTo>
                      <a:pt x="749" y="674"/>
                    </a:lnTo>
                    <a:lnTo>
                      <a:pt x="751" y="676"/>
                    </a:lnTo>
                    <a:lnTo>
                      <a:pt x="758" y="660"/>
                    </a:lnTo>
                    <a:lnTo>
                      <a:pt x="765" y="636"/>
                    </a:lnTo>
                    <a:lnTo>
                      <a:pt x="770" y="617"/>
                    </a:lnTo>
                    <a:lnTo>
                      <a:pt x="770" y="608"/>
                    </a:lnTo>
                    <a:lnTo>
                      <a:pt x="765" y="584"/>
                    </a:lnTo>
                    <a:lnTo>
                      <a:pt x="763" y="575"/>
                    </a:lnTo>
                    <a:lnTo>
                      <a:pt x="765" y="567"/>
                    </a:lnTo>
                    <a:lnTo>
                      <a:pt x="772" y="558"/>
                    </a:lnTo>
                    <a:lnTo>
                      <a:pt x="787" y="546"/>
                    </a:lnTo>
                    <a:lnTo>
                      <a:pt x="798" y="541"/>
                    </a:lnTo>
                    <a:lnTo>
                      <a:pt x="813" y="539"/>
                    </a:lnTo>
                    <a:lnTo>
                      <a:pt x="822" y="534"/>
                    </a:lnTo>
                    <a:lnTo>
                      <a:pt x="827" y="530"/>
                    </a:lnTo>
                    <a:lnTo>
                      <a:pt x="824" y="527"/>
                    </a:lnTo>
                    <a:lnTo>
                      <a:pt x="815" y="525"/>
                    </a:lnTo>
                    <a:lnTo>
                      <a:pt x="808" y="520"/>
                    </a:lnTo>
                    <a:lnTo>
                      <a:pt x="801" y="513"/>
                    </a:lnTo>
                    <a:lnTo>
                      <a:pt x="798" y="504"/>
                    </a:lnTo>
                    <a:lnTo>
                      <a:pt x="798" y="492"/>
                    </a:lnTo>
                    <a:lnTo>
                      <a:pt x="803" y="480"/>
                    </a:lnTo>
                    <a:lnTo>
                      <a:pt x="813" y="468"/>
                    </a:lnTo>
                    <a:lnTo>
                      <a:pt x="815" y="461"/>
                    </a:lnTo>
                    <a:lnTo>
                      <a:pt x="810" y="456"/>
                    </a:lnTo>
                    <a:lnTo>
                      <a:pt x="815" y="454"/>
                    </a:lnTo>
                    <a:lnTo>
                      <a:pt x="827" y="454"/>
                    </a:lnTo>
                    <a:lnTo>
                      <a:pt x="836" y="452"/>
                    </a:lnTo>
                    <a:lnTo>
                      <a:pt x="841" y="447"/>
                    </a:lnTo>
                    <a:lnTo>
                      <a:pt x="843" y="447"/>
                    </a:lnTo>
                    <a:close/>
                    <a:moveTo>
                      <a:pt x="730" y="501"/>
                    </a:moveTo>
                    <a:lnTo>
                      <a:pt x="725" y="504"/>
                    </a:lnTo>
                    <a:lnTo>
                      <a:pt x="723" y="501"/>
                    </a:lnTo>
                    <a:lnTo>
                      <a:pt x="720" y="492"/>
                    </a:lnTo>
                    <a:lnTo>
                      <a:pt x="725" y="473"/>
                    </a:lnTo>
                    <a:lnTo>
                      <a:pt x="728" y="466"/>
                    </a:lnTo>
                    <a:lnTo>
                      <a:pt x="737" y="468"/>
                    </a:lnTo>
                    <a:lnTo>
                      <a:pt x="735" y="470"/>
                    </a:lnTo>
                    <a:lnTo>
                      <a:pt x="739" y="487"/>
                    </a:lnTo>
                    <a:lnTo>
                      <a:pt x="737" y="496"/>
                    </a:lnTo>
                    <a:lnTo>
                      <a:pt x="730" y="501"/>
                    </a:lnTo>
                    <a:close/>
                    <a:moveTo>
                      <a:pt x="680" y="615"/>
                    </a:moveTo>
                    <a:lnTo>
                      <a:pt x="678" y="617"/>
                    </a:lnTo>
                    <a:lnTo>
                      <a:pt x="673" y="617"/>
                    </a:lnTo>
                    <a:lnTo>
                      <a:pt x="671" y="615"/>
                    </a:lnTo>
                    <a:lnTo>
                      <a:pt x="666" y="605"/>
                    </a:lnTo>
                    <a:lnTo>
                      <a:pt x="668" y="603"/>
                    </a:lnTo>
                    <a:lnTo>
                      <a:pt x="676" y="605"/>
                    </a:lnTo>
                    <a:lnTo>
                      <a:pt x="678" y="608"/>
                    </a:lnTo>
                    <a:lnTo>
                      <a:pt x="680" y="615"/>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8" name="Freeform 65">
                <a:extLst>
                  <a:ext uri="{FF2B5EF4-FFF2-40B4-BE49-F238E27FC236}">
                    <a16:creationId xmlns:a16="http://schemas.microsoft.com/office/drawing/2014/main" id="{420BA8A9-31CE-449B-549B-F1E7CFAF7B27}"/>
                  </a:ext>
                </a:extLst>
              </p:cNvPr>
              <p:cNvSpPr>
                <a:spLocks noEditPoints="1"/>
              </p:cNvSpPr>
              <p:nvPr/>
            </p:nvSpPr>
            <p:spPr bwMode="auto">
              <a:xfrm>
                <a:off x="4536" y="-875"/>
                <a:ext cx="1090" cy="1249"/>
              </a:xfrm>
              <a:custGeom>
                <a:avLst/>
                <a:gdLst>
                  <a:gd name="T0" fmla="*/ 574 w 1090"/>
                  <a:gd name="T1" fmla="*/ 154 h 1249"/>
                  <a:gd name="T2" fmla="*/ 619 w 1090"/>
                  <a:gd name="T3" fmla="*/ 166 h 1249"/>
                  <a:gd name="T4" fmla="*/ 669 w 1090"/>
                  <a:gd name="T5" fmla="*/ 192 h 1249"/>
                  <a:gd name="T6" fmla="*/ 693 w 1090"/>
                  <a:gd name="T7" fmla="*/ 225 h 1249"/>
                  <a:gd name="T8" fmla="*/ 740 w 1090"/>
                  <a:gd name="T9" fmla="*/ 218 h 1249"/>
                  <a:gd name="T10" fmla="*/ 813 w 1090"/>
                  <a:gd name="T11" fmla="*/ 265 h 1249"/>
                  <a:gd name="T12" fmla="*/ 879 w 1090"/>
                  <a:gd name="T13" fmla="*/ 234 h 1249"/>
                  <a:gd name="T14" fmla="*/ 915 w 1090"/>
                  <a:gd name="T15" fmla="*/ 246 h 1249"/>
                  <a:gd name="T16" fmla="*/ 983 w 1090"/>
                  <a:gd name="T17" fmla="*/ 248 h 1249"/>
                  <a:gd name="T18" fmla="*/ 1031 w 1090"/>
                  <a:gd name="T19" fmla="*/ 263 h 1249"/>
                  <a:gd name="T20" fmla="*/ 1090 w 1090"/>
                  <a:gd name="T21" fmla="*/ 263 h 1249"/>
                  <a:gd name="T22" fmla="*/ 1078 w 1090"/>
                  <a:gd name="T23" fmla="*/ 267 h 1249"/>
                  <a:gd name="T24" fmla="*/ 1033 w 1090"/>
                  <a:gd name="T25" fmla="*/ 300 h 1249"/>
                  <a:gd name="T26" fmla="*/ 915 w 1090"/>
                  <a:gd name="T27" fmla="*/ 362 h 1249"/>
                  <a:gd name="T28" fmla="*/ 804 w 1090"/>
                  <a:gd name="T29" fmla="*/ 480 h 1249"/>
                  <a:gd name="T30" fmla="*/ 740 w 1090"/>
                  <a:gd name="T31" fmla="*/ 546 h 1249"/>
                  <a:gd name="T32" fmla="*/ 723 w 1090"/>
                  <a:gd name="T33" fmla="*/ 565 h 1249"/>
                  <a:gd name="T34" fmla="*/ 716 w 1090"/>
                  <a:gd name="T35" fmla="*/ 629 h 1249"/>
                  <a:gd name="T36" fmla="*/ 714 w 1090"/>
                  <a:gd name="T37" fmla="*/ 693 h 1249"/>
                  <a:gd name="T38" fmla="*/ 662 w 1090"/>
                  <a:gd name="T39" fmla="*/ 731 h 1249"/>
                  <a:gd name="T40" fmla="*/ 636 w 1090"/>
                  <a:gd name="T41" fmla="*/ 773 h 1249"/>
                  <a:gd name="T42" fmla="*/ 655 w 1090"/>
                  <a:gd name="T43" fmla="*/ 806 h 1249"/>
                  <a:gd name="T44" fmla="*/ 667 w 1090"/>
                  <a:gd name="T45" fmla="*/ 842 h 1249"/>
                  <a:gd name="T46" fmla="*/ 657 w 1090"/>
                  <a:gd name="T47" fmla="*/ 899 h 1249"/>
                  <a:gd name="T48" fmla="*/ 657 w 1090"/>
                  <a:gd name="T49" fmla="*/ 936 h 1249"/>
                  <a:gd name="T50" fmla="*/ 660 w 1090"/>
                  <a:gd name="T51" fmla="*/ 979 h 1249"/>
                  <a:gd name="T52" fmla="*/ 695 w 1090"/>
                  <a:gd name="T53" fmla="*/ 1005 h 1249"/>
                  <a:gd name="T54" fmla="*/ 730 w 1090"/>
                  <a:gd name="T55" fmla="*/ 1026 h 1249"/>
                  <a:gd name="T56" fmla="*/ 771 w 1090"/>
                  <a:gd name="T57" fmla="*/ 1045 h 1249"/>
                  <a:gd name="T58" fmla="*/ 823 w 1090"/>
                  <a:gd name="T59" fmla="*/ 1100 h 1249"/>
                  <a:gd name="T60" fmla="*/ 886 w 1090"/>
                  <a:gd name="T61" fmla="*/ 1137 h 1249"/>
                  <a:gd name="T62" fmla="*/ 851 w 1090"/>
                  <a:gd name="T63" fmla="*/ 1232 h 1249"/>
                  <a:gd name="T64" fmla="*/ 702 w 1090"/>
                  <a:gd name="T65" fmla="*/ 1239 h 1249"/>
                  <a:gd name="T66" fmla="*/ 553 w 1090"/>
                  <a:gd name="T67" fmla="*/ 1244 h 1249"/>
                  <a:gd name="T68" fmla="*/ 402 w 1090"/>
                  <a:gd name="T69" fmla="*/ 1246 h 1249"/>
                  <a:gd name="T70" fmla="*/ 253 w 1090"/>
                  <a:gd name="T71" fmla="*/ 1249 h 1249"/>
                  <a:gd name="T72" fmla="*/ 102 w 1090"/>
                  <a:gd name="T73" fmla="*/ 1249 h 1249"/>
                  <a:gd name="T74" fmla="*/ 104 w 1090"/>
                  <a:gd name="T75" fmla="*/ 1107 h 1249"/>
                  <a:gd name="T76" fmla="*/ 104 w 1090"/>
                  <a:gd name="T77" fmla="*/ 962 h 1249"/>
                  <a:gd name="T78" fmla="*/ 92 w 1090"/>
                  <a:gd name="T79" fmla="*/ 854 h 1249"/>
                  <a:gd name="T80" fmla="*/ 52 w 1090"/>
                  <a:gd name="T81" fmla="*/ 814 h 1249"/>
                  <a:gd name="T82" fmla="*/ 52 w 1090"/>
                  <a:gd name="T83" fmla="*/ 792 h 1249"/>
                  <a:gd name="T84" fmla="*/ 85 w 1090"/>
                  <a:gd name="T85" fmla="*/ 752 h 1249"/>
                  <a:gd name="T86" fmla="*/ 90 w 1090"/>
                  <a:gd name="T87" fmla="*/ 691 h 1249"/>
                  <a:gd name="T88" fmla="*/ 83 w 1090"/>
                  <a:gd name="T89" fmla="*/ 650 h 1249"/>
                  <a:gd name="T90" fmla="*/ 57 w 1090"/>
                  <a:gd name="T91" fmla="*/ 582 h 1249"/>
                  <a:gd name="T92" fmla="*/ 62 w 1090"/>
                  <a:gd name="T93" fmla="*/ 523 h 1249"/>
                  <a:gd name="T94" fmla="*/ 50 w 1090"/>
                  <a:gd name="T95" fmla="*/ 428 h 1249"/>
                  <a:gd name="T96" fmla="*/ 36 w 1090"/>
                  <a:gd name="T97" fmla="*/ 345 h 1249"/>
                  <a:gd name="T98" fmla="*/ 28 w 1090"/>
                  <a:gd name="T99" fmla="*/ 310 h 1249"/>
                  <a:gd name="T100" fmla="*/ 12 w 1090"/>
                  <a:gd name="T101" fmla="*/ 232 h 1249"/>
                  <a:gd name="T102" fmla="*/ 10 w 1090"/>
                  <a:gd name="T103" fmla="*/ 180 h 1249"/>
                  <a:gd name="T104" fmla="*/ 0 w 1090"/>
                  <a:gd name="T105" fmla="*/ 81 h 1249"/>
                  <a:gd name="T106" fmla="*/ 137 w 1090"/>
                  <a:gd name="T107" fmla="*/ 83 h 1249"/>
                  <a:gd name="T108" fmla="*/ 291 w 1090"/>
                  <a:gd name="T109" fmla="*/ 83 h 1249"/>
                  <a:gd name="T110" fmla="*/ 322 w 1090"/>
                  <a:gd name="T111" fmla="*/ 5 h 1249"/>
                  <a:gd name="T112" fmla="*/ 331 w 1090"/>
                  <a:gd name="T113" fmla="*/ 24 h 1249"/>
                  <a:gd name="T114" fmla="*/ 355 w 1090"/>
                  <a:gd name="T115" fmla="*/ 109 h 1249"/>
                  <a:gd name="T116" fmla="*/ 359 w 1090"/>
                  <a:gd name="T117" fmla="*/ 128 h 1249"/>
                  <a:gd name="T118" fmla="*/ 447 w 1090"/>
                  <a:gd name="T119" fmla="*/ 151 h 1249"/>
                  <a:gd name="T120" fmla="*/ 496 w 1090"/>
                  <a:gd name="T121" fmla="*/ 177 h 1249"/>
                  <a:gd name="T122" fmla="*/ 544 w 1090"/>
                  <a:gd name="T123" fmla="*/ 156 h 1249"/>
                  <a:gd name="T124" fmla="*/ 544 w 1090"/>
                  <a:gd name="T125" fmla="*/ 156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0" h="1249">
                    <a:moveTo>
                      <a:pt x="544" y="156"/>
                    </a:moveTo>
                    <a:lnTo>
                      <a:pt x="560" y="154"/>
                    </a:lnTo>
                    <a:lnTo>
                      <a:pt x="574" y="154"/>
                    </a:lnTo>
                    <a:lnTo>
                      <a:pt x="589" y="156"/>
                    </a:lnTo>
                    <a:lnTo>
                      <a:pt x="598" y="156"/>
                    </a:lnTo>
                    <a:lnTo>
                      <a:pt x="619" y="166"/>
                    </a:lnTo>
                    <a:lnTo>
                      <a:pt x="636" y="173"/>
                    </a:lnTo>
                    <a:lnTo>
                      <a:pt x="657" y="187"/>
                    </a:lnTo>
                    <a:lnTo>
                      <a:pt x="669" y="192"/>
                    </a:lnTo>
                    <a:lnTo>
                      <a:pt x="676" y="206"/>
                    </a:lnTo>
                    <a:lnTo>
                      <a:pt x="683" y="225"/>
                    </a:lnTo>
                    <a:lnTo>
                      <a:pt x="693" y="225"/>
                    </a:lnTo>
                    <a:lnTo>
                      <a:pt x="700" y="213"/>
                    </a:lnTo>
                    <a:lnTo>
                      <a:pt x="716" y="211"/>
                    </a:lnTo>
                    <a:lnTo>
                      <a:pt x="740" y="218"/>
                    </a:lnTo>
                    <a:lnTo>
                      <a:pt x="764" y="239"/>
                    </a:lnTo>
                    <a:lnTo>
                      <a:pt x="794" y="258"/>
                    </a:lnTo>
                    <a:lnTo>
                      <a:pt x="813" y="265"/>
                    </a:lnTo>
                    <a:lnTo>
                      <a:pt x="832" y="265"/>
                    </a:lnTo>
                    <a:lnTo>
                      <a:pt x="856" y="253"/>
                    </a:lnTo>
                    <a:lnTo>
                      <a:pt x="879" y="234"/>
                    </a:lnTo>
                    <a:lnTo>
                      <a:pt x="896" y="230"/>
                    </a:lnTo>
                    <a:lnTo>
                      <a:pt x="908" y="230"/>
                    </a:lnTo>
                    <a:lnTo>
                      <a:pt x="915" y="246"/>
                    </a:lnTo>
                    <a:lnTo>
                      <a:pt x="922" y="251"/>
                    </a:lnTo>
                    <a:lnTo>
                      <a:pt x="941" y="248"/>
                    </a:lnTo>
                    <a:lnTo>
                      <a:pt x="983" y="248"/>
                    </a:lnTo>
                    <a:lnTo>
                      <a:pt x="1014" y="241"/>
                    </a:lnTo>
                    <a:lnTo>
                      <a:pt x="1024" y="251"/>
                    </a:lnTo>
                    <a:lnTo>
                      <a:pt x="1031" y="263"/>
                    </a:lnTo>
                    <a:lnTo>
                      <a:pt x="1045" y="265"/>
                    </a:lnTo>
                    <a:lnTo>
                      <a:pt x="1061" y="260"/>
                    </a:lnTo>
                    <a:lnTo>
                      <a:pt x="1090" y="263"/>
                    </a:lnTo>
                    <a:lnTo>
                      <a:pt x="1087" y="265"/>
                    </a:lnTo>
                    <a:lnTo>
                      <a:pt x="1083" y="263"/>
                    </a:lnTo>
                    <a:lnTo>
                      <a:pt x="1078" y="267"/>
                    </a:lnTo>
                    <a:lnTo>
                      <a:pt x="1071" y="274"/>
                    </a:lnTo>
                    <a:lnTo>
                      <a:pt x="1057" y="286"/>
                    </a:lnTo>
                    <a:lnTo>
                      <a:pt x="1033" y="300"/>
                    </a:lnTo>
                    <a:lnTo>
                      <a:pt x="1005" y="312"/>
                    </a:lnTo>
                    <a:lnTo>
                      <a:pt x="948" y="338"/>
                    </a:lnTo>
                    <a:lnTo>
                      <a:pt x="915" y="362"/>
                    </a:lnTo>
                    <a:lnTo>
                      <a:pt x="898" y="376"/>
                    </a:lnTo>
                    <a:lnTo>
                      <a:pt x="842" y="445"/>
                    </a:lnTo>
                    <a:lnTo>
                      <a:pt x="804" y="480"/>
                    </a:lnTo>
                    <a:lnTo>
                      <a:pt x="747" y="532"/>
                    </a:lnTo>
                    <a:lnTo>
                      <a:pt x="740" y="539"/>
                    </a:lnTo>
                    <a:lnTo>
                      <a:pt x="740" y="546"/>
                    </a:lnTo>
                    <a:lnTo>
                      <a:pt x="738" y="546"/>
                    </a:lnTo>
                    <a:lnTo>
                      <a:pt x="728" y="558"/>
                    </a:lnTo>
                    <a:lnTo>
                      <a:pt x="723" y="565"/>
                    </a:lnTo>
                    <a:lnTo>
                      <a:pt x="714" y="568"/>
                    </a:lnTo>
                    <a:lnTo>
                      <a:pt x="716" y="598"/>
                    </a:lnTo>
                    <a:lnTo>
                      <a:pt x="716" y="629"/>
                    </a:lnTo>
                    <a:lnTo>
                      <a:pt x="719" y="660"/>
                    </a:lnTo>
                    <a:lnTo>
                      <a:pt x="719" y="691"/>
                    </a:lnTo>
                    <a:lnTo>
                      <a:pt x="714" y="693"/>
                    </a:lnTo>
                    <a:lnTo>
                      <a:pt x="709" y="700"/>
                    </a:lnTo>
                    <a:lnTo>
                      <a:pt x="700" y="702"/>
                    </a:lnTo>
                    <a:lnTo>
                      <a:pt x="662" y="731"/>
                    </a:lnTo>
                    <a:lnTo>
                      <a:pt x="655" y="738"/>
                    </a:lnTo>
                    <a:lnTo>
                      <a:pt x="648" y="754"/>
                    </a:lnTo>
                    <a:lnTo>
                      <a:pt x="636" y="773"/>
                    </a:lnTo>
                    <a:lnTo>
                      <a:pt x="634" y="783"/>
                    </a:lnTo>
                    <a:lnTo>
                      <a:pt x="634" y="797"/>
                    </a:lnTo>
                    <a:lnTo>
                      <a:pt x="655" y="806"/>
                    </a:lnTo>
                    <a:lnTo>
                      <a:pt x="662" y="818"/>
                    </a:lnTo>
                    <a:lnTo>
                      <a:pt x="667" y="830"/>
                    </a:lnTo>
                    <a:lnTo>
                      <a:pt x="667" y="842"/>
                    </a:lnTo>
                    <a:lnTo>
                      <a:pt x="657" y="863"/>
                    </a:lnTo>
                    <a:lnTo>
                      <a:pt x="655" y="873"/>
                    </a:lnTo>
                    <a:lnTo>
                      <a:pt x="657" y="899"/>
                    </a:lnTo>
                    <a:lnTo>
                      <a:pt x="652" y="908"/>
                    </a:lnTo>
                    <a:lnTo>
                      <a:pt x="657" y="929"/>
                    </a:lnTo>
                    <a:lnTo>
                      <a:pt x="657" y="936"/>
                    </a:lnTo>
                    <a:lnTo>
                      <a:pt x="655" y="960"/>
                    </a:lnTo>
                    <a:lnTo>
                      <a:pt x="655" y="967"/>
                    </a:lnTo>
                    <a:lnTo>
                      <a:pt x="660" y="979"/>
                    </a:lnTo>
                    <a:lnTo>
                      <a:pt x="660" y="981"/>
                    </a:lnTo>
                    <a:lnTo>
                      <a:pt x="678" y="998"/>
                    </a:lnTo>
                    <a:lnTo>
                      <a:pt x="695" y="1005"/>
                    </a:lnTo>
                    <a:lnTo>
                      <a:pt x="709" y="1007"/>
                    </a:lnTo>
                    <a:lnTo>
                      <a:pt x="721" y="1015"/>
                    </a:lnTo>
                    <a:lnTo>
                      <a:pt x="730" y="1026"/>
                    </a:lnTo>
                    <a:lnTo>
                      <a:pt x="740" y="1033"/>
                    </a:lnTo>
                    <a:lnTo>
                      <a:pt x="754" y="1036"/>
                    </a:lnTo>
                    <a:lnTo>
                      <a:pt x="771" y="1045"/>
                    </a:lnTo>
                    <a:lnTo>
                      <a:pt x="792" y="1069"/>
                    </a:lnTo>
                    <a:lnTo>
                      <a:pt x="804" y="1088"/>
                    </a:lnTo>
                    <a:lnTo>
                      <a:pt x="823" y="1100"/>
                    </a:lnTo>
                    <a:lnTo>
                      <a:pt x="856" y="1114"/>
                    </a:lnTo>
                    <a:lnTo>
                      <a:pt x="875" y="1128"/>
                    </a:lnTo>
                    <a:lnTo>
                      <a:pt x="886" y="1137"/>
                    </a:lnTo>
                    <a:lnTo>
                      <a:pt x="894" y="1166"/>
                    </a:lnTo>
                    <a:lnTo>
                      <a:pt x="903" y="1230"/>
                    </a:lnTo>
                    <a:lnTo>
                      <a:pt x="851" y="1232"/>
                    </a:lnTo>
                    <a:lnTo>
                      <a:pt x="801" y="1234"/>
                    </a:lnTo>
                    <a:lnTo>
                      <a:pt x="752" y="1237"/>
                    </a:lnTo>
                    <a:lnTo>
                      <a:pt x="702" y="1239"/>
                    </a:lnTo>
                    <a:lnTo>
                      <a:pt x="652" y="1239"/>
                    </a:lnTo>
                    <a:lnTo>
                      <a:pt x="603" y="1242"/>
                    </a:lnTo>
                    <a:lnTo>
                      <a:pt x="553" y="1244"/>
                    </a:lnTo>
                    <a:lnTo>
                      <a:pt x="501" y="1244"/>
                    </a:lnTo>
                    <a:lnTo>
                      <a:pt x="452" y="1246"/>
                    </a:lnTo>
                    <a:lnTo>
                      <a:pt x="402" y="1246"/>
                    </a:lnTo>
                    <a:lnTo>
                      <a:pt x="352" y="1246"/>
                    </a:lnTo>
                    <a:lnTo>
                      <a:pt x="303" y="1249"/>
                    </a:lnTo>
                    <a:lnTo>
                      <a:pt x="253" y="1249"/>
                    </a:lnTo>
                    <a:lnTo>
                      <a:pt x="203" y="1249"/>
                    </a:lnTo>
                    <a:lnTo>
                      <a:pt x="154" y="1249"/>
                    </a:lnTo>
                    <a:lnTo>
                      <a:pt x="102" y="1249"/>
                    </a:lnTo>
                    <a:lnTo>
                      <a:pt x="104" y="1201"/>
                    </a:lnTo>
                    <a:lnTo>
                      <a:pt x="104" y="1154"/>
                    </a:lnTo>
                    <a:lnTo>
                      <a:pt x="104" y="1107"/>
                    </a:lnTo>
                    <a:lnTo>
                      <a:pt x="104" y="1059"/>
                    </a:lnTo>
                    <a:lnTo>
                      <a:pt x="104" y="1010"/>
                    </a:lnTo>
                    <a:lnTo>
                      <a:pt x="104" y="962"/>
                    </a:lnTo>
                    <a:lnTo>
                      <a:pt x="104" y="915"/>
                    </a:lnTo>
                    <a:lnTo>
                      <a:pt x="104" y="868"/>
                    </a:lnTo>
                    <a:lnTo>
                      <a:pt x="92" y="854"/>
                    </a:lnTo>
                    <a:lnTo>
                      <a:pt x="69" y="840"/>
                    </a:lnTo>
                    <a:lnTo>
                      <a:pt x="62" y="832"/>
                    </a:lnTo>
                    <a:lnTo>
                      <a:pt x="52" y="814"/>
                    </a:lnTo>
                    <a:lnTo>
                      <a:pt x="47" y="804"/>
                    </a:lnTo>
                    <a:lnTo>
                      <a:pt x="45" y="799"/>
                    </a:lnTo>
                    <a:lnTo>
                      <a:pt x="52" y="792"/>
                    </a:lnTo>
                    <a:lnTo>
                      <a:pt x="73" y="771"/>
                    </a:lnTo>
                    <a:lnTo>
                      <a:pt x="80" y="762"/>
                    </a:lnTo>
                    <a:lnTo>
                      <a:pt x="85" y="752"/>
                    </a:lnTo>
                    <a:lnTo>
                      <a:pt x="90" y="731"/>
                    </a:lnTo>
                    <a:lnTo>
                      <a:pt x="88" y="714"/>
                    </a:lnTo>
                    <a:lnTo>
                      <a:pt x="90" y="691"/>
                    </a:lnTo>
                    <a:lnTo>
                      <a:pt x="85" y="672"/>
                    </a:lnTo>
                    <a:lnTo>
                      <a:pt x="85" y="662"/>
                    </a:lnTo>
                    <a:lnTo>
                      <a:pt x="83" y="650"/>
                    </a:lnTo>
                    <a:lnTo>
                      <a:pt x="66" y="620"/>
                    </a:lnTo>
                    <a:lnTo>
                      <a:pt x="62" y="594"/>
                    </a:lnTo>
                    <a:lnTo>
                      <a:pt x="57" y="582"/>
                    </a:lnTo>
                    <a:lnTo>
                      <a:pt x="57" y="549"/>
                    </a:lnTo>
                    <a:lnTo>
                      <a:pt x="57" y="542"/>
                    </a:lnTo>
                    <a:lnTo>
                      <a:pt x="62" y="523"/>
                    </a:lnTo>
                    <a:lnTo>
                      <a:pt x="54" y="513"/>
                    </a:lnTo>
                    <a:lnTo>
                      <a:pt x="52" y="504"/>
                    </a:lnTo>
                    <a:lnTo>
                      <a:pt x="50" y="428"/>
                    </a:lnTo>
                    <a:lnTo>
                      <a:pt x="47" y="416"/>
                    </a:lnTo>
                    <a:lnTo>
                      <a:pt x="50" y="381"/>
                    </a:lnTo>
                    <a:lnTo>
                      <a:pt x="36" y="345"/>
                    </a:lnTo>
                    <a:lnTo>
                      <a:pt x="31" y="331"/>
                    </a:lnTo>
                    <a:lnTo>
                      <a:pt x="28" y="317"/>
                    </a:lnTo>
                    <a:lnTo>
                      <a:pt x="28" y="310"/>
                    </a:lnTo>
                    <a:lnTo>
                      <a:pt x="19" y="284"/>
                    </a:lnTo>
                    <a:lnTo>
                      <a:pt x="12" y="256"/>
                    </a:lnTo>
                    <a:lnTo>
                      <a:pt x="12" y="232"/>
                    </a:lnTo>
                    <a:lnTo>
                      <a:pt x="12" y="215"/>
                    </a:lnTo>
                    <a:lnTo>
                      <a:pt x="12" y="201"/>
                    </a:lnTo>
                    <a:lnTo>
                      <a:pt x="10" y="180"/>
                    </a:lnTo>
                    <a:lnTo>
                      <a:pt x="12" y="166"/>
                    </a:lnTo>
                    <a:lnTo>
                      <a:pt x="12" y="149"/>
                    </a:lnTo>
                    <a:lnTo>
                      <a:pt x="0" y="81"/>
                    </a:lnTo>
                    <a:lnTo>
                      <a:pt x="17" y="81"/>
                    </a:lnTo>
                    <a:lnTo>
                      <a:pt x="78" y="83"/>
                    </a:lnTo>
                    <a:lnTo>
                      <a:pt x="137" y="83"/>
                    </a:lnTo>
                    <a:lnTo>
                      <a:pt x="196" y="83"/>
                    </a:lnTo>
                    <a:lnTo>
                      <a:pt x="258" y="83"/>
                    </a:lnTo>
                    <a:lnTo>
                      <a:pt x="291" y="83"/>
                    </a:lnTo>
                    <a:lnTo>
                      <a:pt x="291" y="36"/>
                    </a:lnTo>
                    <a:lnTo>
                      <a:pt x="291" y="0"/>
                    </a:lnTo>
                    <a:lnTo>
                      <a:pt x="322" y="5"/>
                    </a:lnTo>
                    <a:lnTo>
                      <a:pt x="331" y="12"/>
                    </a:lnTo>
                    <a:lnTo>
                      <a:pt x="333" y="14"/>
                    </a:lnTo>
                    <a:lnTo>
                      <a:pt x="331" y="24"/>
                    </a:lnTo>
                    <a:lnTo>
                      <a:pt x="336" y="55"/>
                    </a:lnTo>
                    <a:lnTo>
                      <a:pt x="340" y="78"/>
                    </a:lnTo>
                    <a:lnTo>
                      <a:pt x="355" y="109"/>
                    </a:lnTo>
                    <a:lnTo>
                      <a:pt x="355" y="109"/>
                    </a:lnTo>
                    <a:lnTo>
                      <a:pt x="355" y="121"/>
                    </a:lnTo>
                    <a:lnTo>
                      <a:pt x="359" y="128"/>
                    </a:lnTo>
                    <a:lnTo>
                      <a:pt x="366" y="135"/>
                    </a:lnTo>
                    <a:lnTo>
                      <a:pt x="397" y="142"/>
                    </a:lnTo>
                    <a:lnTo>
                      <a:pt x="447" y="151"/>
                    </a:lnTo>
                    <a:lnTo>
                      <a:pt x="478" y="161"/>
                    </a:lnTo>
                    <a:lnTo>
                      <a:pt x="485" y="173"/>
                    </a:lnTo>
                    <a:lnTo>
                      <a:pt x="496" y="177"/>
                    </a:lnTo>
                    <a:lnTo>
                      <a:pt x="518" y="175"/>
                    </a:lnTo>
                    <a:lnTo>
                      <a:pt x="532" y="170"/>
                    </a:lnTo>
                    <a:lnTo>
                      <a:pt x="544" y="156"/>
                    </a:lnTo>
                    <a:close/>
                    <a:moveTo>
                      <a:pt x="544" y="156"/>
                    </a:moveTo>
                    <a:lnTo>
                      <a:pt x="544" y="159"/>
                    </a:lnTo>
                    <a:lnTo>
                      <a:pt x="544" y="156"/>
                    </a:lnTo>
                    <a:lnTo>
                      <a:pt x="544" y="15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09" name="Freeform 66">
                <a:extLst>
                  <a:ext uri="{FF2B5EF4-FFF2-40B4-BE49-F238E27FC236}">
                    <a16:creationId xmlns:a16="http://schemas.microsoft.com/office/drawing/2014/main" id="{2EBE26C2-6BDE-DDCE-23C9-FF7DA7A1E892}"/>
                  </a:ext>
                </a:extLst>
              </p:cNvPr>
              <p:cNvSpPr>
                <a:spLocks/>
              </p:cNvSpPr>
              <p:nvPr/>
            </p:nvSpPr>
            <p:spPr bwMode="auto">
              <a:xfrm>
                <a:off x="4746" y="962"/>
                <a:ext cx="1123" cy="960"/>
              </a:xfrm>
              <a:custGeom>
                <a:avLst/>
                <a:gdLst>
                  <a:gd name="T0" fmla="*/ 688 w 1123"/>
                  <a:gd name="T1" fmla="*/ 109 h 960"/>
                  <a:gd name="T2" fmla="*/ 712 w 1123"/>
                  <a:gd name="T3" fmla="*/ 182 h 960"/>
                  <a:gd name="T4" fmla="*/ 823 w 1123"/>
                  <a:gd name="T5" fmla="*/ 296 h 960"/>
                  <a:gd name="T6" fmla="*/ 868 w 1123"/>
                  <a:gd name="T7" fmla="*/ 341 h 960"/>
                  <a:gd name="T8" fmla="*/ 922 w 1123"/>
                  <a:gd name="T9" fmla="*/ 357 h 960"/>
                  <a:gd name="T10" fmla="*/ 927 w 1123"/>
                  <a:gd name="T11" fmla="*/ 364 h 960"/>
                  <a:gd name="T12" fmla="*/ 894 w 1123"/>
                  <a:gd name="T13" fmla="*/ 476 h 960"/>
                  <a:gd name="T14" fmla="*/ 929 w 1123"/>
                  <a:gd name="T15" fmla="*/ 523 h 960"/>
                  <a:gd name="T16" fmla="*/ 991 w 1123"/>
                  <a:gd name="T17" fmla="*/ 558 h 960"/>
                  <a:gd name="T18" fmla="*/ 1045 w 1123"/>
                  <a:gd name="T19" fmla="*/ 620 h 960"/>
                  <a:gd name="T20" fmla="*/ 1057 w 1123"/>
                  <a:gd name="T21" fmla="*/ 662 h 960"/>
                  <a:gd name="T22" fmla="*/ 1069 w 1123"/>
                  <a:gd name="T23" fmla="*/ 717 h 960"/>
                  <a:gd name="T24" fmla="*/ 1093 w 1123"/>
                  <a:gd name="T25" fmla="*/ 733 h 960"/>
                  <a:gd name="T26" fmla="*/ 1090 w 1123"/>
                  <a:gd name="T27" fmla="*/ 726 h 960"/>
                  <a:gd name="T28" fmla="*/ 1095 w 1123"/>
                  <a:gd name="T29" fmla="*/ 719 h 960"/>
                  <a:gd name="T30" fmla="*/ 1121 w 1123"/>
                  <a:gd name="T31" fmla="*/ 752 h 960"/>
                  <a:gd name="T32" fmla="*/ 1114 w 1123"/>
                  <a:gd name="T33" fmla="*/ 814 h 960"/>
                  <a:gd name="T34" fmla="*/ 1093 w 1123"/>
                  <a:gd name="T35" fmla="*/ 818 h 960"/>
                  <a:gd name="T36" fmla="*/ 1074 w 1123"/>
                  <a:gd name="T37" fmla="*/ 844 h 960"/>
                  <a:gd name="T38" fmla="*/ 1067 w 1123"/>
                  <a:gd name="T39" fmla="*/ 844 h 960"/>
                  <a:gd name="T40" fmla="*/ 1059 w 1123"/>
                  <a:gd name="T41" fmla="*/ 833 h 960"/>
                  <a:gd name="T42" fmla="*/ 1055 w 1123"/>
                  <a:gd name="T43" fmla="*/ 837 h 960"/>
                  <a:gd name="T44" fmla="*/ 1059 w 1123"/>
                  <a:gd name="T45" fmla="*/ 861 h 960"/>
                  <a:gd name="T46" fmla="*/ 1048 w 1123"/>
                  <a:gd name="T47" fmla="*/ 882 h 960"/>
                  <a:gd name="T48" fmla="*/ 1052 w 1123"/>
                  <a:gd name="T49" fmla="*/ 897 h 960"/>
                  <a:gd name="T50" fmla="*/ 1038 w 1123"/>
                  <a:gd name="T51" fmla="*/ 906 h 960"/>
                  <a:gd name="T52" fmla="*/ 1038 w 1123"/>
                  <a:gd name="T53" fmla="*/ 946 h 960"/>
                  <a:gd name="T54" fmla="*/ 979 w 1123"/>
                  <a:gd name="T55" fmla="*/ 956 h 960"/>
                  <a:gd name="T56" fmla="*/ 934 w 1123"/>
                  <a:gd name="T57" fmla="*/ 937 h 960"/>
                  <a:gd name="T58" fmla="*/ 958 w 1123"/>
                  <a:gd name="T59" fmla="*/ 911 h 960"/>
                  <a:gd name="T60" fmla="*/ 970 w 1123"/>
                  <a:gd name="T61" fmla="*/ 878 h 960"/>
                  <a:gd name="T62" fmla="*/ 906 w 1123"/>
                  <a:gd name="T63" fmla="*/ 854 h 960"/>
                  <a:gd name="T64" fmla="*/ 764 w 1123"/>
                  <a:gd name="T65" fmla="*/ 863 h 960"/>
                  <a:gd name="T66" fmla="*/ 622 w 1123"/>
                  <a:gd name="T67" fmla="*/ 870 h 960"/>
                  <a:gd name="T68" fmla="*/ 480 w 1123"/>
                  <a:gd name="T69" fmla="*/ 875 h 960"/>
                  <a:gd name="T70" fmla="*/ 338 w 1123"/>
                  <a:gd name="T71" fmla="*/ 880 h 960"/>
                  <a:gd name="T72" fmla="*/ 197 w 1123"/>
                  <a:gd name="T73" fmla="*/ 882 h 960"/>
                  <a:gd name="T74" fmla="*/ 197 w 1123"/>
                  <a:gd name="T75" fmla="*/ 802 h 960"/>
                  <a:gd name="T76" fmla="*/ 194 w 1123"/>
                  <a:gd name="T77" fmla="*/ 722 h 960"/>
                  <a:gd name="T78" fmla="*/ 192 w 1123"/>
                  <a:gd name="T79" fmla="*/ 639 h 960"/>
                  <a:gd name="T80" fmla="*/ 192 w 1123"/>
                  <a:gd name="T81" fmla="*/ 558 h 960"/>
                  <a:gd name="T82" fmla="*/ 190 w 1123"/>
                  <a:gd name="T83" fmla="*/ 476 h 960"/>
                  <a:gd name="T84" fmla="*/ 190 w 1123"/>
                  <a:gd name="T85" fmla="*/ 393 h 960"/>
                  <a:gd name="T86" fmla="*/ 187 w 1123"/>
                  <a:gd name="T87" fmla="*/ 331 h 960"/>
                  <a:gd name="T88" fmla="*/ 145 w 1123"/>
                  <a:gd name="T89" fmla="*/ 284 h 960"/>
                  <a:gd name="T90" fmla="*/ 112 w 1123"/>
                  <a:gd name="T91" fmla="*/ 232 h 960"/>
                  <a:gd name="T92" fmla="*/ 140 w 1123"/>
                  <a:gd name="T93" fmla="*/ 201 h 960"/>
                  <a:gd name="T94" fmla="*/ 126 w 1123"/>
                  <a:gd name="T95" fmla="*/ 171 h 960"/>
                  <a:gd name="T96" fmla="*/ 67 w 1123"/>
                  <a:gd name="T97" fmla="*/ 147 h 960"/>
                  <a:gd name="T98" fmla="*/ 48 w 1123"/>
                  <a:gd name="T99" fmla="*/ 107 h 960"/>
                  <a:gd name="T100" fmla="*/ 17 w 1123"/>
                  <a:gd name="T101" fmla="*/ 71 h 960"/>
                  <a:gd name="T102" fmla="*/ 0 w 1123"/>
                  <a:gd name="T103" fmla="*/ 22 h 960"/>
                  <a:gd name="T104" fmla="*/ 121 w 1123"/>
                  <a:gd name="T105" fmla="*/ 19 h 960"/>
                  <a:gd name="T106" fmla="*/ 242 w 1123"/>
                  <a:gd name="T107" fmla="*/ 17 h 960"/>
                  <a:gd name="T108" fmla="*/ 362 w 1123"/>
                  <a:gd name="T109" fmla="*/ 12 h 960"/>
                  <a:gd name="T110" fmla="*/ 485 w 1123"/>
                  <a:gd name="T111" fmla="*/ 7 h 960"/>
                  <a:gd name="T112" fmla="*/ 606 w 1123"/>
                  <a:gd name="T113" fmla="*/ 3 h 960"/>
                  <a:gd name="T114" fmla="*/ 662 w 1123"/>
                  <a:gd name="T115" fmla="*/ 19 h 960"/>
                  <a:gd name="T116" fmla="*/ 679 w 1123"/>
                  <a:gd name="T117" fmla="*/ 41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3" h="960">
                    <a:moveTo>
                      <a:pt x="695" y="50"/>
                    </a:moveTo>
                    <a:lnTo>
                      <a:pt x="686" y="83"/>
                    </a:lnTo>
                    <a:lnTo>
                      <a:pt x="688" y="109"/>
                    </a:lnTo>
                    <a:lnTo>
                      <a:pt x="695" y="142"/>
                    </a:lnTo>
                    <a:lnTo>
                      <a:pt x="702" y="166"/>
                    </a:lnTo>
                    <a:lnTo>
                      <a:pt x="712" y="182"/>
                    </a:lnTo>
                    <a:lnTo>
                      <a:pt x="740" y="211"/>
                    </a:lnTo>
                    <a:lnTo>
                      <a:pt x="790" y="253"/>
                    </a:lnTo>
                    <a:lnTo>
                      <a:pt x="823" y="296"/>
                    </a:lnTo>
                    <a:lnTo>
                      <a:pt x="837" y="336"/>
                    </a:lnTo>
                    <a:lnTo>
                      <a:pt x="851" y="350"/>
                    </a:lnTo>
                    <a:lnTo>
                      <a:pt x="868" y="341"/>
                    </a:lnTo>
                    <a:lnTo>
                      <a:pt x="889" y="343"/>
                    </a:lnTo>
                    <a:lnTo>
                      <a:pt x="911" y="350"/>
                    </a:lnTo>
                    <a:lnTo>
                      <a:pt x="922" y="357"/>
                    </a:lnTo>
                    <a:lnTo>
                      <a:pt x="925" y="360"/>
                    </a:lnTo>
                    <a:lnTo>
                      <a:pt x="927" y="362"/>
                    </a:lnTo>
                    <a:lnTo>
                      <a:pt x="927" y="364"/>
                    </a:lnTo>
                    <a:lnTo>
                      <a:pt x="925" y="374"/>
                    </a:lnTo>
                    <a:lnTo>
                      <a:pt x="901" y="443"/>
                    </a:lnTo>
                    <a:lnTo>
                      <a:pt x="894" y="476"/>
                    </a:lnTo>
                    <a:lnTo>
                      <a:pt x="894" y="485"/>
                    </a:lnTo>
                    <a:lnTo>
                      <a:pt x="908" y="502"/>
                    </a:lnTo>
                    <a:lnTo>
                      <a:pt x="929" y="523"/>
                    </a:lnTo>
                    <a:lnTo>
                      <a:pt x="948" y="537"/>
                    </a:lnTo>
                    <a:lnTo>
                      <a:pt x="965" y="542"/>
                    </a:lnTo>
                    <a:lnTo>
                      <a:pt x="991" y="558"/>
                    </a:lnTo>
                    <a:lnTo>
                      <a:pt x="1026" y="584"/>
                    </a:lnTo>
                    <a:lnTo>
                      <a:pt x="1043" y="606"/>
                    </a:lnTo>
                    <a:lnTo>
                      <a:pt x="1045" y="620"/>
                    </a:lnTo>
                    <a:lnTo>
                      <a:pt x="1050" y="634"/>
                    </a:lnTo>
                    <a:lnTo>
                      <a:pt x="1057" y="648"/>
                    </a:lnTo>
                    <a:lnTo>
                      <a:pt x="1057" y="662"/>
                    </a:lnTo>
                    <a:lnTo>
                      <a:pt x="1052" y="677"/>
                    </a:lnTo>
                    <a:lnTo>
                      <a:pt x="1057" y="696"/>
                    </a:lnTo>
                    <a:lnTo>
                      <a:pt x="1069" y="717"/>
                    </a:lnTo>
                    <a:lnTo>
                      <a:pt x="1081" y="731"/>
                    </a:lnTo>
                    <a:lnTo>
                      <a:pt x="1090" y="733"/>
                    </a:lnTo>
                    <a:lnTo>
                      <a:pt x="1093" y="733"/>
                    </a:lnTo>
                    <a:lnTo>
                      <a:pt x="1093" y="731"/>
                    </a:lnTo>
                    <a:lnTo>
                      <a:pt x="1090" y="729"/>
                    </a:lnTo>
                    <a:lnTo>
                      <a:pt x="1090" y="726"/>
                    </a:lnTo>
                    <a:lnTo>
                      <a:pt x="1090" y="722"/>
                    </a:lnTo>
                    <a:lnTo>
                      <a:pt x="1093" y="722"/>
                    </a:lnTo>
                    <a:lnTo>
                      <a:pt x="1095" y="719"/>
                    </a:lnTo>
                    <a:lnTo>
                      <a:pt x="1102" y="724"/>
                    </a:lnTo>
                    <a:lnTo>
                      <a:pt x="1116" y="736"/>
                    </a:lnTo>
                    <a:lnTo>
                      <a:pt x="1121" y="752"/>
                    </a:lnTo>
                    <a:lnTo>
                      <a:pt x="1123" y="774"/>
                    </a:lnTo>
                    <a:lnTo>
                      <a:pt x="1119" y="795"/>
                    </a:lnTo>
                    <a:lnTo>
                      <a:pt x="1114" y="814"/>
                    </a:lnTo>
                    <a:lnTo>
                      <a:pt x="1104" y="821"/>
                    </a:lnTo>
                    <a:lnTo>
                      <a:pt x="1100" y="821"/>
                    </a:lnTo>
                    <a:lnTo>
                      <a:pt x="1093" y="818"/>
                    </a:lnTo>
                    <a:lnTo>
                      <a:pt x="1088" y="818"/>
                    </a:lnTo>
                    <a:lnTo>
                      <a:pt x="1081" y="826"/>
                    </a:lnTo>
                    <a:lnTo>
                      <a:pt x="1074" y="844"/>
                    </a:lnTo>
                    <a:lnTo>
                      <a:pt x="1074" y="844"/>
                    </a:lnTo>
                    <a:lnTo>
                      <a:pt x="1069" y="847"/>
                    </a:lnTo>
                    <a:lnTo>
                      <a:pt x="1067" y="844"/>
                    </a:lnTo>
                    <a:lnTo>
                      <a:pt x="1067" y="844"/>
                    </a:lnTo>
                    <a:lnTo>
                      <a:pt x="1064" y="837"/>
                    </a:lnTo>
                    <a:lnTo>
                      <a:pt x="1059" y="833"/>
                    </a:lnTo>
                    <a:lnTo>
                      <a:pt x="1057" y="833"/>
                    </a:lnTo>
                    <a:lnTo>
                      <a:pt x="1055" y="833"/>
                    </a:lnTo>
                    <a:lnTo>
                      <a:pt x="1055" y="837"/>
                    </a:lnTo>
                    <a:lnTo>
                      <a:pt x="1055" y="842"/>
                    </a:lnTo>
                    <a:lnTo>
                      <a:pt x="1055" y="844"/>
                    </a:lnTo>
                    <a:lnTo>
                      <a:pt x="1059" y="861"/>
                    </a:lnTo>
                    <a:lnTo>
                      <a:pt x="1057" y="870"/>
                    </a:lnTo>
                    <a:lnTo>
                      <a:pt x="1050" y="878"/>
                    </a:lnTo>
                    <a:lnTo>
                      <a:pt x="1048" y="882"/>
                    </a:lnTo>
                    <a:lnTo>
                      <a:pt x="1055" y="889"/>
                    </a:lnTo>
                    <a:lnTo>
                      <a:pt x="1055" y="894"/>
                    </a:lnTo>
                    <a:lnTo>
                      <a:pt x="1052" y="897"/>
                    </a:lnTo>
                    <a:lnTo>
                      <a:pt x="1048" y="897"/>
                    </a:lnTo>
                    <a:lnTo>
                      <a:pt x="1043" y="899"/>
                    </a:lnTo>
                    <a:lnTo>
                      <a:pt x="1038" y="906"/>
                    </a:lnTo>
                    <a:lnTo>
                      <a:pt x="1048" y="915"/>
                    </a:lnTo>
                    <a:lnTo>
                      <a:pt x="1045" y="930"/>
                    </a:lnTo>
                    <a:lnTo>
                      <a:pt x="1038" y="946"/>
                    </a:lnTo>
                    <a:lnTo>
                      <a:pt x="1038" y="951"/>
                    </a:lnTo>
                    <a:lnTo>
                      <a:pt x="1005" y="953"/>
                    </a:lnTo>
                    <a:lnTo>
                      <a:pt x="979" y="956"/>
                    </a:lnTo>
                    <a:lnTo>
                      <a:pt x="951" y="958"/>
                    </a:lnTo>
                    <a:lnTo>
                      <a:pt x="922" y="960"/>
                    </a:lnTo>
                    <a:lnTo>
                      <a:pt x="934" y="937"/>
                    </a:lnTo>
                    <a:lnTo>
                      <a:pt x="941" y="930"/>
                    </a:lnTo>
                    <a:lnTo>
                      <a:pt x="948" y="920"/>
                    </a:lnTo>
                    <a:lnTo>
                      <a:pt x="958" y="911"/>
                    </a:lnTo>
                    <a:lnTo>
                      <a:pt x="970" y="894"/>
                    </a:lnTo>
                    <a:lnTo>
                      <a:pt x="972" y="885"/>
                    </a:lnTo>
                    <a:lnTo>
                      <a:pt x="970" y="878"/>
                    </a:lnTo>
                    <a:lnTo>
                      <a:pt x="960" y="868"/>
                    </a:lnTo>
                    <a:lnTo>
                      <a:pt x="953" y="852"/>
                    </a:lnTo>
                    <a:lnTo>
                      <a:pt x="906" y="854"/>
                    </a:lnTo>
                    <a:lnTo>
                      <a:pt x="859" y="859"/>
                    </a:lnTo>
                    <a:lnTo>
                      <a:pt x="811" y="861"/>
                    </a:lnTo>
                    <a:lnTo>
                      <a:pt x="764" y="863"/>
                    </a:lnTo>
                    <a:lnTo>
                      <a:pt x="717" y="866"/>
                    </a:lnTo>
                    <a:lnTo>
                      <a:pt x="669" y="868"/>
                    </a:lnTo>
                    <a:lnTo>
                      <a:pt x="622" y="870"/>
                    </a:lnTo>
                    <a:lnTo>
                      <a:pt x="575" y="870"/>
                    </a:lnTo>
                    <a:lnTo>
                      <a:pt x="528" y="873"/>
                    </a:lnTo>
                    <a:lnTo>
                      <a:pt x="480" y="875"/>
                    </a:lnTo>
                    <a:lnTo>
                      <a:pt x="433" y="875"/>
                    </a:lnTo>
                    <a:lnTo>
                      <a:pt x="386" y="878"/>
                    </a:lnTo>
                    <a:lnTo>
                      <a:pt x="338" y="880"/>
                    </a:lnTo>
                    <a:lnTo>
                      <a:pt x="291" y="880"/>
                    </a:lnTo>
                    <a:lnTo>
                      <a:pt x="244" y="880"/>
                    </a:lnTo>
                    <a:lnTo>
                      <a:pt x="197" y="882"/>
                    </a:lnTo>
                    <a:lnTo>
                      <a:pt x="197" y="856"/>
                    </a:lnTo>
                    <a:lnTo>
                      <a:pt x="197" y="830"/>
                    </a:lnTo>
                    <a:lnTo>
                      <a:pt x="197" y="802"/>
                    </a:lnTo>
                    <a:lnTo>
                      <a:pt x="194" y="776"/>
                    </a:lnTo>
                    <a:lnTo>
                      <a:pt x="194" y="750"/>
                    </a:lnTo>
                    <a:lnTo>
                      <a:pt x="194" y="722"/>
                    </a:lnTo>
                    <a:lnTo>
                      <a:pt x="194" y="696"/>
                    </a:lnTo>
                    <a:lnTo>
                      <a:pt x="194" y="667"/>
                    </a:lnTo>
                    <a:lnTo>
                      <a:pt x="192" y="639"/>
                    </a:lnTo>
                    <a:lnTo>
                      <a:pt x="192" y="613"/>
                    </a:lnTo>
                    <a:lnTo>
                      <a:pt x="192" y="584"/>
                    </a:lnTo>
                    <a:lnTo>
                      <a:pt x="192" y="558"/>
                    </a:lnTo>
                    <a:lnTo>
                      <a:pt x="192" y="530"/>
                    </a:lnTo>
                    <a:lnTo>
                      <a:pt x="190" y="502"/>
                    </a:lnTo>
                    <a:lnTo>
                      <a:pt x="190" y="476"/>
                    </a:lnTo>
                    <a:lnTo>
                      <a:pt x="190" y="447"/>
                    </a:lnTo>
                    <a:lnTo>
                      <a:pt x="190" y="421"/>
                    </a:lnTo>
                    <a:lnTo>
                      <a:pt x="190" y="393"/>
                    </a:lnTo>
                    <a:lnTo>
                      <a:pt x="187" y="367"/>
                    </a:lnTo>
                    <a:lnTo>
                      <a:pt x="187" y="338"/>
                    </a:lnTo>
                    <a:lnTo>
                      <a:pt x="187" y="331"/>
                    </a:lnTo>
                    <a:lnTo>
                      <a:pt x="161" y="317"/>
                    </a:lnTo>
                    <a:lnTo>
                      <a:pt x="149" y="303"/>
                    </a:lnTo>
                    <a:lnTo>
                      <a:pt x="145" y="284"/>
                    </a:lnTo>
                    <a:lnTo>
                      <a:pt x="133" y="268"/>
                    </a:lnTo>
                    <a:lnTo>
                      <a:pt x="116" y="251"/>
                    </a:lnTo>
                    <a:lnTo>
                      <a:pt x="112" y="232"/>
                    </a:lnTo>
                    <a:lnTo>
                      <a:pt x="123" y="211"/>
                    </a:lnTo>
                    <a:lnTo>
                      <a:pt x="133" y="201"/>
                    </a:lnTo>
                    <a:lnTo>
                      <a:pt x="140" y="201"/>
                    </a:lnTo>
                    <a:lnTo>
                      <a:pt x="142" y="192"/>
                    </a:lnTo>
                    <a:lnTo>
                      <a:pt x="135" y="175"/>
                    </a:lnTo>
                    <a:lnTo>
                      <a:pt x="126" y="171"/>
                    </a:lnTo>
                    <a:lnTo>
                      <a:pt x="116" y="175"/>
                    </a:lnTo>
                    <a:lnTo>
                      <a:pt x="104" y="175"/>
                    </a:lnTo>
                    <a:lnTo>
                      <a:pt x="67" y="147"/>
                    </a:lnTo>
                    <a:lnTo>
                      <a:pt x="64" y="145"/>
                    </a:lnTo>
                    <a:lnTo>
                      <a:pt x="52" y="128"/>
                    </a:lnTo>
                    <a:lnTo>
                      <a:pt x="48" y="107"/>
                    </a:lnTo>
                    <a:lnTo>
                      <a:pt x="38" y="93"/>
                    </a:lnTo>
                    <a:lnTo>
                      <a:pt x="26" y="85"/>
                    </a:lnTo>
                    <a:lnTo>
                      <a:pt x="17" y="71"/>
                    </a:lnTo>
                    <a:lnTo>
                      <a:pt x="12" y="50"/>
                    </a:lnTo>
                    <a:lnTo>
                      <a:pt x="3" y="29"/>
                    </a:lnTo>
                    <a:lnTo>
                      <a:pt x="0" y="22"/>
                    </a:lnTo>
                    <a:lnTo>
                      <a:pt x="41" y="22"/>
                    </a:lnTo>
                    <a:lnTo>
                      <a:pt x="81" y="19"/>
                    </a:lnTo>
                    <a:lnTo>
                      <a:pt x="121" y="19"/>
                    </a:lnTo>
                    <a:lnTo>
                      <a:pt x="161" y="19"/>
                    </a:lnTo>
                    <a:lnTo>
                      <a:pt x="201" y="17"/>
                    </a:lnTo>
                    <a:lnTo>
                      <a:pt x="242" y="17"/>
                    </a:lnTo>
                    <a:lnTo>
                      <a:pt x="282" y="17"/>
                    </a:lnTo>
                    <a:lnTo>
                      <a:pt x="322" y="15"/>
                    </a:lnTo>
                    <a:lnTo>
                      <a:pt x="362" y="12"/>
                    </a:lnTo>
                    <a:lnTo>
                      <a:pt x="405" y="12"/>
                    </a:lnTo>
                    <a:lnTo>
                      <a:pt x="445" y="10"/>
                    </a:lnTo>
                    <a:lnTo>
                      <a:pt x="485" y="7"/>
                    </a:lnTo>
                    <a:lnTo>
                      <a:pt x="525" y="7"/>
                    </a:lnTo>
                    <a:lnTo>
                      <a:pt x="565" y="5"/>
                    </a:lnTo>
                    <a:lnTo>
                      <a:pt x="606" y="3"/>
                    </a:lnTo>
                    <a:lnTo>
                      <a:pt x="646" y="0"/>
                    </a:lnTo>
                    <a:lnTo>
                      <a:pt x="655" y="15"/>
                    </a:lnTo>
                    <a:lnTo>
                      <a:pt x="662" y="19"/>
                    </a:lnTo>
                    <a:lnTo>
                      <a:pt x="665" y="24"/>
                    </a:lnTo>
                    <a:lnTo>
                      <a:pt x="676" y="31"/>
                    </a:lnTo>
                    <a:lnTo>
                      <a:pt x="679" y="41"/>
                    </a:lnTo>
                    <a:lnTo>
                      <a:pt x="695" y="50"/>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0" name="Freeform 67">
                <a:extLst>
                  <a:ext uri="{FF2B5EF4-FFF2-40B4-BE49-F238E27FC236}">
                    <a16:creationId xmlns:a16="http://schemas.microsoft.com/office/drawing/2014/main" id="{C2AE3048-A7AA-EADD-975D-B3E8F3742432}"/>
                  </a:ext>
                </a:extLst>
              </p:cNvPr>
              <p:cNvSpPr>
                <a:spLocks noEditPoints="1"/>
              </p:cNvSpPr>
              <p:nvPr/>
            </p:nvSpPr>
            <p:spPr bwMode="auto">
              <a:xfrm>
                <a:off x="5501" y="2104"/>
                <a:ext cx="605" cy="1031"/>
              </a:xfrm>
              <a:custGeom>
                <a:avLst/>
                <a:gdLst>
                  <a:gd name="T0" fmla="*/ 579 w 605"/>
                  <a:gd name="T1" fmla="*/ 17 h 1031"/>
                  <a:gd name="T2" fmla="*/ 576 w 605"/>
                  <a:gd name="T3" fmla="*/ 69 h 1031"/>
                  <a:gd name="T4" fmla="*/ 574 w 605"/>
                  <a:gd name="T5" fmla="*/ 187 h 1031"/>
                  <a:gd name="T6" fmla="*/ 572 w 605"/>
                  <a:gd name="T7" fmla="*/ 305 h 1031"/>
                  <a:gd name="T8" fmla="*/ 567 w 605"/>
                  <a:gd name="T9" fmla="*/ 421 h 1031"/>
                  <a:gd name="T10" fmla="*/ 564 w 605"/>
                  <a:gd name="T11" fmla="*/ 540 h 1031"/>
                  <a:gd name="T12" fmla="*/ 562 w 605"/>
                  <a:gd name="T13" fmla="*/ 658 h 1031"/>
                  <a:gd name="T14" fmla="*/ 576 w 605"/>
                  <a:gd name="T15" fmla="*/ 776 h 1031"/>
                  <a:gd name="T16" fmla="*/ 593 w 605"/>
                  <a:gd name="T17" fmla="*/ 894 h 1031"/>
                  <a:gd name="T18" fmla="*/ 550 w 605"/>
                  <a:gd name="T19" fmla="*/ 984 h 1031"/>
                  <a:gd name="T20" fmla="*/ 510 w 605"/>
                  <a:gd name="T21" fmla="*/ 975 h 1031"/>
                  <a:gd name="T22" fmla="*/ 446 w 605"/>
                  <a:gd name="T23" fmla="*/ 996 h 1031"/>
                  <a:gd name="T24" fmla="*/ 401 w 605"/>
                  <a:gd name="T25" fmla="*/ 1031 h 1031"/>
                  <a:gd name="T26" fmla="*/ 387 w 605"/>
                  <a:gd name="T27" fmla="*/ 1024 h 1031"/>
                  <a:gd name="T28" fmla="*/ 366 w 605"/>
                  <a:gd name="T29" fmla="*/ 975 h 1031"/>
                  <a:gd name="T30" fmla="*/ 340 w 605"/>
                  <a:gd name="T31" fmla="*/ 946 h 1031"/>
                  <a:gd name="T32" fmla="*/ 335 w 605"/>
                  <a:gd name="T33" fmla="*/ 920 h 1031"/>
                  <a:gd name="T34" fmla="*/ 307 w 605"/>
                  <a:gd name="T35" fmla="*/ 866 h 1031"/>
                  <a:gd name="T36" fmla="*/ 174 w 605"/>
                  <a:gd name="T37" fmla="*/ 873 h 1031"/>
                  <a:gd name="T38" fmla="*/ 42 w 605"/>
                  <a:gd name="T39" fmla="*/ 880 h 1031"/>
                  <a:gd name="T40" fmla="*/ 7 w 605"/>
                  <a:gd name="T41" fmla="*/ 868 h 1031"/>
                  <a:gd name="T42" fmla="*/ 4 w 605"/>
                  <a:gd name="T43" fmla="*/ 823 h 1031"/>
                  <a:gd name="T44" fmla="*/ 18 w 605"/>
                  <a:gd name="T45" fmla="*/ 788 h 1031"/>
                  <a:gd name="T46" fmla="*/ 37 w 605"/>
                  <a:gd name="T47" fmla="*/ 745 h 1031"/>
                  <a:gd name="T48" fmla="*/ 80 w 605"/>
                  <a:gd name="T49" fmla="*/ 672 h 1031"/>
                  <a:gd name="T50" fmla="*/ 92 w 605"/>
                  <a:gd name="T51" fmla="*/ 639 h 1031"/>
                  <a:gd name="T52" fmla="*/ 113 w 605"/>
                  <a:gd name="T53" fmla="*/ 615 h 1031"/>
                  <a:gd name="T54" fmla="*/ 113 w 605"/>
                  <a:gd name="T55" fmla="*/ 594 h 1031"/>
                  <a:gd name="T56" fmla="*/ 82 w 605"/>
                  <a:gd name="T57" fmla="*/ 563 h 1031"/>
                  <a:gd name="T58" fmla="*/ 73 w 605"/>
                  <a:gd name="T59" fmla="*/ 535 h 1031"/>
                  <a:gd name="T60" fmla="*/ 82 w 605"/>
                  <a:gd name="T61" fmla="*/ 514 h 1031"/>
                  <a:gd name="T62" fmla="*/ 80 w 605"/>
                  <a:gd name="T63" fmla="*/ 480 h 1031"/>
                  <a:gd name="T64" fmla="*/ 68 w 605"/>
                  <a:gd name="T65" fmla="*/ 452 h 1031"/>
                  <a:gd name="T66" fmla="*/ 73 w 605"/>
                  <a:gd name="T67" fmla="*/ 405 h 1031"/>
                  <a:gd name="T68" fmla="*/ 66 w 605"/>
                  <a:gd name="T69" fmla="*/ 362 h 1031"/>
                  <a:gd name="T70" fmla="*/ 54 w 605"/>
                  <a:gd name="T71" fmla="*/ 341 h 1031"/>
                  <a:gd name="T72" fmla="*/ 59 w 605"/>
                  <a:gd name="T73" fmla="*/ 320 h 1031"/>
                  <a:gd name="T74" fmla="*/ 70 w 605"/>
                  <a:gd name="T75" fmla="*/ 294 h 1031"/>
                  <a:gd name="T76" fmla="*/ 80 w 605"/>
                  <a:gd name="T77" fmla="*/ 265 h 1031"/>
                  <a:gd name="T78" fmla="*/ 75 w 605"/>
                  <a:gd name="T79" fmla="*/ 246 h 1031"/>
                  <a:gd name="T80" fmla="*/ 99 w 605"/>
                  <a:gd name="T81" fmla="*/ 232 h 1031"/>
                  <a:gd name="T82" fmla="*/ 99 w 605"/>
                  <a:gd name="T83" fmla="*/ 204 h 1031"/>
                  <a:gd name="T84" fmla="*/ 122 w 605"/>
                  <a:gd name="T85" fmla="*/ 166 h 1031"/>
                  <a:gd name="T86" fmla="*/ 151 w 605"/>
                  <a:gd name="T87" fmla="*/ 133 h 1031"/>
                  <a:gd name="T88" fmla="*/ 163 w 605"/>
                  <a:gd name="T89" fmla="*/ 83 h 1031"/>
                  <a:gd name="T90" fmla="*/ 177 w 605"/>
                  <a:gd name="T91" fmla="*/ 60 h 1031"/>
                  <a:gd name="T92" fmla="*/ 196 w 605"/>
                  <a:gd name="T93" fmla="*/ 31 h 1031"/>
                  <a:gd name="T94" fmla="*/ 286 w 605"/>
                  <a:gd name="T95" fmla="*/ 19 h 1031"/>
                  <a:gd name="T96" fmla="*/ 423 w 605"/>
                  <a:gd name="T97" fmla="*/ 10 h 1031"/>
                  <a:gd name="T98" fmla="*/ 562 w 605"/>
                  <a:gd name="T99" fmla="*/ 0 h 1031"/>
                  <a:gd name="T100" fmla="*/ 560 w 605"/>
                  <a:gd name="T101" fmla="*/ 1012 h 1031"/>
                  <a:gd name="T102" fmla="*/ 574 w 605"/>
                  <a:gd name="T103" fmla="*/ 1010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5" h="1031">
                    <a:moveTo>
                      <a:pt x="562" y="0"/>
                    </a:moveTo>
                    <a:lnTo>
                      <a:pt x="579" y="12"/>
                    </a:lnTo>
                    <a:lnTo>
                      <a:pt x="579" y="17"/>
                    </a:lnTo>
                    <a:lnTo>
                      <a:pt x="579" y="19"/>
                    </a:lnTo>
                    <a:lnTo>
                      <a:pt x="576" y="31"/>
                    </a:lnTo>
                    <a:lnTo>
                      <a:pt x="576" y="69"/>
                    </a:lnTo>
                    <a:lnTo>
                      <a:pt x="576" y="109"/>
                    </a:lnTo>
                    <a:lnTo>
                      <a:pt x="574" y="147"/>
                    </a:lnTo>
                    <a:lnTo>
                      <a:pt x="574" y="187"/>
                    </a:lnTo>
                    <a:lnTo>
                      <a:pt x="574" y="225"/>
                    </a:lnTo>
                    <a:lnTo>
                      <a:pt x="572" y="265"/>
                    </a:lnTo>
                    <a:lnTo>
                      <a:pt x="572" y="305"/>
                    </a:lnTo>
                    <a:lnTo>
                      <a:pt x="569" y="343"/>
                    </a:lnTo>
                    <a:lnTo>
                      <a:pt x="569" y="383"/>
                    </a:lnTo>
                    <a:lnTo>
                      <a:pt x="567" y="421"/>
                    </a:lnTo>
                    <a:lnTo>
                      <a:pt x="567" y="461"/>
                    </a:lnTo>
                    <a:lnTo>
                      <a:pt x="567" y="499"/>
                    </a:lnTo>
                    <a:lnTo>
                      <a:pt x="564" y="540"/>
                    </a:lnTo>
                    <a:lnTo>
                      <a:pt x="564" y="580"/>
                    </a:lnTo>
                    <a:lnTo>
                      <a:pt x="562" y="618"/>
                    </a:lnTo>
                    <a:lnTo>
                      <a:pt x="562" y="658"/>
                    </a:lnTo>
                    <a:lnTo>
                      <a:pt x="567" y="698"/>
                    </a:lnTo>
                    <a:lnTo>
                      <a:pt x="572" y="736"/>
                    </a:lnTo>
                    <a:lnTo>
                      <a:pt x="576" y="776"/>
                    </a:lnTo>
                    <a:lnTo>
                      <a:pt x="581" y="816"/>
                    </a:lnTo>
                    <a:lnTo>
                      <a:pt x="588" y="854"/>
                    </a:lnTo>
                    <a:lnTo>
                      <a:pt x="593" y="894"/>
                    </a:lnTo>
                    <a:lnTo>
                      <a:pt x="598" y="934"/>
                    </a:lnTo>
                    <a:lnTo>
                      <a:pt x="605" y="977"/>
                    </a:lnTo>
                    <a:lnTo>
                      <a:pt x="550" y="984"/>
                    </a:lnTo>
                    <a:lnTo>
                      <a:pt x="527" y="977"/>
                    </a:lnTo>
                    <a:lnTo>
                      <a:pt x="517" y="975"/>
                    </a:lnTo>
                    <a:lnTo>
                      <a:pt x="510" y="975"/>
                    </a:lnTo>
                    <a:lnTo>
                      <a:pt x="484" y="986"/>
                    </a:lnTo>
                    <a:lnTo>
                      <a:pt x="453" y="998"/>
                    </a:lnTo>
                    <a:lnTo>
                      <a:pt x="446" y="996"/>
                    </a:lnTo>
                    <a:lnTo>
                      <a:pt x="434" y="996"/>
                    </a:lnTo>
                    <a:lnTo>
                      <a:pt x="416" y="1024"/>
                    </a:lnTo>
                    <a:lnTo>
                      <a:pt x="401" y="1031"/>
                    </a:lnTo>
                    <a:lnTo>
                      <a:pt x="397" y="1029"/>
                    </a:lnTo>
                    <a:lnTo>
                      <a:pt x="392" y="1029"/>
                    </a:lnTo>
                    <a:lnTo>
                      <a:pt x="387" y="1024"/>
                    </a:lnTo>
                    <a:lnTo>
                      <a:pt x="380" y="1010"/>
                    </a:lnTo>
                    <a:lnTo>
                      <a:pt x="378" y="998"/>
                    </a:lnTo>
                    <a:lnTo>
                      <a:pt x="366" y="975"/>
                    </a:lnTo>
                    <a:lnTo>
                      <a:pt x="356" y="963"/>
                    </a:lnTo>
                    <a:lnTo>
                      <a:pt x="345" y="956"/>
                    </a:lnTo>
                    <a:lnTo>
                      <a:pt x="340" y="946"/>
                    </a:lnTo>
                    <a:lnTo>
                      <a:pt x="340" y="939"/>
                    </a:lnTo>
                    <a:lnTo>
                      <a:pt x="335" y="930"/>
                    </a:lnTo>
                    <a:lnTo>
                      <a:pt x="335" y="920"/>
                    </a:lnTo>
                    <a:lnTo>
                      <a:pt x="347" y="887"/>
                    </a:lnTo>
                    <a:lnTo>
                      <a:pt x="349" y="863"/>
                    </a:lnTo>
                    <a:lnTo>
                      <a:pt x="307" y="866"/>
                    </a:lnTo>
                    <a:lnTo>
                      <a:pt x="262" y="868"/>
                    </a:lnTo>
                    <a:lnTo>
                      <a:pt x="219" y="871"/>
                    </a:lnTo>
                    <a:lnTo>
                      <a:pt x="174" y="873"/>
                    </a:lnTo>
                    <a:lnTo>
                      <a:pt x="132" y="875"/>
                    </a:lnTo>
                    <a:lnTo>
                      <a:pt x="87" y="878"/>
                    </a:lnTo>
                    <a:lnTo>
                      <a:pt x="42" y="880"/>
                    </a:lnTo>
                    <a:lnTo>
                      <a:pt x="0" y="882"/>
                    </a:lnTo>
                    <a:lnTo>
                      <a:pt x="0" y="878"/>
                    </a:lnTo>
                    <a:lnTo>
                      <a:pt x="7" y="868"/>
                    </a:lnTo>
                    <a:lnTo>
                      <a:pt x="9" y="859"/>
                    </a:lnTo>
                    <a:lnTo>
                      <a:pt x="2" y="837"/>
                    </a:lnTo>
                    <a:lnTo>
                      <a:pt x="4" y="823"/>
                    </a:lnTo>
                    <a:lnTo>
                      <a:pt x="14" y="821"/>
                    </a:lnTo>
                    <a:lnTo>
                      <a:pt x="18" y="809"/>
                    </a:lnTo>
                    <a:lnTo>
                      <a:pt x="18" y="788"/>
                    </a:lnTo>
                    <a:lnTo>
                      <a:pt x="21" y="771"/>
                    </a:lnTo>
                    <a:lnTo>
                      <a:pt x="30" y="764"/>
                    </a:lnTo>
                    <a:lnTo>
                      <a:pt x="37" y="745"/>
                    </a:lnTo>
                    <a:lnTo>
                      <a:pt x="42" y="717"/>
                    </a:lnTo>
                    <a:lnTo>
                      <a:pt x="56" y="693"/>
                    </a:lnTo>
                    <a:lnTo>
                      <a:pt x="80" y="672"/>
                    </a:lnTo>
                    <a:lnTo>
                      <a:pt x="89" y="658"/>
                    </a:lnTo>
                    <a:lnTo>
                      <a:pt x="89" y="644"/>
                    </a:lnTo>
                    <a:lnTo>
                      <a:pt x="92" y="639"/>
                    </a:lnTo>
                    <a:lnTo>
                      <a:pt x="96" y="634"/>
                    </a:lnTo>
                    <a:lnTo>
                      <a:pt x="104" y="627"/>
                    </a:lnTo>
                    <a:lnTo>
                      <a:pt x="113" y="615"/>
                    </a:lnTo>
                    <a:lnTo>
                      <a:pt x="115" y="606"/>
                    </a:lnTo>
                    <a:lnTo>
                      <a:pt x="115" y="601"/>
                    </a:lnTo>
                    <a:lnTo>
                      <a:pt x="113" y="594"/>
                    </a:lnTo>
                    <a:lnTo>
                      <a:pt x="106" y="584"/>
                    </a:lnTo>
                    <a:lnTo>
                      <a:pt x="92" y="577"/>
                    </a:lnTo>
                    <a:lnTo>
                      <a:pt x="82" y="563"/>
                    </a:lnTo>
                    <a:lnTo>
                      <a:pt x="82" y="551"/>
                    </a:lnTo>
                    <a:lnTo>
                      <a:pt x="80" y="542"/>
                    </a:lnTo>
                    <a:lnTo>
                      <a:pt x="73" y="535"/>
                    </a:lnTo>
                    <a:lnTo>
                      <a:pt x="75" y="528"/>
                    </a:lnTo>
                    <a:lnTo>
                      <a:pt x="82" y="521"/>
                    </a:lnTo>
                    <a:lnTo>
                      <a:pt x="82" y="514"/>
                    </a:lnTo>
                    <a:lnTo>
                      <a:pt x="75" y="506"/>
                    </a:lnTo>
                    <a:lnTo>
                      <a:pt x="75" y="497"/>
                    </a:lnTo>
                    <a:lnTo>
                      <a:pt x="80" y="480"/>
                    </a:lnTo>
                    <a:lnTo>
                      <a:pt x="80" y="469"/>
                    </a:lnTo>
                    <a:lnTo>
                      <a:pt x="70" y="464"/>
                    </a:lnTo>
                    <a:lnTo>
                      <a:pt x="68" y="452"/>
                    </a:lnTo>
                    <a:lnTo>
                      <a:pt x="68" y="447"/>
                    </a:lnTo>
                    <a:lnTo>
                      <a:pt x="75" y="409"/>
                    </a:lnTo>
                    <a:lnTo>
                      <a:pt x="73" y="405"/>
                    </a:lnTo>
                    <a:lnTo>
                      <a:pt x="63" y="393"/>
                    </a:lnTo>
                    <a:lnTo>
                      <a:pt x="61" y="381"/>
                    </a:lnTo>
                    <a:lnTo>
                      <a:pt x="66" y="362"/>
                    </a:lnTo>
                    <a:lnTo>
                      <a:pt x="63" y="350"/>
                    </a:lnTo>
                    <a:lnTo>
                      <a:pt x="56" y="346"/>
                    </a:lnTo>
                    <a:lnTo>
                      <a:pt x="54" y="341"/>
                    </a:lnTo>
                    <a:lnTo>
                      <a:pt x="52" y="334"/>
                    </a:lnTo>
                    <a:lnTo>
                      <a:pt x="59" y="327"/>
                    </a:lnTo>
                    <a:lnTo>
                      <a:pt x="59" y="320"/>
                    </a:lnTo>
                    <a:lnTo>
                      <a:pt x="52" y="315"/>
                    </a:lnTo>
                    <a:lnTo>
                      <a:pt x="56" y="305"/>
                    </a:lnTo>
                    <a:lnTo>
                      <a:pt x="70" y="294"/>
                    </a:lnTo>
                    <a:lnTo>
                      <a:pt x="73" y="287"/>
                    </a:lnTo>
                    <a:lnTo>
                      <a:pt x="78" y="279"/>
                    </a:lnTo>
                    <a:lnTo>
                      <a:pt x="80" y="265"/>
                    </a:lnTo>
                    <a:lnTo>
                      <a:pt x="78" y="256"/>
                    </a:lnTo>
                    <a:lnTo>
                      <a:pt x="73" y="249"/>
                    </a:lnTo>
                    <a:lnTo>
                      <a:pt x="75" y="246"/>
                    </a:lnTo>
                    <a:lnTo>
                      <a:pt x="78" y="244"/>
                    </a:lnTo>
                    <a:lnTo>
                      <a:pt x="94" y="237"/>
                    </a:lnTo>
                    <a:lnTo>
                      <a:pt x="99" y="232"/>
                    </a:lnTo>
                    <a:lnTo>
                      <a:pt x="99" y="227"/>
                    </a:lnTo>
                    <a:lnTo>
                      <a:pt x="94" y="216"/>
                    </a:lnTo>
                    <a:lnTo>
                      <a:pt x="99" y="204"/>
                    </a:lnTo>
                    <a:lnTo>
                      <a:pt x="113" y="190"/>
                    </a:lnTo>
                    <a:lnTo>
                      <a:pt x="122" y="175"/>
                    </a:lnTo>
                    <a:lnTo>
                      <a:pt x="122" y="166"/>
                    </a:lnTo>
                    <a:lnTo>
                      <a:pt x="130" y="159"/>
                    </a:lnTo>
                    <a:lnTo>
                      <a:pt x="144" y="152"/>
                    </a:lnTo>
                    <a:lnTo>
                      <a:pt x="151" y="133"/>
                    </a:lnTo>
                    <a:lnTo>
                      <a:pt x="153" y="100"/>
                    </a:lnTo>
                    <a:lnTo>
                      <a:pt x="156" y="86"/>
                    </a:lnTo>
                    <a:lnTo>
                      <a:pt x="163" y="83"/>
                    </a:lnTo>
                    <a:lnTo>
                      <a:pt x="167" y="78"/>
                    </a:lnTo>
                    <a:lnTo>
                      <a:pt x="167" y="69"/>
                    </a:lnTo>
                    <a:lnTo>
                      <a:pt x="177" y="60"/>
                    </a:lnTo>
                    <a:lnTo>
                      <a:pt x="191" y="48"/>
                    </a:lnTo>
                    <a:lnTo>
                      <a:pt x="198" y="38"/>
                    </a:lnTo>
                    <a:lnTo>
                      <a:pt x="196" y="31"/>
                    </a:lnTo>
                    <a:lnTo>
                      <a:pt x="196" y="26"/>
                    </a:lnTo>
                    <a:lnTo>
                      <a:pt x="238" y="24"/>
                    </a:lnTo>
                    <a:lnTo>
                      <a:pt x="286" y="19"/>
                    </a:lnTo>
                    <a:lnTo>
                      <a:pt x="330" y="17"/>
                    </a:lnTo>
                    <a:lnTo>
                      <a:pt x="378" y="15"/>
                    </a:lnTo>
                    <a:lnTo>
                      <a:pt x="423" y="10"/>
                    </a:lnTo>
                    <a:lnTo>
                      <a:pt x="468" y="8"/>
                    </a:lnTo>
                    <a:lnTo>
                      <a:pt x="515" y="3"/>
                    </a:lnTo>
                    <a:lnTo>
                      <a:pt x="562" y="0"/>
                    </a:lnTo>
                    <a:close/>
                    <a:moveTo>
                      <a:pt x="579" y="1012"/>
                    </a:moveTo>
                    <a:lnTo>
                      <a:pt x="576" y="1015"/>
                    </a:lnTo>
                    <a:lnTo>
                      <a:pt x="560" y="1012"/>
                    </a:lnTo>
                    <a:lnTo>
                      <a:pt x="548" y="1008"/>
                    </a:lnTo>
                    <a:lnTo>
                      <a:pt x="546" y="1005"/>
                    </a:lnTo>
                    <a:lnTo>
                      <a:pt x="574" y="1010"/>
                    </a:lnTo>
                    <a:lnTo>
                      <a:pt x="579" y="101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1" name="Freeform 68">
                <a:extLst>
                  <a:ext uri="{FF2B5EF4-FFF2-40B4-BE49-F238E27FC236}">
                    <a16:creationId xmlns:a16="http://schemas.microsoft.com/office/drawing/2014/main" id="{A975B6A3-FA97-8882-F668-6887309D0EE4}"/>
                  </a:ext>
                </a:extLst>
              </p:cNvPr>
              <p:cNvSpPr>
                <a:spLocks/>
              </p:cNvSpPr>
              <p:nvPr/>
            </p:nvSpPr>
            <p:spPr bwMode="auto">
              <a:xfrm>
                <a:off x="1863" y="-1102"/>
                <a:ext cx="1716" cy="1104"/>
              </a:xfrm>
              <a:custGeom>
                <a:avLst/>
                <a:gdLst>
                  <a:gd name="T0" fmla="*/ 1650 w 1716"/>
                  <a:gd name="T1" fmla="*/ 1052 h 1104"/>
                  <a:gd name="T2" fmla="*/ 1645 w 1716"/>
                  <a:gd name="T3" fmla="*/ 1104 h 1104"/>
                  <a:gd name="T4" fmla="*/ 1642 w 1716"/>
                  <a:gd name="T5" fmla="*/ 1104 h 1104"/>
                  <a:gd name="T6" fmla="*/ 1543 w 1716"/>
                  <a:gd name="T7" fmla="*/ 1095 h 1104"/>
                  <a:gd name="T8" fmla="*/ 1411 w 1716"/>
                  <a:gd name="T9" fmla="*/ 1083 h 1104"/>
                  <a:gd name="T10" fmla="*/ 1281 w 1716"/>
                  <a:gd name="T11" fmla="*/ 1069 h 1104"/>
                  <a:gd name="T12" fmla="*/ 1151 w 1716"/>
                  <a:gd name="T13" fmla="*/ 1052 h 1104"/>
                  <a:gd name="T14" fmla="*/ 1021 w 1716"/>
                  <a:gd name="T15" fmla="*/ 1036 h 1104"/>
                  <a:gd name="T16" fmla="*/ 888 w 1716"/>
                  <a:gd name="T17" fmla="*/ 1017 h 1104"/>
                  <a:gd name="T18" fmla="*/ 758 w 1716"/>
                  <a:gd name="T19" fmla="*/ 998 h 1104"/>
                  <a:gd name="T20" fmla="*/ 628 w 1716"/>
                  <a:gd name="T21" fmla="*/ 977 h 1104"/>
                  <a:gd name="T22" fmla="*/ 583 w 1716"/>
                  <a:gd name="T23" fmla="*/ 1050 h 1104"/>
                  <a:gd name="T24" fmla="*/ 560 w 1716"/>
                  <a:gd name="T25" fmla="*/ 1052 h 1104"/>
                  <a:gd name="T26" fmla="*/ 541 w 1716"/>
                  <a:gd name="T27" fmla="*/ 1017 h 1104"/>
                  <a:gd name="T28" fmla="*/ 517 w 1716"/>
                  <a:gd name="T29" fmla="*/ 1038 h 1104"/>
                  <a:gd name="T30" fmla="*/ 515 w 1716"/>
                  <a:gd name="T31" fmla="*/ 1055 h 1104"/>
                  <a:gd name="T32" fmla="*/ 430 w 1716"/>
                  <a:gd name="T33" fmla="*/ 1041 h 1104"/>
                  <a:gd name="T34" fmla="*/ 383 w 1716"/>
                  <a:gd name="T35" fmla="*/ 1045 h 1104"/>
                  <a:gd name="T36" fmla="*/ 331 w 1716"/>
                  <a:gd name="T37" fmla="*/ 1033 h 1104"/>
                  <a:gd name="T38" fmla="*/ 312 w 1716"/>
                  <a:gd name="T39" fmla="*/ 1050 h 1104"/>
                  <a:gd name="T40" fmla="*/ 288 w 1716"/>
                  <a:gd name="T41" fmla="*/ 1029 h 1104"/>
                  <a:gd name="T42" fmla="*/ 283 w 1716"/>
                  <a:gd name="T43" fmla="*/ 977 h 1104"/>
                  <a:gd name="T44" fmla="*/ 255 w 1716"/>
                  <a:gd name="T45" fmla="*/ 953 h 1104"/>
                  <a:gd name="T46" fmla="*/ 236 w 1716"/>
                  <a:gd name="T47" fmla="*/ 922 h 1104"/>
                  <a:gd name="T48" fmla="*/ 238 w 1716"/>
                  <a:gd name="T49" fmla="*/ 882 h 1104"/>
                  <a:gd name="T50" fmla="*/ 219 w 1716"/>
                  <a:gd name="T51" fmla="*/ 821 h 1104"/>
                  <a:gd name="T52" fmla="*/ 217 w 1716"/>
                  <a:gd name="T53" fmla="*/ 776 h 1104"/>
                  <a:gd name="T54" fmla="*/ 198 w 1716"/>
                  <a:gd name="T55" fmla="*/ 752 h 1104"/>
                  <a:gd name="T56" fmla="*/ 189 w 1716"/>
                  <a:gd name="T57" fmla="*/ 754 h 1104"/>
                  <a:gd name="T58" fmla="*/ 139 w 1716"/>
                  <a:gd name="T59" fmla="*/ 780 h 1104"/>
                  <a:gd name="T60" fmla="*/ 108 w 1716"/>
                  <a:gd name="T61" fmla="*/ 757 h 1104"/>
                  <a:gd name="T62" fmla="*/ 118 w 1716"/>
                  <a:gd name="T63" fmla="*/ 714 h 1104"/>
                  <a:gd name="T64" fmla="*/ 141 w 1716"/>
                  <a:gd name="T65" fmla="*/ 695 h 1104"/>
                  <a:gd name="T66" fmla="*/ 141 w 1716"/>
                  <a:gd name="T67" fmla="*/ 648 h 1104"/>
                  <a:gd name="T68" fmla="*/ 158 w 1716"/>
                  <a:gd name="T69" fmla="*/ 601 h 1104"/>
                  <a:gd name="T70" fmla="*/ 182 w 1716"/>
                  <a:gd name="T71" fmla="*/ 549 h 1104"/>
                  <a:gd name="T72" fmla="*/ 177 w 1716"/>
                  <a:gd name="T73" fmla="*/ 535 h 1104"/>
                  <a:gd name="T74" fmla="*/ 141 w 1716"/>
                  <a:gd name="T75" fmla="*/ 525 h 1104"/>
                  <a:gd name="T76" fmla="*/ 127 w 1716"/>
                  <a:gd name="T77" fmla="*/ 509 h 1104"/>
                  <a:gd name="T78" fmla="*/ 113 w 1716"/>
                  <a:gd name="T79" fmla="*/ 483 h 1104"/>
                  <a:gd name="T80" fmla="*/ 71 w 1716"/>
                  <a:gd name="T81" fmla="*/ 388 h 1104"/>
                  <a:gd name="T82" fmla="*/ 23 w 1716"/>
                  <a:gd name="T83" fmla="*/ 334 h 1104"/>
                  <a:gd name="T84" fmla="*/ 28 w 1716"/>
                  <a:gd name="T85" fmla="*/ 329 h 1104"/>
                  <a:gd name="T86" fmla="*/ 33 w 1716"/>
                  <a:gd name="T87" fmla="*/ 282 h 1104"/>
                  <a:gd name="T88" fmla="*/ 11 w 1716"/>
                  <a:gd name="T89" fmla="*/ 230 h 1104"/>
                  <a:gd name="T90" fmla="*/ 35 w 1716"/>
                  <a:gd name="T91" fmla="*/ 50 h 1104"/>
                  <a:gd name="T92" fmla="*/ 189 w 1716"/>
                  <a:gd name="T93" fmla="*/ 31 h 1104"/>
                  <a:gd name="T94" fmla="*/ 366 w 1716"/>
                  <a:gd name="T95" fmla="*/ 66 h 1104"/>
                  <a:gd name="T96" fmla="*/ 602 w 1716"/>
                  <a:gd name="T97" fmla="*/ 111 h 1104"/>
                  <a:gd name="T98" fmla="*/ 839 w 1716"/>
                  <a:gd name="T99" fmla="*/ 151 h 1104"/>
                  <a:gd name="T100" fmla="*/ 1016 w 1716"/>
                  <a:gd name="T101" fmla="*/ 177 h 1104"/>
                  <a:gd name="T102" fmla="*/ 1255 w 1716"/>
                  <a:gd name="T103" fmla="*/ 211 h 1104"/>
                  <a:gd name="T104" fmla="*/ 1494 w 1716"/>
                  <a:gd name="T105" fmla="*/ 237 h 1104"/>
                  <a:gd name="T106" fmla="*/ 1716 w 1716"/>
                  <a:gd name="T107" fmla="*/ 260 h 1104"/>
                  <a:gd name="T108" fmla="*/ 1702 w 1716"/>
                  <a:gd name="T109" fmla="*/ 421 h 1104"/>
                  <a:gd name="T110" fmla="*/ 1690 w 1716"/>
                  <a:gd name="T111" fmla="*/ 584 h 1104"/>
                  <a:gd name="T112" fmla="*/ 1676 w 1716"/>
                  <a:gd name="T113" fmla="*/ 745 h 1104"/>
                  <a:gd name="T114" fmla="*/ 1661 w 1716"/>
                  <a:gd name="T115" fmla="*/ 906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6" h="1104">
                    <a:moveTo>
                      <a:pt x="1661" y="906"/>
                    </a:moveTo>
                    <a:lnTo>
                      <a:pt x="1659" y="955"/>
                    </a:lnTo>
                    <a:lnTo>
                      <a:pt x="1654" y="1005"/>
                    </a:lnTo>
                    <a:lnTo>
                      <a:pt x="1650" y="1052"/>
                    </a:lnTo>
                    <a:lnTo>
                      <a:pt x="1645" y="1102"/>
                    </a:lnTo>
                    <a:lnTo>
                      <a:pt x="1645" y="1102"/>
                    </a:lnTo>
                    <a:lnTo>
                      <a:pt x="1645" y="1104"/>
                    </a:lnTo>
                    <a:lnTo>
                      <a:pt x="1645" y="1104"/>
                    </a:lnTo>
                    <a:lnTo>
                      <a:pt x="1645" y="1104"/>
                    </a:lnTo>
                    <a:lnTo>
                      <a:pt x="1645" y="1104"/>
                    </a:lnTo>
                    <a:lnTo>
                      <a:pt x="1642" y="1104"/>
                    </a:lnTo>
                    <a:lnTo>
                      <a:pt x="1642" y="1104"/>
                    </a:lnTo>
                    <a:lnTo>
                      <a:pt x="1640" y="1104"/>
                    </a:lnTo>
                    <a:lnTo>
                      <a:pt x="1607" y="1102"/>
                    </a:lnTo>
                    <a:lnTo>
                      <a:pt x="1576" y="1100"/>
                    </a:lnTo>
                    <a:lnTo>
                      <a:pt x="1543" y="1095"/>
                    </a:lnTo>
                    <a:lnTo>
                      <a:pt x="1510" y="1093"/>
                    </a:lnTo>
                    <a:lnTo>
                      <a:pt x="1477" y="1090"/>
                    </a:lnTo>
                    <a:lnTo>
                      <a:pt x="1444" y="1085"/>
                    </a:lnTo>
                    <a:lnTo>
                      <a:pt x="1411" y="1083"/>
                    </a:lnTo>
                    <a:lnTo>
                      <a:pt x="1380" y="1078"/>
                    </a:lnTo>
                    <a:lnTo>
                      <a:pt x="1347" y="1076"/>
                    </a:lnTo>
                    <a:lnTo>
                      <a:pt x="1314" y="1071"/>
                    </a:lnTo>
                    <a:lnTo>
                      <a:pt x="1281" y="1069"/>
                    </a:lnTo>
                    <a:lnTo>
                      <a:pt x="1248" y="1064"/>
                    </a:lnTo>
                    <a:lnTo>
                      <a:pt x="1215" y="1059"/>
                    </a:lnTo>
                    <a:lnTo>
                      <a:pt x="1184" y="1057"/>
                    </a:lnTo>
                    <a:lnTo>
                      <a:pt x="1151" y="1052"/>
                    </a:lnTo>
                    <a:lnTo>
                      <a:pt x="1118" y="1048"/>
                    </a:lnTo>
                    <a:lnTo>
                      <a:pt x="1085" y="1043"/>
                    </a:lnTo>
                    <a:lnTo>
                      <a:pt x="1052" y="1041"/>
                    </a:lnTo>
                    <a:lnTo>
                      <a:pt x="1021" y="1036"/>
                    </a:lnTo>
                    <a:lnTo>
                      <a:pt x="988" y="1031"/>
                    </a:lnTo>
                    <a:lnTo>
                      <a:pt x="955" y="1026"/>
                    </a:lnTo>
                    <a:lnTo>
                      <a:pt x="922" y="1022"/>
                    </a:lnTo>
                    <a:lnTo>
                      <a:pt x="888" y="1017"/>
                    </a:lnTo>
                    <a:lnTo>
                      <a:pt x="858" y="1012"/>
                    </a:lnTo>
                    <a:lnTo>
                      <a:pt x="825" y="1007"/>
                    </a:lnTo>
                    <a:lnTo>
                      <a:pt x="791" y="1003"/>
                    </a:lnTo>
                    <a:lnTo>
                      <a:pt x="758" y="998"/>
                    </a:lnTo>
                    <a:lnTo>
                      <a:pt x="728" y="993"/>
                    </a:lnTo>
                    <a:lnTo>
                      <a:pt x="695" y="986"/>
                    </a:lnTo>
                    <a:lnTo>
                      <a:pt x="661" y="981"/>
                    </a:lnTo>
                    <a:lnTo>
                      <a:pt x="628" y="977"/>
                    </a:lnTo>
                    <a:lnTo>
                      <a:pt x="598" y="972"/>
                    </a:lnTo>
                    <a:lnTo>
                      <a:pt x="593" y="998"/>
                    </a:lnTo>
                    <a:lnTo>
                      <a:pt x="588" y="1024"/>
                    </a:lnTo>
                    <a:lnTo>
                      <a:pt x="583" y="1050"/>
                    </a:lnTo>
                    <a:lnTo>
                      <a:pt x="579" y="1076"/>
                    </a:lnTo>
                    <a:lnTo>
                      <a:pt x="572" y="1069"/>
                    </a:lnTo>
                    <a:lnTo>
                      <a:pt x="565" y="1062"/>
                    </a:lnTo>
                    <a:lnTo>
                      <a:pt x="560" y="1052"/>
                    </a:lnTo>
                    <a:lnTo>
                      <a:pt x="555" y="1031"/>
                    </a:lnTo>
                    <a:lnTo>
                      <a:pt x="550" y="1024"/>
                    </a:lnTo>
                    <a:lnTo>
                      <a:pt x="546" y="1017"/>
                    </a:lnTo>
                    <a:lnTo>
                      <a:pt x="541" y="1017"/>
                    </a:lnTo>
                    <a:lnTo>
                      <a:pt x="534" y="1017"/>
                    </a:lnTo>
                    <a:lnTo>
                      <a:pt x="529" y="1022"/>
                    </a:lnTo>
                    <a:lnTo>
                      <a:pt x="524" y="1029"/>
                    </a:lnTo>
                    <a:lnTo>
                      <a:pt x="517" y="1038"/>
                    </a:lnTo>
                    <a:lnTo>
                      <a:pt x="517" y="1048"/>
                    </a:lnTo>
                    <a:lnTo>
                      <a:pt x="520" y="1052"/>
                    </a:lnTo>
                    <a:lnTo>
                      <a:pt x="517" y="1055"/>
                    </a:lnTo>
                    <a:lnTo>
                      <a:pt x="515" y="1055"/>
                    </a:lnTo>
                    <a:lnTo>
                      <a:pt x="491" y="1048"/>
                    </a:lnTo>
                    <a:lnTo>
                      <a:pt x="470" y="1048"/>
                    </a:lnTo>
                    <a:lnTo>
                      <a:pt x="456" y="1043"/>
                    </a:lnTo>
                    <a:lnTo>
                      <a:pt x="430" y="1041"/>
                    </a:lnTo>
                    <a:lnTo>
                      <a:pt x="406" y="1033"/>
                    </a:lnTo>
                    <a:lnTo>
                      <a:pt x="397" y="1033"/>
                    </a:lnTo>
                    <a:lnTo>
                      <a:pt x="392" y="1036"/>
                    </a:lnTo>
                    <a:lnTo>
                      <a:pt x="383" y="1045"/>
                    </a:lnTo>
                    <a:lnTo>
                      <a:pt x="380" y="1048"/>
                    </a:lnTo>
                    <a:lnTo>
                      <a:pt x="378" y="1048"/>
                    </a:lnTo>
                    <a:lnTo>
                      <a:pt x="342" y="1033"/>
                    </a:lnTo>
                    <a:lnTo>
                      <a:pt x="331" y="1033"/>
                    </a:lnTo>
                    <a:lnTo>
                      <a:pt x="319" y="1038"/>
                    </a:lnTo>
                    <a:lnTo>
                      <a:pt x="316" y="1043"/>
                    </a:lnTo>
                    <a:lnTo>
                      <a:pt x="314" y="1050"/>
                    </a:lnTo>
                    <a:lnTo>
                      <a:pt x="312" y="1050"/>
                    </a:lnTo>
                    <a:lnTo>
                      <a:pt x="307" y="1050"/>
                    </a:lnTo>
                    <a:lnTo>
                      <a:pt x="300" y="1043"/>
                    </a:lnTo>
                    <a:lnTo>
                      <a:pt x="293" y="1033"/>
                    </a:lnTo>
                    <a:lnTo>
                      <a:pt x="288" y="1029"/>
                    </a:lnTo>
                    <a:lnTo>
                      <a:pt x="290" y="1017"/>
                    </a:lnTo>
                    <a:lnTo>
                      <a:pt x="286" y="1000"/>
                    </a:lnTo>
                    <a:lnTo>
                      <a:pt x="286" y="989"/>
                    </a:lnTo>
                    <a:lnTo>
                      <a:pt x="283" y="977"/>
                    </a:lnTo>
                    <a:lnTo>
                      <a:pt x="279" y="965"/>
                    </a:lnTo>
                    <a:lnTo>
                      <a:pt x="274" y="958"/>
                    </a:lnTo>
                    <a:lnTo>
                      <a:pt x="267" y="953"/>
                    </a:lnTo>
                    <a:lnTo>
                      <a:pt x="255" y="953"/>
                    </a:lnTo>
                    <a:lnTo>
                      <a:pt x="253" y="951"/>
                    </a:lnTo>
                    <a:lnTo>
                      <a:pt x="241" y="934"/>
                    </a:lnTo>
                    <a:lnTo>
                      <a:pt x="238" y="927"/>
                    </a:lnTo>
                    <a:lnTo>
                      <a:pt x="236" y="922"/>
                    </a:lnTo>
                    <a:lnTo>
                      <a:pt x="245" y="908"/>
                    </a:lnTo>
                    <a:lnTo>
                      <a:pt x="245" y="901"/>
                    </a:lnTo>
                    <a:lnTo>
                      <a:pt x="243" y="892"/>
                    </a:lnTo>
                    <a:lnTo>
                      <a:pt x="238" y="882"/>
                    </a:lnTo>
                    <a:lnTo>
                      <a:pt x="234" y="875"/>
                    </a:lnTo>
                    <a:lnTo>
                      <a:pt x="229" y="858"/>
                    </a:lnTo>
                    <a:lnTo>
                      <a:pt x="219" y="837"/>
                    </a:lnTo>
                    <a:lnTo>
                      <a:pt x="219" y="821"/>
                    </a:lnTo>
                    <a:lnTo>
                      <a:pt x="215" y="806"/>
                    </a:lnTo>
                    <a:lnTo>
                      <a:pt x="217" y="795"/>
                    </a:lnTo>
                    <a:lnTo>
                      <a:pt x="215" y="785"/>
                    </a:lnTo>
                    <a:lnTo>
                      <a:pt x="217" y="776"/>
                    </a:lnTo>
                    <a:lnTo>
                      <a:pt x="215" y="773"/>
                    </a:lnTo>
                    <a:lnTo>
                      <a:pt x="215" y="771"/>
                    </a:lnTo>
                    <a:lnTo>
                      <a:pt x="208" y="764"/>
                    </a:lnTo>
                    <a:lnTo>
                      <a:pt x="198" y="752"/>
                    </a:lnTo>
                    <a:lnTo>
                      <a:pt x="193" y="747"/>
                    </a:lnTo>
                    <a:lnTo>
                      <a:pt x="191" y="747"/>
                    </a:lnTo>
                    <a:lnTo>
                      <a:pt x="191" y="750"/>
                    </a:lnTo>
                    <a:lnTo>
                      <a:pt x="189" y="754"/>
                    </a:lnTo>
                    <a:lnTo>
                      <a:pt x="170" y="769"/>
                    </a:lnTo>
                    <a:lnTo>
                      <a:pt x="153" y="773"/>
                    </a:lnTo>
                    <a:lnTo>
                      <a:pt x="146" y="778"/>
                    </a:lnTo>
                    <a:lnTo>
                      <a:pt x="139" y="780"/>
                    </a:lnTo>
                    <a:lnTo>
                      <a:pt x="134" y="780"/>
                    </a:lnTo>
                    <a:lnTo>
                      <a:pt x="132" y="778"/>
                    </a:lnTo>
                    <a:lnTo>
                      <a:pt x="120" y="764"/>
                    </a:lnTo>
                    <a:lnTo>
                      <a:pt x="108" y="757"/>
                    </a:lnTo>
                    <a:lnTo>
                      <a:pt x="108" y="754"/>
                    </a:lnTo>
                    <a:lnTo>
                      <a:pt x="111" y="745"/>
                    </a:lnTo>
                    <a:lnTo>
                      <a:pt x="118" y="736"/>
                    </a:lnTo>
                    <a:lnTo>
                      <a:pt x="118" y="714"/>
                    </a:lnTo>
                    <a:lnTo>
                      <a:pt x="120" y="707"/>
                    </a:lnTo>
                    <a:lnTo>
                      <a:pt x="125" y="702"/>
                    </a:lnTo>
                    <a:lnTo>
                      <a:pt x="139" y="698"/>
                    </a:lnTo>
                    <a:lnTo>
                      <a:pt x="141" y="695"/>
                    </a:lnTo>
                    <a:lnTo>
                      <a:pt x="141" y="676"/>
                    </a:lnTo>
                    <a:lnTo>
                      <a:pt x="137" y="667"/>
                    </a:lnTo>
                    <a:lnTo>
                      <a:pt x="137" y="662"/>
                    </a:lnTo>
                    <a:lnTo>
                      <a:pt x="141" y="648"/>
                    </a:lnTo>
                    <a:lnTo>
                      <a:pt x="139" y="636"/>
                    </a:lnTo>
                    <a:lnTo>
                      <a:pt x="149" y="629"/>
                    </a:lnTo>
                    <a:lnTo>
                      <a:pt x="151" y="615"/>
                    </a:lnTo>
                    <a:lnTo>
                      <a:pt x="158" y="601"/>
                    </a:lnTo>
                    <a:lnTo>
                      <a:pt x="167" y="579"/>
                    </a:lnTo>
                    <a:lnTo>
                      <a:pt x="170" y="568"/>
                    </a:lnTo>
                    <a:lnTo>
                      <a:pt x="177" y="558"/>
                    </a:lnTo>
                    <a:lnTo>
                      <a:pt x="182" y="549"/>
                    </a:lnTo>
                    <a:lnTo>
                      <a:pt x="182" y="542"/>
                    </a:lnTo>
                    <a:lnTo>
                      <a:pt x="182" y="537"/>
                    </a:lnTo>
                    <a:lnTo>
                      <a:pt x="182" y="535"/>
                    </a:lnTo>
                    <a:lnTo>
                      <a:pt x="177" y="535"/>
                    </a:lnTo>
                    <a:lnTo>
                      <a:pt x="156" y="535"/>
                    </a:lnTo>
                    <a:lnTo>
                      <a:pt x="151" y="532"/>
                    </a:lnTo>
                    <a:lnTo>
                      <a:pt x="144" y="530"/>
                    </a:lnTo>
                    <a:lnTo>
                      <a:pt x="141" y="525"/>
                    </a:lnTo>
                    <a:lnTo>
                      <a:pt x="144" y="516"/>
                    </a:lnTo>
                    <a:lnTo>
                      <a:pt x="139" y="509"/>
                    </a:lnTo>
                    <a:lnTo>
                      <a:pt x="137" y="509"/>
                    </a:lnTo>
                    <a:lnTo>
                      <a:pt x="127" y="509"/>
                    </a:lnTo>
                    <a:lnTo>
                      <a:pt x="127" y="509"/>
                    </a:lnTo>
                    <a:lnTo>
                      <a:pt x="125" y="506"/>
                    </a:lnTo>
                    <a:lnTo>
                      <a:pt x="123" y="499"/>
                    </a:lnTo>
                    <a:lnTo>
                      <a:pt x="113" y="483"/>
                    </a:lnTo>
                    <a:lnTo>
                      <a:pt x="108" y="464"/>
                    </a:lnTo>
                    <a:lnTo>
                      <a:pt x="97" y="447"/>
                    </a:lnTo>
                    <a:lnTo>
                      <a:pt x="89" y="426"/>
                    </a:lnTo>
                    <a:lnTo>
                      <a:pt x="71" y="388"/>
                    </a:lnTo>
                    <a:lnTo>
                      <a:pt x="66" y="381"/>
                    </a:lnTo>
                    <a:lnTo>
                      <a:pt x="47" y="367"/>
                    </a:lnTo>
                    <a:lnTo>
                      <a:pt x="35" y="348"/>
                    </a:lnTo>
                    <a:lnTo>
                      <a:pt x="23" y="334"/>
                    </a:lnTo>
                    <a:lnTo>
                      <a:pt x="21" y="331"/>
                    </a:lnTo>
                    <a:lnTo>
                      <a:pt x="21" y="331"/>
                    </a:lnTo>
                    <a:lnTo>
                      <a:pt x="23" y="329"/>
                    </a:lnTo>
                    <a:lnTo>
                      <a:pt x="28" y="329"/>
                    </a:lnTo>
                    <a:lnTo>
                      <a:pt x="30" y="322"/>
                    </a:lnTo>
                    <a:lnTo>
                      <a:pt x="28" y="310"/>
                    </a:lnTo>
                    <a:lnTo>
                      <a:pt x="33" y="298"/>
                    </a:lnTo>
                    <a:lnTo>
                      <a:pt x="33" y="282"/>
                    </a:lnTo>
                    <a:lnTo>
                      <a:pt x="30" y="277"/>
                    </a:lnTo>
                    <a:lnTo>
                      <a:pt x="23" y="260"/>
                    </a:lnTo>
                    <a:lnTo>
                      <a:pt x="19" y="244"/>
                    </a:lnTo>
                    <a:lnTo>
                      <a:pt x="11" y="230"/>
                    </a:lnTo>
                    <a:lnTo>
                      <a:pt x="0" y="206"/>
                    </a:lnTo>
                    <a:lnTo>
                      <a:pt x="11" y="154"/>
                    </a:lnTo>
                    <a:lnTo>
                      <a:pt x="23" y="102"/>
                    </a:lnTo>
                    <a:lnTo>
                      <a:pt x="35" y="50"/>
                    </a:lnTo>
                    <a:lnTo>
                      <a:pt x="47" y="0"/>
                    </a:lnTo>
                    <a:lnTo>
                      <a:pt x="73" y="5"/>
                    </a:lnTo>
                    <a:lnTo>
                      <a:pt x="132" y="17"/>
                    </a:lnTo>
                    <a:lnTo>
                      <a:pt x="189" y="31"/>
                    </a:lnTo>
                    <a:lnTo>
                      <a:pt x="248" y="43"/>
                    </a:lnTo>
                    <a:lnTo>
                      <a:pt x="307" y="55"/>
                    </a:lnTo>
                    <a:lnTo>
                      <a:pt x="321" y="57"/>
                    </a:lnTo>
                    <a:lnTo>
                      <a:pt x="366" y="66"/>
                    </a:lnTo>
                    <a:lnTo>
                      <a:pt x="425" y="78"/>
                    </a:lnTo>
                    <a:lnTo>
                      <a:pt x="484" y="90"/>
                    </a:lnTo>
                    <a:lnTo>
                      <a:pt x="543" y="99"/>
                    </a:lnTo>
                    <a:lnTo>
                      <a:pt x="602" y="111"/>
                    </a:lnTo>
                    <a:lnTo>
                      <a:pt x="661" y="121"/>
                    </a:lnTo>
                    <a:lnTo>
                      <a:pt x="721" y="130"/>
                    </a:lnTo>
                    <a:lnTo>
                      <a:pt x="780" y="142"/>
                    </a:lnTo>
                    <a:lnTo>
                      <a:pt x="839" y="151"/>
                    </a:lnTo>
                    <a:lnTo>
                      <a:pt x="884" y="159"/>
                    </a:lnTo>
                    <a:lnTo>
                      <a:pt x="898" y="161"/>
                    </a:lnTo>
                    <a:lnTo>
                      <a:pt x="957" y="168"/>
                    </a:lnTo>
                    <a:lnTo>
                      <a:pt x="1016" y="177"/>
                    </a:lnTo>
                    <a:lnTo>
                      <a:pt x="1075" y="187"/>
                    </a:lnTo>
                    <a:lnTo>
                      <a:pt x="1134" y="194"/>
                    </a:lnTo>
                    <a:lnTo>
                      <a:pt x="1196" y="201"/>
                    </a:lnTo>
                    <a:lnTo>
                      <a:pt x="1255" y="211"/>
                    </a:lnTo>
                    <a:lnTo>
                      <a:pt x="1314" y="218"/>
                    </a:lnTo>
                    <a:lnTo>
                      <a:pt x="1373" y="225"/>
                    </a:lnTo>
                    <a:lnTo>
                      <a:pt x="1432" y="232"/>
                    </a:lnTo>
                    <a:lnTo>
                      <a:pt x="1494" y="237"/>
                    </a:lnTo>
                    <a:lnTo>
                      <a:pt x="1553" y="244"/>
                    </a:lnTo>
                    <a:lnTo>
                      <a:pt x="1612" y="248"/>
                    </a:lnTo>
                    <a:lnTo>
                      <a:pt x="1671" y="256"/>
                    </a:lnTo>
                    <a:lnTo>
                      <a:pt x="1716" y="260"/>
                    </a:lnTo>
                    <a:lnTo>
                      <a:pt x="1713" y="300"/>
                    </a:lnTo>
                    <a:lnTo>
                      <a:pt x="1709" y="341"/>
                    </a:lnTo>
                    <a:lnTo>
                      <a:pt x="1706" y="381"/>
                    </a:lnTo>
                    <a:lnTo>
                      <a:pt x="1702" y="421"/>
                    </a:lnTo>
                    <a:lnTo>
                      <a:pt x="1699" y="461"/>
                    </a:lnTo>
                    <a:lnTo>
                      <a:pt x="1697" y="501"/>
                    </a:lnTo>
                    <a:lnTo>
                      <a:pt x="1692" y="544"/>
                    </a:lnTo>
                    <a:lnTo>
                      <a:pt x="1690" y="584"/>
                    </a:lnTo>
                    <a:lnTo>
                      <a:pt x="1685" y="624"/>
                    </a:lnTo>
                    <a:lnTo>
                      <a:pt x="1683" y="665"/>
                    </a:lnTo>
                    <a:lnTo>
                      <a:pt x="1678" y="705"/>
                    </a:lnTo>
                    <a:lnTo>
                      <a:pt x="1676" y="745"/>
                    </a:lnTo>
                    <a:lnTo>
                      <a:pt x="1673" y="785"/>
                    </a:lnTo>
                    <a:lnTo>
                      <a:pt x="1668" y="825"/>
                    </a:lnTo>
                    <a:lnTo>
                      <a:pt x="1666" y="866"/>
                    </a:lnTo>
                    <a:lnTo>
                      <a:pt x="1661" y="90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2" name="Freeform 69">
                <a:extLst>
                  <a:ext uri="{FF2B5EF4-FFF2-40B4-BE49-F238E27FC236}">
                    <a16:creationId xmlns:a16="http://schemas.microsoft.com/office/drawing/2014/main" id="{FC359C36-434A-4E77-346F-3284750D9DAF}"/>
                  </a:ext>
                </a:extLst>
              </p:cNvPr>
              <p:cNvSpPr>
                <a:spLocks noEditPoints="1"/>
              </p:cNvSpPr>
              <p:nvPr/>
            </p:nvSpPr>
            <p:spPr bwMode="auto">
              <a:xfrm>
                <a:off x="6725" y="1459"/>
                <a:ext cx="1489" cy="645"/>
              </a:xfrm>
              <a:custGeom>
                <a:avLst/>
                <a:gdLst>
                  <a:gd name="T0" fmla="*/ 1383 w 1489"/>
                  <a:gd name="T1" fmla="*/ 57 h 645"/>
                  <a:gd name="T2" fmla="*/ 1335 w 1489"/>
                  <a:gd name="T3" fmla="*/ 66 h 645"/>
                  <a:gd name="T4" fmla="*/ 1331 w 1489"/>
                  <a:gd name="T5" fmla="*/ 102 h 645"/>
                  <a:gd name="T6" fmla="*/ 1279 w 1489"/>
                  <a:gd name="T7" fmla="*/ 135 h 645"/>
                  <a:gd name="T8" fmla="*/ 1253 w 1489"/>
                  <a:gd name="T9" fmla="*/ 137 h 645"/>
                  <a:gd name="T10" fmla="*/ 1331 w 1489"/>
                  <a:gd name="T11" fmla="*/ 135 h 645"/>
                  <a:gd name="T12" fmla="*/ 1373 w 1489"/>
                  <a:gd name="T13" fmla="*/ 184 h 645"/>
                  <a:gd name="T14" fmla="*/ 1406 w 1489"/>
                  <a:gd name="T15" fmla="*/ 120 h 645"/>
                  <a:gd name="T16" fmla="*/ 1402 w 1489"/>
                  <a:gd name="T17" fmla="*/ 217 h 645"/>
                  <a:gd name="T18" fmla="*/ 1326 w 1489"/>
                  <a:gd name="T19" fmla="*/ 255 h 645"/>
                  <a:gd name="T20" fmla="*/ 1293 w 1489"/>
                  <a:gd name="T21" fmla="*/ 236 h 645"/>
                  <a:gd name="T22" fmla="*/ 1234 w 1489"/>
                  <a:gd name="T23" fmla="*/ 265 h 645"/>
                  <a:gd name="T24" fmla="*/ 1309 w 1489"/>
                  <a:gd name="T25" fmla="*/ 314 h 645"/>
                  <a:gd name="T26" fmla="*/ 1231 w 1489"/>
                  <a:gd name="T27" fmla="*/ 331 h 645"/>
                  <a:gd name="T28" fmla="*/ 1361 w 1489"/>
                  <a:gd name="T29" fmla="*/ 350 h 645"/>
                  <a:gd name="T30" fmla="*/ 1309 w 1489"/>
                  <a:gd name="T31" fmla="*/ 411 h 645"/>
                  <a:gd name="T32" fmla="*/ 1224 w 1489"/>
                  <a:gd name="T33" fmla="*/ 449 h 645"/>
                  <a:gd name="T34" fmla="*/ 1198 w 1489"/>
                  <a:gd name="T35" fmla="*/ 459 h 645"/>
                  <a:gd name="T36" fmla="*/ 1161 w 1489"/>
                  <a:gd name="T37" fmla="*/ 522 h 645"/>
                  <a:gd name="T38" fmla="*/ 1135 w 1489"/>
                  <a:gd name="T39" fmla="*/ 600 h 645"/>
                  <a:gd name="T40" fmla="*/ 1057 w 1489"/>
                  <a:gd name="T41" fmla="*/ 631 h 645"/>
                  <a:gd name="T42" fmla="*/ 917 w 1489"/>
                  <a:gd name="T43" fmla="*/ 567 h 645"/>
                  <a:gd name="T44" fmla="*/ 782 w 1489"/>
                  <a:gd name="T45" fmla="*/ 494 h 645"/>
                  <a:gd name="T46" fmla="*/ 662 w 1489"/>
                  <a:gd name="T47" fmla="*/ 511 h 645"/>
                  <a:gd name="T48" fmla="*/ 589 w 1489"/>
                  <a:gd name="T49" fmla="*/ 473 h 645"/>
                  <a:gd name="T50" fmla="*/ 555 w 1489"/>
                  <a:gd name="T51" fmla="*/ 461 h 645"/>
                  <a:gd name="T52" fmla="*/ 440 w 1489"/>
                  <a:gd name="T53" fmla="*/ 470 h 645"/>
                  <a:gd name="T54" fmla="*/ 326 w 1489"/>
                  <a:gd name="T55" fmla="*/ 482 h 645"/>
                  <a:gd name="T56" fmla="*/ 236 w 1489"/>
                  <a:gd name="T57" fmla="*/ 532 h 645"/>
                  <a:gd name="T58" fmla="*/ 52 w 1489"/>
                  <a:gd name="T59" fmla="*/ 567 h 645"/>
                  <a:gd name="T60" fmla="*/ 26 w 1489"/>
                  <a:gd name="T61" fmla="*/ 513 h 645"/>
                  <a:gd name="T62" fmla="*/ 87 w 1489"/>
                  <a:gd name="T63" fmla="*/ 442 h 645"/>
                  <a:gd name="T64" fmla="*/ 210 w 1489"/>
                  <a:gd name="T65" fmla="*/ 366 h 645"/>
                  <a:gd name="T66" fmla="*/ 239 w 1489"/>
                  <a:gd name="T67" fmla="*/ 326 h 645"/>
                  <a:gd name="T68" fmla="*/ 267 w 1489"/>
                  <a:gd name="T69" fmla="*/ 326 h 645"/>
                  <a:gd name="T70" fmla="*/ 300 w 1489"/>
                  <a:gd name="T71" fmla="*/ 298 h 645"/>
                  <a:gd name="T72" fmla="*/ 371 w 1489"/>
                  <a:gd name="T73" fmla="*/ 241 h 645"/>
                  <a:gd name="T74" fmla="*/ 399 w 1489"/>
                  <a:gd name="T75" fmla="*/ 201 h 645"/>
                  <a:gd name="T76" fmla="*/ 529 w 1489"/>
                  <a:gd name="T77" fmla="*/ 156 h 645"/>
                  <a:gd name="T78" fmla="*/ 832 w 1489"/>
                  <a:gd name="T79" fmla="*/ 106 h 645"/>
                  <a:gd name="T80" fmla="*/ 1132 w 1489"/>
                  <a:gd name="T81" fmla="*/ 50 h 645"/>
                  <a:gd name="T82" fmla="*/ 1366 w 1489"/>
                  <a:gd name="T83" fmla="*/ 0 h 645"/>
                  <a:gd name="T84" fmla="*/ 1449 w 1489"/>
                  <a:gd name="T85" fmla="*/ 128 h 645"/>
                  <a:gd name="T86" fmla="*/ 1439 w 1489"/>
                  <a:gd name="T87" fmla="*/ 137 h 645"/>
                  <a:gd name="T88" fmla="*/ 1484 w 1489"/>
                  <a:gd name="T89" fmla="*/ 255 h 645"/>
                  <a:gd name="T90" fmla="*/ 1480 w 1489"/>
                  <a:gd name="T91" fmla="*/ 184 h 645"/>
                  <a:gd name="T92" fmla="*/ 1489 w 1489"/>
                  <a:gd name="T93" fmla="*/ 210 h 645"/>
                  <a:gd name="T94" fmla="*/ 1416 w 1489"/>
                  <a:gd name="T95" fmla="*/ 298 h 645"/>
                  <a:gd name="T96" fmla="*/ 1357 w 1489"/>
                  <a:gd name="T97" fmla="*/ 390 h 645"/>
                  <a:gd name="T98" fmla="*/ 1343 w 1489"/>
                  <a:gd name="T99" fmla="*/ 414 h 645"/>
                  <a:gd name="T100" fmla="*/ 1328 w 1489"/>
                  <a:gd name="T101" fmla="*/ 409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9" h="645">
                    <a:moveTo>
                      <a:pt x="1354" y="2"/>
                    </a:moveTo>
                    <a:lnTo>
                      <a:pt x="1352" y="19"/>
                    </a:lnTo>
                    <a:lnTo>
                      <a:pt x="1357" y="28"/>
                    </a:lnTo>
                    <a:lnTo>
                      <a:pt x="1369" y="35"/>
                    </a:lnTo>
                    <a:lnTo>
                      <a:pt x="1383" y="57"/>
                    </a:lnTo>
                    <a:lnTo>
                      <a:pt x="1399" y="87"/>
                    </a:lnTo>
                    <a:lnTo>
                      <a:pt x="1385" y="78"/>
                    </a:lnTo>
                    <a:lnTo>
                      <a:pt x="1373" y="73"/>
                    </a:lnTo>
                    <a:lnTo>
                      <a:pt x="1354" y="71"/>
                    </a:lnTo>
                    <a:lnTo>
                      <a:pt x="1335" y="66"/>
                    </a:lnTo>
                    <a:lnTo>
                      <a:pt x="1340" y="78"/>
                    </a:lnTo>
                    <a:lnTo>
                      <a:pt x="1343" y="92"/>
                    </a:lnTo>
                    <a:lnTo>
                      <a:pt x="1328" y="92"/>
                    </a:lnTo>
                    <a:lnTo>
                      <a:pt x="1321" y="87"/>
                    </a:lnTo>
                    <a:lnTo>
                      <a:pt x="1331" y="102"/>
                    </a:lnTo>
                    <a:lnTo>
                      <a:pt x="1314" y="102"/>
                    </a:lnTo>
                    <a:lnTo>
                      <a:pt x="1305" y="104"/>
                    </a:lnTo>
                    <a:lnTo>
                      <a:pt x="1300" y="118"/>
                    </a:lnTo>
                    <a:lnTo>
                      <a:pt x="1293" y="130"/>
                    </a:lnTo>
                    <a:lnTo>
                      <a:pt x="1279" y="135"/>
                    </a:lnTo>
                    <a:lnTo>
                      <a:pt x="1257" y="128"/>
                    </a:lnTo>
                    <a:lnTo>
                      <a:pt x="1248" y="113"/>
                    </a:lnTo>
                    <a:lnTo>
                      <a:pt x="1241" y="97"/>
                    </a:lnTo>
                    <a:lnTo>
                      <a:pt x="1243" y="118"/>
                    </a:lnTo>
                    <a:lnTo>
                      <a:pt x="1253" y="137"/>
                    </a:lnTo>
                    <a:lnTo>
                      <a:pt x="1255" y="154"/>
                    </a:lnTo>
                    <a:lnTo>
                      <a:pt x="1274" y="151"/>
                    </a:lnTo>
                    <a:lnTo>
                      <a:pt x="1291" y="144"/>
                    </a:lnTo>
                    <a:lnTo>
                      <a:pt x="1317" y="139"/>
                    </a:lnTo>
                    <a:lnTo>
                      <a:pt x="1331" y="135"/>
                    </a:lnTo>
                    <a:lnTo>
                      <a:pt x="1340" y="128"/>
                    </a:lnTo>
                    <a:lnTo>
                      <a:pt x="1364" y="125"/>
                    </a:lnTo>
                    <a:lnTo>
                      <a:pt x="1369" y="144"/>
                    </a:lnTo>
                    <a:lnTo>
                      <a:pt x="1371" y="163"/>
                    </a:lnTo>
                    <a:lnTo>
                      <a:pt x="1373" y="184"/>
                    </a:lnTo>
                    <a:lnTo>
                      <a:pt x="1380" y="182"/>
                    </a:lnTo>
                    <a:lnTo>
                      <a:pt x="1387" y="175"/>
                    </a:lnTo>
                    <a:lnTo>
                      <a:pt x="1383" y="137"/>
                    </a:lnTo>
                    <a:lnTo>
                      <a:pt x="1399" y="120"/>
                    </a:lnTo>
                    <a:lnTo>
                      <a:pt x="1406" y="120"/>
                    </a:lnTo>
                    <a:lnTo>
                      <a:pt x="1416" y="130"/>
                    </a:lnTo>
                    <a:lnTo>
                      <a:pt x="1421" y="139"/>
                    </a:lnTo>
                    <a:lnTo>
                      <a:pt x="1428" y="156"/>
                    </a:lnTo>
                    <a:lnTo>
                      <a:pt x="1428" y="182"/>
                    </a:lnTo>
                    <a:lnTo>
                      <a:pt x="1402" y="217"/>
                    </a:lnTo>
                    <a:lnTo>
                      <a:pt x="1385" y="248"/>
                    </a:lnTo>
                    <a:lnTo>
                      <a:pt x="1373" y="258"/>
                    </a:lnTo>
                    <a:lnTo>
                      <a:pt x="1357" y="258"/>
                    </a:lnTo>
                    <a:lnTo>
                      <a:pt x="1335" y="255"/>
                    </a:lnTo>
                    <a:lnTo>
                      <a:pt x="1326" y="255"/>
                    </a:lnTo>
                    <a:lnTo>
                      <a:pt x="1319" y="260"/>
                    </a:lnTo>
                    <a:lnTo>
                      <a:pt x="1314" y="253"/>
                    </a:lnTo>
                    <a:lnTo>
                      <a:pt x="1307" y="239"/>
                    </a:lnTo>
                    <a:lnTo>
                      <a:pt x="1298" y="234"/>
                    </a:lnTo>
                    <a:lnTo>
                      <a:pt x="1293" y="236"/>
                    </a:lnTo>
                    <a:lnTo>
                      <a:pt x="1293" y="253"/>
                    </a:lnTo>
                    <a:lnTo>
                      <a:pt x="1276" y="262"/>
                    </a:lnTo>
                    <a:lnTo>
                      <a:pt x="1250" y="260"/>
                    </a:lnTo>
                    <a:lnTo>
                      <a:pt x="1220" y="253"/>
                    </a:lnTo>
                    <a:lnTo>
                      <a:pt x="1234" y="265"/>
                    </a:lnTo>
                    <a:lnTo>
                      <a:pt x="1305" y="277"/>
                    </a:lnTo>
                    <a:lnTo>
                      <a:pt x="1312" y="281"/>
                    </a:lnTo>
                    <a:lnTo>
                      <a:pt x="1321" y="286"/>
                    </a:lnTo>
                    <a:lnTo>
                      <a:pt x="1314" y="300"/>
                    </a:lnTo>
                    <a:lnTo>
                      <a:pt x="1309" y="314"/>
                    </a:lnTo>
                    <a:lnTo>
                      <a:pt x="1312" y="324"/>
                    </a:lnTo>
                    <a:lnTo>
                      <a:pt x="1309" y="331"/>
                    </a:lnTo>
                    <a:lnTo>
                      <a:pt x="1288" y="355"/>
                    </a:lnTo>
                    <a:lnTo>
                      <a:pt x="1274" y="355"/>
                    </a:lnTo>
                    <a:lnTo>
                      <a:pt x="1231" y="331"/>
                    </a:lnTo>
                    <a:lnTo>
                      <a:pt x="1253" y="355"/>
                    </a:lnTo>
                    <a:lnTo>
                      <a:pt x="1269" y="362"/>
                    </a:lnTo>
                    <a:lnTo>
                      <a:pt x="1295" y="362"/>
                    </a:lnTo>
                    <a:lnTo>
                      <a:pt x="1343" y="343"/>
                    </a:lnTo>
                    <a:lnTo>
                      <a:pt x="1361" y="350"/>
                    </a:lnTo>
                    <a:lnTo>
                      <a:pt x="1352" y="371"/>
                    </a:lnTo>
                    <a:lnTo>
                      <a:pt x="1343" y="388"/>
                    </a:lnTo>
                    <a:lnTo>
                      <a:pt x="1326" y="392"/>
                    </a:lnTo>
                    <a:lnTo>
                      <a:pt x="1312" y="400"/>
                    </a:lnTo>
                    <a:lnTo>
                      <a:pt x="1309" y="411"/>
                    </a:lnTo>
                    <a:lnTo>
                      <a:pt x="1298" y="414"/>
                    </a:lnTo>
                    <a:lnTo>
                      <a:pt x="1281" y="418"/>
                    </a:lnTo>
                    <a:lnTo>
                      <a:pt x="1255" y="423"/>
                    </a:lnTo>
                    <a:lnTo>
                      <a:pt x="1241" y="426"/>
                    </a:lnTo>
                    <a:lnTo>
                      <a:pt x="1224" y="449"/>
                    </a:lnTo>
                    <a:lnTo>
                      <a:pt x="1217" y="452"/>
                    </a:lnTo>
                    <a:lnTo>
                      <a:pt x="1205" y="452"/>
                    </a:lnTo>
                    <a:lnTo>
                      <a:pt x="1198" y="437"/>
                    </a:lnTo>
                    <a:lnTo>
                      <a:pt x="1191" y="430"/>
                    </a:lnTo>
                    <a:lnTo>
                      <a:pt x="1198" y="459"/>
                    </a:lnTo>
                    <a:lnTo>
                      <a:pt x="1201" y="466"/>
                    </a:lnTo>
                    <a:lnTo>
                      <a:pt x="1205" y="470"/>
                    </a:lnTo>
                    <a:lnTo>
                      <a:pt x="1187" y="492"/>
                    </a:lnTo>
                    <a:lnTo>
                      <a:pt x="1168" y="515"/>
                    </a:lnTo>
                    <a:lnTo>
                      <a:pt x="1161" y="522"/>
                    </a:lnTo>
                    <a:lnTo>
                      <a:pt x="1153" y="534"/>
                    </a:lnTo>
                    <a:lnTo>
                      <a:pt x="1139" y="565"/>
                    </a:lnTo>
                    <a:lnTo>
                      <a:pt x="1139" y="586"/>
                    </a:lnTo>
                    <a:lnTo>
                      <a:pt x="1137" y="612"/>
                    </a:lnTo>
                    <a:lnTo>
                      <a:pt x="1135" y="600"/>
                    </a:lnTo>
                    <a:lnTo>
                      <a:pt x="1132" y="584"/>
                    </a:lnTo>
                    <a:lnTo>
                      <a:pt x="1123" y="565"/>
                    </a:lnTo>
                    <a:lnTo>
                      <a:pt x="1127" y="603"/>
                    </a:lnTo>
                    <a:lnTo>
                      <a:pt x="1123" y="619"/>
                    </a:lnTo>
                    <a:lnTo>
                      <a:pt x="1057" y="631"/>
                    </a:lnTo>
                    <a:lnTo>
                      <a:pt x="1031" y="645"/>
                    </a:lnTo>
                    <a:lnTo>
                      <a:pt x="1000" y="626"/>
                    </a:lnTo>
                    <a:lnTo>
                      <a:pt x="974" y="608"/>
                    </a:lnTo>
                    <a:lnTo>
                      <a:pt x="945" y="589"/>
                    </a:lnTo>
                    <a:lnTo>
                      <a:pt x="917" y="567"/>
                    </a:lnTo>
                    <a:lnTo>
                      <a:pt x="889" y="548"/>
                    </a:lnTo>
                    <a:lnTo>
                      <a:pt x="863" y="530"/>
                    </a:lnTo>
                    <a:lnTo>
                      <a:pt x="834" y="511"/>
                    </a:lnTo>
                    <a:lnTo>
                      <a:pt x="808" y="492"/>
                    </a:lnTo>
                    <a:lnTo>
                      <a:pt x="782" y="494"/>
                    </a:lnTo>
                    <a:lnTo>
                      <a:pt x="759" y="499"/>
                    </a:lnTo>
                    <a:lnTo>
                      <a:pt x="735" y="501"/>
                    </a:lnTo>
                    <a:lnTo>
                      <a:pt x="709" y="504"/>
                    </a:lnTo>
                    <a:lnTo>
                      <a:pt x="685" y="508"/>
                    </a:lnTo>
                    <a:lnTo>
                      <a:pt x="662" y="511"/>
                    </a:lnTo>
                    <a:lnTo>
                      <a:pt x="638" y="515"/>
                    </a:lnTo>
                    <a:lnTo>
                      <a:pt x="612" y="518"/>
                    </a:lnTo>
                    <a:lnTo>
                      <a:pt x="610" y="501"/>
                    </a:lnTo>
                    <a:lnTo>
                      <a:pt x="607" y="489"/>
                    </a:lnTo>
                    <a:lnTo>
                      <a:pt x="589" y="473"/>
                    </a:lnTo>
                    <a:lnTo>
                      <a:pt x="577" y="463"/>
                    </a:lnTo>
                    <a:lnTo>
                      <a:pt x="560" y="475"/>
                    </a:lnTo>
                    <a:lnTo>
                      <a:pt x="558" y="470"/>
                    </a:lnTo>
                    <a:lnTo>
                      <a:pt x="558" y="463"/>
                    </a:lnTo>
                    <a:lnTo>
                      <a:pt x="555" y="461"/>
                    </a:lnTo>
                    <a:lnTo>
                      <a:pt x="551" y="459"/>
                    </a:lnTo>
                    <a:lnTo>
                      <a:pt x="522" y="461"/>
                    </a:lnTo>
                    <a:lnTo>
                      <a:pt x="496" y="466"/>
                    </a:lnTo>
                    <a:lnTo>
                      <a:pt x="468" y="468"/>
                    </a:lnTo>
                    <a:lnTo>
                      <a:pt x="440" y="470"/>
                    </a:lnTo>
                    <a:lnTo>
                      <a:pt x="414" y="475"/>
                    </a:lnTo>
                    <a:lnTo>
                      <a:pt x="385" y="478"/>
                    </a:lnTo>
                    <a:lnTo>
                      <a:pt x="359" y="480"/>
                    </a:lnTo>
                    <a:lnTo>
                      <a:pt x="331" y="482"/>
                    </a:lnTo>
                    <a:lnTo>
                      <a:pt x="326" y="482"/>
                    </a:lnTo>
                    <a:lnTo>
                      <a:pt x="314" y="492"/>
                    </a:lnTo>
                    <a:lnTo>
                      <a:pt x="284" y="506"/>
                    </a:lnTo>
                    <a:lnTo>
                      <a:pt x="269" y="518"/>
                    </a:lnTo>
                    <a:lnTo>
                      <a:pt x="262" y="518"/>
                    </a:lnTo>
                    <a:lnTo>
                      <a:pt x="236" y="532"/>
                    </a:lnTo>
                    <a:lnTo>
                      <a:pt x="210" y="544"/>
                    </a:lnTo>
                    <a:lnTo>
                      <a:pt x="208" y="544"/>
                    </a:lnTo>
                    <a:lnTo>
                      <a:pt x="156" y="553"/>
                    </a:lnTo>
                    <a:lnTo>
                      <a:pt x="104" y="560"/>
                    </a:lnTo>
                    <a:lnTo>
                      <a:pt x="52" y="567"/>
                    </a:lnTo>
                    <a:lnTo>
                      <a:pt x="0" y="574"/>
                    </a:lnTo>
                    <a:lnTo>
                      <a:pt x="2" y="530"/>
                    </a:lnTo>
                    <a:lnTo>
                      <a:pt x="5" y="520"/>
                    </a:lnTo>
                    <a:lnTo>
                      <a:pt x="9" y="515"/>
                    </a:lnTo>
                    <a:lnTo>
                      <a:pt x="26" y="513"/>
                    </a:lnTo>
                    <a:lnTo>
                      <a:pt x="38" y="508"/>
                    </a:lnTo>
                    <a:lnTo>
                      <a:pt x="45" y="480"/>
                    </a:lnTo>
                    <a:lnTo>
                      <a:pt x="64" y="454"/>
                    </a:lnTo>
                    <a:lnTo>
                      <a:pt x="73" y="449"/>
                    </a:lnTo>
                    <a:lnTo>
                      <a:pt x="87" y="442"/>
                    </a:lnTo>
                    <a:lnTo>
                      <a:pt x="123" y="433"/>
                    </a:lnTo>
                    <a:lnTo>
                      <a:pt x="158" y="407"/>
                    </a:lnTo>
                    <a:lnTo>
                      <a:pt x="184" y="383"/>
                    </a:lnTo>
                    <a:lnTo>
                      <a:pt x="206" y="373"/>
                    </a:lnTo>
                    <a:lnTo>
                      <a:pt x="210" y="366"/>
                    </a:lnTo>
                    <a:lnTo>
                      <a:pt x="215" y="357"/>
                    </a:lnTo>
                    <a:lnTo>
                      <a:pt x="215" y="343"/>
                    </a:lnTo>
                    <a:lnTo>
                      <a:pt x="217" y="340"/>
                    </a:lnTo>
                    <a:lnTo>
                      <a:pt x="232" y="340"/>
                    </a:lnTo>
                    <a:lnTo>
                      <a:pt x="239" y="326"/>
                    </a:lnTo>
                    <a:lnTo>
                      <a:pt x="248" y="319"/>
                    </a:lnTo>
                    <a:lnTo>
                      <a:pt x="255" y="314"/>
                    </a:lnTo>
                    <a:lnTo>
                      <a:pt x="262" y="314"/>
                    </a:lnTo>
                    <a:lnTo>
                      <a:pt x="265" y="317"/>
                    </a:lnTo>
                    <a:lnTo>
                      <a:pt x="267" y="326"/>
                    </a:lnTo>
                    <a:lnTo>
                      <a:pt x="269" y="329"/>
                    </a:lnTo>
                    <a:lnTo>
                      <a:pt x="274" y="329"/>
                    </a:lnTo>
                    <a:lnTo>
                      <a:pt x="279" y="326"/>
                    </a:lnTo>
                    <a:lnTo>
                      <a:pt x="286" y="319"/>
                    </a:lnTo>
                    <a:lnTo>
                      <a:pt x="300" y="298"/>
                    </a:lnTo>
                    <a:lnTo>
                      <a:pt x="312" y="288"/>
                    </a:lnTo>
                    <a:lnTo>
                      <a:pt x="331" y="281"/>
                    </a:lnTo>
                    <a:lnTo>
                      <a:pt x="345" y="288"/>
                    </a:lnTo>
                    <a:lnTo>
                      <a:pt x="355" y="284"/>
                    </a:lnTo>
                    <a:lnTo>
                      <a:pt x="371" y="241"/>
                    </a:lnTo>
                    <a:lnTo>
                      <a:pt x="381" y="234"/>
                    </a:lnTo>
                    <a:lnTo>
                      <a:pt x="388" y="229"/>
                    </a:lnTo>
                    <a:lnTo>
                      <a:pt x="399" y="227"/>
                    </a:lnTo>
                    <a:lnTo>
                      <a:pt x="397" y="217"/>
                    </a:lnTo>
                    <a:lnTo>
                      <a:pt x="399" y="201"/>
                    </a:lnTo>
                    <a:lnTo>
                      <a:pt x="399" y="189"/>
                    </a:lnTo>
                    <a:lnTo>
                      <a:pt x="404" y="173"/>
                    </a:lnTo>
                    <a:lnTo>
                      <a:pt x="407" y="175"/>
                    </a:lnTo>
                    <a:lnTo>
                      <a:pt x="468" y="165"/>
                    </a:lnTo>
                    <a:lnTo>
                      <a:pt x="529" y="156"/>
                    </a:lnTo>
                    <a:lnTo>
                      <a:pt x="589" y="147"/>
                    </a:lnTo>
                    <a:lnTo>
                      <a:pt x="650" y="137"/>
                    </a:lnTo>
                    <a:lnTo>
                      <a:pt x="709" y="125"/>
                    </a:lnTo>
                    <a:lnTo>
                      <a:pt x="771" y="116"/>
                    </a:lnTo>
                    <a:lnTo>
                      <a:pt x="832" y="106"/>
                    </a:lnTo>
                    <a:lnTo>
                      <a:pt x="891" y="94"/>
                    </a:lnTo>
                    <a:lnTo>
                      <a:pt x="953" y="83"/>
                    </a:lnTo>
                    <a:lnTo>
                      <a:pt x="1012" y="71"/>
                    </a:lnTo>
                    <a:lnTo>
                      <a:pt x="1073" y="61"/>
                    </a:lnTo>
                    <a:lnTo>
                      <a:pt x="1132" y="50"/>
                    </a:lnTo>
                    <a:lnTo>
                      <a:pt x="1194" y="35"/>
                    </a:lnTo>
                    <a:lnTo>
                      <a:pt x="1253" y="24"/>
                    </a:lnTo>
                    <a:lnTo>
                      <a:pt x="1312" y="12"/>
                    </a:lnTo>
                    <a:lnTo>
                      <a:pt x="1354" y="2"/>
                    </a:lnTo>
                    <a:close/>
                    <a:moveTo>
                      <a:pt x="1366" y="0"/>
                    </a:moveTo>
                    <a:lnTo>
                      <a:pt x="1371" y="0"/>
                    </a:lnTo>
                    <a:lnTo>
                      <a:pt x="1404" y="61"/>
                    </a:lnTo>
                    <a:lnTo>
                      <a:pt x="1454" y="125"/>
                    </a:lnTo>
                    <a:lnTo>
                      <a:pt x="1461" y="137"/>
                    </a:lnTo>
                    <a:lnTo>
                      <a:pt x="1449" y="128"/>
                    </a:lnTo>
                    <a:lnTo>
                      <a:pt x="1413" y="85"/>
                    </a:lnTo>
                    <a:lnTo>
                      <a:pt x="1392" y="54"/>
                    </a:lnTo>
                    <a:lnTo>
                      <a:pt x="1366" y="0"/>
                    </a:lnTo>
                    <a:close/>
                    <a:moveTo>
                      <a:pt x="1442" y="132"/>
                    </a:moveTo>
                    <a:lnTo>
                      <a:pt x="1439" y="137"/>
                    </a:lnTo>
                    <a:lnTo>
                      <a:pt x="1423" y="118"/>
                    </a:lnTo>
                    <a:lnTo>
                      <a:pt x="1437" y="123"/>
                    </a:lnTo>
                    <a:lnTo>
                      <a:pt x="1439" y="128"/>
                    </a:lnTo>
                    <a:lnTo>
                      <a:pt x="1442" y="132"/>
                    </a:lnTo>
                    <a:close/>
                    <a:moveTo>
                      <a:pt x="1484" y="255"/>
                    </a:moveTo>
                    <a:lnTo>
                      <a:pt x="1463" y="267"/>
                    </a:lnTo>
                    <a:lnTo>
                      <a:pt x="1461" y="265"/>
                    </a:lnTo>
                    <a:lnTo>
                      <a:pt x="1484" y="248"/>
                    </a:lnTo>
                    <a:lnTo>
                      <a:pt x="1484" y="206"/>
                    </a:lnTo>
                    <a:lnTo>
                      <a:pt x="1480" y="184"/>
                    </a:lnTo>
                    <a:lnTo>
                      <a:pt x="1468" y="154"/>
                    </a:lnTo>
                    <a:lnTo>
                      <a:pt x="1468" y="147"/>
                    </a:lnTo>
                    <a:lnTo>
                      <a:pt x="1475" y="156"/>
                    </a:lnTo>
                    <a:lnTo>
                      <a:pt x="1484" y="187"/>
                    </a:lnTo>
                    <a:lnTo>
                      <a:pt x="1489" y="210"/>
                    </a:lnTo>
                    <a:lnTo>
                      <a:pt x="1489" y="246"/>
                    </a:lnTo>
                    <a:lnTo>
                      <a:pt x="1484" y="255"/>
                    </a:lnTo>
                    <a:close/>
                    <a:moveTo>
                      <a:pt x="1447" y="274"/>
                    </a:moveTo>
                    <a:lnTo>
                      <a:pt x="1421" y="298"/>
                    </a:lnTo>
                    <a:lnTo>
                      <a:pt x="1416" y="298"/>
                    </a:lnTo>
                    <a:lnTo>
                      <a:pt x="1435" y="281"/>
                    </a:lnTo>
                    <a:lnTo>
                      <a:pt x="1447" y="274"/>
                    </a:lnTo>
                    <a:close/>
                    <a:moveTo>
                      <a:pt x="1350" y="416"/>
                    </a:moveTo>
                    <a:lnTo>
                      <a:pt x="1347" y="418"/>
                    </a:lnTo>
                    <a:lnTo>
                      <a:pt x="1357" y="390"/>
                    </a:lnTo>
                    <a:lnTo>
                      <a:pt x="1380" y="350"/>
                    </a:lnTo>
                    <a:lnTo>
                      <a:pt x="1387" y="343"/>
                    </a:lnTo>
                    <a:lnTo>
                      <a:pt x="1369" y="376"/>
                    </a:lnTo>
                    <a:lnTo>
                      <a:pt x="1350" y="416"/>
                    </a:lnTo>
                    <a:close/>
                    <a:moveTo>
                      <a:pt x="1343" y="414"/>
                    </a:moveTo>
                    <a:lnTo>
                      <a:pt x="1338" y="416"/>
                    </a:lnTo>
                    <a:lnTo>
                      <a:pt x="1331" y="414"/>
                    </a:lnTo>
                    <a:lnTo>
                      <a:pt x="1321" y="411"/>
                    </a:lnTo>
                    <a:lnTo>
                      <a:pt x="1319" y="409"/>
                    </a:lnTo>
                    <a:lnTo>
                      <a:pt x="1328" y="409"/>
                    </a:lnTo>
                    <a:lnTo>
                      <a:pt x="1343" y="41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3" name="Freeform 70">
                <a:extLst>
                  <a:ext uri="{FF2B5EF4-FFF2-40B4-BE49-F238E27FC236}">
                    <a16:creationId xmlns:a16="http://schemas.microsoft.com/office/drawing/2014/main" id="{DDDFA668-30D5-F2CF-FE4E-5552F370D424}"/>
                  </a:ext>
                </a:extLst>
              </p:cNvPr>
              <p:cNvSpPr>
                <a:spLocks/>
              </p:cNvSpPr>
              <p:nvPr/>
            </p:nvSpPr>
            <p:spPr bwMode="auto">
              <a:xfrm>
                <a:off x="3524" y="-842"/>
                <a:ext cx="1102" cy="698"/>
              </a:xfrm>
              <a:custGeom>
                <a:avLst/>
                <a:gdLst>
                  <a:gd name="T0" fmla="*/ 1066 w 1102"/>
                  <a:gd name="T1" fmla="*/ 698 h 698"/>
                  <a:gd name="T2" fmla="*/ 998 w 1102"/>
                  <a:gd name="T3" fmla="*/ 698 h 698"/>
                  <a:gd name="T4" fmla="*/ 929 w 1102"/>
                  <a:gd name="T5" fmla="*/ 695 h 698"/>
                  <a:gd name="T6" fmla="*/ 861 w 1102"/>
                  <a:gd name="T7" fmla="*/ 695 h 698"/>
                  <a:gd name="T8" fmla="*/ 792 w 1102"/>
                  <a:gd name="T9" fmla="*/ 693 h 698"/>
                  <a:gd name="T10" fmla="*/ 724 w 1102"/>
                  <a:gd name="T11" fmla="*/ 691 h 698"/>
                  <a:gd name="T12" fmla="*/ 655 w 1102"/>
                  <a:gd name="T13" fmla="*/ 688 h 698"/>
                  <a:gd name="T14" fmla="*/ 587 w 1102"/>
                  <a:gd name="T15" fmla="*/ 686 h 698"/>
                  <a:gd name="T16" fmla="*/ 516 w 1102"/>
                  <a:gd name="T17" fmla="*/ 681 h 698"/>
                  <a:gd name="T18" fmla="*/ 447 w 1102"/>
                  <a:gd name="T19" fmla="*/ 679 h 698"/>
                  <a:gd name="T20" fmla="*/ 379 w 1102"/>
                  <a:gd name="T21" fmla="*/ 674 h 698"/>
                  <a:gd name="T22" fmla="*/ 310 w 1102"/>
                  <a:gd name="T23" fmla="*/ 669 h 698"/>
                  <a:gd name="T24" fmla="*/ 241 w 1102"/>
                  <a:gd name="T25" fmla="*/ 665 h 698"/>
                  <a:gd name="T26" fmla="*/ 173 w 1102"/>
                  <a:gd name="T27" fmla="*/ 660 h 698"/>
                  <a:gd name="T28" fmla="*/ 104 w 1102"/>
                  <a:gd name="T29" fmla="*/ 655 h 698"/>
                  <a:gd name="T30" fmla="*/ 36 w 1102"/>
                  <a:gd name="T31" fmla="*/ 648 h 698"/>
                  <a:gd name="T32" fmla="*/ 5 w 1102"/>
                  <a:gd name="T33" fmla="*/ 606 h 698"/>
                  <a:gd name="T34" fmla="*/ 12 w 1102"/>
                  <a:gd name="T35" fmla="*/ 525 h 698"/>
                  <a:gd name="T36" fmla="*/ 17 w 1102"/>
                  <a:gd name="T37" fmla="*/ 445 h 698"/>
                  <a:gd name="T38" fmla="*/ 24 w 1102"/>
                  <a:gd name="T39" fmla="*/ 364 h 698"/>
                  <a:gd name="T40" fmla="*/ 31 w 1102"/>
                  <a:gd name="T41" fmla="*/ 284 h 698"/>
                  <a:gd name="T42" fmla="*/ 38 w 1102"/>
                  <a:gd name="T43" fmla="*/ 201 h 698"/>
                  <a:gd name="T44" fmla="*/ 45 w 1102"/>
                  <a:gd name="T45" fmla="*/ 121 h 698"/>
                  <a:gd name="T46" fmla="*/ 52 w 1102"/>
                  <a:gd name="T47" fmla="*/ 40 h 698"/>
                  <a:gd name="T48" fmla="*/ 71 w 1102"/>
                  <a:gd name="T49" fmla="*/ 0 h 698"/>
                  <a:gd name="T50" fmla="*/ 189 w 1102"/>
                  <a:gd name="T51" fmla="*/ 10 h 698"/>
                  <a:gd name="T52" fmla="*/ 310 w 1102"/>
                  <a:gd name="T53" fmla="*/ 19 h 698"/>
                  <a:gd name="T54" fmla="*/ 431 w 1102"/>
                  <a:gd name="T55" fmla="*/ 26 h 698"/>
                  <a:gd name="T56" fmla="*/ 549 w 1102"/>
                  <a:gd name="T57" fmla="*/ 33 h 698"/>
                  <a:gd name="T58" fmla="*/ 669 w 1102"/>
                  <a:gd name="T59" fmla="*/ 38 h 698"/>
                  <a:gd name="T60" fmla="*/ 790 w 1102"/>
                  <a:gd name="T61" fmla="*/ 43 h 698"/>
                  <a:gd name="T62" fmla="*/ 908 w 1102"/>
                  <a:gd name="T63" fmla="*/ 45 h 698"/>
                  <a:gd name="T64" fmla="*/ 1012 w 1102"/>
                  <a:gd name="T65" fmla="*/ 48 h 698"/>
                  <a:gd name="T66" fmla="*/ 1024 w 1102"/>
                  <a:gd name="T67" fmla="*/ 133 h 698"/>
                  <a:gd name="T68" fmla="*/ 1024 w 1102"/>
                  <a:gd name="T69" fmla="*/ 166 h 698"/>
                  <a:gd name="T70" fmla="*/ 1024 w 1102"/>
                  <a:gd name="T71" fmla="*/ 199 h 698"/>
                  <a:gd name="T72" fmla="*/ 1031 w 1102"/>
                  <a:gd name="T73" fmla="*/ 251 h 698"/>
                  <a:gd name="T74" fmla="*/ 1040 w 1102"/>
                  <a:gd name="T75" fmla="*/ 284 h 698"/>
                  <a:gd name="T76" fmla="*/ 1048 w 1102"/>
                  <a:gd name="T77" fmla="*/ 312 h 698"/>
                  <a:gd name="T78" fmla="*/ 1059 w 1102"/>
                  <a:gd name="T79" fmla="*/ 383 h 698"/>
                  <a:gd name="T80" fmla="*/ 1064 w 1102"/>
                  <a:gd name="T81" fmla="*/ 468 h 698"/>
                  <a:gd name="T82" fmla="*/ 1071 w 1102"/>
                  <a:gd name="T83" fmla="*/ 490 h 698"/>
                  <a:gd name="T84" fmla="*/ 1069 w 1102"/>
                  <a:gd name="T85" fmla="*/ 516 h 698"/>
                  <a:gd name="T86" fmla="*/ 1074 w 1102"/>
                  <a:gd name="T87" fmla="*/ 561 h 698"/>
                  <a:gd name="T88" fmla="*/ 1092 w 1102"/>
                  <a:gd name="T89" fmla="*/ 617 h 698"/>
                  <a:gd name="T90" fmla="*/ 1097 w 1102"/>
                  <a:gd name="T91" fmla="*/ 639 h 698"/>
                  <a:gd name="T92" fmla="*/ 1100 w 1102"/>
                  <a:gd name="T93" fmla="*/ 681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2" h="698">
                    <a:moveTo>
                      <a:pt x="1102" y="698"/>
                    </a:moveTo>
                    <a:lnTo>
                      <a:pt x="1066" y="698"/>
                    </a:lnTo>
                    <a:lnTo>
                      <a:pt x="1033" y="698"/>
                    </a:lnTo>
                    <a:lnTo>
                      <a:pt x="998" y="698"/>
                    </a:lnTo>
                    <a:lnTo>
                      <a:pt x="965" y="698"/>
                    </a:lnTo>
                    <a:lnTo>
                      <a:pt x="929" y="695"/>
                    </a:lnTo>
                    <a:lnTo>
                      <a:pt x="896" y="695"/>
                    </a:lnTo>
                    <a:lnTo>
                      <a:pt x="861" y="695"/>
                    </a:lnTo>
                    <a:lnTo>
                      <a:pt x="825" y="693"/>
                    </a:lnTo>
                    <a:lnTo>
                      <a:pt x="792" y="693"/>
                    </a:lnTo>
                    <a:lnTo>
                      <a:pt x="757" y="691"/>
                    </a:lnTo>
                    <a:lnTo>
                      <a:pt x="724" y="691"/>
                    </a:lnTo>
                    <a:lnTo>
                      <a:pt x="688" y="688"/>
                    </a:lnTo>
                    <a:lnTo>
                      <a:pt x="655" y="688"/>
                    </a:lnTo>
                    <a:lnTo>
                      <a:pt x="620" y="686"/>
                    </a:lnTo>
                    <a:lnTo>
                      <a:pt x="587" y="686"/>
                    </a:lnTo>
                    <a:lnTo>
                      <a:pt x="551" y="684"/>
                    </a:lnTo>
                    <a:lnTo>
                      <a:pt x="516" y="681"/>
                    </a:lnTo>
                    <a:lnTo>
                      <a:pt x="483" y="681"/>
                    </a:lnTo>
                    <a:lnTo>
                      <a:pt x="447" y="679"/>
                    </a:lnTo>
                    <a:lnTo>
                      <a:pt x="414" y="676"/>
                    </a:lnTo>
                    <a:lnTo>
                      <a:pt x="379" y="674"/>
                    </a:lnTo>
                    <a:lnTo>
                      <a:pt x="345" y="672"/>
                    </a:lnTo>
                    <a:lnTo>
                      <a:pt x="310" y="669"/>
                    </a:lnTo>
                    <a:lnTo>
                      <a:pt x="277" y="667"/>
                    </a:lnTo>
                    <a:lnTo>
                      <a:pt x="241" y="665"/>
                    </a:lnTo>
                    <a:lnTo>
                      <a:pt x="208" y="662"/>
                    </a:lnTo>
                    <a:lnTo>
                      <a:pt x="173" y="660"/>
                    </a:lnTo>
                    <a:lnTo>
                      <a:pt x="137" y="658"/>
                    </a:lnTo>
                    <a:lnTo>
                      <a:pt x="104" y="655"/>
                    </a:lnTo>
                    <a:lnTo>
                      <a:pt x="69" y="653"/>
                    </a:lnTo>
                    <a:lnTo>
                      <a:pt x="36" y="648"/>
                    </a:lnTo>
                    <a:lnTo>
                      <a:pt x="0" y="646"/>
                    </a:lnTo>
                    <a:lnTo>
                      <a:pt x="5" y="606"/>
                    </a:lnTo>
                    <a:lnTo>
                      <a:pt x="7" y="565"/>
                    </a:lnTo>
                    <a:lnTo>
                      <a:pt x="12" y="525"/>
                    </a:lnTo>
                    <a:lnTo>
                      <a:pt x="15" y="485"/>
                    </a:lnTo>
                    <a:lnTo>
                      <a:pt x="17" y="445"/>
                    </a:lnTo>
                    <a:lnTo>
                      <a:pt x="22" y="405"/>
                    </a:lnTo>
                    <a:lnTo>
                      <a:pt x="24" y="364"/>
                    </a:lnTo>
                    <a:lnTo>
                      <a:pt x="29" y="324"/>
                    </a:lnTo>
                    <a:lnTo>
                      <a:pt x="31" y="284"/>
                    </a:lnTo>
                    <a:lnTo>
                      <a:pt x="36" y="241"/>
                    </a:lnTo>
                    <a:lnTo>
                      <a:pt x="38" y="201"/>
                    </a:lnTo>
                    <a:lnTo>
                      <a:pt x="41" y="161"/>
                    </a:lnTo>
                    <a:lnTo>
                      <a:pt x="45" y="121"/>
                    </a:lnTo>
                    <a:lnTo>
                      <a:pt x="48" y="81"/>
                    </a:lnTo>
                    <a:lnTo>
                      <a:pt x="52" y="40"/>
                    </a:lnTo>
                    <a:lnTo>
                      <a:pt x="55" y="0"/>
                    </a:lnTo>
                    <a:lnTo>
                      <a:pt x="71" y="0"/>
                    </a:lnTo>
                    <a:lnTo>
                      <a:pt x="130" y="5"/>
                    </a:lnTo>
                    <a:lnTo>
                      <a:pt x="189" y="10"/>
                    </a:lnTo>
                    <a:lnTo>
                      <a:pt x="251" y="14"/>
                    </a:lnTo>
                    <a:lnTo>
                      <a:pt x="310" y="19"/>
                    </a:lnTo>
                    <a:lnTo>
                      <a:pt x="369" y="24"/>
                    </a:lnTo>
                    <a:lnTo>
                      <a:pt x="431" y="26"/>
                    </a:lnTo>
                    <a:lnTo>
                      <a:pt x="490" y="31"/>
                    </a:lnTo>
                    <a:lnTo>
                      <a:pt x="549" y="33"/>
                    </a:lnTo>
                    <a:lnTo>
                      <a:pt x="610" y="36"/>
                    </a:lnTo>
                    <a:lnTo>
                      <a:pt x="669" y="38"/>
                    </a:lnTo>
                    <a:lnTo>
                      <a:pt x="728" y="40"/>
                    </a:lnTo>
                    <a:lnTo>
                      <a:pt x="790" y="43"/>
                    </a:lnTo>
                    <a:lnTo>
                      <a:pt x="849" y="45"/>
                    </a:lnTo>
                    <a:lnTo>
                      <a:pt x="908" y="45"/>
                    </a:lnTo>
                    <a:lnTo>
                      <a:pt x="970" y="48"/>
                    </a:lnTo>
                    <a:lnTo>
                      <a:pt x="1012" y="48"/>
                    </a:lnTo>
                    <a:lnTo>
                      <a:pt x="1024" y="114"/>
                    </a:lnTo>
                    <a:lnTo>
                      <a:pt x="1024" y="133"/>
                    </a:lnTo>
                    <a:lnTo>
                      <a:pt x="1022" y="147"/>
                    </a:lnTo>
                    <a:lnTo>
                      <a:pt x="1024" y="166"/>
                    </a:lnTo>
                    <a:lnTo>
                      <a:pt x="1022" y="180"/>
                    </a:lnTo>
                    <a:lnTo>
                      <a:pt x="1024" y="199"/>
                    </a:lnTo>
                    <a:lnTo>
                      <a:pt x="1024" y="223"/>
                    </a:lnTo>
                    <a:lnTo>
                      <a:pt x="1031" y="251"/>
                    </a:lnTo>
                    <a:lnTo>
                      <a:pt x="1040" y="277"/>
                    </a:lnTo>
                    <a:lnTo>
                      <a:pt x="1040" y="284"/>
                    </a:lnTo>
                    <a:lnTo>
                      <a:pt x="1043" y="298"/>
                    </a:lnTo>
                    <a:lnTo>
                      <a:pt x="1048" y="312"/>
                    </a:lnTo>
                    <a:lnTo>
                      <a:pt x="1062" y="348"/>
                    </a:lnTo>
                    <a:lnTo>
                      <a:pt x="1059" y="383"/>
                    </a:lnTo>
                    <a:lnTo>
                      <a:pt x="1062" y="395"/>
                    </a:lnTo>
                    <a:lnTo>
                      <a:pt x="1064" y="468"/>
                    </a:lnTo>
                    <a:lnTo>
                      <a:pt x="1064" y="480"/>
                    </a:lnTo>
                    <a:lnTo>
                      <a:pt x="1071" y="490"/>
                    </a:lnTo>
                    <a:lnTo>
                      <a:pt x="1069" y="509"/>
                    </a:lnTo>
                    <a:lnTo>
                      <a:pt x="1069" y="516"/>
                    </a:lnTo>
                    <a:lnTo>
                      <a:pt x="1069" y="549"/>
                    </a:lnTo>
                    <a:lnTo>
                      <a:pt x="1074" y="561"/>
                    </a:lnTo>
                    <a:lnTo>
                      <a:pt x="1076" y="587"/>
                    </a:lnTo>
                    <a:lnTo>
                      <a:pt x="1092" y="617"/>
                    </a:lnTo>
                    <a:lnTo>
                      <a:pt x="1097" y="629"/>
                    </a:lnTo>
                    <a:lnTo>
                      <a:pt x="1097" y="639"/>
                    </a:lnTo>
                    <a:lnTo>
                      <a:pt x="1102" y="658"/>
                    </a:lnTo>
                    <a:lnTo>
                      <a:pt x="1100" y="681"/>
                    </a:lnTo>
                    <a:lnTo>
                      <a:pt x="1102" y="69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4" name="Freeform 71">
                <a:extLst>
                  <a:ext uri="{FF2B5EF4-FFF2-40B4-BE49-F238E27FC236}">
                    <a16:creationId xmlns:a16="http://schemas.microsoft.com/office/drawing/2014/main" id="{B2A6C696-D4E9-3905-4E50-FB2E7CE61644}"/>
                  </a:ext>
                </a:extLst>
              </p:cNvPr>
              <p:cNvSpPr>
                <a:spLocks/>
              </p:cNvSpPr>
              <p:nvPr/>
            </p:nvSpPr>
            <p:spPr bwMode="auto">
              <a:xfrm>
                <a:off x="3432" y="423"/>
                <a:ext cx="1381" cy="686"/>
              </a:xfrm>
              <a:custGeom>
                <a:avLst/>
                <a:gdLst>
                  <a:gd name="T0" fmla="*/ 1206 w 1381"/>
                  <a:gd name="T1" fmla="*/ 159 h 686"/>
                  <a:gd name="T2" fmla="*/ 1220 w 1381"/>
                  <a:gd name="T3" fmla="*/ 211 h 686"/>
                  <a:gd name="T4" fmla="*/ 1244 w 1381"/>
                  <a:gd name="T5" fmla="*/ 258 h 686"/>
                  <a:gd name="T6" fmla="*/ 1253 w 1381"/>
                  <a:gd name="T7" fmla="*/ 284 h 686"/>
                  <a:gd name="T8" fmla="*/ 1262 w 1381"/>
                  <a:gd name="T9" fmla="*/ 303 h 686"/>
                  <a:gd name="T10" fmla="*/ 1265 w 1381"/>
                  <a:gd name="T11" fmla="*/ 348 h 686"/>
                  <a:gd name="T12" fmla="*/ 1274 w 1381"/>
                  <a:gd name="T13" fmla="*/ 364 h 686"/>
                  <a:gd name="T14" fmla="*/ 1277 w 1381"/>
                  <a:gd name="T15" fmla="*/ 374 h 686"/>
                  <a:gd name="T16" fmla="*/ 1286 w 1381"/>
                  <a:gd name="T17" fmla="*/ 379 h 686"/>
                  <a:gd name="T18" fmla="*/ 1284 w 1381"/>
                  <a:gd name="T19" fmla="*/ 400 h 686"/>
                  <a:gd name="T20" fmla="*/ 1293 w 1381"/>
                  <a:gd name="T21" fmla="*/ 409 h 686"/>
                  <a:gd name="T22" fmla="*/ 1291 w 1381"/>
                  <a:gd name="T23" fmla="*/ 426 h 686"/>
                  <a:gd name="T24" fmla="*/ 1298 w 1381"/>
                  <a:gd name="T25" fmla="*/ 438 h 686"/>
                  <a:gd name="T26" fmla="*/ 1303 w 1381"/>
                  <a:gd name="T27" fmla="*/ 499 h 686"/>
                  <a:gd name="T28" fmla="*/ 1298 w 1381"/>
                  <a:gd name="T29" fmla="*/ 530 h 686"/>
                  <a:gd name="T30" fmla="*/ 1314 w 1381"/>
                  <a:gd name="T31" fmla="*/ 561 h 686"/>
                  <a:gd name="T32" fmla="*/ 1326 w 1381"/>
                  <a:gd name="T33" fmla="*/ 589 h 686"/>
                  <a:gd name="T34" fmla="*/ 1340 w 1381"/>
                  <a:gd name="T35" fmla="*/ 624 h 686"/>
                  <a:gd name="T36" fmla="*/ 1362 w 1381"/>
                  <a:gd name="T37" fmla="*/ 646 h 686"/>
                  <a:gd name="T38" fmla="*/ 1378 w 1381"/>
                  <a:gd name="T39" fmla="*/ 684 h 686"/>
                  <a:gd name="T40" fmla="*/ 1352 w 1381"/>
                  <a:gd name="T41" fmla="*/ 686 h 686"/>
                  <a:gd name="T42" fmla="*/ 1286 w 1381"/>
                  <a:gd name="T43" fmla="*/ 686 h 686"/>
                  <a:gd name="T44" fmla="*/ 1218 w 1381"/>
                  <a:gd name="T45" fmla="*/ 686 h 686"/>
                  <a:gd name="T46" fmla="*/ 1149 w 1381"/>
                  <a:gd name="T47" fmla="*/ 686 h 686"/>
                  <a:gd name="T48" fmla="*/ 1083 w 1381"/>
                  <a:gd name="T49" fmla="*/ 686 h 686"/>
                  <a:gd name="T50" fmla="*/ 1014 w 1381"/>
                  <a:gd name="T51" fmla="*/ 684 h 686"/>
                  <a:gd name="T52" fmla="*/ 946 w 1381"/>
                  <a:gd name="T53" fmla="*/ 684 h 686"/>
                  <a:gd name="T54" fmla="*/ 880 w 1381"/>
                  <a:gd name="T55" fmla="*/ 681 h 686"/>
                  <a:gd name="T56" fmla="*/ 811 w 1381"/>
                  <a:gd name="T57" fmla="*/ 679 h 686"/>
                  <a:gd name="T58" fmla="*/ 742 w 1381"/>
                  <a:gd name="T59" fmla="*/ 677 h 686"/>
                  <a:gd name="T60" fmla="*/ 676 w 1381"/>
                  <a:gd name="T61" fmla="*/ 674 h 686"/>
                  <a:gd name="T62" fmla="*/ 608 w 1381"/>
                  <a:gd name="T63" fmla="*/ 672 h 686"/>
                  <a:gd name="T64" fmla="*/ 539 w 1381"/>
                  <a:gd name="T65" fmla="*/ 669 h 686"/>
                  <a:gd name="T66" fmla="*/ 473 w 1381"/>
                  <a:gd name="T67" fmla="*/ 665 h 686"/>
                  <a:gd name="T68" fmla="*/ 404 w 1381"/>
                  <a:gd name="T69" fmla="*/ 660 h 686"/>
                  <a:gd name="T70" fmla="*/ 336 w 1381"/>
                  <a:gd name="T71" fmla="*/ 658 h 686"/>
                  <a:gd name="T72" fmla="*/ 305 w 1381"/>
                  <a:gd name="T73" fmla="*/ 629 h 686"/>
                  <a:gd name="T74" fmla="*/ 307 w 1381"/>
                  <a:gd name="T75" fmla="*/ 575 h 686"/>
                  <a:gd name="T76" fmla="*/ 312 w 1381"/>
                  <a:gd name="T77" fmla="*/ 523 h 686"/>
                  <a:gd name="T78" fmla="*/ 315 w 1381"/>
                  <a:gd name="T79" fmla="*/ 471 h 686"/>
                  <a:gd name="T80" fmla="*/ 277 w 1381"/>
                  <a:gd name="T81" fmla="*/ 442 h 686"/>
                  <a:gd name="T82" fmla="*/ 199 w 1381"/>
                  <a:gd name="T83" fmla="*/ 435 h 686"/>
                  <a:gd name="T84" fmla="*/ 118 w 1381"/>
                  <a:gd name="T85" fmla="*/ 431 h 686"/>
                  <a:gd name="T86" fmla="*/ 40 w 1381"/>
                  <a:gd name="T87" fmla="*/ 424 h 686"/>
                  <a:gd name="T88" fmla="*/ 5 w 1381"/>
                  <a:gd name="T89" fmla="*/ 367 h 686"/>
                  <a:gd name="T90" fmla="*/ 14 w 1381"/>
                  <a:gd name="T91" fmla="*/ 263 h 686"/>
                  <a:gd name="T92" fmla="*/ 21 w 1381"/>
                  <a:gd name="T93" fmla="*/ 159 h 686"/>
                  <a:gd name="T94" fmla="*/ 31 w 1381"/>
                  <a:gd name="T95" fmla="*/ 52 h 686"/>
                  <a:gd name="T96" fmla="*/ 90 w 1381"/>
                  <a:gd name="T97" fmla="*/ 5 h 686"/>
                  <a:gd name="T98" fmla="*/ 196 w 1381"/>
                  <a:gd name="T99" fmla="*/ 14 h 686"/>
                  <a:gd name="T100" fmla="*/ 303 w 1381"/>
                  <a:gd name="T101" fmla="*/ 22 h 686"/>
                  <a:gd name="T102" fmla="*/ 409 w 1381"/>
                  <a:gd name="T103" fmla="*/ 29 h 686"/>
                  <a:gd name="T104" fmla="*/ 515 w 1381"/>
                  <a:gd name="T105" fmla="*/ 36 h 686"/>
                  <a:gd name="T106" fmla="*/ 624 w 1381"/>
                  <a:gd name="T107" fmla="*/ 40 h 686"/>
                  <a:gd name="T108" fmla="*/ 731 w 1381"/>
                  <a:gd name="T109" fmla="*/ 45 h 686"/>
                  <a:gd name="T110" fmla="*/ 837 w 1381"/>
                  <a:gd name="T111" fmla="*/ 48 h 686"/>
                  <a:gd name="T112" fmla="*/ 943 w 1381"/>
                  <a:gd name="T113" fmla="*/ 83 h 686"/>
                  <a:gd name="T114" fmla="*/ 984 w 1381"/>
                  <a:gd name="T115" fmla="*/ 85 h 686"/>
                  <a:gd name="T116" fmla="*/ 1057 w 1381"/>
                  <a:gd name="T117" fmla="*/ 78 h 686"/>
                  <a:gd name="T118" fmla="*/ 1095 w 1381"/>
                  <a:gd name="T119" fmla="*/ 95 h 686"/>
                  <a:gd name="T120" fmla="*/ 1151 w 1381"/>
                  <a:gd name="T121" fmla="*/ 118 h 686"/>
                  <a:gd name="T122" fmla="*/ 1177 w 1381"/>
                  <a:gd name="T123" fmla="*/ 147 h 686"/>
                  <a:gd name="T124" fmla="*/ 1201 w 1381"/>
                  <a:gd name="T125" fmla="*/ 159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1" h="686">
                    <a:moveTo>
                      <a:pt x="1201" y="159"/>
                    </a:moveTo>
                    <a:lnTo>
                      <a:pt x="1206" y="159"/>
                    </a:lnTo>
                    <a:lnTo>
                      <a:pt x="1215" y="178"/>
                    </a:lnTo>
                    <a:lnTo>
                      <a:pt x="1220" y="211"/>
                    </a:lnTo>
                    <a:lnTo>
                      <a:pt x="1229" y="239"/>
                    </a:lnTo>
                    <a:lnTo>
                      <a:pt x="1244" y="258"/>
                    </a:lnTo>
                    <a:lnTo>
                      <a:pt x="1253" y="275"/>
                    </a:lnTo>
                    <a:lnTo>
                      <a:pt x="1253" y="284"/>
                    </a:lnTo>
                    <a:lnTo>
                      <a:pt x="1255" y="293"/>
                    </a:lnTo>
                    <a:lnTo>
                      <a:pt x="1262" y="303"/>
                    </a:lnTo>
                    <a:lnTo>
                      <a:pt x="1265" y="322"/>
                    </a:lnTo>
                    <a:lnTo>
                      <a:pt x="1265" y="348"/>
                    </a:lnTo>
                    <a:lnTo>
                      <a:pt x="1267" y="362"/>
                    </a:lnTo>
                    <a:lnTo>
                      <a:pt x="1274" y="364"/>
                    </a:lnTo>
                    <a:lnTo>
                      <a:pt x="1277" y="367"/>
                    </a:lnTo>
                    <a:lnTo>
                      <a:pt x="1277" y="374"/>
                    </a:lnTo>
                    <a:lnTo>
                      <a:pt x="1279" y="376"/>
                    </a:lnTo>
                    <a:lnTo>
                      <a:pt x="1286" y="379"/>
                    </a:lnTo>
                    <a:lnTo>
                      <a:pt x="1286" y="388"/>
                    </a:lnTo>
                    <a:lnTo>
                      <a:pt x="1284" y="400"/>
                    </a:lnTo>
                    <a:lnTo>
                      <a:pt x="1286" y="407"/>
                    </a:lnTo>
                    <a:lnTo>
                      <a:pt x="1293" y="409"/>
                    </a:lnTo>
                    <a:lnTo>
                      <a:pt x="1296" y="416"/>
                    </a:lnTo>
                    <a:lnTo>
                      <a:pt x="1291" y="426"/>
                    </a:lnTo>
                    <a:lnTo>
                      <a:pt x="1291" y="433"/>
                    </a:lnTo>
                    <a:lnTo>
                      <a:pt x="1298" y="438"/>
                    </a:lnTo>
                    <a:lnTo>
                      <a:pt x="1300" y="459"/>
                    </a:lnTo>
                    <a:lnTo>
                      <a:pt x="1303" y="499"/>
                    </a:lnTo>
                    <a:lnTo>
                      <a:pt x="1303" y="523"/>
                    </a:lnTo>
                    <a:lnTo>
                      <a:pt x="1298" y="530"/>
                    </a:lnTo>
                    <a:lnTo>
                      <a:pt x="1305" y="544"/>
                    </a:lnTo>
                    <a:lnTo>
                      <a:pt x="1314" y="561"/>
                    </a:lnTo>
                    <a:lnTo>
                      <a:pt x="1317" y="568"/>
                    </a:lnTo>
                    <a:lnTo>
                      <a:pt x="1326" y="589"/>
                    </a:lnTo>
                    <a:lnTo>
                      <a:pt x="1331" y="610"/>
                    </a:lnTo>
                    <a:lnTo>
                      <a:pt x="1340" y="624"/>
                    </a:lnTo>
                    <a:lnTo>
                      <a:pt x="1352" y="632"/>
                    </a:lnTo>
                    <a:lnTo>
                      <a:pt x="1362" y="646"/>
                    </a:lnTo>
                    <a:lnTo>
                      <a:pt x="1366" y="667"/>
                    </a:lnTo>
                    <a:lnTo>
                      <a:pt x="1378" y="684"/>
                    </a:lnTo>
                    <a:lnTo>
                      <a:pt x="1381" y="686"/>
                    </a:lnTo>
                    <a:lnTo>
                      <a:pt x="1352" y="686"/>
                    </a:lnTo>
                    <a:lnTo>
                      <a:pt x="1319" y="686"/>
                    </a:lnTo>
                    <a:lnTo>
                      <a:pt x="1286" y="686"/>
                    </a:lnTo>
                    <a:lnTo>
                      <a:pt x="1251" y="686"/>
                    </a:lnTo>
                    <a:lnTo>
                      <a:pt x="1218" y="686"/>
                    </a:lnTo>
                    <a:lnTo>
                      <a:pt x="1184" y="686"/>
                    </a:lnTo>
                    <a:lnTo>
                      <a:pt x="1149" y="686"/>
                    </a:lnTo>
                    <a:lnTo>
                      <a:pt x="1116" y="686"/>
                    </a:lnTo>
                    <a:lnTo>
                      <a:pt x="1083" y="686"/>
                    </a:lnTo>
                    <a:lnTo>
                      <a:pt x="1047" y="686"/>
                    </a:lnTo>
                    <a:lnTo>
                      <a:pt x="1014" y="684"/>
                    </a:lnTo>
                    <a:lnTo>
                      <a:pt x="981" y="684"/>
                    </a:lnTo>
                    <a:lnTo>
                      <a:pt x="946" y="684"/>
                    </a:lnTo>
                    <a:lnTo>
                      <a:pt x="913" y="681"/>
                    </a:lnTo>
                    <a:lnTo>
                      <a:pt x="880" y="681"/>
                    </a:lnTo>
                    <a:lnTo>
                      <a:pt x="844" y="681"/>
                    </a:lnTo>
                    <a:lnTo>
                      <a:pt x="811" y="679"/>
                    </a:lnTo>
                    <a:lnTo>
                      <a:pt x="778" y="679"/>
                    </a:lnTo>
                    <a:lnTo>
                      <a:pt x="742" y="677"/>
                    </a:lnTo>
                    <a:lnTo>
                      <a:pt x="709" y="677"/>
                    </a:lnTo>
                    <a:lnTo>
                      <a:pt x="676" y="674"/>
                    </a:lnTo>
                    <a:lnTo>
                      <a:pt x="641" y="674"/>
                    </a:lnTo>
                    <a:lnTo>
                      <a:pt x="608" y="672"/>
                    </a:lnTo>
                    <a:lnTo>
                      <a:pt x="575" y="669"/>
                    </a:lnTo>
                    <a:lnTo>
                      <a:pt x="539" y="669"/>
                    </a:lnTo>
                    <a:lnTo>
                      <a:pt x="506" y="667"/>
                    </a:lnTo>
                    <a:lnTo>
                      <a:pt x="473" y="665"/>
                    </a:lnTo>
                    <a:lnTo>
                      <a:pt x="437" y="662"/>
                    </a:lnTo>
                    <a:lnTo>
                      <a:pt x="404" y="660"/>
                    </a:lnTo>
                    <a:lnTo>
                      <a:pt x="371" y="660"/>
                    </a:lnTo>
                    <a:lnTo>
                      <a:pt x="336" y="658"/>
                    </a:lnTo>
                    <a:lnTo>
                      <a:pt x="303" y="655"/>
                    </a:lnTo>
                    <a:lnTo>
                      <a:pt x="305" y="629"/>
                    </a:lnTo>
                    <a:lnTo>
                      <a:pt x="307" y="603"/>
                    </a:lnTo>
                    <a:lnTo>
                      <a:pt x="307" y="575"/>
                    </a:lnTo>
                    <a:lnTo>
                      <a:pt x="310" y="549"/>
                    </a:lnTo>
                    <a:lnTo>
                      <a:pt x="312" y="523"/>
                    </a:lnTo>
                    <a:lnTo>
                      <a:pt x="315" y="497"/>
                    </a:lnTo>
                    <a:lnTo>
                      <a:pt x="315" y="471"/>
                    </a:lnTo>
                    <a:lnTo>
                      <a:pt x="317" y="445"/>
                    </a:lnTo>
                    <a:lnTo>
                      <a:pt x="277" y="442"/>
                    </a:lnTo>
                    <a:lnTo>
                      <a:pt x="237" y="440"/>
                    </a:lnTo>
                    <a:lnTo>
                      <a:pt x="199" y="435"/>
                    </a:lnTo>
                    <a:lnTo>
                      <a:pt x="159" y="433"/>
                    </a:lnTo>
                    <a:lnTo>
                      <a:pt x="118" y="431"/>
                    </a:lnTo>
                    <a:lnTo>
                      <a:pt x="78" y="426"/>
                    </a:lnTo>
                    <a:lnTo>
                      <a:pt x="40" y="424"/>
                    </a:lnTo>
                    <a:lnTo>
                      <a:pt x="0" y="421"/>
                    </a:lnTo>
                    <a:lnTo>
                      <a:pt x="5" y="367"/>
                    </a:lnTo>
                    <a:lnTo>
                      <a:pt x="10" y="315"/>
                    </a:lnTo>
                    <a:lnTo>
                      <a:pt x="14" y="263"/>
                    </a:lnTo>
                    <a:lnTo>
                      <a:pt x="17" y="211"/>
                    </a:lnTo>
                    <a:lnTo>
                      <a:pt x="21" y="159"/>
                    </a:lnTo>
                    <a:lnTo>
                      <a:pt x="26" y="104"/>
                    </a:lnTo>
                    <a:lnTo>
                      <a:pt x="31" y="52"/>
                    </a:lnTo>
                    <a:lnTo>
                      <a:pt x="36" y="0"/>
                    </a:lnTo>
                    <a:lnTo>
                      <a:pt x="90" y="5"/>
                    </a:lnTo>
                    <a:lnTo>
                      <a:pt x="142" y="10"/>
                    </a:lnTo>
                    <a:lnTo>
                      <a:pt x="196" y="14"/>
                    </a:lnTo>
                    <a:lnTo>
                      <a:pt x="248" y="17"/>
                    </a:lnTo>
                    <a:lnTo>
                      <a:pt x="303" y="22"/>
                    </a:lnTo>
                    <a:lnTo>
                      <a:pt x="357" y="26"/>
                    </a:lnTo>
                    <a:lnTo>
                      <a:pt x="409" y="29"/>
                    </a:lnTo>
                    <a:lnTo>
                      <a:pt x="463" y="31"/>
                    </a:lnTo>
                    <a:lnTo>
                      <a:pt x="515" y="36"/>
                    </a:lnTo>
                    <a:lnTo>
                      <a:pt x="570" y="38"/>
                    </a:lnTo>
                    <a:lnTo>
                      <a:pt x="624" y="40"/>
                    </a:lnTo>
                    <a:lnTo>
                      <a:pt x="676" y="43"/>
                    </a:lnTo>
                    <a:lnTo>
                      <a:pt x="731" y="45"/>
                    </a:lnTo>
                    <a:lnTo>
                      <a:pt x="785" y="48"/>
                    </a:lnTo>
                    <a:lnTo>
                      <a:pt x="837" y="48"/>
                    </a:lnTo>
                    <a:lnTo>
                      <a:pt x="898" y="50"/>
                    </a:lnTo>
                    <a:lnTo>
                      <a:pt x="943" y="83"/>
                    </a:lnTo>
                    <a:lnTo>
                      <a:pt x="972" y="92"/>
                    </a:lnTo>
                    <a:lnTo>
                      <a:pt x="984" y="85"/>
                    </a:lnTo>
                    <a:lnTo>
                      <a:pt x="1012" y="81"/>
                    </a:lnTo>
                    <a:lnTo>
                      <a:pt x="1057" y="78"/>
                    </a:lnTo>
                    <a:lnTo>
                      <a:pt x="1085" y="83"/>
                    </a:lnTo>
                    <a:lnTo>
                      <a:pt x="1095" y="95"/>
                    </a:lnTo>
                    <a:lnTo>
                      <a:pt x="1118" y="104"/>
                    </a:lnTo>
                    <a:lnTo>
                      <a:pt x="1151" y="118"/>
                    </a:lnTo>
                    <a:lnTo>
                      <a:pt x="1170" y="133"/>
                    </a:lnTo>
                    <a:lnTo>
                      <a:pt x="1177" y="147"/>
                    </a:lnTo>
                    <a:lnTo>
                      <a:pt x="1189" y="156"/>
                    </a:lnTo>
                    <a:lnTo>
                      <a:pt x="1201" y="159"/>
                    </a:lnTo>
                    <a:close/>
                  </a:path>
                </a:pathLst>
              </a:custGeom>
              <a:solidFill>
                <a:schemeClr val="accent2"/>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5" name="Freeform 72">
                <a:extLst>
                  <a:ext uri="{FF2B5EF4-FFF2-40B4-BE49-F238E27FC236}">
                    <a16:creationId xmlns:a16="http://schemas.microsoft.com/office/drawing/2014/main" id="{1F210C24-6781-9980-C317-19D492202F6C}"/>
                  </a:ext>
                </a:extLst>
              </p:cNvPr>
              <p:cNvSpPr>
                <a:spLocks/>
              </p:cNvSpPr>
              <p:nvPr/>
            </p:nvSpPr>
            <p:spPr bwMode="auto">
              <a:xfrm>
                <a:off x="8292" y="-513"/>
                <a:ext cx="272" cy="577"/>
              </a:xfrm>
              <a:custGeom>
                <a:avLst/>
                <a:gdLst>
                  <a:gd name="T0" fmla="*/ 272 w 272"/>
                  <a:gd name="T1" fmla="*/ 466 h 577"/>
                  <a:gd name="T2" fmla="*/ 253 w 272"/>
                  <a:gd name="T3" fmla="*/ 485 h 577"/>
                  <a:gd name="T4" fmla="*/ 234 w 272"/>
                  <a:gd name="T5" fmla="*/ 501 h 577"/>
                  <a:gd name="T6" fmla="*/ 215 w 272"/>
                  <a:gd name="T7" fmla="*/ 527 h 577"/>
                  <a:gd name="T8" fmla="*/ 182 w 272"/>
                  <a:gd name="T9" fmla="*/ 541 h 577"/>
                  <a:gd name="T10" fmla="*/ 137 w 272"/>
                  <a:gd name="T11" fmla="*/ 553 h 577"/>
                  <a:gd name="T12" fmla="*/ 95 w 272"/>
                  <a:gd name="T13" fmla="*/ 563 h 577"/>
                  <a:gd name="T14" fmla="*/ 52 w 272"/>
                  <a:gd name="T15" fmla="*/ 572 h 577"/>
                  <a:gd name="T16" fmla="*/ 26 w 272"/>
                  <a:gd name="T17" fmla="*/ 572 h 577"/>
                  <a:gd name="T18" fmla="*/ 12 w 272"/>
                  <a:gd name="T19" fmla="*/ 556 h 577"/>
                  <a:gd name="T20" fmla="*/ 10 w 272"/>
                  <a:gd name="T21" fmla="*/ 532 h 577"/>
                  <a:gd name="T22" fmla="*/ 14 w 272"/>
                  <a:gd name="T23" fmla="*/ 515 h 577"/>
                  <a:gd name="T24" fmla="*/ 7 w 272"/>
                  <a:gd name="T25" fmla="*/ 452 h 577"/>
                  <a:gd name="T26" fmla="*/ 0 w 272"/>
                  <a:gd name="T27" fmla="*/ 400 h 577"/>
                  <a:gd name="T28" fmla="*/ 3 w 272"/>
                  <a:gd name="T29" fmla="*/ 371 h 577"/>
                  <a:gd name="T30" fmla="*/ 12 w 272"/>
                  <a:gd name="T31" fmla="*/ 331 h 577"/>
                  <a:gd name="T32" fmla="*/ 14 w 272"/>
                  <a:gd name="T33" fmla="*/ 303 h 577"/>
                  <a:gd name="T34" fmla="*/ 10 w 272"/>
                  <a:gd name="T35" fmla="*/ 241 h 577"/>
                  <a:gd name="T36" fmla="*/ 31 w 272"/>
                  <a:gd name="T37" fmla="*/ 222 h 577"/>
                  <a:gd name="T38" fmla="*/ 52 w 272"/>
                  <a:gd name="T39" fmla="*/ 196 h 577"/>
                  <a:gd name="T40" fmla="*/ 59 w 272"/>
                  <a:gd name="T41" fmla="*/ 180 h 577"/>
                  <a:gd name="T42" fmla="*/ 62 w 272"/>
                  <a:gd name="T43" fmla="*/ 165 h 577"/>
                  <a:gd name="T44" fmla="*/ 47 w 272"/>
                  <a:gd name="T45" fmla="*/ 137 h 577"/>
                  <a:gd name="T46" fmla="*/ 52 w 272"/>
                  <a:gd name="T47" fmla="*/ 94 h 577"/>
                  <a:gd name="T48" fmla="*/ 45 w 272"/>
                  <a:gd name="T49" fmla="*/ 76 h 577"/>
                  <a:gd name="T50" fmla="*/ 57 w 272"/>
                  <a:gd name="T51" fmla="*/ 9 h 577"/>
                  <a:gd name="T52" fmla="*/ 85 w 272"/>
                  <a:gd name="T53" fmla="*/ 9 h 577"/>
                  <a:gd name="T54" fmla="*/ 97 w 272"/>
                  <a:gd name="T55" fmla="*/ 19 h 577"/>
                  <a:gd name="T56" fmla="*/ 114 w 272"/>
                  <a:gd name="T57" fmla="*/ 64 h 577"/>
                  <a:gd name="T58" fmla="*/ 128 w 272"/>
                  <a:gd name="T59" fmla="*/ 109 h 577"/>
                  <a:gd name="T60" fmla="*/ 142 w 272"/>
                  <a:gd name="T61" fmla="*/ 154 h 577"/>
                  <a:gd name="T62" fmla="*/ 159 w 272"/>
                  <a:gd name="T63" fmla="*/ 199 h 577"/>
                  <a:gd name="T64" fmla="*/ 173 w 272"/>
                  <a:gd name="T65" fmla="*/ 241 h 577"/>
                  <a:gd name="T66" fmla="*/ 187 w 272"/>
                  <a:gd name="T67" fmla="*/ 286 h 577"/>
                  <a:gd name="T68" fmla="*/ 203 w 272"/>
                  <a:gd name="T69" fmla="*/ 331 h 577"/>
                  <a:gd name="T70" fmla="*/ 213 w 272"/>
                  <a:gd name="T71" fmla="*/ 369 h 577"/>
                  <a:gd name="T72" fmla="*/ 227 w 272"/>
                  <a:gd name="T73" fmla="*/ 392 h 577"/>
                  <a:gd name="T74" fmla="*/ 253 w 272"/>
                  <a:gd name="T75" fmla="*/ 42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2" h="577">
                    <a:moveTo>
                      <a:pt x="272" y="437"/>
                    </a:moveTo>
                    <a:lnTo>
                      <a:pt x="272" y="466"/>
                    </a:lnTo>
                    <a:lnTo>
                      <a:pt x="272" y="480"/>
                    </a:lnTo>
                    <a:lnTo>
                      <a:pt x="253" y="485"/>
                    </a:lnTo>
                    <a:lnTo>
                      <a:pt x="246" y="487"/>
                    </a:lnTo>
                    <a:lnTo>
                      <a:pt x="234" y="501"/>
                    </a:lnTo>
                    <a:lnTo>
                      <a:pt x="225" y="508"/>
                    </a:lnTo>
                    <a:lnTo>
                      <a:pt x="215" y="527"/>
                    </a:lnTo>
                    <a:lnTo>
                      <a:pt x="203" y="537"/>
                    </a:lnTo>
                    <a:lnTo>
                      <a:pt x="182" y="541"/>
                    </a:lnTo>
                    <a:lnTo>
                      <a:pt x="161" y="548"/>
                    </a:lnTo>
                    <a:lnTo>
                      <a:pt x="137" y="553"/>
                    </a:lnTo>
                    <a:lnTo>
                      <a:pt x="116" y="558"/>
                    </a:lnTo>
                    <a:lnTo>
                      <a:pt x="95" y="563"/>
                    </a:lnTo>
                    <a:lnTo>
                      <a:pt x="73" y="567"/>
                    </a:lnTo>
                    <a:lnTo>
                      <a:pt x="52" y="572"/>
                    </a:lnTo>
                    <a:lnTo>
                      <a:pt x="31" y="577"/>
                    </a:lnTo>
                    <a:lnTo>
                      <a:pt x="26" y="572"/>
                    </a:lnTo>
                    <a:lnTo>
                      <a:pt x="14" y="560"/>
                    </a:lnTo>
                    <a:lnTo>
                      <a:pt x="12" y="556"/>
                    </a:lnTo>
                    <a:lnTo>
                      <a:pt x="10" y="548"/>
                    </a:lnTo>
                    <a:lnTo>
                      <a:pt x="10" y="532"/>
                    </a:lnTo>
                    <a:lnTo>
                      <a:pt x="12" y="525"/>
                    </a:lnTo>
                    <a:lnTo>
                      <a:pt x="14" y="515"/>
                    </a:lnTo>
                    <a:lnTo>
                      <a:pt x="7" y="475"/>
                    </a:lnTo>
                    <a:lnTo>
                      <a:pt x="7" y="452"/>
                    </a:lnTo>
                    <a:lnTo>
                      <a:pt x="0" y="411"/>
                    </a:lnTo>
                    <a:lnTo>
                      <a:pt x="0" y="400"/>
                    </a:lnTo>
                    <a:lnTo>
                      <a:pt x="3" y="390"/>
                    </a:lnTo>
                    <a:lnTo>
                      <a:pt x="3" y="371"/>
                    </a:lnTo>
                    <a:lnTo>
                      <a:pt x="10" y="352"/>
                    </a:lnTo>
                    <a:lnTo>
                      <a:pt x="12" y="331"/>
                    </a:lnTo>
                    <a:lnTo>
                      <a:pt x="17" y="312"/>
                    </a:lnTo>
                    <a:lnTo>
                      <a:pt x="14" y="303"/>
                    </a:lnTo>
                    <a:lnTo>
                      <a:pt x="14" y="279"/>
                    </a:lnTo>
                    <a:lnTo>
                      <a:pt x="10" y="241"/>
                    </a:lnTo>
                    <a:lnTo>
                      <a:pt x="12" y="234"/>
                    </a:lnTo>
                    <a:lnTo>
                      <a:pt x="31" y="222"/>
                    </a:lnTo>
                    <a:lnTo>
                      <a:pt x="36" y="217"/>
                    </a:lnTo>
                    <a:lnTo>
                      <a:pt x="52" y="196"/>
                    </a:lnTo>
                    <a:lnTo>
                      <a:pt x="57" y="187"/>
                    </a:lnTo>
                    <a:lnTo>
                      <a:pt x="59" y="180"/>
                    </a:lnTo>
                    <a:lnTo>
                      <a:pt x="59" y="168"/>
                    </a:lnTo>
                    <a:lnTo>
                      <a:pt x="62" y="165"/>
                    </a:lnTo>
                    <a:lnTo>
                      <a:pt x="59" y="158"/>
                    </a:lnTo>
                    <a:lnTo>
                      <a:pt x="47" y="137"/>
                    </a:lnTo>
                    <a:lnTo>
                      <a:pt x="43" y="128"/>
                    </a:lnTo>
                    <a:lnTo>
                      <a:pt x="52" y="94"/>
                    </a:lnTo>
                    <a:lnTo>
                      <a:pt x="45" y="80"/>
                    </a:lnTo>
                    <a:lnTo>
                      <a:pt x="45" y="76"/>
                    </a:lnTo>
                    <a:lnTo>
                      <a:pt x="47" y="33"/>
                    </a:lnTo>
                    <a:lnTo>
                      <a:pt x="57" y="9"/>
                    </a:lnTo>
                    <a:lnTo>
                      <a:pt x="76" y="12"/>
                    </a:lnTo>
                    <a:lnTo>
                      <a:pt x="85" y="9"/>
                    </a:lnTo>
                    <a:lnTo>
                      <a:pt x="92" y="0"/>
                    </a:lnTo>
                    <a:lnTo>
                      <a:pt x="97" y="19"/>
                    </a:lnTo>
                    <a:lnTo>
                      <a:pt x="107" y="42"/>
                    </a:lnTo>
                    <a:lnTo>
                      <a:pt x="114" y="64"/>
                    </a:lnTo>
                    <a:lnTo>
                      <a:pt x="121" y="87"/>
                    </a:lnTo>
                    <a:lnTo>
                      <a:pt x="128" y="109"/>
                    </a:lnTo>
                    <a:lnTo>
                      <a:pt x="135" y="130"/>
                    </a:lnTo>
                    <a:lnTo>
                      <a:pt x="142" y="154"/>
                    </a:lnTo>
                    <a:lnTo>
                      <a:pt x="151" y="175"/>
                    </a:lnTo>
                    <a:lnTo>
                      <a:pt x="159" y="199"/>
                    </a:lnTo>
                    <a:lnTo>
                      <a:pt x="166" y="220"/>
                    </a:lnTo>
                    <a:lnTo>
                      <a:pt x="173" y="241"/>
                    </a:lnTo>
                    <a:lnTo>
                      <a:pt x="180" y="265"/>
                    </a:lnTo>
                    <a:lnTo>
                      <a:pt x="187" y="286"/>
                    </a:lnTo>
                    <a:lnTo>
                      <a:pt x="196" y="310"/>
                    </a:lnTo>
                    <a:lnTo>
                      <a:pt x="203" y="331"/>
                    </a:lnTo>
                    <a:lnTo>
                      <a:pt x="211" y="352"/>
                    </a:lnTo>
                    <a:lnTo>
                      <a:pt x="213" y="369"/>
                    </a:lnTo>
                    <a:lnTo>
                      <a:pt x="220" y="383"/>
                    </a:lnTo>
                    <a:lnTo>
                      <a:pt x="227" y="392"/>
                    </a:lnTo>
                    <a:lnTo>
                      <a:pt x="246" y="407"/>
                    </a:lnTo>
                    <a:lnTo>
                      <a:pt x="253" y="421"/>
                    </a:lnTo>
                    <a:lnTo>
                      <a:pt x="272" y="43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6" name="Freeform 73">
                <a:extLst>
                  <a:ext uri="{FF2B5EF4-FFF2-40B4-BE49-F238E27FC236}">
                    <a16:creationId xmlns:a16="http://schemas.microsoft.com/office/drawing/2014/main" id="{70FB14BD-9E83-2DCB-BE6D-147D5C3CEAB7}"/>
                  </a:ext>
                </a:extLst>
              </p:cNvPr>
              <p:cNvSpPr>
                <a:spLocks noEditPoints="1"/>
              </p:cNvSpPr>
              <p:nvPr/>
            </p:nvSpPr>
            <p:spPr bwMode="auto">
              <a:xfrm>
                <a:off x="8006" y="430"/>
                <a:ext cx="222" cy="504"/>
              </a:xfrm>
              <a:custGeom>
                <a:avLst/>
                <a:gdLst>
                  <a:gd name="T0" fmla="*/ 189 w 222"/>
                  <a:gd name="T1" fmla="*/ 62 h 504"/>
                  <a:gd name="T2" fmla="*/ 177 w 222"/>
                  <a:gd name="T3" fmla="*/ 107 h 504"/>
                  <a:gd name="T4" fmla="*/ 166 w 222"/>
                  <a:gd name="T5" fmla="*/ 121 h 504"/>
                  <a:gd name="T6" fmla="*/ 158 w 222"/>
                  <a:gd name="T7" fmla="*/ 135 h 504"/>
                  <a:gd name="T8" fmla="*/ 163 w 222"/>
                  <a:gd name="T9" fmla="*/ 168 h 504"/>
                  <a:gd name="T10" fmla="*/ 201 w 222"/>
                  <a:gd name="T11" fmla="*/ 159 h 504"/>
                  <a:gd name="T12" fmla="*/ 213 w 222"/>
                  <a:gd name="T13" fmla="*/ 182 h 504"/>
                  <a:gd name="T14" fmla="*/ 215 w 222"/>
                  <a:gd name="T15" fmla="*/ 216 h 504"/>
                  <a:gd name="T16" fmla="*/ 220 w 222"/>
                  <a:gd name="T17" fmla="*/ 270 h 504"/>
                  <a:gd name="T18" fmla="*/ 220 w 222"/>
                  <a:gd name="T19" fmla="*/ 289 h 504"/>
                  <a:gd name="T20" fmla="*/ 210 w 222"/>
                  <a:gd name="T21" fmla="*/ 260 h 504"/>
                  <a:gd name="T22" fmla="*/ 210 w 222"/>
                  <a:gd name="T23" fmla="*/ 315 h 504"/>
                  <a:gd name="T24" fmla="*/ 194 w 222"/>
                  <a:gd name="T25" fmla="*/ 360 h 504"/>
                  <a:gd name="T26" fmla="*/ 187 w 222"/>
                  <a:gd name="T27" fmla="*/ 372 h 504"/>
                  <a:gd name="T28" fmla="*/ 187 w 222"/>
                  <a:gd name="T29" fmla="*/ 393 h 504"/>
                  <a:gd name="T30" fmla="*/ 175 w 222"/>
                  <a:gd name="T31" fmla="*/ 405 h 504"/>
                  <a:gd name="T32" fmla="*/ 163 w 222"/>
                  <a:gd name="T33" fmla="*/ 419 h 504"/>
                  <a:gd name="T34" fmla="*/ 161 w 222"/>
                  <a:gd name="T35" fmla="*/ 438 h 504"/>
                  <a:gd name="T36" fmla="*/ 130 w 222"/>
                  <a:gd name="T37" fmla="*/ 504 h 504"/>
                  <a:gd name="T38" fmla="*/ 125 w 222"/>
                  <a:gd name="T39" fmla="*/ 480 h 504"/>
                  <a:gd name="T40" fmla="*/ 109 w 222"/>
                  <a:gd name="T41" fmla="*/ 454 h 504"/>
                  <a:gd name="T42" fmla="*/ 83 w 222"/>
                  <a:gd name="T43" fmla="*/ 457 h 504"/>
                  <a:gd name="T44" fmla="*/ 43 w 222"/>
                  <a:gd name="T45" fmla="*/ 438 h 504"/>
                  <a:gd name="T46" fmla="*/ 7 w 222"/>
                  <a:gd name="T47" fmla="*/ 405 h 504"/>
                  <a:gd name="T48" fmla="*/ 5 w 222"/>
                  <a:gd name="T49" fmla="*/ 364 h 504"/>
                  <a:gd name="T50" fmla="*/ 19 w 222"/>
                  <a:gd name="T51" fmla="*/ 336 h 504"/>
                  <a:gd name="T52" fmla="*/ 54 w 222"/>
                  <a:gd name="T53" fmla="*/ 308 h 504"/>
                  <a:gd name="T54" fmla="*/ 62 w 222"/>
                  <a:gd name="T55" fmla="*/ 286 h 504"/>
                  <a:gd name="T56" fmla="*/ 102 w 222"/>
                  <a:gd name="T57" fmla="*/ 249 h 504"/>
                  <a:gd name="T58" fmla="*/ 40 w 222"/>
                  <a:gd name="T59" fmla="*/ 204 h 504"/>
                  <a:gd name="T60" fmla="*/ 12 w 222"/>
                  <a:gd name="T61" fmla="*/ 178 h 504"/>
                  <a:gd name="T62" fmla="*/ 2 w 222"/>
                  <a:gd name="T63" fmla="*/ 156 h 504"/>
                  <a:gd name="T64" fmla="*/ 2 w 222"/>
                  <a:gd name="T65" fmla="*/ 137 h 504"/>
                  <a:gd name="T66" fmla="*/ 14 w 222"/>
                  <a:gd name="T67" fmla="*/ 116 h 504"/>
                  <a:gd name="T68" fmla="*/ 0 w 222"/>
                  <a:gd name="T69" fmla="*/ 95 h 504"/>
                  <a:gd name="T70" fmla="*/ 12 w 222"/>
                  <a:gd name="T71" fmla="*/ 76 h 504"/>
                  <a:gd name="T72" fmla="*/ 31 w 222"/>
                  <a:gd name="T73" fmla="*/ 24 h 504"/>
                  <a:gd name="T74" fmla="*/ 38 w 222"/>
                  <a:gd name="T75" fmla="*/ 10 h 504"/>
                  <a:gd name="T76" fmla="*/ 64 w 222"/>
                  <a:gd name="T77" fmla="*/ 7 h 504"/>
                  <a:gd name="T78" fmla="*/ 99 w 222"/>
                  <a:gd name="T79" fmla="*/ 17 h 504"/>
                  <a:gd name="T80" fmla="*/ 135 w 222"/>
                  <a:gd name="T81" fmla="*/ 29 h 504"/>
                  <a:gd name="T82" fmla="*/ 170 w 222"/>
                  <a:gd name="T83" fmla="*/ 41 h 504"/>
                  <a:gd name="T84" fmla="*/ 220 w 222"/>
                  <a:gd name="T85" fmla="*/ 322 h 504"/>
                  <a:gd name="T86" fmla="*/ 206 w 222"/>
                  <a:gd name="T87" fmla="*/ 350 h 504"/>
                  <a:gd name="T88" fmla="*/ 220 w 222"/>
                  <a:gd name="T89" fmla="*/ 322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 h="504">
                    <a:moveTo>
                      <a:pt x="187" y="45"/>
                    </a:moveTo>
                    <a:lnTo>
                      <a:pt x="189" y="62"/>
                    </a:lnTo>
                    <a:lnTo>
                      <a:pt x="182" y="97"/>
                    </a:lnTo>
                    <a:lnTo>
                      <a:pt x="177" y="107"/>
                    </a:lnTo>
                    <a:lnTo>
                      <a:pt x="170" y="116"/>
                    </a:lnTo>
                    <a:lnTo>
                      <a:pt x="166" y="121"/>
                    </a:lnTo>
                    <a:lnTo>
                      <a:pt x="163" y="126"/>
                    </a:lnTo>
                    <a:lnTo>
                      <a:pt x="158" y="135"/>
                    </a:lnTo>
                    <a:lnTo>
                      <a:pt x="156" y="154"/>
                    </a:lnTo>
                    <a:lnTo>
                      <a:pt x="163" y="168"/>
                    </a:lnTo>
                    <a:lnTo>
                      <a:pt x="194" y="166"/>
                    </a:lnTo>
                    <a:lnTo>
                      <a:pt x="201" y="159"/>
                    </a:lnTo>
                    <a:lnTo>
                      <a:pt x="208" y="168"/>
                    </a:lnTo>
                    <a:lnTo>
                      <a:pt x="213" y="182"/>
                    </a:lnTo>
                    <a:lnTo>
                      <a:pt x="215" y="199"/>
                    </a:lnTo>
                    <a:lnTo>
                      <a:pt x="215" y="216"/>
                    </a:lnTo>
                    <a:lnTo>
                      <a:pt x="215" y="237"/>
                    </a:lnTo>
                    <a:lnTo>
                      <a:pt x="220" y="270"/>
                    </a:lnTo>
                    <a:lnTo>
                      <a:pt x="222" y="298"/>
                    </a:lnTo>
                    <a:lnTo>
                      <a:pt x="220" y="289"/>
                    </a:lnTo>
                    <a:lnTo>
                      <a:pt x="215" y="256"/>
                    </a:lnTo>
                    <a:lnTo>
                      <a:pt x="210" y="260"/>
                    </a:lnTo>
                    <a:lnTo>
                      <a:pt x="208" y="268"/>
                    </a:lnTo>
                    <a:lnTo>
                      <a:pt x="210" y="315"/>
                    </a:lnTo>
                    <a:lnTo>
                      <a:pt x="203" y="341"/>
                    </a:lnTo>
                    <a:lnTo>
                      <a:pt x="194" y="360"/>
                    </a:lnTo>
                    <a:lnTo>
                      <a:pt x="182" y="360"/>
                    </a:lnTo>
                    <a:lnTo>
                      <a:pt x="187" y="372"/>
                    </a:lnTo>
                    <a:lnTo>
                      <a:pt x="187" y="379"/>
                    </a:lnTo>
                    <a:lnTo>
                      <a:pt x="187" y="393"/>
                    </a:lnTo>
                    <a:lnTo>
                      <a:pt x="182" y="405"/>
                    </a:lnTo>
                    <a:lnTo>
                      <a:pt x="175" y="405"/>
                    </a:lnTo>
                    <a:lnTo>
                      <a:pt x="166" y="414"/>
                    </a:lnTo>
                    <a:lnTo>
                      <a:pt x="163" y="419"/>
                    </a:lnTo>
                    <a:lnTo>
                      <a:pt x="166" y="428"/>
                    </a:lnTo>
                    <a:lnTo>
                      <a:pt x="161" y="438"/>
                    </a:lnTo>
                    <a:lnTo>
                      <a:pt x="147" y="485"/>
                    </a:lnTo>
                    <a:lnTo>
                      <a:pt x="130" y="504"/>
                    </a:lnTo>
                    <a:lnTo>
                      <a:pt x="125" y="502"/>
                    </a:lnTo>
                    <a:lnTo>
                      <a:pt x="125" y="480"/>
                    </a:lnTo>
                    <a:lnTo>
                      <a:pt x="123" y="461"/>
                    </a:lnTo>
                    <a:lnTo>
                      <a:pt x="109" y="454"/>
                    </a:lnTo>
                    <a:lnTo>
                      <a:pt x="97" y="452"/>
                    </a:lnTo>
                    <a:lnTo>
                      <a:pt x="83" y="457"/>
                    </a:lnTo>
                    <a:lnTo>
                      <a:pt x="64" y="445"/>
                    </a:lnTo>
                    <a:lnTo>
                      <a:pt x="43" y="438"/>
                    </a:lnTo>
                    <a:lnTo>
                      <a:pt x="7" y="414"/>
                    </a:lnTo>
                    <a:lnTo>
                      <a:pt x="7" y="405"/>
                    </a:lnTo>
                    <a:lnTo>
                      <a:pt x="2" y="390"/>
                    </a:lnTo>
                    <a:lnTo>
                      <a:pt x="5" y="364"/>
                    </a:lnTo>
                    <a:lnTo>
                      <a:pt x="10" y="348"/>
                    </a:lnTo>
                    <a:lnTo>
                      <a:pt x="19" y="336"/>
                    </a:lnTo>
                    <a:lnTo>
                      <a:pt x="47" y="322"/>
                    </a:lnTo>
                    <a:lnTo>
                      <a:pt x="54" y="308"/>
                    </a:lnTo>
                    <a:lnTo>
                      <a:pt x="54" y="296"/>
                    </a:lnTo>
                    <a:lnTo>
                      <a:pt x="62" y="286"/>
                    </a:lnTo>
                    <a:lnTo>
                      <a:pt x="76" y="270"/>
                    </a:lnTo>
                    <a:lnTo>
                      <a:pt x="102" y="249"/>
                    </a:lnTo>
                    <a:lnTo>
                      <a:pt x="50" y="206"/>
                    </a:lnTo>
                    <a:lnTo>
                      <a:pt x="40" y="204"/>
                    </a:lnTo>
                    <a:lnTo>
                      <a:pt x="26" y="182"/>
                    </a:lnTo>
                    <a:lnTo>
                      <a:pt x="12" y="178"/>
                    </a:lnTo>
                    <a:lnTo>
                      <a:pt x="7" y="175"/>
                    </a:lnTo>
                    <a:lnTo>
                      <a:pt x="2" y="156"/>
                    </a:lnTo>
                    <a:lnTo>
                      <a:pt x="2" y="145"/>
                    </a:lnTo>
                    <a:lnTo>
                      <a:pt x="2" y="137"/>
                    </a:lnTo>
                    <a:lnTo>
                      <a:pt x="10" y="130"/>
                    </a:lnTo>
                    <a:lnTo>
                      <a:pt x="14" y="116"/>
                    </a:lnTo>
                    <a:lnTo>
                      <a:pt x="12" y="111"/>
                    </a:lnTo>
                    <a:lnTo>
                      <a:pt x="0" y="95"/>
                    </a:lnTo>
                    <a:lnTo>
                      <a:pt x="0" y="90"/>
                    </a:lnTo>
                    <a:lnTo>
                      <a:pt x="12" y="76"/>
                    </a:lnTo>
                    <a:lnTo>
                      <a:pt x="24" y="50"/>
                    </a:lnTo>
                    <a:lnTo>
                      <a:pt x="31" y="24"/>
                    </a:lnTo>
                    <a:lnTo>
                      <a:pt x="33" y="17"/>
                    </a:lnTo>
                    <a:lnTo>
                      <a:pt x="38" y="10"/>
                    </a:lnTo>
                    <a:lnTo>
                      <a:pt x="47" y="0"/>
                    </a:lnTo>
                    <a:lnTo>
                      <a:pt x="64" y="7"/>
                    </a:lnTo>
                    <a:lnTo>
                      <a:pt x="83" y="12"/>
                    </a:lnTo>
                    <a:lnTo>
                      <a:pt x="99" y="17"/>
                    </a:lnTo>
                    <a:lnTo>
                      <a:pt x="118" y="24"/>
                    </a:lnTo>
                    <a:lnTo>
                      <a:pt x="135" y="29"/>
                    </a:lnTo>
                    <a:lnTo>
                      <a:pt x="154" y="33"/>
                    </a:lnTo>
                    <a:lnTo>
                      <a:pt x="170" y="41"/>
                    </a:lnTo>
                    <a:lnTo>
                      <a:pt x="187" y="45"/>
                    </a:lnTo>
                    <a:close/>
                    <a:moveTo>
                      <a:pt x="220" y="322"/>
                    </a:moveTo>
                    <a:lnTo>
                      <a:pt x="208" y="357"/>
                    </a:lnTo>
                    <a:lnTo>
                      <a:pt x="206" y="350"/>
                    </a:lnTo>
                    <a:lnTo>
                      <a:pt x="220" y="308"/>
                    </a:lnTo>
                    <a:lnTo>
                      <a:pt x="220" y="32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7" name="Freeform 74">
                <a:extLst>
                  <a:ext uri="{FF2B5EF4-FFF2-40B4-BE49-F238E27FC236}">
                    <a16:creationId xmlns:a16="http://schemas.microsoft.com/office/drawing/2014/main" id="{DDB92838-1EC8-F7B5-2DF2-2A51A338A9FD}"/>
                  </a:ext>
                </a:extLst>
              </p:cNvPr>
              <p:cNvSpPr>
                <a:spLocks/>
              </p:cNvSpPr>
              <p:nvPr/>
            </p:nvSpPr>
            <p:spPr bwMode="auto">
              <a:xfrm>
                <a:off x="2345" y="1582"/>
                <a:ext cx="1184" cy="1206"/>
              </a:xfrm>
              <a:custGeom>
                <a:avLst/>
                <a:gdLst>
                  <a:gd name="T0" fmla="*/ 1170 w 1184"/>
                  <a:gd name="T1" fmla="*/ 217 h 1206"/>
                  <a:gd name="T2" fmla="*/ 1160 w 1184"/>
                  <a:gd name="T3" fmla="*/ 336 h 1206"/>
                  <a:gd name="T4" fmla="*/ 1149 w 1184"/>
                  <a:gd name="T5" fmla="*/ 454 h 1206"/>
                  <a:gd name="T6" fmla="*/ 1139 w 1184"/>
                  <a:gd name="T7" fmla="*/ 572 h 1206"/>
                  <a:gd name="T8" fmla="*/ 1130 w 1184"/>
                  <a:gd name="T9" fmla="*/ 690 h 1206"/>
                  <a:gd name="T10" fmla="*/ 1120 w 1184"/>
                  <a:gd name="T11" fmla="*/ 806 h 1206"/>
                  <a:gd name="T12" fmla="*/ 1111 w 1184"/>
                  <a:gd name="T13" fmla="*/ 924 h 1206"/>
                  <a:gd name="T14" fmla="*/ 1101 w 1184"/>
                  <a:gd name="T15" fmla="*/ 1045 h 1206"/>
                  <a:gd name="T16" fmla="*/ 1092 w 1184"/>
                  <a:gd name="T17" fmla="*/ 1163 h 1206"/>
                  <a:gd name="T18" fmla="*/ 1012 w 1184"/>
                  <a:gd name="T19" fmla="*/ 1156 h 1206"/>
                  <a:gd name="T20" fmla="*/ 931 w 1184"/>
                  <a:gd name="T21" fmla="*/ 1149 h 1206"/>
                  <a:gd name="T22" fmla="*/ 848 w 1184"/>
                  <a:gd name="T23" fmla="*/ 1142 h 1206"/>
                  <a:gd name="T24" fmla="*/ 768 w 1184"/>
                  <a:gd name="T25" fmla="*/ 1135 h 1206"/>
                  <a:gd name="T26" fmla="*/ 688 w 1184"/>
                  <a:gd name="T27" fmla="*/ 1125 h 1206"/>
                  <a:gd name="T28" fmla="*/ 607 w 1184"/>
                  <a:gd name="T29" fmla="*/ 1118 h 1206"/>
                  <a:gd name="T30" fmla="*/ 527 w 1184"/>
                  <a:gd name="T31" fmla="*/ 1109 h 1206"/>
                  <a:gd name="T32" fmla="*/ 447 w 1184"/>
                  <a:gd name="T33" fmla="*/ 1099 h 1206"/>
                  <a:gd name="T34" fmla="*/ 458 w 1184"/>
                  <a:gd name="T35" fmla="*/ 1140 h 1206"/>
                  <a:gd name="T36" fmla="*/ 480 w 1184"/>
                  <a:gd name="T37" fmla="*/ 1154 h 1206"/>
                  <a:gd name="T38" fmla="*/ 440 w 1184"/>
                  <a:gd name="T39" fmla="*/ 1147 h 1206"/>
                  <a:gd name="T40" fmla="*/ 359 w 1184"/>
                  <a:gd name="T41" fmla="*/ 1137 h 1206"/>
                  <a:gd name="T42" fmla="*/ 281 w 1184"/>
                  <a:gd name="T43" fmla="*/ 1128 h 1206"/>
                  <a:gd name="T44" fmla="*/ 203 w 1184"/>
                  <a:gd name="T45" fmla="*/ 1116 h 1206"/>
                  <a:gd name="T46" fmla="*/ 161 w 1184"/>
                  <a:gd name="T47" fmla="*/ 1135 h 1206"/>
                  <a:gd name="T48" fmla="*/ 153 w 1184"/>
                  <a:gd name="T49" fmla="*/ 1182 h 1206"/>
                  <a:gd name="T50" fmla="*/ 87 w 1184"/>
                  <a:gd name="T51" fmla="*/ 1196 h 1206"/>
                  <a:gd name="T52" fmla="*/ 0 w 1184"/>
                  <a:gd name="T53" fmla="*/ 1184 h 1206"/>
                  <a:gd name="T54" fmla="*/ 21 w 1184"/>
                  <a:gd name="T55" fmla="*/ 1036 h 1206"/>
                  <a:gd name="T56" fmla="*/ 42 w 1184"/>
                  <a:gd name="T57" fmla="*/ 887 h 1206"/>
                  <a:gd name="T58" fmla="*/ 64 w 1184"/>
                  <a:gd name="T59" fmla="*/ 740 h 1206"/>
                  <a:gd name="T60" fmla="*/ 85 w 1184"/>
                  <a:gd name="T61" fmla="*/ 591 h 1206"/>
                  <a:gd name="T62" fmla="*/ 106 w 1184"/>
                  <a:gd name="T63" fmla="*/ 444 h 1206"/>
                  <a:gd name="T64" fmla="*/ 127 w 1184"/>
                  <a:gd name="T65" fmla="*/ 295 h 1206"/>
                  <a:gd name="T66" fmla="*/ 151 w 1184"/>
                  <a:gd name="T67" fmla="*/ 149 h 1206"/>
                  <a:gd name="T68" fmla="*/ 172 w 1184"/>
                  <a:gd name="T69" fmla="*/ 0 h 1206"/>
                  <a:gd name="T70" fmla="*/ 298 w 1184"/>
                  <a:gd name="T71" fmla="*/ 19 h 1206"/>
                  <a:gd name="T72" fmla="*/ 423 w 1184"/>
                  <a:gd name="T73" fmla="*/ 35 h 1206"/>
                  <a:gd name="T74" fmla="*/ 551 w 1184"/>
                  <a:gd name="T75" fmla="*/ 52 h 1206"/>
                  <a:gd name="T76" fmla="*/ 676 w 1184"/>
                  <a:gd name="T77" fmla="*/ 66 h 1206"/>
                  <a:gd name="T78" fmla="*/ 804 w 1184"/>
                  <a:gd name="T79" fmla="*/ 78 h 1206"/>
                  <a:gd name="T80" fmla="*/ 931 w 1184"/>
                  <a:gd name="T81" fmla="*/ 92 h 1206"/>
                  <a:gd name="T82" fmla="*/ 1056 w 1184"/>
                  <a:gd name="T83" fmla="*/ 102 h 1206"/>
                  <a:gd name="T84" fmla="*/ 1184 w 1184"/>
                  <a:gd name="T85" fmla="*/ 113 h 1206"/>
                  <a:gd name="T86" fmla="*/ 1179 w 1184"/>
                  <a:gd name="T87" fmla="*/ 165 h 1206"/>
                  <a:gd name="T88" fmla="*/ 1177 w 1184"/>
                  <a:gd name="T89" fmla="*/ 217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84" h="1206">
                    <a:moveTo>
                      <a:pt x="1177" y="217"/>
                    </a:moveTo>
                    <a:lnTo>
                      <a:pt x="1170" y="217"/>
                    </a:lnTo>
                    <a:lnTo>
                      <a:pt x="1165" y="277"/>
                    </a:lnTo>
                    <a:lnTo>
                      <a:pt x="1160" y="336"/>
                    </a:lnTo>
                    <a:lnTo>
                      <a:pt x="1156" y="395"/>
                    </a:lnTo>
                    <a:lnTo>
                      <a:pt x="1149" y="454"/>
                    </a:lnTo>
                    <a:lnTo>
                      <a:pt x="1144" y="513"/>
                    </a:lnTo>
                    <a:lnTo>
                      <a:pt x="1139" y="572"/>
                    </a:lnTo>
                    <a:lnTo>
                      <a:pt x="1134" y="631"/>
                    </a:lnTo>
                    <a:lnTo>
                      <a:pt x="1130" y="690"/>
                    </a:lnTo>
                    <a:lnTo>
                      <a:pt x="1125" y="747"/>
                    </a:lnTo>
                    <a:lnTo>
                      <a:pt x="1120" y="806"/>
                    </a:lnTo>
                    <a:lnTo>
                      <a:pt x="1116" y="865"/>
                    </a:lnTo>
                    <a:lnTo>
                      <a:pt x="1111" y="924"/>
                    </a:lnTo>
                    <a:lnTo>
                      <a:pt x="1106" y="983"/>
                    </a:lnTo>
                    <a:lnTo>
                      <a:pt x="1101" y="1045"/>
                    </a:lnTo>
                    <a:lnTo>
                      <a:pt x="1097" y="1104"/>
                    </a:lnTo>
                    <a:lnTo>
                      <a:pt x="1092" y="1163"/>
                    </a:lnTo>
                    <a:lnTo>
                      <a:pt x="1052" y="1158"/>
                    </a:lnTo>
                    <a:lnTo>
                      <a:pt x="1012" y="1156"/>
                    </a:lnTo>
                    <a:lnTo>
                      <a:pt x="971" y="1151"/>
                    </a:lnTo>
                    <a:lnTo>
                      <a:pt x="931" y="1149"/>
                    </a:lnTo>
                    <a:lnTo>
                      <a:pt x="889" y="1144"/>
                    </a:lnTo>
                    <a:lnTo>
                      <a:pt x="848" y="1142"/>
                    </a:lnTo>
                    <a:lnTo>
                      <a:pt x="808" y="1137"/>
                    </a:lnTo>
                    <a:lnTo>
                      <a:pt x="768" y="1135"/>
                    </a:lnTo>
                    <a:lnTo>
                      <a:pt x="728" y="1130"/>
                    </a:lnTo>
                    <a:lnTo>
                      <a:pt x="688" y="1125"/>
                    </a:lnTo>
                    <a:lnTo>
                      <a:pt x="648" y="1123"/>
                    </a:lnTo>
                    <a:lnTo>
                      <a:pt x="607" y="1118"/>
                    </a:lnTo>
                    <a:lnTo>
                      <a:pt x="567" y="1114"/>
                    </a:lnTo>
                    <a:lnTo>
                      <a:pt x="527" y="1109"/>
                    </a:lnTo>
                    <a:lnTo>
                      <a:pt x="487" y="1104"/>
                    </a:lnTo>
                    <a:lnTo>
                      <a:pt x="447" y="1099"/>
                    </a:lnTo>
                    <a:lnTo>
                      <a:pt x="447" y="1099"/>
                    </a:lnTo>
                    <a:lnTo>
                      <a:pt x="458" y="1140"/>
                    </a:lnTo>
                    <a:lnTo>
                      <a:pt x="458" y="1140"/>
                    </a:lnTo>
                    <a:lnTo>
                      <a:pt x="480" y="1154"/>
                    </a:lnTo>
                    <a:lnTo>
                      <a:pt x="477" y="1151"/>
                    </a:lnTo>
                    <a:lnTo>
                      <a:pt x="440" y="1147"/>
                    </a:lnTo>
                    <a:lnTo>
                      <a:pt x="399" y="1142"/>
                    </a:lnTo>
                    <a:lnTo>
                      <a:pt x="359" y="1137"/>
                    </a:lnTo>
                    <a:lnTo>
                      <a:pt x="321" y="1132"/>
                    </a:lnTo>
                    <a:lnTo>
                      <a:pt x="281" y="1128"/>
                    </a:lnTo>
                    <a:lnTo>
                      <a:pt x="241" y="1123"/>
                    </a:lnTo>
                    <a:lnTo>
                      <a:pt x="203" y="1116"/>
                    </a:lnTo>
                    <a:lnTo>
                      <a:pt x="163" y="1111"/>
                    </a:lnTo>
                    <a:lnTo>
                      <a:pt x="161" y="1135"/>
                    </a:lnTo>
                    <a:lnTo>
                      <a:pt x="156" y="1158"/>
                    </a:lnTo>
                    <a:lnTo>
                      <a:pt x="153" y="1182"/>
                    </a:lnTo>
                    <a:lnTo>
                      <a:pt x="151" y="1206"/>
                    </a:lnTo>
                    <a:lnTo>
                      <a:pt x="87" y="1196"/>
                    </a:lnTo>
                    <a:lnTo>
                      <a:pt x="23" y="1187"/>
                    </a:lnTo>
                    <a:lnTo>
                      <a:pt x="0" y="1184"/>
                    </a:lnTo>
                    <a:lnTo>
                      <a:pt x="12" y="1111"/>
                    </a:lnTo>
                    <a:lnTo>
                      <a:pt x="21" y="1036"/>
                    </a:lnTo>
                    <a:lnTo>
                      <a:pt x="33" y="962"/>
                    </a:lnTo>
                    <a:lnTo>
                      <a:pt x="42" y="887"/>
                    </a:lnTo>
                    <a:lnTo>
                      <a:pt x="54" y="813"/>
                    </a:lnTo>
                    <a:lnTo>
                      <a:pt x="64" y="740"/>
                    </a:lnTo>
                    <a:lnTo>
                      <a:pt x="75" y="667"/>
                    </a:lnTo>
                    <a:lnTo>
                      <a:pt x="85" y="591"/>
                    </a:lnTo>
                    <a:lnTo>
                      <a:pt x="97" y="518"/>
                    </a:lnTo>
                    <a:lnTo>
                      <a:pt x="106" y="444"/>
                    </a:lnTo>
                    <a:lnTo>
                      <a:pt x="118" y="369"/>
                    </a:lnTo>
                    <a:lnTo>
                      <a:pt x="127" y="295"/>
                    </a:lnTo>
                    <a:lnTo>
                      <a:pt x="139" y="222"/>
                    </a:lnTo>
                    <a:lnTo>
                      <a:pt x="151" y="149"/>
                    </a:lnTo>
                    <a:lnTo>
                      <a:pt x="161" y="76"/>
                    </a:lnTo>
                    <a:lnTo>
                      <a:pt x="172" y="0"/>
                    </a:lnTo>
                    <a:lnTo>
                      <a:pt x="234" y="9"/>
                    </a:lnTo>
                    <a:lnTo>
                      <a:pt x="298" y="19"/>
                    </a:lnTo>
                    <a:lnTo>
                      <a:pt x="362" y="26"/>
                    </a:lnTo>
                    <a:lnTo>
                      <a:pt x="423" y="35"/>
                    </a:lnTo>
                    <a:lnTo>
                      <a:pt x="487" y="42"/>
                    </a:lnTo>
                    <a:lnTo>
                      <a:pt x="551" y="52"/>
                    </a:lnTo>
                    <a:lnTo>
                      <a:pt x="614" y="59"/>
                    </a:lnTo>
                    <a:lnTo>
                      <a:pt x="676" y="66"/>
                    </a:lnTo>
                    <a:lnTo>
                      <a:pt x="740" y="73"/>
                    </a:lnTo>
                    <a:lnTo>
                      <a:pt x="804" y="78"/>
                    </a:lnTo>
                    <a:lnTo>
                      <a:pt x="867" y="85"/>
                    </a:lnTo>
                    <a:lnTo>
                      <a:pt x="931" y="92"/>
                    </a:lnTo>
                    <a:lnTo>
                      <a:pt x="993" y="97"/>
                    </a:lnTo>
                    <a:lnTo>
                      <a:pt x="1056" y="102"/>
                    </a:lnTo>
                    <a:lnTo>
                      <a:pt x="1120" y="109"/>
                    </a:lnTo>
                    <a:lnTo>
                      <a:pt x="1184" y="113"/>
                    </a:lnTo>
                    <a:lnTo>
                      <a:pt x="1182" y="139"/>
                    </a:lnTo>
                    <a:lnTo>
                      <a:pt x="1179" y="165"/>
                    </a:lnTo>
                    <a:lnTo>
                      <a:pt x="1177" y="191"/>
                    </a:lnTo>
                    <a:lnTo>
                      <a:pt x="1177" y="21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8" name="Freeform 75">
                <a:extLst>
                  <a:ext uri="{FF2B5EF4-FFF2-40B4-BE49-F238E27FC236}">
                    <a16:creationId xmlns:a16="http://schemas.microsoft.com/office/drawing/2014/main" id="{28652907-A06F-8C78-0D4C-E016D61EE0CB}"/>
                  </a:ext>
                </a:extLst>
              </p:cNvPr>
              <p:cNvSpPr>
                <a:spLocks/>
              </p:cNvSpPr>
              <p:nvPr/>
            </p:nvSpPr>
            <p:spPr bwMode="auto">
              <a:xfrm>
                <a:off x="818" y="194"/>
                <a:ext cx="1075" cy="1641"/>
              </a:xfrm>
              <a:custGeom>
                <a:avLst/>
                <a:gdLst>
                  <a:gd name="T0" fmla="*/ 853 w 1075"/>
                  <a:gd name="T1" fmla="*/ 1326 h 1641"/>
                  <a:gd name="T2" fmla="*/ 832 w 1075"/>
                  <a:gd name="T3" fmla="*/ 1414 h 1641"/>
                  <a:gd name="T4" fmla="*/ 804 w 1075"/>
                  <a:gd name="T5" fmla="*/ 1440 h 1641"/>
                  <a:gd name="T6" fmla="*/ 789 w 1075"/>
                  <a:gd name="T7" fmla="*/ 1430 h 1641"/>
                  <a:gd name="T8" fmla="*/ 773 w 1075"/>
                  <a:gd name="T9" fmla="*/ 1409 h 1641"/>
                  <a:gd name="T10" fmla="*/ 742 w 1075"/>
                  <a:gd name="T11" fmla="*/ 1402 h 1641"/>
                  <a:gd name="T12" fmla="*/ 718 w 1075"/>
                  <a:gd name="T13" fmla="*/ 1412 h 1641"/>
                  <a:gd name="T14" fmla="*/ 711 w 1075"/>
                  <a:gd name="T15" fmla="*/ 1430 h 1641"/>
                  <a:gd name="T16" fmla="*/ 711 w 1075"/>
                  <a:gd name="T17" fmla="*/ 1468 h 1641"/>
                  <a:gd name="T18" fmla="*/ 711 w 1075"/>
                  <a:gd name="T19" fmla="*/ 1497 h 1641"/>
                  <a:gd name="T20" fmla="*/ 704 w 1075"/>
                  <a:gd name="T21" fmla="*/ 1525 h 1641"/>
                  <a:gd name="T22" fmla="*/ 707 w 1075"/>
                  <a:gd name="T23" fmla="*/ 1565 h 1641"/>
                  <a:gd name="T24" fmla="*/ 688 w 1075"/>
                  <a:gd name="T25" fmla="*/ 1641 h 1641"/>
                  <a:gd name="T26" fmla="*/ 617 w 1075"/>
                  <a:gd name="T27" fmla="*/ 1537 h 1641"/>
                  <a:gd name="T28" fmla="*/ 551 w 1075"/>
                  <a:gd name="T29" fmla="*/ 1438 h 1641"/>
                  <a:gd name="T30" fmla="*/ 484 w 1075"/>
                  <a:gd name="T31" fmla="*/ 1336 h 1641"/>
                  <a:gd name="T32" fmla="*/ 418 w 1075"/>
                  <a:gd name="T33" fmla="*/ 1237 h 1641"/>
                  <a:gd name="T34" fmla="*/ 371 w 1075"/>
                  <a:gd name="T35" fmla="*/ 1166 h 1641"/>
                  <a:gd name="T36" fmla="*/ 324 w 1075"/>
                  <a:gd name="T37" fmla="*/ 1095 h 1641"/>
                  <a:gd name="T38" fmla="*/ 279 w 1075"/>
                  <a:gd name="T39" fmla="*/ 1024 h 1641"/>
                  <a:gd name="T40" fmla="*/ 231 w 1075"/>
                  <a:gd name="T41" fmla="*/ 953 h 1641"/>
                  <a:gd name="T42" fmla="*/ 172 w 1075"/>
                  <a:gd name="T43" fmla="*/ 868 h 1641"/>
                  <a:gd name="T44" fmla="*/ 116 w 1075"/>
                  <a:gd name="T45" fmla="*/ 783 h 1641"/>
                  <a:gd name="T46" fmla="*/ 57 w 1075"/>
                  <a:gd name="T47" fmla="*/ 695 h 1641"/>
                  <a:gd name="T48" fmla="*/ 0 w 1075"/>
                  <a:gd name="T49" fmla="*/ 610 h 1641"/>
                  <a:gd name="T50" fmla="*/ 21 w 1075"/>
                  <a:gd name="T51" fmla="*/ 534 h 1641"/>
                  <a:gd name="T52" fmla="*/ 42 w 1075"/>
                  <a:gd name="T53" fmla="*/ 456 h 1641"/>
                  <a:gd name="T54" fmla="*/ 61 w 1075"/>
                  <a:gd name="T55" fmla="*/ 381 h 1641"/>
                  <a:gd name="T56" fmla="*/ 83 w 1075"/>
                  <a:gd name="T57" fmla="*/ 305 h 1641"/>
                  <a:gd name="T58" fmla="*/ 104 w 1075"/>
                  <a:gd name="T59" fmla="*/ 229 h 1641"/>
                  <a:gd name="T60" fmla="*/ 125 w 1075"/>
                  <a:gd name="T61" fmla="*/ 154 h 1641"/>
                  <a:gd name="T62" fmla="*/ 144 w 1075"/>
                  <a:gd name="T63" fmla="*/ 76 h 1641"/>
                  <a:gd name="T64" fmla="*/ 165 w 1075"/>
                  <a:gd name="T65" fmla="*/ 0 h 1641"/>
                  <a:gd name="T66" fmla="*/ 279 w 1075"/>
                  <a:gd name="T67" fmla="*/ 31 h 1641"/>
                  <a:gd name="T68" fmla="*/ 392 w 1075"/>
                  <a:gd name="T69" fmla="*/ 59 h 1641"/>
                  <a:gd name="T70" fmla="*/ 506 w 1075"/>
                  <a:gd name="T71" fmla="*/ 87 h 1641"/>
                  <a:gd name="T72" fmla="*/ 619 w 1075"/>
                  <a:gd name="T73" fmla="*/ 116 h 1641"/>
                  <a:gd name="T74" fmla="*/ 733 w 1075"/>
                  <a:gd name="T75" fmla="*/ 142 h 1641"/>
                  <a:gd name="T76" fmla="*/ 848 w 1075"/>
                  <a:gd name="T77" fmla="*/ 168 h 1641"/>
                  <a:gd name="T78" fmla="*/ 962 w 1075"/>
                  <a:gd name="T79" fmla="*/ 191 h 1641"/>
                  <a:gd name="T80" fmla="*/ 1075 w 1075"/>
                  <a:gd name="T81" fmla="*/ 215 h 1641"/>
                  <a:gd name="T82" fmla="*/ 1064 w 1075"/>
                  <a:gd name="T83" fmla="*/ 279 h 1641"/>
                  <a:gd name="T84" fmla="*/ 1049 w 1075"/>
                  <a:gd name="T85" fmla="*/ 343 h 1641"/>
                  <a:gd name="T86" fmla="*/ 1038 w 1075"/>
                  <a:gd name="T87" fmla="*/ 409 h 1641"/>
                  <a:gd name="T88" fmla="*/ 1023 w 1075"/>
                  <a:gd name="T89" fmla="*/ 473 h 1641"/>
                  <a:gd name="T90" fmla="*/ 1012 w 1075"/>
                  <a:gd name="T91" fmla="*/ 537 h 1641"/>
                  <a:gd name="T92" fmla="*/ 997 w 1075"/>
                  <a:gd name="T93" fmla="*/ 600 h 1641"/>
                  <a:gd name="T94" fmla="*/ 986 w 1075"/>
                  <a:gd name="T95" fmla="*/ 667 h 1641"/>
                  <a:gd name="T96" fmla="*/ 971 w 1075"/>
                  <a:gd name="T97" fmla="*/ 731 h 1641"/>
                  <a:gd name="T98" fmla="*/ 960 w 1075"/>
                  <a:gd name="T99" fmla="*/ 794 h 1641"/>
                  <a:gd name="T100" fmla="*/ 945 w 1075"/>
                  <a:gd name="T101" fmla="*/ 858 h 1641"/>
                  <a:gd name="T102" fmla="*/ 934 w 1075"/>
                  <a:gd name="T103" fmla="*/ 922 h 1641"/>
                  <a:gd name="T104" fmla="*/ 922 w 1075"/>
                  <a:gd name="T105" fmla="*/ 988 h 1641"/>
                  <a:gd name="T106" fmla="*/ 908 w 1075"/>
                  <a:gd name="T107" fmla="*/ 1052 h 1641"/>
                  <a:gd name="T108" fmla="*/ 896 w 1075"/>
                  <a:gd name="T109" fmla="*/ 1116 h 1641"/>
                  <a:gd name="T110" fmla="*/ 882 w 1075"/>
                  <a:gd name="T111" fmla="*/ 1180 h 1641"/>
                  <a:gd name="T112" fmla="*/ 870 w 1075"/>
                  <a:gd name="T113" fmla="*/ 1244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5" h="1641">
                    <a:moveTo>
                      <a:pt x="870" y="1244"/>
                    </a:moveTo>
                    <a:lnTo>
                      <a:pt x="853" y="1326"/>
                    </a:lnTo>
                    <a:lnTo>
                      <a:pt x="834" y="1414"/>
                    </a:lnTo>
                    <a:lnTo>
                      <a:pt x="832" y="1414"/>
                    </a:lnTo>
                    <a:lnTo>
                      <a:pt x="818" y="1433"/>
                    </a:lnTo>
                    <a:lnTo>
                      <a:pt x="804" y="1440"/>
                    </a:lnTo>
                    <a:lnTo>
                      <a:pt x="796" y="1440"/>
                    </a:lnTo>
                    <a:lnTo>
                      <a:pt x="789" y="1430"/>
                    </a:lnTo>
                    <a:lnTo>
                      <a:pt x="785" y="1419"/>
                    </a:lnTo>
                    <a:lnTo>
                      <a:pt x="773" y="1409"/>
                    </a:lnTo>
                    <a:lnTo>
                      <a:pt x="756" y="1404"/>
                    </a:lnTo>
                    <a:lnTo>
                      <a:pt x="742" y="1402"/>
                    </a:lnTo>
                    <a:lnTo>
                      <a:pt x="728" y="1404"/>
                    </a:lnTo>
                    <a:lnTo>
                      <a:pt x="718" y="1412"/>
                    </a:lnTo>
                    <a:lnTo>
                      <a:pt x="711" y="1426"/>
                    </a:lnTo>
                    <a:lnTo>
                      <a:pt x="711" y="1430"/>
                    </a:lnTo>
                    <a:lnTo>
                      <a:pt x="716" y="1447"/>
                    </a:lnTo>
                    <a:lnTo>
                      <a:pt x="711" y="1468"/>
                    </a:lnTo>
                    <a:lnTo>
                      <a:pt x="709" y="1485"/>
                    </a:lnTo>
                    <a:lnTo>
                      <a:pt x="711" y="1497"/>
                    </a:lnTo>
                    <a:lnTo>
                      <a:pt x="711" y="1506"/>
                    </a:lnTo>
                    <a:lnTo>
                      <a:pt x="704" y="1525"/>
                    </a:lnTo>
                    <a:lnTo>
                      <a:pt x="702" y="1539"/>
                    </a:lnTo>
                    <a:lnTo>
                      <a:pt x="707" y="1565"/>
                    </a:lnTo>
                    <a:lnTo>
                      <a:pt x="690" y="1638"/>
                    </a:lnTo>
                    <a:lnTo>
                      <a:pt x="688" y="1641"/>
                    </a:lnTo>
                    <a:lnTo>
                      <a:pt x="652" y="1586"/>
                    </a:lnTo>
                    <a:lnTo>
                      <a:pt x="617" y="1537"/>
                    </a:lnTo>
                    <a:lnTo>
                      <a:pt x="584" y="1487"/>
                    </a:lnTo>
                    <a:lnTo>
                      <a:pt x="551" y="1438"/>
                    </a:lnTo>
                    <a:lnTo>
                      <a:pt x="518" y="1388"/>
                    </a:lnTo>
                    <a:lnTo>
                      <a:pt x="484" y="1336"/>
                    </a:lnTo>
                    <a:lnTo>
                      <a:pt x="451" y="1286"/>
                    </a:lnTo>
                    <a:lnTo>
                      <a:pt x="418" y="1237"/>
                    </a:lnTo>
                    <a:lnTo>
                      <a:pt x="395" y="1201"/>
                    </a:lnTo>
                    <a:lnTo>
                      <a:pt x="371" y="1166"/>
                    </a:lnTo>
                    <a:lnTo>
                      <a:pt x="347" y="1130"/>
                    </a:lnTo>
                    <a:lnTo>
                      <a:pt x="324" y="1095"/>
                    </a:lnTo>
                    <a:lnTo>
                      <a:pt x="300" y="1059"/>
                    </a:lnTo>
                    <a:lnTo>
                      <a:pt x="279" y="1024"/>
                    </a:lnTo>
                    <a:lnTo>
                      <a:pt x="255" y="988"/>
                    </a:lnTo>
                    <a:lnTo>
                      <a:pt x="231" y="953"/>
                    </a:lnTo>
                    <a:lnTo>
                      <a:pt x="203" y="910"/>
                    </a:lnTo>
                    <a:lnTo>
                      <a:pt x="172" y="868"/>
                    </a:lnTo>
                    <a:lnTo>
                      <a:pt x="144" y="825"/>
                    </a:lnTo>
                    <a:lnTo>
                      <a:pt x="116" y="783"/>
                    </a:lnTo>
                    <a:lnTo>
                      <a:pt x="85" y="738"/>
                    </a:lnTo>
                    <a:lnTo>
                      <a:pt x="57" y="695"/>
                    </a:lnTo>
                    <a:lnTo>
                      <a:pt x="28" y="653"/>
                    </a:lnTo>
                    <a:lnTo>
                      <a:pt x="0" y="610"/>
                    </a:lnTo>
                    <a:lnTo>
                      <a:pt x="12" y="572"/>
                    </a:lnTo>
                    <a:lnTo>
                      <a:pt x="21" y="534"/>
                    </a:lnTo>
                    <a:lnTo>
                      <a:pt x="31" y="494"/>
                    </a:lnTo>
                    <a:lnTo>
                      <a:pt x="42" y="456"/>
                    </a:lnTo>
                    <a:lnTo>
                      <a:pt x="52" y="418"/>
                    </a:lnTo>
                    <a:lnTo>
                      <a:pt x="61" y="381"/>
                    </a:lnTo>
                    <a:lnTo>
                      <a:pt x="73" y="343"/>
                    </a:lnTo>
                    <a:lnTo>
                      <a:pt x="83" y="305"/>
                    </a:lnTo>
                    <a:lnTo>
                      <a:pt x="94" y="267"/>
                    </a:lnTo>
                    <a:lnTo>
                      <a:pt x="104" y="229"/>
                    </a:lnTo>
                    <a:lnTo>
                      <a:pt x="113" y="191"/>
                    </a:lnTo>
                    <a:lnTo>
                      <a:pt x="125" y="154"/>
                    </a:lnTo>
                    <a:lnTo>
                      <a:pt x="135" y="113"/>
                    </a:lnTo>
                    <a:lnTo>
                      <a:pt x="144" y="76"/>
                    </a:lnTo>
                    <a:lnTo>
                      <a:pt x="156" y="38"/>
                    </a:lnTo>
                    <a:lnTo>
                      <a:pt x="165" y="0"/>
                    </a:lnTo>
                    <a:lnTo>
                      <a:pt x="222" y="16"/>
                    </a:lnTo>
                    <a:lnTo>
                      <a:pt x="279" y="31"/>
                    </a:lnTo>
                    <a:lnTo>
                      <a:pt x="335" y="45"/>
                    </a:lnTo>
                    <a:lnTo>
                      <a:pt x="392" y="59"/>
                    </a:lnTo>
                    <a:lnTo>
                      <a:pt x="449" y="73"/>
                    </a:lnTo>
                    <a:lnTo>
                      <a:pt x="506" y="87"/>
                    </a:lnTo>
                    <a:lnTo>
                      <a:pt x="562" y="102"/>
                    </a:lnTo>
                    <a:lnTo>
                      <a:pt x="619" y="116"/>
                    </a:lnTo>
                    <a:lnTo>
                      <a:pt x="676" y="128"/>
                    </a:lnTo>
                    <a:lnTo>
                      <a:pt x="733" y="142"/>
                    </a:lnTo>
                    <a:lnTo>
                      <a:pt x="789" y="154"/>
                    </a:lnTo>
                    <a:lnTo>
                      <a:pt x="848" y="168"/>
                    </a:lnTo>
                    <a:lnTo>
                      <a:pt x="905" y="180"/>
                    </a:lnTo>
                    <a:lnTo>
                      <a:pt x="962" y="191"/>
                    </a:lnTo>
                    <a:lnTo>
                      <a:pt x="1019" y="203"/>
                    </a:lnTo>
                    <a:lnTo>
                      <a:pt x="1075" y="215"/>
                    </a:lnTo>
                    <a:lnTo>
                      <a:pt x="1068" y="246"/>
                    </a:lnTo>
                    <a:lnTo>
                      <a:pt x="1064" y="279"/>
                    </a:lnTo>
                    <a:lnTo>
                      <a:pt x="1056" y="312"/>
                    </a:lnTo>
                    <a:lnTo>
                      <a:pt x="1049" y="343"/>
                    </a:lnTo>
                    <a:lnTo>
                      <a:pt x="1045" y="376"/>
                    </a:lnTo>
                    <a:lnTo>
                      <a:pt x="1038" y="409"/>
                    </a:lnTo>
                    <a:lnTo>
                      <a:pt x="1030" y="440"/>
                    </a:lnTo>
                    <a:lnTo>
                      <a:pt x="1023" y="473"/>
                    </a:lnTo>
                    <a:lnTo>
                      <a:pt x="1019" y="504"/>
                    </a:lnTo>
                    <a:lnTo>
                      <a:pt x="1012" y="537"/>
                    </a:lnTo>
                    <a:lnTo>
                      <a:pt x="1004" y="570"/>
                    </a:lnTo>
                    <a:lnTo>
                      <a:pt x="997" y="600"/>
                    </a:lnTo>
                    <a:lnTo>
                      <a:pt x="993" y="634"/>
                    </a:lnTo>
                    <a:lnTo>
                      <a:pt x="986" y="667"/>
                    </a:lnTo>
                    <a:lnTo>
                      <a:pt x="978" y="697"/>
                    </a:lnTo>
                    <a:lnTo>
                      <a:pt x="971" y="731"/>
                    </a:lnTo>
                    <a:lnTo>
                      <a:pt x="967" y="761"/>
                    </a:lnTo>
                    <a:lnTo>
                      <a:pt x="960" y="794"/>
                    </a:lnTo>
                    <a:lnTo>
                      <a:pt x="952" y="827"/>
                    </a:lnTo>
                    <a:lnTo>
                      <a:pt x="945" y="858"/>
                    </a:lnTo>
                    <a:lnTo>
                      <a:pt x="941" y="891"/>
                    </a:lnTo>
                    <a:lnTo>
                      <a:pt x="934" y="922"/>
                    </a:lnTo>
                    <a:lnTo>
                      <a:pt x="926" y="955"/>
                    </a:lnTo>
                    <a:lnTo>
                      <a:pt x="922" y="988"/>
                    </a:lnTo>
                    <a:lnTo>
                      <a:pt x="915" y="1019"/>
                    </a:lnTo>
                    <a:lnTo>
                      <a:pt x="908" y="1052"/>
                    </a:lnTo>
                    <a:lnTo>
                      <a:pt x="900" y="1083"/>
                    </a:lnTo>
                    <a:lnTo>
                      <a:pt x="896" y="1116"/>
                    </a:lnTo>
                    <a:lnTo>
                      <a:pt x="889" y="1149"/>
                    </a:lnTo>
                    <a:lnTo>
                      <a:pt x="882" y="1180"/>
                    </a:lnTo>
                    <a:lnTo>
                      <a:pt x="874" y="1213"/>
                    </a:lnTo>
                    <a:lnTo>
                      <a:pt x="870" y="1244"/>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19" name="Freeform 76">
                <a:extLst>
                  <a:ext uri="{FF2B5EF4-FFF2-40B4-BE49-F238E27FC236}">
                    <a16:creationId xmlns:a16="http://schemas.microsoft.com/office/drawing/2014/main" id="{DDBE8E76-B760-877E-725E-4B07042E2DFE}"/>
                  </a:ext>
                </a:extLst>
              </p:cNvPr>
              <p:cNvSpPr>
                <a:spLocks noEditPoints="1"/>
              </p:cNvSpPr>
              <p:nvPr/>
            </p:nvSpPr>
            <p:spPr bwMode="auto">
              <a:xfrm>
                <a:off x="7233" y="-466"/>
                <a:ext cx="1267" cy="1050"/>
              </a:xfrm>
              <a:custGeom>
                <a:avLst/>
                <a:gdLst>
                  <a:gd name="T0" fmla="*/ 969 w 1267"/>
                  <a:gd name="T1" fmla="*/ 556 h 1050"/>
                  <a:gd name="T2" fmla="*/ 969 w 1267"/>
                  <a:gd name="T3" fmla="*/ 648 h 1050"/>
                  <a:gd name="T4" fmla="*/ 976 w 1267"/>
                  <a:gd name="T5" fmla="*/ 728 h 1050"/>
                  <a:gd name="T6" fmla="*/ 995 w 1267"/>
                  <a:gd name="T7" fmla="*/ 825 h 1050"/>
                  <a:gd name="T8" fmla="*/ 1009 w 1267"/>
                  <a:gd name="T9" fmla="*/ 885 h 1050"/>
                  <a:gd name="T10" fmla="*/ 1005 w 1267"/>
                  <a:gd name="T11" fmla="*/ 929 h 1050"/>
                  <a:gd name="T12" fmla="*/ 967 w 1267"/>
                  <a:gd name="T13" fmla="*/ 986 h 1050"/>
                  <a:gd name="T14" fmla="*/ 955 w 1267"/>
                  <a:gd name="T15" fmla="*/ 903 h 1050"/>
                  <a:gd name="T16" fmla="*/ 960 w 1267"/>
                  <a:gd name="T17" fmla="*/ 941 h 1050"/>
                  <a:gd name="T18" fmla="*/ 872 w 1267"/>
                  <a:gd name="T19" fmla="*/ 913 h 1050"/>
                  <a:gd name="T20" fmla="*/ 809 w 1267"/>
                  <a:gd name="T21" fmla="*/ 885 h 1050"/>
                  <a:gd name="T22" fmla="*/ 749 w 1267"/>
                  <a:gd name="T23" fmla="*/ 847 h 1050"/>
                  <a:gd name="T24" fmla="*/ 731 w 1267"/>
                  <a:gd name="T25" fmla="*/ 809 h 1050"/>
                  <a:gd name="T26" fmla="*/ 648 w 1267"/>
                  <a:gd name="T27" fmla="*/ 797 h 1050"/>
                  <a:gd name="T28" fmla="*/ 541 w 1267"/>
                  <a:gd name="T29" fmla="*/ 821 h 1050"/>
                  <a:gd name="T30" fmla="*/ 435 w 1267"/>
                  <a:gd name="T31" fmla="*/ 844 h 1050"/>
                  <a:gd name="T32" fmla="*/ 331 w 1267"/>
                  <a:gd name="T33" fmla="*/ 866 h 1050"/>
                  <a:gd name="T34" fmla="*/ 225 w 1267"/>
                  <a:gd name="T35" fmla="*/ 887 h 1050"/>
                  <a:gd name="T36" fmla="*/ 118 w 1267"/>
                  <a:gd name="T37" fmla="*/ 908 h 1050"/>
                  <a:gd name="T38" fmla="*/ 12 w 1267"/>
                  <a:gd name="T39" fmla="*/ 927 h 1050"/>
                  <a:gd name="T40" fmla="*/ 36 w 1267"/>
                  <a:gd name="T41" fmla="*/ 840 h 1050"/>
                  <a:gd name="T42" fmla="*/ 92 w 1267"/>
                  <a:gd name="T43" fmla="*/ 766 h 1050"/>
                  <a:gd name="T44" fmla="*/ 111 w 1267"/>
                  <a:gd name="T45" fmla="*/ 719 h 1050"/>
                  <a:gd name="T46" fmla="*/ 102 w 1267"/>
                  <a:gd name="T47" fmla="*/ 681 h 1050"/>
                  <a:gd name="T48" fmla="*/ 123 w 1267"/>
                  <a:gd name="T49" fmla="*/ 615 h 1050"/>
                  <a:gd name="T50" fmla="*/ 286 w 1267"/>
                  <a:gd name="T51" fmla="*/ 601 h 1050"/>
                  <a:gd name="T52" fmla="*/ 385 w 1267"/>
                  <a:gd name="T53" fmla="*/ 580 h 1050"/>
                  <a:gd name="T54" fmla="*/ 416 w 1267"/>
                  <a:gd name="T55" fmla="*/ 558 h 1050"/>
                  <a:gd name="T56" fmla="*/ 449 w 1267"/>
                  <a:gd name="T57" fmla="*/ 516 h 1050"/>
                  <a:gd name="T58" fmla="*/ 487 w 1267"/>
                  <a:gd name="T59" fmla="*/ 490 h 1050"/>
                  <a:gd name="T60" fmla="*/ 482 w 1267"/>
                  <a:gd name="T61" fmla="*/ 473 h 1050"/>
                  <a:gd name="T62" fmla="*/ 461 w 1267"/>
                  <a:gd name="T63" fmla="*/ 435 h 1050"/>
                  <a:gd name="T64" fmla="*/ 480 w 1267"/>
                  <a:gd name="T65" fmla="*/ 419 h 1050"/>
                  <a:gd name="T66" fmla="*/ 473 w 1267"/>
                  <a:gd name="T67" fmla="*/ 407 h 1050"/>
                  <a:gd name="T68" fmla="*/ 466 w 1267"/>
                  <a:gd name="T69" fmla="*/ 388 h 1050"/>
                  <a:gd name="T70" fmla="*/ 454 w 1267"/>
                  <a:gd name="T71" fmla="*/ 369 h 1050"/>
                  <a:gd name="T72" fmla="*/ 506 w 1267"/>
                  <a:gd name="T73" fmla="*/ 291 h 1050"/>
                  <a:gd name="T74" fmla="*/ 619 w 1267"/>
                  <a:gd name="T75" fmla="*/ 154 h 1050"/>
                  <a:gd name="T76" fmla="*/ 742 w 1267"/>
                  <a:gd name="T77" fmla="*/ 123 h 1050"/>
                  <a:gd name="T78" fmla="*/ 851 w 1267"/>
                  <a:gd name="T79" fmla="*/ 147 h 1050"/>
                  <a:gd name="T80" fmla="*/ 882 w 1267"/>
                  <a:gd name="T81" fmla="*/ 256 h 1050"/>
                  <a:gd name="T82" fmla="*/ 894 w 1267"/>
                  <a:gd name="T83" fmla="*/ 331 h 1050"/>
                  <a:gd name="T84" fmla="*/ 905 w 1267"/>
                  <a:gd name="T85" fmla="*/ 393 h 1050"/>
                  <a:gd name="T86" fmla="*/ 929 w 1267"/>
                  <a:gd name="T87" fmla="*/ 393 h 1050"/>
                  <a:gd name="T88" fmla="*/ 955 w 1267"/>
                  <a:gd name="T89" fmla="*/ 501 h 1050"/>
                  <a:gd name="T90" fmla="*/ 468 w 1267"/>
                  <a:gd name="T91" fmla="*/ 345 h 1050"/>
                  <a:gd name="T92" fmla="*/ 473 w 1267"/>
                  <a:gd name="T93" fmla="*/ 338 h 1050"/>
                  <a:gd name="T94" fmla="*/ 456 w 1267"/>
                  <a:gd name="T95" fmla="*/ 407 h 1050"/>
                  <a:gd name="T96" fmla="*/ 99 w 1267"/>
                  <a:gd name="T97" fmla="*/ 693 h 1050"/>
                  <a:gd name="T98" fmla="*/ 85 w 1267"/>
                  <a:gd name="T99" fmla="*/ 688 h 1050"/>
                  <a:gd name="T100" fmla="*/ 1177 w 1267"/>
                  <a:gd name="T101" fmla="*/ 887 h 1050"/>
                  <a:gd name="T102" fmla="*/ 1210 w 1267"/>
                  <a:gd name="T103" fmla="*/ 870 h 1050"/>
                  <a:gd name="T104" fmla="*/ 1267 w 1267"/>
                  <a:gd name="T105" fmla="*/ 847 h 1050"/>
                  <a:gd name="T106" fmla="*/ 1149 w 1267"/>
                  <a:gd name="T107" fmla="*/ 939 h 1050"/>
                  <a:gd name="T108" fmla="*/ 1002 w 1267"/>
                  <a:gd name="T109" fmla="*/ 1017 h 1050"/>
                  <a:gd name="T110" fmla="*/ 983 w 1267"/>
                  <a:gd name="T111" fmla="*/ 1010 h 1050"/>
                  <a:gd name="T112" fmla="*/ 965 w 1267"/>
                  <a:gd name="T113" fmla="*/ 998 h 1050"/>
                  <a:gd name="T114" fmla="*/ 1007 w 1267"/>
                  <a:gd name="T115" fmla="*/ 953 h 1050"/>
                  <a:gd name="T116" fmla="*/ 1040 w 1267"/>
                  <a:gd name="T117" fmla="*/ 932 h 1050"/>
                  <a:gd name="T118" fmla="*/ 1097 w 1267"/>
                  <a:gd name="T119" fmla="*/ 913 h 1050"/>
                  <a:gd name="T120" fmla="*/ 1203 w 1267"/>
                  <a:gd name="T121" fmla="*/ 844 h 1050"/>
                  <a:gd name="T122" fmla="*/ 936 w 1267"/>
                  <a:gd name="T123" fmla="*/ 1029 h 1050"/>
                  <a:gd name="T124" fmla="*/ 948 w 1267"/>
                  <a:gd name="T125" fmla="*/ 1043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7" h="1050">
                    <a:moveTo>
                      <a:pt x="154" y="0"/>
                    </a:moveTo>
                    <a:lnTo>
                      <a:pt x="154" y="0"/>
                    </a:lnTo>
                    <a:lnTo>
                      <a:pt x="154" y="0"/>
                    </a:lnTo>
                    <a:lnTo>
                      <a:pt x="154" y="0"/>
                    </a:lnTo>
                    <a:close/>
                    <a:moveTo>
                      <a:pt x="969" y="556"/>
                    </a:moveTo>
                    <a:lnTo>
                      <a:pt x="969" y="575"/>
                    </a:lnTo>
                    <a:lnTo>
                      <a:pt x="969" y="594"/>
                    </a:lnTo>
                    <a:lnTo>
                      <a:pt x="969" y="613"/>
                    </a:lnTo>
                    <a:lnTo>
                      <a:pt x="969" y="629"/>
                    </a:lnTo>
                    <a:lnTo>
                      <a:pt x="969" y="648"/>
                    </a:lnTo>
                    <a:lnTo>
                      <a:pt x="967" y="667"/>
                    </a:lnTo>
                    <a:lnTo>
                      <a:pt x="967" y="686"/>
                    </a:lnTo>
                    <a:lnTo>
                      <a:pt x="967" y="705"/>
                    </a:lnTo>
                    <a:lnTo>
                      <a:pt x="972" y="707"/>
                    </a:lnTo>
                    <a:lnTo>
                      <a:pt x="976" y="728"/>
                    </a:lnTo>
                    <a:lnTo>
                      <a:pt x="979" y="747"/>
                    </a:lnTo>
                    <a:lnTo>
                      <a:pt x="983" y="766"/>
                    </a:lnTo>
                    <a:lnTo>
                      <a:pt x="986" y="785"/>
                    </a:lnTo>
                    <a:lnTo>
                      <a:pt x="991" y="807"/>
                    </a:lnTo>
                    <a:lnTo>
                      <a:pt x="995" y="825"/>
                    </a:lnTo>
                    <a:lnTo>
                      <a:pt x="998" y="844"/>
                    </a:lnTo>
                    <a:lnTo>
                      <a:pt x="1002" y="866"/>
                    </a:lnTo>
                    <a:lnTo>
                      <a:pt x="1009" y="873"/>
                    </a:lnTo>
                    <a:lnTo>
                      <a:pt x="1014" y="877"/>
                    </a:lnTo>
                    <a:lnTo>
                      <a:pt x="1009" y="885"/>
                    </a:lnTo>
                    <a:lnTo>
                      <a:pt x="1002" y="892"/>
                    </a:lnTo>
                    <a:lnTo>
                      <a:pt x="995" y="901"/>
                    </a:lnTo>
                    <a:lnTo>
                      <a:pt x="983" y="911"/>
                    </a:lnTo>
                    <a:lnTo>
                      <a:pt x="993" y="920"/>
                    </a:lnTo>
                    <a:lnTo>
                      <a:pt x="1005" y="929"/>
                    </a:lnTo>
                    <a:lnTo>
                      <a:pt x="1000" y="937"/>
                    </a:lnTo>
                    <a:lnTo>
                      <a:pt x="986" y="960"/>
                    </a:lnTo>
                    <a:lnTo>
                      <a:pt x="979" y="972"/>
                    </a:lnTo>
                    <a:lnTo>
                      <a:pt x="969" y="977"/>
                    </a:lnTo>
                    <a:lnTo>
                      <a:pt x="967" y="986"/>
                    </a:lnTo>
                    <a:lnTo>
                      <a:pt x="962" y="993"/>
                    </a:lnTo>
                    <a:lnTo>
                      <a:pt x="962" y="974"/>
                    </a:lnTo>
                    <a:lnTo>
                      <a:pt x="965" y="958"/>
                    </a:lnTo>
                    <a:lnTo>
                      <a:pt x="965" y="927"/>
                    </a:lnTo>
                    <a:lnTo>
                      <a:pt x="955" y="903"/>
                    </a:lnTo>
                    <a:lnTo>
                      <a:pt x="948" y="896"/>
                    </a:lnTo>
                    <a:lnTo>
                      <a:pt x="939" y="892"/>
                    </a:lnTo>
                    <a:lnTo>
                      <a:pt x="953" y="913"/>
                    </a:lnTo>
                    <a:lnTo>
                      <a:pt x="960" y="941"/>
                    </a:lnTo>
                    <a:lnTo>
                      <a:pt x="960" y="941"/>
                    </a:lnTo>
                    <a:lnTo>
                      <a:pt x="943" y="937"/>
                    </a:lnTo>
                    <a:lnTo>
                      <a:pt x="927" y="929"/>
                    </a:lnTo>
                    <a:lnTo>
                      <a:pt x="908" y="925"/>
                    </a:lnTo>
                    <a:lnTo>
                      <a:pt x="891" y="920"/>
                    </a:lnTo>
                    <a:lnTo>
                      <a:pt x="872" y="913"/>
                    </a:lnTo>
                    <a:lnTo>
                      <a:pt x="856" y="908"/>
                    </a:lnTo>
                    <a:lnTo>
                      <a:pt x="839" y="901"/>
                    </a:lnTo>
                    <a:lnTo>
                      <a:pt x="820" y="896"/>
                    </a:lnTo>
                    <a:lnTo>
                      <a:pt x="816" y="889"/>
                    </a:lnTo>
                    <a:lnTo>
                      <a:pt x="809" y="885"/>
                    </a:lnTo>
                    <a:lnTo>
                      <a:pt x="778" y="882"/>
                    </a:lnTo>
                    <a:lnTo>
                      <a:pt x="771" y="875"/>
                    </a:lnTo>
                    <a:lnTo>
                      <a:pt x="761" y="868"/>
                    </a:lnTo>
                    <a:lnTo>
                      <a:pt x="754" y="859"/>
                    </a:lnTo>
                    <a:lnTo>
                      <a:pt x="749" y="847"/>
                    </a:lnTo>
                    <a:lnTo>
                      <a:pt x="747" y="837"/>
                    </a:lnTo>
                    <a:lnTo>
                      <a:pt x="747" y="825"/>
                    </a:lnTo>
                    <a:lnTo>
                      <a:pt x="738" y="821"/>
                    </a:lnTo>
                    <a:lnTo>
                      <a:pt x="738" y="814"/>
                    </a:lnTo>
                    <a:lnTo>
                      <a:pt x="731" y="809"/>
                    </a:lnTo>
                    <a:lnTo>
                      <a:pt x="712" y="807"/>
                    </a:lnTo>
                    <a:lnTo>
                      <a:pt x="705" y="797"/>
                    </a:lnTo>
                    <a:lnTo>
                      <a:pt x="690" y="788"/>
                    </a:lnTo>
                    <a:lnTo>
                      <a:pt x="669" y="792"/>
                    </a:lnTo>
                    <a:lnTo>
                      <a:pt x="648" y="797"/>
                    </a:lnTo>
                    <a:lnTo>
                      <a:pt x="627" y="802"/>
                    </a:lnTo>
                    <a:lnTo>
                      <a:pt x="605" y="807"/>
                    </a:lnTo>
                    <a:lnTo>
                      <a:pt x="584" y="811"/>
                    </a:lnTo>
                    <a:lnTo>
                      <a:pt x="563" y="816"/>
                    </a:lnTo>
                    <a:lnTo>
                      <a:pt x="541" y="821"/>
                    </a:lnTo>
                    <a:lnTo>
                      <a:pt x="520" y="825"/>
                    </a:lnTo>
                    <a:lnTo>
                      <a:pt x="499" y="830"/>
                    </a:lnTo>
                    <a:lnTo>
                      <a:pt x="478" y="835"/>
                    </a:lnTo>
                    <a:lnTo>
                      <a:pt x="456" y="840"/>
                    </a:lnTo>
                    <a:lnTo>
                      <a:pt x="435" y="844"/>
                    </a:lnTo>
                    <a:lnTo>
                      <a:pt x="414" y="849"/>
                    </a:lnTo>
                    <a:lnTo>
                      <a:pt x="393" y="854"/>
                    </a:lnTo>
                    <a:lnTo>
                      <a:pt x="374" y="859"/>
                    </a:lnTo>
                    <a:lnTo>
                      <a:pt x="352" y="861"/>
                    </a:lnTo>
                    <a:lnTo>
                      <a:pt x="331" y="866"/>
                    </a:lnTo>
                    <a:lnTo>
                      <a:pt x="310" y="870"/>
                    </a:lnTo>
                    <a:lnTo>
                      <a:pt x="289" y="875"/>
                    </a:lnTo>
                    <a:lnTo>
                      <a:pt x="267" y="880"/>
                    </a:lnTo>
                    <a:lnTo>
                      <a:pt x="246" y="882"/>
                    </a:lnTo>
                    <a:lnTo>
                      <a:pt x="225" y="887"/>
                    </a:lnTo>
                    <a:lnTo>
                      <a:pt x="203" y="892"/>
                    </a:lnTo>
                    <a:lnTo>
                      <a:pt x="182" y="896"/>
                    </a:lnTo>
                    <a:lnTo>
                      <a:pt x="161" y="899"/>
                    </a:lnTo>
                    <a:lnTo>
                      <a:pt x="140" y="903"/>
                    </a:lnTo>
                    <a:lnTo>
                      <a:pt x="118" y="908"/>
                    </a:lnTo>
                    <a:lnTo>
                      <a:pt x="97" y="913"/>
                    </a:lnTo>
                    <a:lnTo>
                      <a:pt x="76" y="915"/>
                    </a:lnTo>
                    <a:lnTo>
                      <a:pt x="55" y="920"/>
                    </a:lnTo>
                    <a:lnTo>
                      <a:pt x="33" y="922"/>
                    </a:lnTo>
                    <a:lnTo>
                      <a:pt x="12" y="927"/>
                    </a:lnTo>
                    <a:lnTo>
                      <a:pt x="7" y="899"/>
                    </a:lnTo>
                    <a:lnTo>
                      <a:pt x="0" y="873"/>
                    </a:lnTo>
                    <a:lnTo>
                      <a:pt x="0" y="870"/>
                    </a:lnTo>
                    <a:lnTo>
                      <a:pt x="10" y="863"/>
                    </a:lnTo>
                    <a:lnTo>
                      <a:pt x="36" y="840"/>
                    </a:lnTo>
                    <a:lnTo>
                      <a:pt x="47" y="823"/>
                    </a:lnTo>
                    <a:lnTo>
                      <a:pt x="62" y="809"/>
                    </a:lnTo>
                    <a:lnTo>
                      <a:pt x="76" y="797"/>
                    </a:lnTo>
                    <a:lnTo>
                      <a:pt x="85" y="783"/>
                    </a:lnTo>
                    <a:lnTo>
                      <a:pt x="92" y="766"/>
                    </a:lnTo>
                    <a:lnTo>
                      <a:pt x="102" y="754"/>
                    </a:lnTo>
                    <a:lnTo>
                      <a:pt x="111" y="745"/>
                    </a:lnTo>
                    <a:lnTo>
                      <a:pt x="116" y="738"/>
                    </a:lnTo>
                    <a:lnTo>
                      <a:pt x="116" y="728"/>
                    </a:lnTo>
                    <a:lnTo>
                      <a:pt x="111" y="719"/>
                    </a:lnTo>
                    <a:lnTo>
                      <a:pt x="104" y="707"/>
                    </a:lnTo>
                    <a:lnTo>
                      <a:pt x="102" y="698"/>
                    </a:lnTo>
                    <a:lnTo>
                      <a:pt x="104" y="688"/>
                    </a:lnTo>
                    <a:lnTo>
                      <a:pt x="104" y="684"/>
                    </a:lnTo>
                    <a:lnTo>
                      <a:pt x="102" y="681"/>
                    </a:lnTo>
                    <a:lnTo>
                      <a:pt x="76" y="679"/>
                    </a:lnTo>
                    <a:lnTo>
                      <a:pt x="71" y="643"/>
                    </a:lnTo>
                    <a:lnTo>
                      <a:pt x="69" y="641"/>
                    </a:lnTo>
                    <a:lnTo>
                      <a:pt x="71" y="641"/>
                    </a:lnTo>
                    <a:lnTo>
                      <a:pt x="123" y="615"/>
                    </a:lnTo>
                    <a:lnTo>
                      <a:pt x="156" y="603"/>
                    </a:lnTo>
                    <a:lnTo>
                      <a:pt x="199" y="594"/>
                    </a:lnTo>
                    <a:lnTo>
                      <a:pt x="251" y="591"/>
                    </a:lnTo>
                    <a:lnTo>
                      <a:pt x="272" y="594"/>
                    </a:lnTo>
                    <a:lnTo>
                      <a:pt x="286" y="601"/>
                    </a:lnTo>
                    <a:lnTo>
                      <a:pt x="303" y="598"/>
                    </a:lnTo>
                    <a:lnTo>
                      <a:pt x="317" y="591"/>
                    </a:lnTo>
                    <a:lnTo>
                      <a:pt x="341" y="587"/>
                    </a:lnTo>
                    <a:lnTo>
                      <a:pt x="369" y="582"/>
                    </a:lnTo>
                    <a:lnTo>
                      <a:pt x="385" y="580"/>
                    </a:lnTo>
                    <a:lnTo>
                      <a:pt x="388" y="582"/>
                    </a:lnTo>
                    <a:lnTo>
                      <a:pt x="390" y="582"/>
                    </a:lnTo>
                    <a:lnTo>
                      <a:pt x="390" y="577"/>
                    </a:lnTo>
                    <a:lnTo>
                      <a:pt x="397" y="570"/>
                    </a:lnTo>
                    <a:lnTo>
                      <a:pt x="416" y="558"/>
                    </a:lnTo>
                    <a:lnTo>
                      <a:pt x="421" y="558"/>
                    </a:lnTo>
                    <a:lnTo>
                      <a:pt x="423" y="553"/>
                    </a:lnTo>
                    <a:lnTo>
                      <a:pt x="428" y="544"/>
                    </a:lnTo>
                    <a:lnTo>
                      <a:pt x="437" y="530"/>
                    </a:lnTo>
                    <a:lnTo>
                      <a:pt x="449" y="516"/>
                    </a:lnTo>
                    <a:lnTo>
                      <a:pt x="463" y="509"/>
                    </a:lnTo>
                    <a:lnTo>
                      <a:pt x="475" y="504"/>
                    </a:lnTo>
                    <a:lnTo>
                      <a:pt x="485" y="499"/>
                    </a:lnTo>
                    <a:lnTo>
                      <a:pt x="487" y="494"/>
                    </a:lnTo>
                    <a:lnTo>
                      <a:pt x="487" y="490"/>
                    </a:lnTo>
                    <a:lnTo>
                      <a:pt x="485" y="485"/>
                    </a:lnTo>
                    <a:lnTo>
                      <a:pt x="485" y="480"/>
                    </a:lnTo>
                    <a:lnTo>
                      <a:pt x="485" y="478"/>
                    </a:lnTo>
                    <a:lnTo>
                      <a:pt x="485" y="478"/>
                    </a:lnTo>
                    <a:lnTo>
                      <a:pt x="482" y="473"/>
                    </a:lnTo>
                    <a:lnTo>
                      <a:pt x="478" y="457"/>
                    </a:lnTo>
                    <a:lnTo>
                      <a:pt x="473" y="449"/>
                    </a:lnTo>
                    <a:lnTo>
                      <a:pt x="468" y="442"/>
                    </a:lnTo>
                    <a:lnTo>
                      <a:pt x="463" y="440"/>
                    </a:lnTo>
                    <a:lnTo>
                      <a:pt x="461" y="435"/>
                    </a:lnTo>
                    <a:lnTo>
                      <a:pt x="468" y="428"/>
                    </a:lnTo>
                    <a:lnTo>
                      <a:pt x="468" y="433"/>
                    </a:lnTo>
                    <a:lnTo>
                      <a:pt x="471" y="435"/>
                    </a:lnTo>
                    <a:lnTo>
                      <a:pt x="475" y="431"/>
                    </a:lnTo>
                    <a:lnTo>
                      <a:pt x="480" y="419"/>
                    </a:lnTo>
                    <a:lnTo>
                      <a:pt x="480" y="414"/>
                    </a:lnTo>
                    <a:lnTo>
                      <a:pt x="485" y="409"/>
                    </a:lnTo>
                    <a:lnTo>
                      <a:pt x="487" y="402"/>
                    </a:lnTo>
                    <a:lnTo>
                      <a:pt x="482" y="402"/>
                    </a:lnTo>
                    <a:lnTo>
                      <a:pt x="473" y="407"/>
                    </a:lnTo>
                    <a:lnTo>
                      <a:pt x="471" y="405"/>
                    </a:lnTo>
                    <a:lnTo>
                      <a:pt x="473" y="395"/>
                    </a:lnTo>
                    <a:lnTo>
                      <a:pt x="471" y="390"/>
                    </a:lnTo>
                    <a:lnTo>
                      <a:pt x="468" y="388"/>
                    </a:lnTo>
                    <a:lnTo>
                      <a:pt x="466" y="388"/>
                    </a:lnTo>
                    <a:lnTo>
                      <a:pt x="454" y="400"/>
                    </a:lnTo>
                    <a:lnTo>
                      <a:pt x="452" y="400"/>
                    </a:lnTo>
                    <a:lnTo>
                      <a:pt x="449" y="397"/>
                    </a:lnTo>
                    <a:lnTo>
                      <a:pt x="442" y="388"/>
                    </a:lnTo>
                    <a:lnTo>
                      <a:pt x="454" y="369"/>
                    </a:lnTo>
                    <a:lnTo>
                      <a:pt x="506" y="312"/>
                    </a:lnTo>
                    <a:lnTo>
                      <a:pt x="511" y="303"/>
                    </a:lnTo>
                    <a:lnTo>
                      <a:pt x="511" y="298"/>
                    </a:lnTo>
                    <a:lnTo>
                      <a:pt x="508" y="291"/>
                    </a:lnTo>
                    <a:lnTo>
                      <a:pt x="506" y="291"/>
                    </a:lnTo>
                    <a:lnTo>
                      <a:pt x="506" y="289"/>
                    </a:lnTo>
                    <a:lnTo>
                      <a:pt x="551" y="220"/>
                    </a:lnTo>
                    <a:lnTo>
                      <a:pt x="577" y="187"/>
                    </a:lnTo>
                    <a:lnTo>
                      <a:pt x="601" y="166"/>
                    </a:lnTo>
                    <a:lnTo>
                      <a:pt x="619" y="154"/>
                    </a:lnTo>
                    <a:lnTo>
                      <a:pt x="634" y="152"/>
                    </a:lnTo>
                    <a:lnTo>
                      <a:pt x="641" y="149"/>
                    </a:lnTo>
                    <a:lnTo>
                      <a:pt x="648" y="147"/>
                    </a:lnTo>
                    <a:lnTo>
                      <a:pt x="681" y="137"/>
                    </a:lnTo>
                    <a:lnTo>
                      <a:pt x="742" y="123"/>
                    </a:lnTo>
                    <a:lnTo>
                      <a:pt x="804" y="109"/>
                    </a:lnTo>
                    <a:lnTo>
                      <a:pt x="839" y="100"/>
                    </a:lnTo>
                    <a:lnTo>
                      <a:pt x="844" y="114"/>
                    </a:lnTo>
                    <a:lnTo>
                      <a:pt x="844" y="130"/>
                    </a:lnTo>
                    <a:lnTo>
                      <a:pt x="851" y="147"/>
                    </a:lnTo>
                    <a:lnTo>
                      <a:pt x="856" y="185"/>
                    </a:lnTo>
                    <a:lnTo>
                      <a:pt x="872" y="211"/>
                    </a:lnTo>
                    <a:lnTo>
                      <a:pt x="877" y="230"/>
                    </a:lnTo>
                    <a:lnTo>
                      <a:pt x="882" y="248"/>
                    </a:lnTo>
                    <a:lnTo>
                      <a:pt x="882" y="256"/>
                    </a:lnTo>
                    <a:lnTo>
                      <a:pt x="877" y="267"/>
                    </a:lnTo>
                    <a:lnTo>
                      <a:pt x="875" y="282"/>
                    </a:lnTo>
                    <a:lnTo>
                      <a:pt x="877" y="293"/>
                    </a:lnTo>
                    <a:lnTo>
                      <a:pt x="877" y="300"/>
                    </a:lnTo>
                    <a:lnTo>
                      <a:pt x="894" y="331"/>
                    </a:lnTo>
                    <a:lnTo>
                      <a:pt x="898" y="345"/>
                    </a:lnTo>
                    <a:lnTo>
                      <a:pt x="901" y="355"/>
                    </a:lnTo>
                    <a:lnTo>
                      <a:pt x="901" y="383"/>
                    </a:lnTo>
                    <a:lnTo>
                      <a:pt x="903" y="393"/>
                    </a:lnTo>
                    <a:lnTo>
                      <a:pt x="905" y="393"/>
                    </a:lnTo>
                    <a:lnTo>
                      <a:pt x="908" y="393"/>
                    </a:lnTo>
                    <a:lnTo>
                      <a:pt x="910" y="383"/>
                    </a:lnTo>
                    <a:lnTo>
                      <a:pt x="913" y="381"/>
                    </a:lnTo>
                    <a:lnTo>
                      <a:pt x="917" y="383"/>
                    </a:lnTo>
                    <a:lnTo>
                      <a:pt x="929" y="393"/>
                    </a:lnTo>
                    <a:lnTo>
                      <a:pt x="936" y="416"/>
                    </a:lnTo>
                    <a:lnTo>
                      <a:pt x="939" y="433"/>
                    </a:lnTo>
                    <a:lnTo>
                      <a:pt x="943" y="452"/>
                    </a:lnTo>
                    <a:lnTo>
                      <a:pt x="950" y="480"/>
                    </a:lnTo>
                    <a:lnTo>
                      <a:pt x="955" y="501"/>
                    </a:lnTo>
                    <a:lnTo>
                      <a:pt x="960" y="520"/>
                    </a:lnTo>
                    <a:lnTo>
                      <a:pt x="962" y="535"/>
                    </a:lnTo>
                    <a:lnTo>
                      <a:pt x="965" y="544"/>
                    </a:lnTo>
                    <a:lnTo>
                      <a:pt x="969" y="556"/>
                    </a:lnTo>
                    <a:close/>
                    <a:moveTo>
                      <a:pt x="468" y="345"/>
                    </a:moveTo>
                    <a:lnTo>
                      <a:pt x="466" y="348"/>
                    </a:lnTo>
                    <a:lnTo>
                      <a:pt x="463" y="345"/>
                    </a:lnTo>
                    <a:lnTo>
                      <a:pt x="463" y="343"/>
                    </a:lnTo>
                    <a:lnTo>
                      <a:pt x="466" y="341"/>
                    </a:lnTo>
                    <a:lnTo>
                      <a:pt x="473" y="338"/>
                    </a:lnTo>
                    <a:lnTo>
                      <a:pt x="473" y="341"/>
                    </a:lnTo>
                    <a:lnTo>
                      <a:pt x="468" y="345"/>
                    </a:lnTo>
                    <a:close/>
                    <a:moveTo>
                      <a:pt x="459" y="409"/>
                    </a:moveTo>
                    <a:lnTo>
                      <a:pt x="459" y="412"/>
                    </a:lnTo>
                    <a:lnTo>
                      <a:pt x="456" y="407"/>
                    </a:lnTo>
                    <a:lnTo>
                      <a:pt x="459" y="405"/>
                    </a:lnTo>
                    <a:lnTo>
                      <a:pt x="463" y="402"/>
                    </a:lnTo>
                    <a:lnTo>
                      <a:pt x="463" y="405"/>
                    </a:lnTo>
                    <a:lnTo>
                      <a:pt x="459" y="409"/>
                    </a:lnTo>
                    <a:close/>
                    <a:moveTo>
                      <a:pt x="99" y="693"/>
                    </a:moveTo>
                    <a:lnTo>
                      <a:pt x="97" y="700"/>
                    </a:lnTo>
                    <a:lnTo>
                      <a:pt x="92" y="700"/>
                    </a:lnTo>
                    <a:lnTo>
                      <a:pt x="88" y="700"/>
                    </a:lnTo>
                    <a:lnTo>
                      <a:pt x="85" y="695"/>
                    </a:lnTo>
                    <a:lnTo>
                      <a:pt x="85" y="688"/>
                    </a:lnTo>
                    <a:lnTo>
                      <a:pt x="90" y="686"/>
                    </a:lnTo>
                    <a:lnTo>
                      <a:pt x="99" y="686"/>
                    </a:lnTo>
                    <a:lnTo>
                      <a:pt x="102" y="688"/>
                    </a:lnTo>
                    <a:lnTo>
                      <a:pt x="99" y="693"/>
                    </a:lnTo>
                    <a:close/>
                    <a:moveTo>
                      <a:pt x="1177" y="887"/>
                    </a:moveTo>
                    <a:lnTo>
                      <a:pt x="1170" y="903"/>
                    </a:lnTo>
                    <a:lnTo>
                      <a:pt x="1180" y="901"/>
                    </a:lnTo>
                    <a:lnTo>
                      <a:pt x="1187" y="896"/>
                    </a:lnTo>
                    <a:lnTo>
                      <a:pt x="1194" y="887"/>
                    </a:lnTo>
                    <a:lnTo>
                      <a:pt x="1210" y="870"/>
                    </a:lnTo>
                    <a:lnTo>
                      <a:pt x="1225" y="861"/>
                    </a:lnTo>
                    <a:lnTo>
                      <a:pt x="1229" y="859"/>
                    </a:lnTo>
                    <a:lnTo>
                      <a:pt x="1239" y="866"/>
                    </a:lnTo>
                    <a:lnTo>
                      <a:pt x="1253" y="854"/>
                    </a:lnTo>
                    <a:lnTo>
                      <a:pt x="1267" y="847"/>
                    </a:lnTo>
                    <a:lnTo>
                      <a:pt x="1208" y="899"/>
                    </a:lnTo>
                    <a:lnTo>
                      <a:pt x="1196" y="906"/>
                    </a:lnTo>
                    <a:lnTo>
                      <a:pt x="1180" y="922"/>
                    </a:lnTo>
                    <a:lnTo>
                      <a:pt x="1161" y="934"/>
                    </a:lnTo>
                    <a:lnTo>
                      <a:pt x="1149" y="939"/>
                    </a:lnTo>
                    <a:lnTo>
                      <a:pt x="1090" y="981"/>
                    </a:lnTo>
                    <a:lnTo>
                      <a:pt x="1083" y="984"/>
                    </a:lnTo>
                    <a:lnTo>
                      <a:pt x="1078" y="984"/>
                    </a:lnTo>
                    <a:lnTo>
                      <a:pt x="1026" y="1010"/>
                    </a:lnTo>
                    <a:lnTo>
                      <a:pt x="1002" y="1017"/>
                    </a:lnTo>
                    <a:lnTo>
                      <a:pt x="983" y="1026"/>
                    </a:lnTo>
                    <a:lnTo>
                      <a:pt x="995" y="1012"/>
                    </a:lnTo>
                    <a:lnTo>
                      <a:pt x="995" y="1010"/>
                    </a:lnTo>
                    <a:lnTo>
                      <a:pt x="991" y="1007"/>
                    </a:lnTo>
                    <a:lnTo>
                      <a:pt x="983" y="1010"/>
                    </a:lnTo>
                    <a:lnTo>
                      <a:pt x="976" y="1022"/>
                    </a:lnTo>
                    <a:lnTo>
                      <a:pt x="965" y="1029"/>
                    </a:lnTo>
                    <a:lnTo>
                      <a:pt x="960" y="1019"/>
                    </a:lnTo>
                    <a:lnTo>
                      <a:pt x="962" y="1007"/>
                    </a:lnTo>
                    <a:lnTo>
                      <a:pt x="965" y="998"/>
                    </a:lnTo>
                    <a:lnTo>
                      <a:pt x="976" y="981"/>
                    </a:lnTo>
                    <a:lnTo>
                      <a:pt x="993" y="967"/>
                    </a:lnTo>
                    <a:lnTo>
                      <a:pt x="1000" y="958"/>
                    </a:lnTo>
                    <a:lnTo>
                      <a:pt x="1007" y="963"/>
                    </a:lnTo>
                    <a:lnTo>
                      <a:pt x="1007" y="953"/>
                    </a:lnTo>
                    <a:lnTo>
                      <a:pt x="1012" y="948"/>
                    </a:lnTo>
                    <a:lnTo>
                      <a:pt x="1017" y="944"/>
                    </a:lnTo>
                    <a:lnTo>
                      <a:pt x="1028" y="939"/>
                    </a:lnTo>
                    <a:lnTo>
                      <a:pt x="1036" y="937"/>
                    </a:lnTo>
                    <a:lnTo>
                      <a:pt x="1040" y="932"/>
                    </a:lnTo>
                    <a:lnTo>
                      <a:pt x="1045" y="929"/>
                    </a:lnTo>
                    <a:lnTo>
                      <a:pt x="1062" y="932"/>
                    </a:lnTo>
                    <a:lnTo>
                      <a:pt x="1076" y="927"/>
                    </a:lnTo>
                    <a:lnTo>
                      <a:pt x="1085" y="918"/>
                    </a:lnTo>
                    <a:lnTo>
                      <a:pt x="1097" y="913"/>
                    </a:lnTo>
                    <a:lnTo>
                      <a:pt x="1128" y="903"/>
                    </a:lnTo>
                    <a:lnTo>
                      <a:pt x="1158" y="892"/>
                    </a:lnTo>
                    <a:lnTo>
                      <a:pt x="1170" y="880"/>
                    </a:lnTo>
                    <a:lnTo>
                      <a:pt x="1192" y="854"/>
                    </a:lnTo>
                    <a:lnTo>
                      <a:pt x="1203" y="844"/>
                    </a:lnTo>
                    <a:lnTo>
                      <a:pt x="1187" y="873"/>
                    </a:lnTo>
                    <a:lnTo>
                      <a:pt x="1177" y="887"/>
                    </a:lnTo>
                    <a:close/>
                    <a:moveTo>
                      <a:pt x="941" y="1048"/>
                    </a:moveTo>
                    <a:lnTo>
                      <a:pt x="934" y="1050"/>
                    </a:lnTo>
                    <a:lnTo>
                      <a:pt x="936" y="1029"/>
                    </a:lnTo>
                    <a:lnTo>
                      <a:pt x="948" y="1017"/>
                    </a:lnTo>
                    <a:lnTo>
                      <a:pt x="953" y="1017"/>
                    </a:lnTo>
                    <a:lnTo>
                      <a:pt x="955" y="1024"/>
                    </a:lnTo>
                    <a:lnTo>
                      <a:pt x="955" y="1031"/>
                    </a:lnTo>
                    <a:lnTo>
                      <a:pt x="948" y="1043"/>
                    </a:lnTo>
                    <a:lnTo>
                      <a:pt x="941" y="1048"/>
                    </a:lnTo>
                    <a:close/>
                  </a:path>
                </a:pathLst>
              </a:custGeom>
              <a:solidFill>
                <a:schemeClr val="accent2"/>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0" name="Freeform 77">
                <a:extLst>
                  <a:ext uri="{FF2B5EF4-FFF2-40B4-BE49-F238E27FC236}">
                    <a16:creationId xmlns:a16="http://schemas.microsoft.com/office/drawing/2014/main" id="{0B7C9EAF-2E2F-D928-AB91-7167A1438040}"/>
                  </a:ext>
                </a:extLst>
              </p:cNvPr>
              <p:cNvSpPr>
                <a:spLocks/>
              </p:cNvSpPr>
              <p:nvPr/>
            </p:nvSpPr>
            <p:spPr bwMode="auto">
              <a:xfrm>
                <a:off x="6470" y="485"/>
                <a:ext cx="706" cy="792"/>
              </a:xfrm>
              <a:custGeom>
                <a:avLst/>
                <a:gdLst>
                  <a:gd name="T0" fmla="*/ 688 w 706"/>
                  <a:gd name="T1" fmla="*/ 300 h 792"/>
                  <a:gd name="T2" fmla="*/ 702 w 706"/>
                  <a:gd name="T3" fmla="*/ 340 h 792"/>
                  <a:gd name="T4" fmla="*/ 680 w 706"/>
                  <a:gd name="T5" fmla="*/ 477 h 792"/>
                  <a:gd name="T6" fmla="*/ 647 w 706"/>
                  <a:gd name="T7" fmla="*/ 541 h 792"/>
                  <a:gd name="T8" fmla="*/ 610 w 706"/>
                  <a:gd name="T9" fmla="*/ 567 h 792"/>
                  <a:gd name="T10" fmla="*/ 586 w 706"/>
                  <a:gd name="T11" fmla="*/ 584 h 792"/>
                  <a:gd name="T12" fmla="*/ 565 w 706"/>
                  <a:gd name="T13" fmla="*/ 603 h 792"/>
                  <a:gd name="T14" fmla="*/ 553 w 706"/>
                  <a:gd name="T15" fmla="*/ 636 h 792"/>
                  <a:gd name="T16" fmla="*/ 562 w 706"/>
                  <a:gd name="T17" fmla="*/ 664 h 792"/>
                  <a:gd name="T18" fmla="*/ 553 w 706"/>
                  <a:gd name="T19" fmla="*/ 669 h 792"/>
                  <a:gd name="T20" fmla="*/ 543 w 706"/>
                  <a:gd name="T21" fmla="*/ 676 h 792"/>
                  <a:gd name="T22" fmla="*/ 524 w 706"/>
                  <a:gd name="T23" fmla="*/ 657 h 792"/>
                  <a:gd name="T24" fmla="*/ 498 w 706"/>
                  <a:gd name="T25" fmla="*/ 711 h 792"/>
                  <a:gd name="T26" fmla="*/ 503 w 706"/>
                  <a:gd name="T27" fmla="*/ 745 h 792"/>
                  <a:gd name="T28" fmla="*/ 489 w 706"/>
                  <a:gd name="T29" fmla="*/ 775 h 792"/>
                  <a:gd name="T30" fmla="*/ 442 w 706"/>
                  <a:gd name="T31" fmla="*/ 789 h 792"/>
                  <a:gd name="T32" fmla="*/ 399 w 706"/>
                  <a:gd name="T33" fmla="*/ 756 h 792"/>
                  <a:gd name="T34" fmla="*/ 340 w 706"/>
                  <a:gd name="T35" fmla="*/ 763 h 792"/>
                  <a:gd name="T36" fmla="*/ 283 w 706"/>
                  <a:gd name="T37" fmla="*/ 759 h 792"/>
                  <a:gd name="T38" fmla="*/ 250 w 706"/>
                  <a:gd name="T39" fmla="*/ 768 h 792"/>
                  <a:gd name="T40" fmla="*/ 186 w 706"/>
                  <a:gd name="T41" fmla="*/ 749 h 792"/>
                  <a:gd name="T42" fmla="*/ 141 w 706"/>
                  <a:gd name="T43" fmla="*/ 702 h 792"/>
                  <a:gd name="T44" fmla="*/ 101 w 706"/>
                  <a:gd name="T45" fmla="*/ 700 h 792"/>
                  <a:gd name="T46" fmla="*/ 73 w 706"/>
                  <a:gd name="T47" fmla="*/ 695 h 792"/>
                  <a:gd name="T48" fmla="*/ 47 w 706"/>
                  <a:gd name="T49" fmla="*/ 567 h 792"/>
                  <a:gd name="T50" fmla="*/ 23 w 706"/>
                  <a:gd name="T51" fmla="*/ 362 h 792"/>
                  <a:gd name="T52" fmla="*/ 0 w 706"/>
                  <a:gd name="T53" fmla="*/ 158 h 792"/>
                  <a:gd name="T54" fmla="*/ 156 w 706"/>
                  <a:gd name="T55" fmla="*/ 132 h 792"/>
                  <a:gd name="T56" fmla="*/ 210 w 706"/>
                  <a:gd name="T57" fmla="*/ 123 h 792"/>
                  <a:gd name="T58" fmla="*/ 236 w 706"/>
                  <a:gd name="T59" fmla="*/ 130 h 792"/>
                  <a:gd name="T60" fmla="*/ 283 w 706"/>
                  <a:gd name="T61" fmla="*/ 151 h 792"/>
                  <a:gd name="T62" fmla="*/ 305 w 706"/>
                  <a:gd name="T63" fmla="*/ 149 h 792"/>
                  <a:gd name="T64" fmla="*/ 316 w 706"/>
                  <a:gd name="T65" fmla="*/ 146 h 792"/>
                  <a:gd name="T66" fmla="*/ 293 w 706"/>
                  <a:gd name="T67" fmla="*/ 168 h 792"/>
                  <a:gd name="T68" fmla="*/ 307 w 706"/>
                  <a:gd name="T69" fmla="*/ 172 h 792"/>
                  <a:gd name="T70" fmla="*/ 340 w 706"/>
                  <a:gd name="T71" fmla="*/ 165 h 792"/>
                  <a:gd name="T72" fmla="*/ 364 w 706"/>
                  <a:gd name="T73" fmla="*/ 170 h 792"/>
                  <a:gd name="T74" fmla="*/ 385 w 706"/>
                  <a:gd name="T75" fmla="*/ 163 h 792"/>
                  <a:gd name="T76" fmla="*/ 449 w 706"/>
                  <a:gd name="T77" fmla="*/ 137 h 792"/>
                  <a:gd name="T78" fmla="*/ 498 w 706"/>
                  <a:gd name="T79" fmla="*/ 120 h 792"/>
                  <a:gd name="T80" fmla="*/ 607 w 706"/>
                  <a:gd name="T81" fmla="*/ 28 h 792"/>
                  <a:gd name="T82" fmla="*/ 664 w 706"/>
                  <a:gd name="T83" fmla="*/ 40 h 792"/>
                  <a:gd name="T84" fmla="*/ 676 w 706"/>
                  <a:gd name="T85" fmla="*/ 104 h 792"/>
                  <a:gd name="T86" fmla="*/ 688 w 706"/>
                  <a:gd name="T87" fmla="*/ 170 h 792"/>
                  <a:gd name="T88" fmla="*/ 697 w 706"/>
                  <a:gd name="T89" fmla="*/ 23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6" h="792">
                    <a:moveTo>
                      <a:pt x="706" y="279"/>
                    </a:moveTo>
                    <a:lnTo>
                      <a:pt x="688" y="291"/>
                    </a:lnTo>
                    <a:lnTo>
                      <a:pt x="688" y="300"/>
                    </a:lnTo>
                    <a:lnTo>
                      <a:pt x="695" y="309"/>
                    </a:lnTo>
                    <a:lnTo>
                      <a:pt x="699" y="321"/>
                    </a:lnTo>
                    <a:lnTo>
                      <a:pt x="702" y="340"/>
                    </a:lnTo>
                    <a:lnTo>
                      <a:pt x="699" y="378"/>
                    </a:lnTo>
                    <a:lnTo>
                      <a:pt x="688" y="440"/>
                    </a:lnTo>
                    <a:lnTo>
                      <a:pt x="680" y="477"/>
                    </a:lnTo>
                    <a:lnTo>
                      <a:pt x="683" y="492"/>
                    </a:lnTo>
                    <a:lnTo>
                      <a:pt x="673" y="513"/>
                    </a:lnTo>
                    <a:lnTo>
                      <a:pt x="647" y="541"/>
                    </a:lnTo>
                    <a:lnTo>
                      <a:pt x="631" y="560"/>
                    </a:lnTo>
                    <a:lnTo>
                      <a:pt x="621" y="567"/>
                    </a:lnTo>
                    <a:lnTo>
                      <a:pt x="610" y="567"/>
                    </a:lnTo>
                    <a:lnTo>
                      <a:pt x="602" y="562"/>
                    </a:lnTo>
                    <a:lnTo>
                      <a:pt x="595" y="567"/>
                    </a:lnTo>
                    <a:lnTo>
                      <a:pt x="586" y="584"/>
                    </a:lnTo>
                    <a:lnTo>
                      <a:pt x="579" y="591"/>
                    </a:lnTo>
                    <a:lnTo>
                      <a:pt x="572" y="593"/>
                    </a:lnTo>
                    <a:lnTo>
                      <a:pt x="565" y="603"/>
                    </a:lnTo>
                    <a:lnTo>
                      <a:pt x="562" y="622"/>
                    </a:lnTo>
                    <a:lnTo>
                      <a:pt x="558" y="633"/>
                    </a:lnTo>
                    <a:lnTo>
                      <a:pt x="553" y="636"/>
                    </a:lnTo>
                    <a:lnTo>
                      <a:pt x="555" y="645"/>
                    </a:lnTo>
                    <a:lnTo>
                      <a:pt x="562" y="659"/>
                    </a:lnTo>
                    <a:lnTo>
                      <a:pt x="562" y="664"/>
                    </a:lnTo>
                    <a:lnTo>
                      <a:pt x="560" y="664"/>
                    </a:lnTo>
                    <a:lnTo>
                      <a:pt x="558" y="664"/>
                    </a:lnTo>
                    <a:lnTo>
                      <a:pt x="553" y="669"/>
                    </a:lnTo>
                    <a:lnTo>
                      <a:pt x="548" y="678"/>
                    </a:lnTo>
                    <a:lnTo>
                      <a:pt x="546" y="678"/>
                    </a:lnTo>
                    <a:lnTo>
                      <a:pt x="543" y="676"/>
                    </a:lnTo>
                    <a:lnTo>
                      <a:pt x="539" y="667"/>
                    </a:lnTo>
                    <a:lnTo>
                      <a:pt x="534" y="659"/>
                    </a:lnTo>
                    <a:lnTo>
                      <a:pt x="524" y="657"/>
                    </a:lnTo>
                    <a:lnTo>
                      <a:pt x="515" y="669"/>
                    </a:lnTo>
                    <a:lnTo>
                      <a:pt x="503" y="695"/>
                    </a:lnTo>
                    <a:lnTo>
                      <a:pt x="498" y="711"/>
                    </a:lnTo>
                    <a:lnTo>
                      <a:pt x="503" y="723"/>
                    </a:lnTo>
                    <a:lnTo>
                      <a:pt x="508" y="737"/>
                    </a:lnTo>
                    <a:lnTo>
                      <a:pt x="503" y="745"/>
                    </a:lnTo>
                    <a:lnTo>
                      <a:pt x="496" y="749"/>
                    </a:lnTo>
                    <a:lnTo>
                      <a:pt x="491" y="759"/>
                    </a:lnTo>
                    <a:lnTo>
                      <a:pt x="489" y="775"/>
                    </a:lnTo>
                    <a:lnTo>
                      <a:pt x="480" y="787"/>
                    </a:lnTo>
                    <a:lnTo>
                      <a:pt x="463" y="792"/>
                    </a:lnTo>
                    <a:lnTo>
                      <a:pt x="442" y="789"/>
                    </a:lnTo>
                    <a:lnTo>
                      <a:pt x="442" y="787"/>
                    </a:lnTo>
                    <a:lnTo>
                      <a:pt x="416" y="773"/>
                    </a:lnTo>
                    <a:lnTo>
                      <a:pt x="399" y="756"/>
                    </a:lnTo>
                    <a:lnTo>
                      <a:pt x="390" y="740"/>
                    </a:lnTo>
                    <a:lnTo>
                      <a:pt x="371" y="742"/>
                    </a:lnTo>
                    <a:lnTo>
                      <a:pt x="340" y="763"/>
                    </a:lnTo>
                    <a:lnTo>
                      <a:pt x="316" y="768"/>
                    </a:lnTo>
                    <a:lnTo>
                      <a:pt x="297" y="761"/>
                    </a:lnTo>
                    <a:lnTo>
                      <a:pt x="283" y="759"/>
                    </a:lnTo>
                    <a:lnTo>
                      <a:pt x="271" y="763"/>
                    </a:lnTo>
                    <a:lnTo>
                      <a:pt x="260" y="771"/>
                    </a:lnTo>
                    <a:lnTo>
                      <a:pt x="250" y="768"/>
                    </a:lnTo>
                    <a:lnTo>
                      <a:pt x="236" y="759"/>
                    </a:lnTo>
                    <a:lnTo>
                      <a:pt x="215" y="752"/>
                    </a:lnTo>
                    <a:lnTo>
                      <a:pt x="186" y="749"/>
                    </a:lnTo>
                    <a:lnTo>
                      <a:pt x="167" y="737"/>
                    </a:lnTo>
                    <a:lnTo>
                      <a:pt x="153" y="716"/>
                    </a:lnTo>
                    <a:lnTo>
                      <a:pt x="141" y="702"/>
                    </a:lnTo>
                    <a:lnTo>
                      <a:pt x="127" y="695"/>
                    </a:lnTo>
                    <a:lnTo>
                      <a:pt x="115" y="695"/>
                    </a:lnTo>
                    <a:lnTo>
                      <a:pt x="101" y="700"/>
                    </a:lnTo>
                    <a:lnTo>
                      <a:pt x="89" y="700"/>
                    </a:lnTo>
                    <a:lnTo>
                      <a:pt x="82" y="693"/>
                    </a:lnTo>
                    <a:lnTo>
                      <a:pt x="73" y="695"/>
                    </a:lnTo>
                    <a:lnTo>
                      <a:pt x="63" y="704"/>
                    </a:lnTo>
                    <a:lnTo>
                      <a:pt x="56" y="633"/>
                    </a:lnTo>
                    <a:lnTo>
                      <a:pt x="47" y="567"/>
                    </a:lnTo>
                    <a:lnTo>
                      <a:pt x="40" y="499"/>
                    </a:lnTo>
                    <a:lnTo>
                      <a:pt x="33" y="430"/>
                    </a:lnTo>
                    <a:lnTo>
                      <a:pt x="23" y="362"/>
                    </a:lnTo>
                    <a:lnTo>
                      <a:pt x="16" y="295"/>
                    </a:lnTo>
                    <a:lnTo>
                      <a:pt x="9" y="227"/>
                    </a:lnTo>
                    <a:lnTo>
                      <a:pt x="0" y="158"/>
                    </a:lnTo>
                    <a:lnTo>
                      <a:pt x="52" y="149"/>
                    </a:lnTo>
                    <a:lnTo>
                      <a:pt x="104" y="142"/>
                    </a:lnTo>
                    <a:lnTo>
                      <a:pt x="156" y="132"/>
                    </a:lnTo>
                    <a:lnTo>
                      <a:pt x="208" y="123"/>
                    </a:lnTo>
                    <a:lnTo>
                      <a:pt x="210" y="123"/>
                    </a:lnTo>
                    <a:lnTo>
                      <a:pt x="210" y="123"/>
                    </a:lnTo>
                    <a:lnTo>
                      <a:pt x="212" y="125"/>
                    </a:lnTo>
                    <a:lnTo>
                      <a:pt x="227" y="125"/>
                    </a:lnTo>
                    <a:lnTo>
                      <a:pt x="236" y="130"/>
                    </a:lnTo>
                    <a:lnTo>
                      <a:pt x="245" y="135"/>
                    </a:lnTo>
                    <a:lnTo>
                      <a:pt x="274" y="144"/>
                    </a:lnTo>
                    <a:lnTo>
                      <a:pt x="283" y="151"/>
                    </a:lnTo>
                    <a:lnTo>
                      <a:pt x="293" y="153"/>
                    </a:lnTo>
                    <a:lnTo>
                      <a:pt x="300" y="153"/>
                    </a:lnTo>
                    <a:lnTo>
                      <a:pt x="305" y="149"/>
                    </a:lnTo>
                    <a:lnTo>
                      <a:pt x="307" y="144"/>
                    </a:lnTo>
                    <a:lnTo>
                      <a:pt x="312" y="142"/>
                    </a:lnTo>
                    <a:lnTo>
                      <a:pt x="316" y="146"/>
                    </a:lnTo>
                    <a:lnTo>
                      <a:pt x="333" y="149"/>
                    </a:lnTo>
                    <a:lnTo>
                      <a:pt x="333" y="151"/>
                    </a:lnTo>
                    <a:lnTo>
                      <a:pt x="293" y="168"/>
                    </a:lnTo>
                    <a:lnTo>
                      <a:pt x="286" y="172"/>
                    </a:lnTo>
                    <a:lnTo>
                      <a:pt x="295" y="175"/>
                    </a:lnTo>
                    <a:lnTo>
                      <a:pt x="307" y="172"/>
                    </a:lnTo>
                    <a:lnTo>
                      <a:pt x="316" y="165"/>
                    </a:lnTo>
                    <a:lnTo>
                      <a:pt x="328" y="165"/>
                    </a:lnTo>
                    <a:lnTo>
                      <a:pt x="340" y="165"/>
                    </a:lnTo>
                    <a:lnTo>
                      <a:pt x="342" y="163"/>
                    </a:lnTo>
                    <a:lnTo>
                      <a:pt x="345" y="161"/>
                    </a:lnTo>
                    <a:lnTo>
                      <a:pt x="364" y="170"/>
                    </a:lnTo>
                    <a:lnTo>
                      <a:pt x="373" y="172"/>
                    </a:lnTo>
                    <a:lnTo>
                      <a:pt x="378" y="170"/>
                    </a:lnTo>
                    <a:lnTo>
                      <a:pt x="385" y="163"/>
                    </a:lnTo>
                    <a:lnTo>
                      <a:pt x="402" y="156"/>
                    </a:lnTo>
                    <a:lnTo>
                      <a:pt x="425" y="144"/>
                    </a:lnTo>
                    <a:lnTo>
                      <a:pt x="449" y="137"/>
                    </a:lnTo>
                    <a:lnTo>
                      <a:pt x="472" y="135"/>
                    </a:lnTo>
                    <a:lnTo>
                      <a:pt x="487" y="130"/>
                    </a:lnTo>
                    <a:lnTo>
                      <a:pt x="498" y="120"/>
                    </a:lnTo>
                    <a:lnTo>
                      <a:pt x="524" y="90"/>
                    </a:lnTo>
                    <a:lnTo>
                      <a:pt x="555" y="64"/>
                    </a:lnTo>
                    <a:lnTo>
                      <a:pt x="607" y="28"/>
                    </a:lnTo>
                    <a:lnTo>
                      <a:pt x="657" y="0"/>
                    </a:lnTo>
                    <a:lnTo>
                      <a:pt x="662" y="16"/>
                    </a:lnTo>
                    <a:lnTo>
                      <a:pt x="664" y="40"/>
                    </a:lnTo>
                    <a:lnTo>
                      <a:pt x="669" y="61"/>
                    </a:lnTo>
                    <a:lnTo>
                      <a:pt x="671" y="82"/>
                    </a:lnTo>
                    <a:lnTo>
                      <a:pt x="676" y="104"/>
                    </a:lnTo>
                    <a:lnTo>
                      <a:pt x="678" y="125"/>
                    </a:lnTo>
                    <a:lnTo>
                      <a:pt x="683" y="149"/>
                    </a:lnTo>
                    <a:lnTo>
                      <a:pt x="688" y="170"/>
                    </a:lnTo>
                    <a:lnTo>
                      <a:pt x="690" y="191"/>
                    </a:lnTo>
                    <a:lnTo>
                      <a:pt x="695" y="213"/>
                    </a:lnTo>
                    <a:lnTo>
                      <a:pt x="697" y="234"/>
                    </a:lnTo>
                    <a:lnTo>
                      <a:pt x="702" y="257"/>
                    </a:lnTo>
                    <a:lnTo>
                      <a:pt x="706" y="27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1" name="Freeform 78">
                <a:extLst>
                  <a:ext uri="{FF2B5EF4-FFF2-40B4-BE49-F238E27FC236}">
                    <a16:creationId xmlns:a16="http://schemas.microsoft.com/office/drawing/2014/main" id="{BD3340CC-DF6E-F296-9127-BB48399850FE}"/>
                  </a:ext>
                </a:extLst>
              </p:cNvPr>
              <p:cNvSpPr>
                <a:spLocks/>
              </p:cNvSpPr>
              <p:nvPr/>
            </p:nvSpPr>
            <p:spPr bwMode="auto">
              <a:xfrm>
                <a:off x="3522" y="1695"/>
                <a:ext cx="1456" cy="750"/>
              </a:xfrm>
              <a:custGeom>
                <a:avLst/>
                <a:gdLst>
                  <a:gd name="T0" fmla="*/ 1432 w 1456"/>
                  <a:gd name="T1" fmla="*/ 237 h 750"/>
                  <a:gd name="T2" fmla="*/ 1451 w 1456"/>
                  <a:gd name="T3" fmla="*/ 353 h 750"/>
                  <a:gd name="T4" fmla="*/ 1454 w 1456"/>
                  <a:gd name="T5" fmla="*/ 452 h 750"/>
                  <a:gd name="T6" fmla="*/ 1454 w 1456"/>
                  <a:gd name="T7" fmla="*/ 542 h 750"/>
                  <a:gd name="T8" fmla="*/ 1454 w 1456"/>
                  <a:gd name="T9" fmla="*/ 634 h 750"/>
                  <a:gd name="T10" fmla="*/ 1454 w 1456"/>
                  <a:gd name="T11" fmla="*/ 726 h 750"/>
                  <a:gd name="T12" fmla="*/ 1385 w 1456"/>
                  <a:gd name="T13" fmla="*/ 724 h 750"/>
                  <a:gd name="T14" fmla="*/ 1319 w 1456"/>
                  <a:gd name="T15" fmla="*/ 686 h 750"/>
                  <a:gd name="T16" fmla="*/ 1269 w 1456"/>
                  <a:gd name="T17" fmla="*/ 700 h 750"/>
                  <a:gd name="T18" fmla="*/ 1253 w 1456"/>
                  <a:gd name="T19" fmla="*/ 691 h 750"/>
                  <a:gd name="T20" fmla="*/ 1196 w 1456"/>
                  <a:gd name="T21" fmla="*/ 703 h 750"/>
                  <a:gd name="T22" fmla="*/ 1130 w 1456"/>
                  <a:gd name="T23" fmla="*/ 738 h 750"/>
                  <a:gd name="T24" fmla="*/ 1083 w 1456"/>
                  <a:gd name="T25" fmla="*/ 710 h 750"/>
                  <a:gd name="T26" fmla="*/ 1073 w 1456"/>
                  <a:gd name="T27" fmla="*/ 696 h 750"/>
                  <a:gd name="T28" fmla="*/ 1038 w 1456"/>
                  <a:gd name="T29" fmla="*/ 700 h 750"/>
                  <a:gd name="T30" fmla="*/ 1014 w 1456"/>
                  <a:gd name="T31" fmla="*/ 688 h 750"/>
                  <a:gd name="T32" fmla="*/ 1000 w 1456"/>
                  <a:gd name="T33" fmla="*/ 712 h 750"/>
                  <a:gd name="T34" fmla="*/ 979 w 1456"/>
                  <a:gd name="T35" fmla="*/ 726 h 750"/>
                  <a:gd name="T36" fmla="*/ 976 w 1456"/>
                  <a:gd name="T37" fmla="*/ 698 h 750"/>
                  <a:gd name="T38" fmla="*/ 946 w 1456"/>
                  <a:gd name="T39" fmla="*/ 710 h 750"/>
                  <a:gd name="T40" fmla="*/ 910 w 1456"/>
                  <a:gd name="T41" fmla="*/ 693 h 750"/>
                  <a:gd name="T42" fmla="*/ 896 w 1456"/>
                  <a:gd name="T43" fmla="*/ 677 h 750"/>
                  <a:gd name="T44" fmla="*/ 856 w 1456"/>
                  <a:gd name="T45" fmla="*/ 700 h 750"/>
                  <a:gd name="T46" fmla="*/ 839 w 1456"/>
                  <a:gd name="T47" fmla="*/ 674 h 750"/>
                  <a:gd name="T48" fmla="*/ 799 w 1456"/>
                  <a:gd name="T49" fmla="*/ 643 h 750"/>
                  <a:gd name="T50" fmla="*/ 749 w 1456"/>
                  <a:gd name="T51" fmla="*/ 653 h 750"/>
                  <a:gd name="T52" fmla="*/ 667 w 1456"/>
                  <a:gd name="T53" fmla="*/ 625 h 750"/>
                  <a:gd name="T54" fmla="*/ 626 w 1456"/>
                  <a:gd name="T55" fmla="*/ 601 h 750"/>
                  <a:gd name="T56" fmla="*/ 598 w 1456"/>
                  <a:gd name="T57" fmla="*/ 570 h 750"/>
                  <a:gd name="T58" fmla="*/ 570 w 1456"/>
                  <a:gd name="T59" fmla="*/ 580 h 750"/>
                  <a:gd name="T60" fmla="*/ 501 w 1456"/>
                  <a:gd name="T61" fmla="*/ 542 h 750"/>
                  <a:gd name="T62" fmla="*/ 494 w 1456"/>
                  <a:gd name="T63" fmla="*/ 461 h 750"/>
                  <a:gd name="T64" fmla="*/ 496 w 1456"/>
                  <a:gd name="T65" fmla="*/ 362 h 750"/>
                  <a:gd name="T66" fmla="*/ 501 w 1456"/>
                  <a:gd name="T67" fmla="*/ 260 h 750"/>
                  <a:gd name="T68" fmla="*/ 506 w 1456"/>
                  <a:gd name="T69" fmla="*/ 161 h 750"/>
                  <a:gd name="T70" fmla="*/ 411 w 1456"/>
                  <a:gd name="T71" fmla="*/ 130 h 750"/>
                  <a:gd name="T72" fmla="*/ 284 w 1456"/>
                  <a:gd name="T73" fmla="*/ 123 h 750"/>
                  <a:gd name="T74" fmla="*/ 158 w 1456"/>
                  <a:gd name="T75" fmla="*/ 116 h 750"/>
                  <a:gd name="T76" fmla="*/ 31 w 1456"/>
                  <a:gd name="T77" fmla="*/ 107 h 750"/>
                  <a:gd name="T78" fmla="*/ 5 w 1456"/>
                  <a:gd name="T79" fmla="*/ 26 h 750"/>
                  <a:gd name="T80" fmla="*/ 132 w 1456"/>
                  <a:gd name="T81" fmla="*/ 10 h 750"/>
                  <a:gd name="T82" fmla="*/ 291 w 1456"/>
                  <a:gd name="T83" fmla="*/ 19 h 750"/>
                  <a:gd name="T84" fmla="*/ 444 w 1456"/>
                  <a:gd name="T85" fmla="*/ 26 h 750"/>
                  <a:gd name="T86" fmla="*/ 600 w 1456"/>
                  <a:gd name="T87" fmla="*/ 33 h 750"/>
                  <a:gd name="T88" fmla="*/ 756 w 1456"/>
                  <a:gd name="T89" fmla="*/ 41 h 750"/>
                  <a:gd name="T90" fmla="*/ 912 w 1456"/>
                  <a:gd name="T91" fmla="*/ 43 h 750"/>
                  <a:gd name="T92" fmla="*/ 1068 w 1456"/>
                  <a:gd name="T93" fmla="*/ 45 h 750"/>
                  <a:gd name="T94" fmla="*/ 1224 w 1456"/>
                  <a:gd name="T95" fmla="*/ 45 h 750"/>
                  <a:gd name="T96" fmla="*/ 1380 w 1456"/>
                  <a:gd name="T97" fmla="*/ 45 h 750"/>
                  <a:gd name="T98" fmla="*/ 1421 w 1456"/>
                  <a:gd name="T99" fmla="*/ 123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6" h="750">
                    <a:moveTo>
                      <a:pt x="1421" y="149"/>
                    </a:moveTo>
                    <a:lnTo>
                      <a:pt x="1425" y="178"/>
                    </a:lnTo>
                    <a:lnTo>
                      <a:pt x="1430" y="206"/>
                    </a:lnTo>
                    <a:lnTo>
                      <a:pt x="1432" y="237"/>
                    </a:lnTo>
                    <a:lnTo>
                      <a:pt x="1437" y="265"/>
                    </a:lnTo>
                    <a:lnTo>
                      <a:pt x="1442" y="296"/>
                    </a:lnTo>
                    <a:lnTo>
                      <a:pt x="1447" y="324"/>
                    </a:lnTo>
                    <a:lnTo>
                      <a:pt x="1451" y="353"/>
                    </a:lnTo>
                    <a:lnTo>
                      <a:pt x="1456" y="383"/>
                    </a:lnTo>
                    <a:lnTo>
                      <a:pt x="1456" y="405"/>
                    </a:lnTo>
                    <a:lnTo>
                      <a:pt x="1456" y="428"/>
                    </a:lnTo>
                    <a:lnTo>
                      <a:pt x="1454" y="452"/>
                    </a:lnTo>
                    <a:lnTo>
                      <a:pt x="1454" y="473"/>
                    </a:lnTo>
                    <a:lnTo>
                      <a:pt x="1454" y="497"/>
                    </a:lnTo>
                    <a:lnTo>
                      <a:pt x="1454" y="521"/>
                    </a:lnTo>
                    <a:lnTo>
                      <a:pt x="1454" y="542"/>
                    </a:lnTo>
                    <a:lnTo>
                      <a:pt x="1454" y="565"/>
                    </a:lnTo>
                    <a:lnTo>
                      <a:pt x="1454" y="589"/>
                    </a:lnTo>
                    <a:lnTo>
                      <a:pt x="1454" y="610"/>
                    </a:lnTo>
                    <a:lnTo>
                      <a:pt x="1454" y="634"/>
                    </a:lnTo>
                    <a:lnTo>
                      <a:pt x="1454" y="658"/>
                    </a:lnTo>
                    <a:lnTo>
                      <a:pt x="1454" y="681"/>
                    </a:lnTo>
                    <a:lnTo>
                      <a:pt x="1454" y="703"/>
                    </a:lnTo>
                    <a:lnTo>
                      <a:pt x="1454" y="726"/>
                    </a:lnTo>
                    <a:lnTo>
                      <a:pt x="1454" y="750"/>
                    </a:lnTo>
                    <a:lnTo>
                      <a:pt x="1414" y="738"/>
                    </a:lnTo>
                    <a:lnTo>
                      <a:pt x="1404" y="733"/>
                    </a:lnTo>
                    <a:lnTo>
                      <a:pt x="1385" y="724"/>
                    </a:lnTo>
                    <a:lnTo>
                      <a:pt x="1369" y="710"/>
                    </a:lnTo>
                    <a:lnTo>
                      <a:pt x="1336" y="691"/>
                    </a:lnTo>
                    <a:lnTo>
                      <a:pt x="1324" y="686"/>
                    </a:lnTo>
                    <a:lnTo>
                      <a:pt x="1319" y="686"/>
                    </a:lnTo>
                    <a:lnTo>
                      <a:pt x="1314" y="696"/>
                    </a:lnTo>
                    <a:lnTo>
                      <a:pt x="1295" y="703"/>
                    </a:lnTo>
                    <a:lnTo>
                      <a:pt x="1286" y="703"/>
                    </a:lnTo>
                    <a:lnTo>
                      <a:pt x="1269" y="700"/>
                    </a:lnTo>
                    <a:lnTo>
                      <a:pt x="1267" y="698"/>
                    </a:lnTo>
                    <a:lnTo>
                      <a:pt x="1265" y="693"/>
                    </a:lnTo>
                    <a:lnTo>
                      <a:pt x="1258" y="688"/>
                    </a:lnTo>
                    <a:lnTo>
                      <a:pt x="1253" y="691"/>
                    </a:lnTo>
                    <a:lnTo>
                      <a:pt x="1227" y="700"/>
                    </a:lnTo>
                    <a:lnTo>
                      <a:pt x="1224" y="705"/>
                    </a:lnTo>
                    <a:lnTo>
                      <a:pt x="1210" y="705"/>
                    </a:lnTo>
                    <a:lnTo>
                      <a:pt x="1196" y="703"/>
                    </a:lnTo>
                    <a:lnTo>
                      <a:pt x="1161" y="714"/>
                    </a:lnTo>
                    <a:lnTo>
                      <a:pt x="1149" y="724"/>
                    </a:lnTo>
                    <a:lnTo>
                      <a:pt x="1137" y="729"/>
                    </a:lnTo>
                    <a:lnTo>
                      <a:pt x="1130" y="738"/>
                    </a:lnTo>
                    <a:lnTo>
                      <a:pt x="1128" y="736"/>
                    </a:lnTo>
                    <a:lnTo>
                      <a:pt x="1113" y="724"/>
                    </a:lnTo>
                    <a:lnTo>
                      <a:pt x="1102" y="722"/>
                    </a:lnTo>
                    <a:lnTo>
                      <a:pt x="1083" y="710"/>
                    </a:lnTo>
                    <a:lnTo>
                      <a:pt x="1083" y="698"/>
                    </a:lnTo>
                    <a:lnTo>
                      <a:pt x="1080" y="696"/>
                    </a:lnTo>
                    <a:lnTo>
                      <a:pt x="1076" y="696"/>
                    </a:lnTo>
                    <a:lnTo>
                      <a:pt x="1073" y="696"/>
                    </a:lnTo>
                    <a:lnTo>
                      <a:pt x="1064" y="705"/>
                    </a:lnTo>
                    <a:lnTo>
                      <a:pt x="1059" y="707"/>
                    </a:lnTo>
                    <a:lnTo>
                      <a:pt x="1054" y="707"/>
                    </a:lnTo>
                    <a:lnTo>
                      <a:pt x="1038" y="700"/>
                    </a:lnTo>
                    <a:lnTo>
                      <a:pt x="1031" y="691"/>
                    </a:lnTo>
                    <a:lnTo>
                      <a:pt x="1026" y="686"/>
                    </a:lnTo>
                    <a:lnTo>
                      <a:pt x="1021" y="686"/>
                    </a:lnTo>
                    <a:lnTo>
                      <a:pt x="1014" y="688"/>
                    </a:lnTo>
                    <a:lnTo>
                      <a:pt x="1009" y="700"/>
                    </a:lnTo>
                    <a:lnTo>
                      <a:pt x="1007" y="705"/>
                    </a:lnTo>
                    <a:lnTo>
                      <a:pt x="1000" y="707"/>
                    </a:lnTo>
                    <a:lnTo>
                      <a:pt x="1000" y="712"/>
                    </a:lnTo>
                    <a:lnTo>
                      <a:pt x="993" y="729"/>
                    </a:lnTo>
                    <a:lnTo>
                      <a:pt x="988" y="731"/>
                    </a:lnTo>
                    <a:lnTo>
                      <a:pt x="983" y="731"/>
                    </a:lnTo>
                    <a:lnTo>
                      <a:pt x="979" y="726"/>
                    </a:lnTo>
                    <a:lnTo>
                      <a:pt x="976" y="722"/>
                    </a:lnTo>
                    <a:lnTo>
                      <a:pt x="974" y="717"/>
                    </a:lnTo>
                    <a:lnTo>
                      <a:pt x="979" y="703"/>
                    </a:lnTo>
                    <a:lnTo>
                      <a:pt x="976" y="698"/>
                    </a:lnTo>
                    <a:lnTo>
                      <a:pt x="972" y="698"/>
                    </a:lnTo>
                    <a:lnTo>
                      <a:pt x="964" y="703"/>
                    </a:lnTo>
                    <a:lnTo>
                      <a:pt x="957" y="703"/>
                    </a:lnTo>
                    <a:lnTo>
                      <a:pt x="946" y="710"/>
                    </a:lnTo>
                    <a:lnTo>
                      <a:pt x="941" y="710"/>
                    </a:lnTo>
                    <a:lnTo>
                      <a:pt x="934" y="710"/>
                    </a:lnTo>
                    <a:lnTo>
                      <a:pt x="927" y="698"/>
                    </a:lnTo>
                    <a:lnTo>
                      <a:pt x="910" y="693"/>
                    </a:lnTo>
                    <a:lnTo>
                      <a:pt x="905" y="681"/>
                    </a:lnTo>
                    <a:lnTo>
                      <a:pt x="901" y="677"/>
                    </a:lnTo>
                    <a:lnTo>
                      <a:pt x="898" y="677"/>
                    </a:lnTo>
                    <a:lnTo>
                      <a:pt x="896" y="677"/>
                    </a:lnTo>
                    <a:lnTo>
                      <a:pt x="889" y="681"/>
                    </a:lnTo>
                    <a:lnTo>
                      <a:pt x="870" y="696"/>
                    </a:lnTo>
                    <a:lnTo>
                      <a:pt x="863" y="700"/>
                    </a:lnTo>
                    <a:lnTo>
                      <a:pt x="856" y="700"/>
                    </a:lnTo>
                    <a:lnTo>
                      <a:pt x="849" y="700"/>
                    </a:lnTo>
                    <a:lnTo>
                      <a:pt x="844" y="696"/>
                    </a:lnTo>
                    <a:lnTo>
                      <a:pt x="844" y="679"/>
                    </a:lnTo>
                    <a:lnTo>
                      <a:pt x="839" y="674"/>
                    </a:lnTo>
                    <a:lnTo>
                      <a:pt x="823" y="665"/>
                    </a:lnTo>
                    <a:lnTo>
                      <a:pt x="820" y="655"/>
                    </a:lnTo>
                    <a:lnTo>
                      <a:pt x="818" y="641"/>
                    </a:lnTo>
                    <a:lnTo>
                      <a:pt x="799" y="643"/>
                    </a:lnTo>
                    <a:lnTo>
                      <a:pt x="773" y="641"/>
                    </a:lnTo>
                    <a:lnTo>
                      <a:pt x="761" y="653"/>
                    </a:lnTo>
                    <a:lnTo>
                      <a:pt x="756" y="655"/>
                    </a:lnTo>
                    <a:lnTo>
                      <a:pt x="749" y="653"/>
                    </a:lnTo>
                    <a:lnTo>
                      <a:pt x="730" y="636"/>
                    </a:lnTo>
                    <a:lnTo>
                      <a:pt x="709" y="639"/>
                    </a:lnTo>
                    <a:lnTo>
                      <a:pt x="695" y="636"/>
                    </a:lnTo>
                    <a:lnTo>
                      <a:pt x="667" y="625"/>
                    </a:lnTo>
                    <a:lnTo>
                      <a:pt x="643" y="622"/>
                    </a:lnTo>
                    <a:lnTo>
                      <a:pt x="634" y="620"/>
                    </a:lnTo>
                    <a:lnTo>
                      <a:pt x="629" y="617"/>
                    </a:lnTo>
                    <a:lnTo>
                      <a:pt x="626" y="601"/>
                    </a:lnTo>
                    <a:lnTo>
                      <a:pt x="619" y="584"/>
                    </a:lnTo>
                    <a:lnTo>
                      <a:pt x="615" y="582"/>
                    </a:lnTo>
                    <a:lnTo>
                      <a:pt x="600" y="570"/>
                    </a:lnTo>
                    <a:lnTo>
                      <a:pt x="598" y="570"/>
                    </a:lnTo>
                    <a:lnTo>
                      <a:pt x="596" y="573"/>
                    </a:lnTo>
                    <a:lnTo>
                      <a:pt x="591" y="584"/>
                    </a:lnTo>
                    <a:lnTo>
                      <a:pt x="586" y="584"/>
                    </a:lnTo>
                    <a:lnTo>
                      <a:pt x="570" y="580"/>
                    </a:lnTo>
                    <a:lnTo>
                      <a:pt x="553" y="582"/>
                    </a:lnTo>
                    <a:lnTo>
                      <a:pt x="544" y="577"/>
                    </a:lnTo>
                    <a:lnTo>
                      <a:pt x="513" y="549"/>
                    </a:lnTo>
                    <a:lnTo>
                      <a:pt x="501" y="542"/>
                    </a:lnTo>
                    <a:lnTo>
                      <a:pt x="489" y="537"/>
                    </a:lnTo>
                    <a:lnTo>
                      <a:pt x="492" y="513"/>
                    </a:lnTo>
                    <a:lnTo>
                      <a:pt x="492" y="487"/>
                    </a:lnTo>
                    <a:lnTo>
                      <a:pt x="494" y="461"/>
                    </a:lnTo>
                    <a:lnTo>
                      <a:pt x="494" y="438"/>
                    </a:lnTo>
                    <a:lnTo>
                      <a:pt x="496" y="412"/>
                    </a:lnTo>
                    <a:lnTo>
                      <a:pt x="496" y="388"/>
                    </a:lnTo>
                    <a:lnTo>
                      <a:pt x="496" y="362"/>
                    </a:lnTo>
                    <a:lnTo>
                      <a:pt x="499" y="336"/>
                    </a:lnTo>
                    <a:lnTo>
                      <a:pt x="499" y="312"/>
                    </a:lnTo>
                    <a:lnTo>
                      <a:pt x="501" y="286"/>
                    </a:lnTo>
                    <a:lnTo>
                      <a:pt x="501" y="260"/>
                    </a:lnTo>
                    <a:lnTo>
                      <a:pt x="503" y="237"/>
                    </a:lnTo>
                    <a:lnTo>
                      <a:pt x="503" y="211"/>
                    </a:lnTo>
                    <a:lnTo>
                      <a:pt x="506" y="185"/>
                    </a:lnTo>
                    <a:lnTo>
                      <a:pt x="506" y="161"/>
                    </a:lnTo>
                    <a:lnTo>
                      <a:pt x="508" y="135"/>
                    </a:lnTo>
                    <a:lnTo>
                      <a:pt x="475" y="135"/>
                    </a:lnTo>
                    <a:lnTo>
                      <a:pt x="444" y="133"/>
                    </a:lnTo>
                    <a:lnTo>
                      <a:pt x="411" y="130"/>
                    </a:lnTo>
                    <a:lnTo>
                      <a:pt x="381" y="130"/>
                    </a:lnTo>
                    <a:lnTo>
                      <a:pt x="347" y="128"/>
                    </a:lnTo>
                    <a:lnTo>
                      <a:pt x="317" y="126"/>
                    </a:lnTo>
                    <a:lnTo>
                      <a:pt x="284" y="123"/>
                    </a:lnTo>
                    <a:lnTo>
                      <a:pt x="253" y="123"/>
                    </a:lnTo>
                    <a:lnTo>
                      <a:pt x="222" y="121"/>
                    </a:lnTo>
                    <a:lnTo>
                      <a:pt x="189" y="119"/>
                    </a:lnTo>
                    <a:lnTo>
                      <a:pt x="158" y="116"/>
                    </a:lnTo>
                    <a:lnTo>
                      <a:pt x="125" y="114"/>
                    </a:lnTo>
                    <a:lnTo>
                      <a:pt x="95" y="111"/>
                    </a:lnTo>
                    <a:lnTo>
                      <a:pt x="61" y="109"/>
                    </a:lnTo>
                    <a:lnTo>
                      <a:pt x="31" y="107"/>
                    </a:lnTo>
                    <a:lnTo>
                      <a:pt x="0" y="104"/>
                    </a:lnTo>
                    <a:lnTo>
                      <a:pt x="0" y="78"/>
                    </a:lnTo>
                    <a:lnTo>
                      <a:pt x="2" y="52"/>
                    </a:lnTo>
                    <a:lnTo>
                      <a:pt x="5" y="26"/>
                    </a:lnTo>
                    <a:lnTo>
                      <a:pt x="7" y="0"/>
                    </a:lnTo>
                    <a:lnTo>
                      <a:pt x="50" y="3"/>
                    </a:lnTo>
                    <a:lnTo>
                      <a:pt x="90" y="5"/>
                    </a:lnTo>
                    <a:lnTo>
                      <a:pt x="132" y="10"/>
                    </a:lnTo>
                    <a:lnTo>
                      <a:pt x="173" y="12"/>
                    </a:lnTo>
                    <a:lnTo>
                      <a:pt x="213" y="15"/>
                    </a:lnTo>
                    <a:lnTo>
                      <a:pt x="251" y="17"/>
                    </a:lnTo>
                    <a:lnTo>
                      <a:pt x="291" y="19"/>
                    </a:lnTo>
                    <a:lnTo>
                      <a:pt x="329" y="22"/>
                    </a:lnTo>
                    <a:lnTo>
                      <a:pt x="369" y="24"/>
                    </a:lnTo>
                    <a:lnTo>
                      <a:pt x="407" y="26"/>
                    </a:lnTo>
                    <a:lnTo>
                      <a:pt x="444" y="26"/>
                    </a:lnTo>
                    <a:lnTo>
                      <a:pt x="485" y="29"/>
                    </a:lnTo>
                    <a:lnTo>
                      <a:pt x="522" y="31"/>
                    </a:lnTo>
                    <a:lnTo>
                      <a:pt x="563" y="33"/>
                    </a:lnTo>
                    <a:lnTo>
                      <a:pt x="600" y="33"/>
                    </a:lnTo>
                    <a:lnTo>
                      <a:pt x="641" y="36"/>
                    </a:lnTo>
                    <a:lnTo>
                      <a:pt x="678" y="38"/>
                    </a:lnTo>
                    <a:lnTo>
                      <a:pt x="719" y="38"/>
                    </a:lnTo>
                    <a:lnTo>
                      <a:pt x="756" y="41"/>
                    </a:lnTo>
                    <a:lnTo>
                      <a:pt x="797" y="41"/>
                    </a:lnTo>
                    <a:lnTo>
                      <a:pt x="834" y="41"/>
                    </a:lnTo>
                    <a:lnTo>
                      <a:pt x="875" y="43"/>
                    </a:lnTo>
                    <a:lnTo>
                      <a:pt x="912" y="43"/>
                    </a:lnTo>
                    <a:lnTo>
                      <a:pt x="953" y="43"/>
                    </a:lnTo>
                    <a:lnTo>
                      <a:pt x="990" y="45"/>
                    </a:lnTo>
                    <a:lnTo>
                      <a:pt x="1031" y="45"/>
                    </a:lnTo>
                    <a:lnTo>
                      <a:pt x="1068" y="45"/>
                    </a:lnTo>
                    <a:lnTo>
                      <a:pt x="1109" y="45"/>
                    </a:lnTo>
                    <a:lnTo>
                      <a:pt x="1146" y="45"/>
                    </a:lnTo>
                    <a:lnTo>
                      <a:pt x="1184" y="45"/>
                    </a:lnTo>
                    <a:lnTo>
                      <a:pt x="1224" y="45"/>
                    </a:lnTo>
                    <a:lnTo>
                      <a:pt x="1262" y="45"/>
                    </a:lnTo>
                    <a:lnTo>
                      <a:pt x="1302" y="45"/>
                    </a:lnTo>
                    <a:lnTo>
                      <a:pt x="1340" y="45"/>
                    </a:lnTo>
                    <a:lnTo>
                      <a:pt x="1380" y="45"/>
                    </a:lnTo>
                    <a:lnTo>
                      <a:pt x="1418" y="43"/>
                    </a:lnTo>
                    <a:lnTo>
                      <a:pt x="1421" y="69"/>
                    </a:lnTo>
                    <a:lnTo>
                      <a:pt x="1421" y="97"/>
                    </a:lnTo>
                    <a:lnTo>
                      <a:pt x="1421" y="123"/>
                    </a:lnTo>
                    <a:lnTo>
                      <a:pt x="1421" y="14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2" name="Freeform 79">
                <a:extLst>
                  <a:ext uri="{FF2B5EF4-FFF2-40B4-BE49-F238E27FC236}">
                    <a16:creationId xmlns:a16="http://schemas.microsoft.com/office/drawing/2014/main" id="{6DCF1D5F-8E77-B5CD-641D-EB76859CB7EB}"/>
                  </a:ext>
                </a:extLst>
              </p:cNvPr>
              <p:cNvSpPr>
                <a:spLocks/>
              </p:cNvSpPr>
              <p:nvPr/>
            </p:nvSpPr>
            <p:spPr bwMode="auto">
              <a:xfrm>
                <a:off x="336" y="-832"/>
                <a:ext cx="1356" cy="1142"/>
              </a:xfrm>
              <a:custGeom>
                <a:avLst/>
                <a:gdLst>
                  <a:gd name="T0" fmla="*/ 446 w 1356"/>
                  <a:gd name="T1" fmla="*/ 54 h 1142"/>
                  <a:gd name="T2" fmla="*/ 463 w 1356"/>
                  <a:gd name="T3" fmla="*/ 149 h 1142"/>
                  <a:gd name="T4" fmla="*/ 482 w 1356"/>
                  <a:gd name="T5" fmla="*/ 184 h 1142"/>
                  <a:gd name="T6" fmla="*/ 539 w 1356"/>
                  <a:gd name="T7" fmla="*/ 208 h 1142"/>
                  <a:gd name="T8" fmla="*/ 614 w 1356"/>
                  <a:gd name="T9" fmla="*/ 203 h 1142"/>
                  <a:gd name="T10" fmla="*/ 678 w 1356"/>
                  <a:gd name="T11" fmla="*/ 236 h 1142"/>
                  <a:gd name="T12" fmla="*/ 803 w 1356"/>
                  <a:gd name="T13" fmla="*/ 253 h 1142"/>
                  <a:gd name="T14" fmla="*/ 945 w 1356"/>
                  <a:gd name="T15" fmla="*/ 246 h 1142"/>
                  <a:gd name="T16" fmla="*/ 1009 w 1356"/>
                  <a:gd name="T17" fmla="*/ 248 h 1142"/>
                  <a:gd name="T18" fmla="*/ 1087 w 1356"/>
                  <a:gd name="T19" fmla="*/ 267 h 1142"/>
                  <a:gd name="T20" fmla="*/ 1200 w 1356"/>
                  <a:gd name="T21" fmla="*/ 295 h 1142"/>
                  <a:gd name="T22" fmla="*/ 1312 w 1356"/>
                  <a:gd name="T23" fmla="*/ 324 h 1142"/>
                  <a:gd name="T24" fmla="*/ 1342 w 1356"/>
                  <a:gd name="T25" fmla="*/ 373 h 1142"/>
                  <a:gd name="T26" fmla="*/ 1338 w 1356"/>
                  <a:gd name="T27" fmla="*/ 447 h 1142"/>
                  <a:gd name="T28" fmla="*/ 1267 w 1356"/>
                  <a:gd name="T29" fmla="*/ 551 h 1142"/>
                  <a:gd name="T30" fmla="*/ 1191 w 1356"/>
                  <a:gd name="T31" fmla="*/ 636 h 1142"/>
                  <a:gd name="T32" fmla="*/ 1210 w 1356"/>
                  <a:gd name="T33" fmla="*/ 674 h 1142"/>
                  <a:gd name="T34" fmla="*/ 1222 w 1356"/>
                  <a:gd name="T35" fmla="*/ 702 h 1142"/>
                  <a:gd name="T36" fmla="*/ 1210 w 1356"/>
                  <a:gd name="T37" fmla="*/ 726 h 1142"/>
                  <a:gd name="T38" fmla="*/ 1189 w 1356"/>
                  <a:gd name="T39" fmla="*/ 771 h 1142"/>
                  <a:gd name="T40" fmla="*/ 1156 w 1356"/>
                  <a:gd name="T41" fmla="*/ 912 h 1142"/>
                  <a:gd name="T42" fmla="*/ 1122 w 1356"/>
                  <a:gd name="T43" fmla="*/ 1050 h 1142"/>
                  <a:gd name="T44" fmla="*/ 1044 w 1356"/>
                  <a:gd name="T45" fmla="*/ 1128 h 1142"/>
                  <a:gd name="T46" fmla="*/ 874 w 1356"/>
                  <a:gd name="T47" fmla="*/ 1085 h 1142"/>
                  <a:gd name="T48" fmla="*/ 704 w 1356"/>
                  <a:gd name="T49" fmla="*/ 1042 h 1142"/>
                  <a:gd name="T50" fmla="*/ 567 w 1356"/>
                  <a:gd name="T51" fmla="*/ 1005 h 1142"/>
                  <a:gd name="T52" fmla="*/ 449 w 1356"/>
                  <a:gd name="T53" fmla="*/ 972 h 1142"/>
                  <a:gd name="T54" fmla="*/ 328 w 1356"/>
                  <a:gd name="T55" fmla="*/ 936 h 1142"/>
                  <a:gd name="T56" fmla="*/ 210 w 1356"/>
                  <a:gd name="T57" fmla="*/ 901 h 1142"/>
                  <a:gd name="T58" fmla="*/ 92 w 1356"/>
                  <a:gd name="T59" fmla="*/ 863 h 1142"/>
                  <a:gd name="T60" fmla="*/ 0 w 1356"/>
                  <a:gd name="T61" fmla="*/ 808 h 1142"/>
                  <a:gd name="T62" fmla="*/ 21 w 1356"/>
                  <a:gd name="T63" fmla="*/ 711 h 1142"/>
                  <a:gd name="T64" fmla="*/ 30 w 1356"/>
                  <a:gd name="T65" fmla="*/ 638 h 1142"/>
                  <a:gd name="T66" fmla="*/ 85 w 1356"/>
                  <a:gd name="T67" fmla="*/ 560 h 1142"/>
                  <a:gd name="T68" fmla="*/ 104 w 1356"/>
                  <a:gd name="T69" fmla="*/ 551 h 1142"/>
                  <a:gd name="T70" fmla="*/ 123 w 1356"/>
                  <a:gd name="T71" fmla="*/ 508 h 1142"/>
                  <a:gd name="T72" fmla="*/ 179 w 1356"/>
                  <a:gd name="T73" fmla="*/ 376 h 1142"/>
                  <a:gd name="T74" fmla="*/ 208 w 1356"/>
                  <a:gd name="T75" fmla="*/ 314 h 1142"/>
                  <a:gd name="T76" fmla="*/ 271 w 1356"/>
                  <a:gd name="T77" fmla="*/ 151 h 1142"/>
                  <a:gd name="T78" fmla="*/ 316 w 1356"/>
                  <a:gd name="T79" fmla="*/ 19 h 1142"/>
                  <a:gd name="T80" fmla="*/ 321 w 1356"/>
                  <a:gd name="T81" fmla="*/ 0 h 1142"/>
                  <a:gd name="T82" fmla="*/ 383 w 1356"/>
                  <a:gd name="T83" fmla="*/ 21 h 1142"/>
                  <a:gd name="T84" fmla="*/ 406 w 1356"/>
                  <a:gd name="T85" fmla="*/ 45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6" h="1142">
                    <a:moveTo>
                      <a:pt x="420" y="47"/>
                    </a:moveTo>
                    <a:lnTo>
                      <a:pt x="437" y="47"/>
                    </a:lnTo>
                    <a:lnTo>
                      <a:pt x="446" y="54"/>
                    </a:lnTo>
                    <a:lnTo>
                      <a:pt x="458" y="68"/>
                    </a:lnTo>
                    <a:lnTo>
                      <a:pt x="463" y="99"/>
                    </a:lnTo>
                    <a:lnTo>
                      <a:pt x="463" y="149"/>
                    </a:lnTo>
                    <a:lnTo>
                      <a:pt x="461" y="165"/>
                    </a:lnTo>
                    <a:lnTo>
                      <a:pt x="468" y="179"/>
                    </a:lnTo>
                    <a:lnTo>
                      <a:pt x="482" y="184"/>
                    </a:lnTo>
                    <a:lnTo>
                      <a:pt x="529" y="205"/>
                    </a:lnTo>
                    <a:lnTo>
                      <a:pt x="539" y="208"/>
                    </a:lnTo>
                    <a:lnTo>
                      <a:pt x="539" y="208"/>
                    </a:lnTo>
                    <a:lnTo>
                      <a:pt x="548" y="208"/>
                    </a:lnTo>
                    <a:lnTo>
                      <a:pt x="581" y="198"/>
                    </a:lnTo>
                    <a:lnTo>
                      <a:pt x="614" y="203"/>
                    </a:lnTo>
                    <a:lnTo>
                      <a:pt x="652" y="215"/>
                    </a:lnTo>
                    <a:lnTo>
                      <a:pt x="673" y="224"/>
                    </a:lnTo>
                    <a:lnTo>
                      <a:pt x="678" y="236"/>
                    </a:lnTo>
                    <a:lnTo>
                      <a:pt x="699" y="243"/>
                    </a:lnTo>
                    <a:lnTo>
                      <a:pt x="749" y="246"/>
                    </a:lnTo>
                    <a:lnTo>
                      <a:pt x="803" y="253"/>
                    </a:lnTo>
                    <a:lnTo>
                      <a:pt x="832" y="253"/>
                    </a:lnTo>
                    <a:lnTo>
                      <a:pt x="869" y="246"/>
                    </a:lnTo>
                    <a:lnTo>
                      <a:pt x="945" y="246"/>
                    </a:lnTo>
                    <a:lnTo>
                      <a:pt x="983" y="253"/>
                    </a:lnTo>
                    <a:lnTo>
                      <a:pt x="1002" y="250"/>
                    </a:lnTo>
                    <a:lnTo>
                      <a:pt x="1009" y="248"/>
                    </a:lnTo>
                    <a:lnTo>
                      <a:pt x="1011" y="248"/>
                    </a:lnTo>
                    <a:lnTo>
                      <a:pt x="1049" y="257"/>
                    </a:lnTo>
                    <a:lnTo>
                      <a:pt x="1087" y="267"/>
                    </a:lnTo>
                    <a:lnTo>
                      <a:pt x="1125" y="276"/>
                    </a:lnTo>
                    <a:lnTo>
                      <a:pt x="1163" y="286"/>
                    </a:lnTo>
                    <a:lnTo>
                      <a:pt x="1200" y="295"/>
                    </a:lnTo>
                    <a:lnTo>
                      <a:pt x="1238" y="305"/>
                    </a:lnTo>
                    <a:lnTo>
                      <a:pt x="1276" y="314"/>
                    </a:lnTo>
                    <a:lnTo>
                      <a:pt x="1312" y="324"/>
                    </a:lnTo>
                    <a:lnTo>
                      <a:pt x="1314" y="333"/>
                    </a:lnTo>
                    <a:lnTo>
                      <a:pt x="1326" y="354"/>
                    </a:lnTo>
                    <a:lnTo>
                      <a:pt x="1342" y="373"/>
                    </a:lnTo>
                    <a:lnTo>
                      <a:pt x="1354" y="392"/>
                    </a:lnTo>
                    <a:lnTo>
                      <a:pt x="1356" y="411"/>
                    </a:lnTo>
                    <a:lnTo>
                      <a:pt x="1338" y="447"/>
                    </a:lnTo>
                    <a:lnTo>
                      <a:pt x="1295" y="499"/>
                    </a:lnTo>
                    <a:lnTo>
                      <a:pt x="1271" y="534"/>
                    </a:lnTo>
                    <a:lnTo>
                      <a:pt x="1267" y="551"/>
                    </a:lnTo>
                    <a:lnTo>
                      <a:pt x="1245" y="574"/>
                    </a:lnTo>
                    <a:lnTo>
                      <a:pt x="1212" y="607"/>
                    </a:lnTo>
                    <a:lnTo>
                      <a:pt x="1191" y="636"/>
                    </a:lnTo>
                    <a:lnTo>
                      <a:pt x="1189" y="655"/>
                    </a:lnTo>
                    <a:lnTo>
                      <a:pt x="1193" y="666"/>
                    </a:lnTo>
                    <a:lnTo>
                      <a:pt x="1210" y="674"/>
                    </a:lnTo>
                    <a:lnTo>
                      <a:pt x="1219" y="683"/>
                    </a:lnTo>
                    <a:lnTo>
                      <a:pt x="1224" y="693"/>
                    </a:lnTo>
                    <a:lnTo>
                      <a:pt x="1222" y="702"/>
                    </a:lnTo>
                    <a:lnTo>
                      <a:pt x="1215" y="709"/>
                    </a:lnTo>
                    <a:lnTo>
                      <a:pt x="1210" y="716"/>
                    </a:lnTo>
                    <a:lnTo>
                      <a:pt x="1210" y="726"/>
                    </a:lnTo>
                    <a:lnTo>
                      <a:pt x="1205" y="740"/>
                    </a:lnTo>
                    <a:lnTo>
                      <a:pt x="1189" y="768"/>
                    </a:lnTo>
                    <a:lnTo>
                      <a:pt x="1189" y="771"/>
                    </a:lnTo>
                    <a:lnTo>
                      <a:pt x="1177" y="820"/>
                    </a:lnTo>
                    <a:lnTo>
                      <a:pt x="1165" y="867"/>
                    </a:lnTo>
                    <a:lnTo>
                      <a:pt x="1156" y="912"/>
                    </a:lnTo>
                    <a:lnTo>
                      <a:pt x="1144" y="957"/>
                    </a:lnTo>
                    <a:lnTo>
                      <a:pt x="1134" y="1005"/>
                    </a:lnTo>
                    <a:lnTo>
                      <a:pt x="1122" y="1050"/>
                    </a:lnTo>
                    <a:lnTo>
                      <a:pt x="1113" y="1094"/>
                    </a:lnTo>
                    <a:lnTo>
                      <a:pt x="1101" y="1142"/>
                    </a:lnTo>
                    <a:lnTo>
                      <a:pt x="1044" y="1128"/>
                    </a:lnTo>
                    <a:lnTo>
                      <a:pt x="988" y="1113"/>
                    </a:lnTo>
                    <a:lnTo>
                      <a:pt x="931" y="1099"/>
                    </a:lnTo>
                    <a:lnTo>
                      <a:pt x="874" y="1085"/>
                    </a:lnTo>
                    <a:lnTo>
                      <a:pt x="817" y="1071"/>
                    </a:lnTo>
                    <a:lnTo>
                      <a:pt x="761" y="1057"/>
                    </a:lnTo>
                    <a:lnTo>
                      <a:pt x="704" y="1042"/>
                    </a:lnTo>
                    <a:lnTo>
                      <a:pt x="647" y="1026"/>
                    </a:lnTo>
                    <a:lnTo>
                      <a:pt x="607" y="1016"/>
                    </a:lnTo>
                    <a:lnTo>
                      <a:pt x="567" y="1005"/>
                    </a:lnTo>
                    <a:lnTo>
                      <a:pt x="527" y="993"/>
                    </a:lnTo>
                    <a:lnTo>
                      <a:pt x="487" y="981"/>
                    </a:lnTo>
                    <a:lnTo>
                      <a:pt x="449" y="972"/>
                    </a:lnTo>
                    <a:lnTo>
                      <a:pt x="409" y="960"/>
                    </a:lnTo>
                    <a:lnTo>
                      <a:pt x="368" y="948"/>
                    </a:lnTo>
                    <a:lnTo>
                      <a:pt x="328" y="936"/>
                    </a:lnTo>
                    <a:lnTo>
                      <a:pt x="288" y="924"/>
                    </a:lnTo>
                    <a:lnTo>
                      <a:pt x="250" y="912"/>
                    </a:lnTo>
                    <a:lnTo>
                      <a:pt x="210" y="901"/>
                    </a:lnTo>
                    <a:lnTo>
                      <a:pt x="170" y="889"/>
                    </a:lnTo>
                    <a:lnTo>
                      <a:pt x="130" y="877"/>
                    </a:lnTo>
                    <a:lnTo>
                      <a:pt x="92" y="863"/>
                    </a:lnTo>
                    <a:lnTo>
                      <a:pt x="52" y="851"/>
                    </a:lnTo>
                    <a:lnTo>
                      <a:pt x="11" y="839"/>
                    </a:lnTo>
                    <a:lnTo>
                      <a:pt x="0" y="808"/>
                    </a:lnTo>
                    <a:lnTo>
                      <a:pt x="4" y="768"/>
                    </a:lnTo>
                    <a:lnTo>
                      <a:pt x="7" y="752"/>
                    </a:lnTo>
                    <a:lnTo>
                      <a:pt x="21" y="711"/>
                    </a:lnTo>
                    <a:lnTo>
                      <a:pt x="21" y="693"/>
                    </a:lnTo>
                    <a:lnTo>
                      <a:pt x="16" y="659"/>
                    </a:lnTo>
                    <a:lnTo>
                      <a:pt x="30" y="638"/>
                    </a:lnTo>
                    <a:lnTo>
                      <a:pt x="42" y="624"/>
                    </a:lnTo>
                    <a:lnTo>
                      <a:pt x="80" y="562"/>
                    </a:lnTo>
                    <a:lnTo>
                      <a:pt x="85" y="560"/>
                    </a:lnTo>
                    <a:lnTo>
                      <a:pt x="92" y="562"/>
                    </a:lnTo>
                    <a:lnTo>
                      <a:pt x="106" y="553"/>
                    </a:lnTo>
                    <a:lnTo>
                      <a:pt x="104" y="551"/>
                    </a:lnTo>
                    <a:lnTo>
                      <a:pt x="92" y="553"/>
                    </a:lnTo>
                    <a:lnTo>
                      <a:pt x="108" y="529"/>
                    </a:lnTo>
                    <a:lnTo>
                      <a:pt x="123" y="508"/>
                    </a:lnTo>
                    <a:lnTo>
                      <a:pt x="132" y="503"/>
                    </a:lnTo>
                    <a:lnTo>
                      <a:pt x="158" y="430"/>
                    </a:lnTo>
                    <a:lnTo>
                      <a:pt x="179" y="376"/>
                    </a:lnTo>
                    <a:lnTo>
                      <a:pt x="193" y="359"/>
                    </a:lnTo>
                    <a:lnTo>
                      <a:pt x="196" y="340"/>
                    </a:lnTo>
                    <a:lnTo>
                      <a:pt x="208" y="314"/>
                    </a:lnTo>
                    <a:lnTo>
                      <a:pt x="215" y="288"/>
                    </a:lnTo>
                    <a:lnTo>
                      <a:pt x="269" y="168"/>
                    </a:lnTo>
                    <a:lnTo>
                      <a:pt x="271" y="151"/>
                    </a:lnTo>
                    <a:lnTo>
                      <a:pt x="283" y="132"/>
                    </a:lnTo>
                    <a:lnTo>
                      <a:pt x="297" y="78"/>
                    </a:lnTo>
                    <a:lnTo>
                      <a:pt x="316" y="19"/>
                    </a:lnTo>
                    <a:lnTo>
                      <a:pt x="316" y="9"/>
                    </a:lnTo>
                    <a:lnTo>
                      <a:pt x="316" y="0"/>
                    </a:lnTo>
                    <a:lnTo>
                      <a:pt x="321" y="0"/>
                    </a:lnTo>
                    <a:lnTo>
                      <a:pt x="326" y="12"/>
                    </a:lnTo>
                    <a:lnTo>
                      <a:pt x="359" y="21"/>
                    </a:lnTo>
                    <a:lnTo>
                      <a:pt x="383" y="21"/>
                    </a:lnTo>
                    <a:lnTo>
                      <a:pt x="390" y="26"/>
                    </a:lnTo>
                    <a:lnTo>
                      <a:pt x="394" y="40"/>
                    </a:lnTo>
                    <a:lnTo>
                      <a:pt x="406" y="45"/>
                    </a:lnTo>
                    <a:lnTo>
                      <a:pt x="420" y="47"/>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3" name="Freeform 80">
                <a:extLst>
                  <a:ext uri="{FF2B5EF4-FFF2-40B4-BE49-F238E27FC236}">
                    <a16:creationId xmlns:a16="http://schemas.microsoft.com/office/drawing/2014/main" id="{73F65348-78B7-F83D-2026-312BF81E3EA4}"/>
                  </a:ext>
                </a:extLst>
              </p:cNvPr>
              <p:cNvSpPr>
                <a:spLocks/>
              </p:cNvSpPr>
              <p:nvPr/>
            </p:nvSpPr>
            <p:spPr bwMode="auto">
              <a:xfrm>
                <a:off x="7127" y="322"/>
                <a:ext cx="981" cy="633"/>
              </a:xfrm>
              <a:custGeom>
                <a:avLst/>
                <a:gdLst>
                  <a:gd name="T0" fmla="*/ 912 w 981"/>
                  <a:gd name="T1" fmla="*/ 125 h 633"/>
                  <a:gd name="T2" fmla="*/ 891 w 981"/>
                  <a:gd name="T3" fmla="*/ 184 h 633"/>
                  <a:gd name="T4" fmla="*/ 891 w 981"/>
                  <a:gd name="T5" fmla="*/ 219 h 633"/>
                  <a:gd name="T6" fmla="*/ 881 w 981"/>
                  <a:gd name="T7" fmla="*/ 245 h 633"/>
                  <a:gd name="T8" fmla="*/ 889 w 981"/>
                  <a:gd name="T9" fmla="*/ 283 h 633"/>
                  <a:gd name="T10" fmla="*/ 919 w 981"/>
                  <a:gd name="T11" fmla="*/ 312 h 633"/>
                  <a:gd name="T12" fmla="*/ 957 w 981"/>
                  <a:gd name="T13" fmla="*/ 378 h 633"/>
                  <a:gd name="T14" fmla="*/ 924 w 981"/>
                  <a:gd name="T15" fmla="*/ 425 h 633"/>
                  <a:gd name="T16" fmla="*/ 889 w 981"/>
                  <a:gd name="T17" fmla="*/ 451 h 633"/>
                  <a:gd name="T18" fmla="*/ 846 w 981"/>
                  <a:gd name="T19" fmla="*/ 458 h 633"/>
                  <a:gd name="T20" fmla="*/ 799 w 981"/>
                  <a:gd name="T21" fmla="*/ 491 h 633"/>
                  <a:gd name="T22" fmla="*/ 688 w 981"/>
                  <a:gd name="T23" fmla="*/ 515 h 633"/>
                  <a:gd name="T24" fmla="*/ 579 w 981"/>
                  <a:gd name="T25" fmla="*/ 539 h 633"/>
                  <a:gd name="T26" fmla="*/ 468 w 981"/>
                  <a:gd name="T27" fmla="*/ 560 h 633"/>
                  <a:gd name="T28" fmla="*/ 359 w 981"/>
                  <a:gd name="T29" fmla="*/ 581 h 633"/>
                  <a:gd name="T30" fmla="*/ 248 w 981"/>
                  <a:gd name="T31" fmla="*/ 603 h 633"/>
                  <a:gd name="T32" fmla="*/ 187 w 981"/>
                  <a:gd name="T33" fmla="*/ 614 h 633"/>
                  <a:gd name="T34" fmla="*/ 123 w 981"/>
                  <a:gd name="T35" fmla="*/ 626 h 633"/>
                  <a:gd name="T36" fmla="*/ 78 w 981"/>
                  <a:gd name="T37" fmla="*/ 610 h 633"/>
                  <a:gd name="T38" fmla="*/ 66 w 981"/>
                  <a:gd name="T39" fmla="*/ 536 h 633"/>
                  <a:gd name="T40" fmla="*/ 52 w 981"/>
                  <a:gd name="T41" fmla="*/ 465 h 633"/>
                  <a:gd name="T42" fmla="*/ 40 w 981"/>
                  <a:gd name="T43" fmla="*/ 397 h 633"/>
                  <a:gd name="T44" fmla="*/ 31 w 981"/>
                  <a:gd name="T45" fmla="*/ 333 h 633"/>
                  <a:gd name="T46" fmla="*/ 19 w 981"/>
                  <a:gd name="T47" fmla="*/ 267 h 633"/>
                  <a:gd name="T48" fmla="*/ 7 w 981"/>
                  <a:gd name="T49" fmla="*/ 203 h 633"/>
                  <a:gd name="T50" fmla="*/ 28 w 981"/>
                  <a:gd name="T51" fmla="*/ 146 h 633"/>
                  <a:gd name="T52" fmla="*/ 57 w 981"/>
                  <a:gd name="T53" fmla="*/ 123 h 633"/>
                  <a:gd name="T54" fmla="*/ 106 w 981"/>
                  <a:gd name="T55" fmla="*/ 85 h 633"/>
                  <a:gd name="T56" fmla="*/ 139 w 981"/>
                  <a:gd name="T57" fmla="*/ 137 h 633"/>
                  <a:gd name="T58" fmla="*/ 203 w 981"/>
                  <a:gd name="T59" fmla="*/ 125 h 633"/>
                  <a:gd name="T60" fmla="*/ 267 w 981"/>
                  <a:gd name="T61" fmla="*/ 113 h 633"/>
                  <a:gd name="T62" fmla="*/ 331 w 981"/>
                  <a:gd name="T63" fmla="*/ 99 h 633"/>
                  <a:gd name="T64" fmla="*/ 395 w 981"/>
                  <a:gd name="T65" fmla="*/ 87 h 633"/>
                  <a:gd name="T66" fmla="*/ 458 w 981"/>
                  <a:gd name="T67" fmla="*/ 75 h 633"/>
                  <a:gd name="T68" fmla="*/ 520 w 981"/>
                  <a:gd name="T69" fmla="*/ 61 h 633"/>
                  <a:gd name="T70" fmla="*/ 584 w 981"/>
                  <a:gd name="T71" fmla="*/ 47 h 633"/>
                  <a:gd name="T72" fmla="*/ 647 w 981"/>
                  <a:gd name="T73" fmla="*/ 35 h 633"/>
                  <a:gd name="T74" fmla="*/ 711 w 981"/>
                  <a:gd name="T75" fmla="*/ 21 h 633"/>
                  <a:gd name="T76" fmla="*/ 775 w 981"/>
                  <a:gd name="T77" fmla="*/ 7 h 633"/>
                  <a:gd name="T78" fmla="*/ 818 w 981"/>
                  <a:gd name="T79" fmla="*/ 19 h 633"/>
                  <a:gd name="T80" fmla="*/ 844 w 981"/>
                  <a:gd name="T81" fmla="*/ 33 h 633"/>
                  <a:gd name="T82" fmla="*/ 855 w 981"/>
                  <a:gd name="T83" fmla="*/ 59 h 633"/>
                  <a:gd name="T84" fmla="*/ 877 w 981"/>
                  <a:gd name="T85" fmla="*/ 87 h 633"/>
                  <a:gd name="T86" fmla="*/ 922 w 981"/>
                  <a:gd name="T87" fmla="*/ 10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1" h="633">
                    <a:moveTo>
                      <a:pt x="926" y="108"/>
                    </a:moveTo>
                    <a:lnTo>
                      <a:pt x="917" y="118"/>
                    </a:lnTo>
                    <a:lnTo>
                      <a:pt x="912" y="125"/>
                    </a:lnTo>
                    <a:lnTo>
                      <a:pt x="910" y="132"/>
                    </a:lnTo>
                    <a:lnTo>
                      <a:pt x="903" y="158"/>
                    </a:lnTo>
                    <a:lnTo>
                      <a:pt x="891" y="184"/>
                    </a:lnTo>
                    <a:lnTo>
                      <a:pt x="879" y="198"/>
                    </a:lnTo>
                    <a:lnTo>
                      <a:pt x="879" y="203"/>
                    </a:lnTo>
                    <a:lnTo>
                      <a:pt x="891" y="219"/>
                    </a:lnTo>
                    <a:lnTo>
                      <a:pt x="893" y="224"/>
                    </a:lnTo>
                    <a:lnTo>
                      <a:pt x="889" y="238"/>
                    </a:lnTo>
                    <a:lnTo>
                      <a:pt x="881" y="245"/>
                    </a:lnTo>
                    <a:lnTo>
                      <a:pt x="881" y="253"/>
                    </a:lnTo>
                    <a:lnTo>
                      <a:pt x="881" y="264"/>
                    </a:lnTo>
                    <a:lnTo>
                      <a:pt x="889" y="283"/>
                    </a:lnTo>
                    <a:lnTo>
                      <a:pt x="891" y="286"/>
                    </a:lnTo>
                    <a:lnTo>
                      <a:pt x="905" y="290"/>
                    </a:lnTo>
                    <a:lnTo>
                      <a:pt x="919" y="312"/>
                    </a:lnTo>
                    <a:lnTo>
                      <a:pt x="929" y="314"/>
                    </a:lnTo>
                    <a:lnTo>
                      <a:pt x="981" y="357"/>
                    </a:lnTo>
                    <a:lnTo>
                      <a:pt x="957" y="378"/>
                    </a:lnTo>
                    <a:lnTo>
                      <a:pt x="941" y="394"/>
                    </a:lnTo>
                    <a:lnTo>
                      <a:pt x="936" y="404"/>
                    </a:lnTo>
                    <a:lnTo>
                      <a:pt x="924" y="425"/>
                    </a:lnTo>
                    <a:lnTo>
                      <a:pt x="900" y="437"/>
                    </a:lnTo>
                    <a:lnTo>
                      <a:pt x="891" y="446"/>
                    </a:lnTo>
                    <a:lnTo>
                      <a:pt x="889" y="451"/>
                    </a:lnTo>
                    <a:lnTo>
                      <a:pt x="872" y="449"/>
                    </a:lnTo>
                    <a:lnTo>
                      <a:pt x="853" y="454"/>
                    </a:lnTo>
                    <a:lnTo>
                      <a:pt x="846" y="458"/>
                    </a:lnTo>
                    <a:lnTo>
                      <a:pt x="844" y="463"/>
                    </a:lnTo>
                    <a:lnTo>
                      <a:pt x="834" y="482"/>
                    </a:lnTo>
                    <a:lnTo>
                      <a:pt x="799" y="491"/>
                    </a:lnTo>
                    <a:lnTo>
                      <a:pt x="761" y="498"/>
                    </a:lnTo>
                    <a:lnTo>
                      <a:pt x="725" y="508"/>
                    </a:lnTo>
                    <a:lnTo>
                      <a:pt x="688" y="515"/>
                    </a:lnTo>
                    <a:lnTo>
                      <a:pt x="652" y="522"/>
                    </a:lnTo>
                    <a:lnTo>
                      <a:pt x="614" y="532"/>
                    </a:lnTo>
                    <a:lnTo>
                      <a:pt x="579" y="539"/>
                    </a:lnTo>
                    <a:lnTo>
                      <a:pt x="541" y="546"/>
                    </a:lnTo>
                    <a:lnTo>
                      <a:pt x="506" y="553"/>
                    </a:lnTo>
                    <a:lnTo>
                      <a:pt x="468" y="560"/>
                    </a:lnTo>
                    <a:lnTo>
                      <a:pt x="432" y="567"/>
                    </a:lnTo>
                    <a:lnTo>
                      <a:pt x="395" y="574"/>
                    </a:lnTo>
                    <a:lnTo>
                      <a:pt x="359" y="581"/>
                    </a:lnTo>
                    <a:lnTo>
                      <a:pt x="321" y="588"/>
                    </a:lnTo>
                    <a:lnTo>
                      <a:pt x="286" y="595"/>
                    </a:lnTo>
                    <a:lnTo>
                      <a:pt x="248" y="603"/>
                    </a:lnTo>
                    <a:lnTo>
                      <a:pt x="227" y="607"/>
                    </a:lnTo>
                    <a:lnTo>
                      <a:pt x="205" y="610"/>
                    </a:lnTo>
                    <a:lnTo>
                      <a:pt x="187" y="614"/>
                    </a:lnTo>
                    <a:lnTo>
                      <a:pt x="165" y="619"/>
                    </a:lnTo>
                    <a:lnTo>
                      <a:pt x="144" y="621"/>
                    </a:lnTo>
                    <a:lnTo>
                      <a:pt x="123" y="626"/>
                    </a:lnTo>
                    <a:lnTo>
                      <a:pt x="101" y="629"/>
                    </a:lnTo>
                    <a:lnTo>
                      <a:pt x="83" y="633"/>
                    </a:lnTo>
                    <a:lnTo>
                      <a:pt x="78" y="610"/>
                    </a:lnTo>
                    <a:lnTo>
                      <a:pt x="73" y="586"/>
                    </a:lnTo>
                    <a:lnTo>
                      <a:pt x="68" y="560"/>
                    </a:lnTo>
                    <a:lnTo>
                      <a:pt x="66" y="536"/>
                    </a:lnTo>
                    <a:lnTo>
                      <a:pt x="61" y="513"/>
                    </a:lnTo>
                    <a:lnTo>
                      <a:pt x="57" y="489"/>
                    </a:lnTo>
                    <a:lnTo>
                      <a:pt x="52" y="465"/>
                    </a:lnTo>
                    <a:lnTo>
                      <a:pt x="49" y="442"/>
                    </a:lnTo>
                    <a:lnTo>
                      <a:pt x="45" y="420"/>
                    </a:lnTo>
                    <a:lnTo>
                      <a:pt x="40" y="397"/>
                    </a:lnTo>
                    <a:lnTo>
                      <a:pt x="38" y="376"/>
                    </a:lnTo>
                    <a:lnTo>
                      <a:pt x="33" y="354"/>
                    </a:lnTo>
                    <a:lnTo>
                      <a:pt x="31" y="333"/>
                    </a:lnTo>
                    <a:lnTo>
                      <a:pt x="26" y="312"/>
                    </a:lnTo>
                    <a:lnTo>
                      <a:pt x="21" y="288"/>
                    </a:lnTo>
                    <a:lnTo>
                      <a:pt x="19" y="267"/>
                    </a:lnTo>
                    <a:lnTo>
                      <a:pt x="14" y="245"/>
                    </a:lnTo>
                    <a:lnTo>
                      <a:pt x="12" y="224"/>
                    </a:lnTo>
                    <a:lnTo>
                      <a:pt x="7" y="203"/>
                    </a:lnTo>
                    <a:lnTo>
                      <a:pt x="5" y="179"/>
                    </a:lnTo>
                    <a:lnTo>
                      <a:pt x="0" y="163"/>
                    </a:lnTo>
                    <a:lnTo>
                      <a:pt x="28" y="146"/>
                    </a:lnTo>
                    <a:lnTo>
                      <a:pt x="40" y="137"/>
                    </a:lnTo>
                    <a:lnTo>
                      <a:pt x="49" y="130"/>
                    </a:lnTo>
                    <a:lnTo>
                      <a:pt x="57" y="123"/>
                    </a:lnTo>
                    <a:lnTo>
                      <a:pt x="64" y="118"/>
                    </a:lnTo>
                    <a:lnTo>
                      <a:pt x="106" y="82"/>
                    </a:lnTo>
                    <a:lnTo>
                      <a:pt x="106" y="85"/>
                    </a:lnTo>
                    <a:lnTo>
                      <a:pt x="113" y="113"/>
                    </a:lnTo>
                    <a:lnTo>
                      <a:pt x="118" y="139"/>
                    </a:lnTo>
                    <a:lnTo>
                      <a:pt x="139" y="137"/>
                    </a:lnTo>
                    <a:lnTo>
                      <a:pt x="161" y="132"/>
                    </a:lnTo>
                    <a:lnTo>
                      <a:pt x="182" y="127"/>
                    </a:lnTo>
                    <a:lnTo>
                      <a:pt x="203" y="125"/>
                    </a:lnTo>
                    <a:lnTo>
                      <a:pt x="224" y="120"/>
                    </a:lnTo>
                    <a:lnTo>
                      <a:pt x="246" y="115"/>
                    </a:lnTo>
                    <a:lnTo>
                      <a:pt x="267" y="113"/>
                    </a:lnTo>
                    <a:lnTo>
                      <a:pt x="288" y="108"/>
                    </a:lnTo>
                    <a:lnTo>
                      <a:pt x="309" y="104"/>
                    </a:lnTo>
                    <a:lnTo>
                      <a:pt x="331" y="99"/>
                    </a:lnTo>
                    <a:lnTo>
                      <a:pt x="352" y="97"/>
                    </a:lnTo>
                    <a:lnTo>
                      <a:pt x="373" y="92"/>
                    </a:lnTo>
                    <a:lnTo>
                      <a:pt x="395" y="87"/>
                    </a:lnTo>
                    <a:lnTo>
                      <a:pt x="416" y="82"/>
                    </a:lnTo>
                    <a:lnTo>
                      <a:pt x="437" y="78"/>
                    </a:lnTo>
                    <a:lnTo>
                      <a:pt x="458" y="75"/>
                    </a:lnTo>
                    <a:lnTo>
                      <a:pt x="477" y="71"/>
                    </a:lnTo>
                    <a:lnTo>
                      <a:pt x="499" y="66"/>
                    </a:lnTo>
                    <a:lnTo>
                      <a:pt x="520" y="61"/>
                    </a:lnTo>
                    <a:lnTo>
                      <a:pt x="541" y="56"/>
                    </a:lnTo>
                    <a:lnTo>
                      <a:pt x="562" y="52"/>
                    </a:lnTo>
                    <a:lnTo>
                      <a:pt x="584" y="47"/>
                    </a:lnTo>
                    <a:lnTo>
                      <a:pt x="605" y="42"/>
                    </a:lnTo>
                    <a:lnTo>
                      <a:pt x="626" y="37"/>
                    </a:lnTo>
                    <a:lnTo>
                      <a:pt x="647" y="35"/>
                    </a:lnTo>
                    <a:lnTo>
                      <a:pt x="669" y="30"/>
                    </a:lnTo>
                    <a:lnTo>
                      <a:pt x="690" y="26"/>
                    </a:lnTo>
                    <a:lnTo>
                      <a:pt x="711" y="21"/>
                    </a:lnTo>
                    <a:lnTo>
                      <a:pt x="733" y="16"/>
                    </a:lnTo>
                    <a:lnTo>
                      <a:pt x="754" y="11"/>
                    </a:lnTo>
                    <a:lnTo>
                      <a:pt x="775" y="7"/>
                    </a:lnTo>
                    <a:lnTo>
                      <a:pt x="796" y="0"/>
                    </a:lnTo>
                    <a:lnTo>
                      <a:pt x="811" y="9"/>
                    </a:lnTo>
                    <a:lnTo>
                      <a:pt x="818" y="19"/>
                    </a:lnTo>
                    <a:lnTo>
                      <a:pt x="837" y="23"/>
                    </a:lnTo>
                    <a:lnTo>
                      <a:pt x="844" y="26"/>
                    </a:lnTo>
                    <a:lnTo>
                      <a:pt x="844" y="33"/>
                    </a:lnTo>
                    <a:lnTo>
                      <a:pt x="853" y="37"/>
                    </a:lnTo>
                    <a:lnTo>
                      <a:pt x="853" y="49"/>
                    </a:lnTo>
                    <a:lnTo>
                      <a:pt x="855" y="59"/>
                    </a:lnTo>
                    <a:lnTo>
                      <a:pt x="860" y="71"/>
                    </a:lnTo>
                    <a:lnTo>
                      <a:pt x="867" y="80"/>
                    </a:lnTo>
                    <a:lnTo>
                      <a:pt x="877" y="87"/>
                    </a:lnTo>
                    <a:lnTo>
                      <a:pt x="884" y="94"/>
                    </a:lnTo>
                    <a:lnTo>
                      <a:pt x="915" y="97"/>
                    </a:lnTo>
                    <a:lnTo>
                      <a:pt x="922" y="101"/>
                    </a:lnTo>
                    <a:lnTo>
                      <a:pt x="926" y="10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4" name="Freeform 81">
                <a:extLst>
                  <a:ext uri="{FF2B5EF4-FFF2-40B4-BE49-F238E27FC236}">
                    <a16:creationId xmlns:a16="http://schemas.microsoft.com/office/drawing/2014/main" id="{81DF724F-2CA1-F301-1A36-92886C4A04CD}"/>
                  </a:ext>
                </a:extLst>
              </p:cNvPr>
              <p:cNvSpPr>
                <a:spLocks noEditPoints="1"/>
              </p:cNvSpPr>
              <p:nvPr/>
            </p:nvSpPr>
            <p:spPr bwMode="auto">
              <a:xfrm>
                <a:off x="8462" y="166"/>
                <a:ext cx="114" cy="158"/>
              </a:xfrm>
              <a:custGeom>
                <a:avLst/>
                <a:gdLst>
                  <a:gd name="T0" fmla="*/ 104 w 114"/>
                  <a:gd name="T1" fmla="*/ 56 h 158"/>
                  <a:gd name="T2" fmla="*/ 100 w 114"/>
                  <a:gd name="T3" fmla="*/ 63 h 158"/>
                  <a:gd name="T4" fmla="*/ 90 w 114"/>
                  <a:gd name="T5" fmla="*/ 56 h 158"/>
                  <a:gd name="T6" fmla="*/ 85 w 114"/>
                  <a:gd name="T7" fmla="*/ 49 h 158"/>
                  <a:gd name="T8" fmla="*/ 81 w 114"/>
                  <a:gd name="T9" fmla="*/ 44 h 158"/>
                  <a:gd name="T10" fmla="*/ 76 w 114"/>
                  <a:gd name="T11" fmla="*/ 44 h 158"/>
                  <a:gd name="T12" fmla="*/ 83 w 114"/>
                  <a:gd name="T13" fmla="*/ 63 h 158"/>
                  <a:gd name="T14" fmla="*/ 78 w 114"/>
                  <a:gd name="T15" fmla="*/ 80 h 158"/>
                  <a:gd name="T16" fmla="*/ 85 w 114"/>
                  <a:gd name="T17" fmla="*/ 115 h 158"/>
                  <a:gd name="T18" fmla="*/ 78 w 114"/>
                  <a:gd name="T19" fmla="*/ 134 h 158"/>
                  <a:gd name="T20" fmla="*/ 43 w 114"/>
                  <a:gd name="T21" fmla="*/ 156 h 158"/>
                  <a:gd name="T22" fmla="*/ 31 w 114"/>
                  <a:gd name="T23" fmla="*/ 158 h 158"/>
                  <a:gd name="T24" fmla="*/ 31 w 114"/>
                  <a:gd name="T25" fmla="*/ 144 h 158"/>
                  <a:gd name="T26" fmla="*/ 33 w 114"/>
                  <a:gd name="T27" fmla="*/ 139 h 158"/>
                  <a:gd name="T28" fmla="*/ 31 w 114"/>
                  <a:gd name="T29" fmla="*/ 125 h 158"/>
                  <a:gd name="T30" fmla="*/ 29 w 114"/>
                  <a:gd name="T31" fmla="*/ 118 h 158"/>
                  <a:gd name="T32" fmla="*/ 24 w 114"/>
                  <a:gd name="T33" fmla="*/ 104 h 158"/>
                  <a:gd name="T34" fmla="*/ 19 w 114"/>
                  <a:gd name="T35" fmla="*/ 87 h 158"/>
                  <a:gd name="T36" fmla="*/ 15 w 114"/>
                  <a:gd name="T37" fmla="*/ 70 h 158"/>
                  <a:gd name="T38" fmla="*/ 12 w 114"/>
                  <a:gd name="T39" fmla="*/ 54 h 158"/>
                  <a:gd name="T40" fmla="*/ 7 w 114"/>
                  <a:gd name="T41" fmla="*/ 44 h 158"/>
                  <a:gd name="T42" fmla="*/ 3 w 114"/>
                  <a:gd name="T43" fmla="*/ 28 h 158"/>
                  <a:gd name="T44" fmla="*/ 0 w 114"/>
                  <a:gd name="T45" fmla="*/ 18 h 158"/>
                  <a:gd name="T46" fmla="*/ 12 w 114"/>
                  <a:gd name="T47" fmla="*/ 14 h 158"/>
                  <a:gd name="T48" fmla="*/ 29 w 114"/>
                  <a:gd name="T49" fmla="*/ 9 h 158"/>
                  <a:gd name="T50" fmla="*/ 43 w 114"/>
                  <a:gd name="T51" fmla="*/ 7 h 158"/>
                  <a:gd name="T52" fmla="*/ 52 w 114"/>
                  <a:gd name="T53" fmla="*/ 2 h 158"/>
                  <a:gd name="T54" fmla="*/ 64 w 114"/>
                  <a:gd name="T55" fmla="*/ 0 h 158"/>
                  <a:gd name="T56" fmla="*/ 67 w 114"/>
                  <a:gd name="T57" fmla="*/ 9 h 158"/>
                  <a:gd name="T58" fmla="*/ 71 w 114"/>
                  <a:gd name="T59" fmla="*/ 23 h 158"/>
                  <a:gd name="T60" fmla="*/ 78 w 114"/>
                  <a:gd name="T61" fmla="*/ 23 h 158"/>
                  <a:gd name="T62" fmla="*/ 81 w 114"/>
                  <a:gd name="T63" fmla="*/ 35 h 158"/>
                  <a:gd name="T64" fmla="*/ 83 w 114"/>
                  <a:gd name="T65" fmla="*/ 42 h 158"/>
                  <a:gd name="T66" fmla="*/ 90 w 114"/>
                  <a:gd name="T67" fmla="*/ 44 h 158"/>
                  <a:gd name="T68" fmla="*/ 97 w 114"/>
                  <a:gd name="T69" fmla="*/ 49 h 158"/>
                  <a:gd name="T70" fmla="*/ 104 w 114"/>
                  <a:gd name="T71" fmla="*/ 56 h 158"/>
                  <a:gd name="T72" fmla="*/ 114 w 114"/>
                  <a:gd name="T73" fmla="*/ 99 h 158"/>
                  <a:gd name="T74" fmla="*/ 109 w 114"/>
                  <a:gd name="T75" fmla="*/ 108 h 158"/>
                  <a:gd name="T76" fmla="*/ 100 w 114"/>
                  <a:gd name="T77" fmla="*/ 108 h 158"/>
                  <a:gd name="T78" fmla="*/ 102 w 114"/>
                  <a:gd name="T79" fmla="*/ 101 h 158"/>
                  <a:gd name="T80" fmla="*/ 100 w 114"/>
                  <a:gd name="T81" fmla="*/ 89 h 158"/>
                  <a:gd name="T82" fmla="*/ 102 w 114"/>
                  <a:gd name="T83" fmla="*/ 75 h 158"/>
                  <a:gd name="T84" fmla="*/ 102 w 114"/>
                  <a:gd name="T85" fmla="*/ 70 h 158"/>
                  <a:gd name="T86" fmla="*/ 107 w 114"/>
                  <a:gd name="T87" fmla="*/ 66 h 158"/>
                  <a:gd name="T88" fmla="*/ 114 w 114"/>
                  <a:gd name="T89" fmla="*/ 99 h 158"/>
                  <a:gd name="T90" fmla="*/ 97 w 114"/>
                  <a:gd name="T91" fmla="*/ 106 h 158"/>
                  <a:gd name="T92" fmla="*/ 93 w 114"/>
                  <a:gd name="T93" fmla="*/ 111 h 158"/>
                  <a:gd name="T94" fmla="*/ 88 w 114"/>
                  <a:gd name="T95" fmla="*/ 101 h 158"/>
                  <a:gd name="T96" fmla="*/ 88 w 114"/>
                  <a:gd name="T97" fmla="*/ 89 h 158"/>
                  <a:gd name="T98" fmla="*/ 93 w 114"/>
                  <a:gd name="T99" fmla="*/ 89 h 158"/>
                  <a:gd name="T100" fmla="*/ 95 w 114"/>
                  <a:gd name="T101" fmla="*/ 94 h 158"/>
                  <a:gd name="T102" fmla="*/ 97 w 114"/>
                  <a:gd name="T10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58">
                    <a:moveTo>
                      <a:pt x="104" y="56"/>
                    </a:moveTo>
                    <a:lnTo>
                      <a:pt x="100" y="63"/>
                    </a:lnTo>
                    <a:lnTo>
                      <a:pt x="90" y="56"/>
                    </a:lnTo>
                    <a:lnTo>
                      <a:pt x="85" y="49"/>
                    </a:lnTo>
                    <a:lnTo>
                      <a:pt x="81" y="44"/>
                    </a:lnTo>
                    <a:lnTo>
                      <a:pt x="76" y="44"/>
                    </a:lnTo>
                    <a:lnTo>
                      <a:pt x="83" y="63"/>
                    </a:lnTo>
                    <a:lnTo>
                      <a:pt x="78" y="80"/>
                    </a:lnTo>
                    <a:lnTo>
                      <a:pt x="85" y="115"/>
                    </a:lnTo>
                    <a:lnTo>
                      <a:pt x="78" y="134"/>
                    </a:lnTo>
                    <a:lnTo>
                      <a:pt x="43" y="156"/>
                    </a:lnTo>
                    <a:lnTo>
                      <a:pt x="31" y="158"/>
                    </a:lnTo>
                    <a:lnTo>
                      <a:pt x="31" y="144"/>
                    </a:lnTo>
                    <a:lnTo>
                      <a:pt x="33" y="139"/>
                    </a:lnTo>
                    <a:lnTo>
                      <a:pt x="31" y="125"/>
                    </a:lnTo>
                    <a:lnTo>
                      <a:pt x="29" y="118"/>
                    </a:lnTo>
                    <a:lnTo>
                      <a:pt x="24" y="104"/>
                    </a:lnTo>
                    <a:lnTo>
                      <a:pt x="19" y="87"/>
                    </a:lnTo>
                    <a:lnTo>
                      <a:pt x="15" y="70"/>
                    </a:lnTo>
                    <a:lnTo>
                      <a:pt x="12" y="54"/>
                    </a:lnTo>
                    <a:lnTo>
                      <a:pt x="7" y="44"/>
                    </a:lnTo>
                    <a:lnTo>
                      <a:pt x="3" y="28"/>
                    </a:lnTo>
                    <a:lnTo>
                      <a:pt x="0" y="18"/>
                    </a:lnTo>
                    <a:lnTo>
                      <a:pt x="12" y="14"/>
                    </a:lnTo>
                    <a:lnTo>
                      <a:pt x="29" y="9"/>
                    </a:lnTo>
                    <a:lnTo>
                      <a:pt x="43" y="7"/>
                    </a:lnTo>
                    <a:lnTo>
                      <a:pt x="52" y="2"/>
                    </a:lnTo>
                    <a:lnTo>
                      <a:pt x="64" y="0"/>
                    </a:lnTo>
                    <a:lnTo>
                      <a:pt x="67" y="9"/>
                    </a:lnTo>
                    <a:lnTo>
                      <a:pt x="71" y="23"/>
                    </a:lnTo>
                    <a:lnTo>
                      <a:pt x="78" y="23"/>
                    </a:lnTo>
                    <a:lnTo>
                      <a:pt x="81" y="35"/>
                    </a:lnTo>
                    <a:lnTo>
                      <a:pt x="83" y="42"/>
                    </a:lnTo>
                    <a:lnTo>
                      <a:pt x="90" y="44"/>
                    </a:lnTo>
                    <a:lnTo>
                      <a:pt x="97" y="49"/>
                    </a:lnTo>
                    <a:lnTo>
                      <a:pt x="104" y="56"/>
                    </a:lnTo>
                    <a:close/>
                    <a:moveTo>
                      <a:pt x="114" y="99"/>
                    </a:moveTo>
                    <a:lnTo>
                      <a:pt x="109" y="108"/>
                    </a:lnTo>
                    <a:lnTo>
                      <a:pt x="100" y="108"/>
                    </a:lnTo>
                    <a:lnTo>
                      <a:pt x="102" y="101"/>
                    </a:lnTo>
                    <a:lnTo>
                      <a:pt x="100" y="89"/>
                    </a:lnTo>
                    <a:lnTo>
                      <a:pt x="102" y="75"/>
                    </a:lnTo>
                    <a:lnTo>
                      <a:pt x="102" y="70"/>
                    </a:lnTo>
                    <a:lnTo>
                      <a:pt x="107" y="66"/>
                    </a:lnTo>
                    <a:lnTo>
                      <a:pt x="114" y="99"/>
                    </a:lnTo>
                    <a:close/>
                    <a:moveTo>
                      <a:pt x="97" y="106"/>
                    </a:moveTo>
                    <a:lnTo>
                      <a:pt x="93" y="111"/>
                    </a:lnTo>
                    <a:lnTo>
                      <a:pt x="88" y="101"/>
                    </a:lnTo>
                    <a:lnTo>
                      <a:pt x="88" y="89"/>
                    </a:lnTo>
                    <a:lnTo>
                      <a:pt x="93" y="89"/>
                    </a:lnTo>
                    <a:lnTo>
                      <a:pt x="95" y="94"/>
                    </a:lnTo>
                    <a:lnTo>
                      <a:pt x="97" y="10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5" name="Freeform 82">
                <a:extLst>
                  <a:ext uri="{FF2B5EF4-FFF2-40B4-BE49-F238E27FC236}">
                    <a16:creationId xmlns:a16="http://schemas.microsoft.com/office/drawing/2014/main" id="{D5563577-CB5A-9907-37CB-411EFD618774}"/>
                  </a:ext>
                </a:extLst>
              </p:cNvPr>
              <p:cNvSpPr>
                <a:spLocks/>
              </p:cNvSpPr>
              <p:nvPr/>
            </p:nvSpPr>
            <p:spPr bwMode="auto">
              <a:xfrm>
                <a:off x="6900" y="1918"/>
                <a:ext cx="856" cy="643"/>
              </a:xfrm>
              <a:custGeom>
                <a:avLst/>
                <a:gdLst>
                  <a:gd name="T0" fmla="*/ 813 w 856"/>
                  <a:gd name="T1" fmla="*/ 227 h 643"/>
                  <a:gd name="T2" fmla="*/ 770 w 856"/>
                  <a:gd name="T3" fmla="*/ 338 h 643"/>
                  <a:gd name="T4" fmla="*/ 759 w 856"/>
                  <a:gd name="T5" fmla="*/ 307 h 643"/>
                  <a:gd name="T6" fmla="*/ 761 w 856"/>
                  <a:gd name="T7" fmla="*/ 364 h 643"/>
                  <a:gd name="T8" fmla="*/ 711 w 856"/>
                  <a:gd name="T9" fmla="*/ 402 h 643"/>
                  <a:gd name="T10" fmla="*/ 681 w 856"/>
                  <a:gd name="T11" fmla="*/ 454 h 643"/>
                  <a:gd name="T12" fmla="*/ 662 w 856"/>
                  <a:gd name="T13" fmla="*/ 482 h 643"/>
                  <a:gd name="T14" fmla="*/ 622 w 856"/>
                  <a:gd name="T15" fmla="*/ 506 h 643"/>
                  <a:gd name="T16" fmla="*/ 593 w 856"/>
                  <a:gd name="T17" fmla="*/ 529 h 643"/>
                  <a:gd name="T18" fmla="*/ 546 w 856"/>
                  <a:gd name="T19" fmla="*/ 536 h 643"/>
                  <a:gd name="T20" fmla="*/ 577 w 856"/>
                  <a:gd name="T21" fmla="*/ 565 h 643"/>
                  <a:gd name="T22" fmla="*/ 558 w 856"/>
                  <a:gd name="T23" fmla="*/ 581 h 643"/>
                  <a:gd name="T24" fmla="*/ 541 w 856"/>
                  <a:gd name="T25" fmla="*/ 565 h 643"/>
                  <a:gd name="T26" fmla="*/ 518 w 856"/>
                  <a:gd name="T27" fmla="*/ 555 h 643"/>
                  <a:gd name="T28" fmla="*/ 536 w 856"/>
                  <a:gd name="T29" fmla="*/ 591 h 643"/>
                  <a:gd name="T30" fmla="*/ 536 w 856"/>
                  <a:gd name="T31" fmla="*/ 617 h 643"/>
                  <a:gd name="T32" fmla="*/ 518 w 856"/>
                  <a:gd name="T33" fmla="*/ 636 h 643"/>
                  <a:gd name="T34" fmla="*/ 468 w 856"/>
                  <a:gd name="T35" fmla="*/ 619 h 643"/>
                  <a:gd name="T36" fmla="*/ 428 w 856"/>
                  <a:gd name="T37" fmla="*/ 546 h 643"/>
                  <a:gd name="T38" fmla="*/ 380 w 856"/>
                  <a:gd name="T39" fmla="*/ 473 h 643"/>
                  <a:gd name="T40" fmla="*/ 321 w 856"/>
                  <a:gd name="T41" fmla="*/ 428 h 643"/>
                  <a:gd name="T42" fmla="*/ 293 w 856"/>
                  <a:gd name="T43" fmla="*/ 399 h 643"/>
                  <a:gd name="T44" fmla="*/ 269 w 856"/>
                  <a:gd name="T45" fmla="*/ 364 h 643"/>
                  <a:gd name="T46" fmla="*/ 201 w 856"/>
                  <a:gd name="T47" fmla="*/ 309 h 643"/>
                  <a:gd name="T48" fmla="*/ 104 w 856"/>
                  <a:gd name="T49" fmla="*/ 210 h 643"/>
                  <a:gd name="T50" fmla="*/ 87 w 856"/>
                  <a:gd name="T51" fmla="*/ 191 h 643"/>
                  <a:gd name="T52" fmla="*/ 35 w 856"/>
                  <a:gd name="T53" fmla="*/ 170 h 643"/>
                  <a:gd name="T54" fmla="*/ 5 w 856"/>
                  <a:gd name="T55" fmla="*/ 130 h 643"/>
                  <a:gd name="T56" fmla="*/ 33 w 856"/>
                  <a:gd name="T57" fmla="*/ 85 h 643"/>
                  <a:gd name="T58" fmla="*/ 87 w 856"/>
                  <a:gd name="T59" fmla="*/ 59 h 643"/>
                  <a:gd name="T60" fmla="*/ 139 w 856"/>
                  <a:gd name="T61" fmla="*/ 33 h 643"/>
                  <a:gd name="T62" fmla="*/ 184 w 856"/>
                  <a:gd name="T63" fmla="*/ 21 h 643"/>
                  <a:gd name="T64" fmla="*/ 265 w 856"/>
                  <a:gd name="T65" fmla="*/ 11 h 643"/>
                  <a:gd name="T66" fmla="*/ 347 w 856"/>
                  <a:gd name="T67" fmla="*/ 2 h 643"/>
                  <a:gd name="T68" fmla="*/ 383 w 856"/>
                  <a:gd name="T69" fmla="*/ 4 h 643"/>
                  <a:gd name="T70" fmla="*/ 402 w 856"/>
                  <a:gd name="T71" fmla="*/ 4 h 643"/>
                  <a:gd name="T72" fmla="*/ 435 w 856"/>
                  <a:gd name="T73" fmla="*/ 42 h 643"/>
                  <a:gd name="T74" fmla="*/ 487 w 856"/>
                  <a:gd name="T75" fmla="*/ 52 h 643"/>
                  <a:gd name="T76" fmla="*/ 560 w 856"/>
                  <a:gd name="T77" fmla="*/ 42 h 643"/>
                  <a:gd name="T78" fmla="*/ 631 w 856"/>
                  <a:gd name="T79" fmla="*/ 30 h 643"/>
                  <a:gd name="T80" fmla="*/ 714 w 856"/>
                  <a:gd name="T81" fmla="*/ 89 h 643"/>
                  <a:gd name="T82" fmla="*/ 796 w 856"/>
                  <a:gd name="T83" fmla="*/ 14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6" h="643">
                    <a:moveTo>
                      <a:pt x="856" y="186"/>
                    </a:moveTo>
                    <a:lnTo>
                      <a:pt x="853" y="189"/>
                    </a:lnTo>
                    <a:lnTo>
                      <a:pt x="813" y="227"/>
                    </a:lnTo>
                    <a:lnTo>
                      <a:pt x="801" y="243"/>
                    </a:lnTo>
                    <a:lnTo>
                      <a:pt x="775" y="302"/>
                    </a:lnTo>
                    <a:lnTo>
                      <a:pt x="770" y="338"/>
                    </a:lnTo>
                    <a:lnTo>
                      <a:pt x="761" y="326"/>
                    </a:lnTo>
                    <a:lnTo>
                      <a:pt x="761" y="314"/>
                    </a:lnTo>
                    <a:lnTo>
                      <a:pt x="759" y="307"/>
                    </a:lnTo>
                    <a:lnTo>
                      <a:pt x="754" y="326"/>
                    </a:lnTo>
                    <a:lnTo>
                      <a:pt x="766" y="352"/>
                    </a:lnTo>
                    <a:lnTo>
                      <a:pt x="761" y="364"/>
                    </a:lnTo>
                    <a:lnTo>
                      <a:pt x="740" y="387"/>
                    </a:lnTo>
                    <a:lnTo>
                      <a:pt x="726" y="394"/>
                    </a:lnTo>
                    <a:lnTo>
                      <a:pt x="711" y="402"/>
                    </a:lnTo>
                    <a:lnTo>
                      <a:pt x="709" y="423"/>
                    </a:lnTo>
                    <a:lnTo>
                      <a:pt x="692" y="444"/>
                    </a:lnTo>
                    <a:lnTo>
                      <a:pt x="681" y="454"/>
                    </a:lnTo>
                    <a:lnTo>
                      <a:pt x="657" y="454"/>
                    </a:lnTo>
                    <a:lnTo>
                      <a:pt x="669" y="468"/>
                    </a:lnTo>
                    <a:lnTo>
                      <a:pt x="662" y="482"/>
                    </a:lnTo>
                    <a:lnTo>
                      <a:pt x="650" y="494"/>
                    </a:lnTo>
                    <a:lnTo>
                      <a:pt x="633" y="503"/>
                    </a:lnTo>
                    <a:lnTo>
                      <a:pt x="622" y="506"/>
                    </a:lnTo>
                    <a:lnTo>
                      <a:pt x="614" y="510"/>
                    </a:lnTo>
                    <a:lnTo>
                      <a:pt x="610" y="520"/>
                    </a:lnTo>
                    <a:lnTo>
                      <a:pt x="593" y="529"/>
                    </a:lnTo>
                    <a:lnTo>
                      <a:pt x="577" y="529"/>
                    </a:lnTo>
                    <a:lnTo>
                      <a:pt x="555" y="529"/>
                    </a:lnTo>
                    <a:lnTo>
                      <a:pt x="546" y="536"/>
                    </a:lnTo>
                    <a:lnTo>
                      <a:pt x="565" y="541"/>
                    </a:lnTo>
                    <a:lnTo>
                      <a:pt x="577" y="551"/>
                    </a:lnTo>
                    <a:lnTo>
                      <a:pt x="577" y="565"/>
                    </a:lnTo>
                    <a:lnTo>
                      <a:pt x="574" y="572"/>
                    </a:lnTo>
                    <a:lnTo>
                      <a:pt x="562" y="581"/>
                    </a:lnTo>
                    <a:lnTo>
                      <a:pt x="558" y="581"/>
                    </a:lnTo>
                    <a:lnTo>
                      <a:pt x="553" y="574"/>
                    </a:lnTo>
                    <a:lnTo>
                      <a:pt x="548" y="560"/>
                    </a:lnTo>
                    <a:lnTo>
                      <a:pt x="541" y="565"/>
                    </a:lnTo>
                    <a:lnTo>
                      <a:pt x="544" y="572"/>
                    </a:lnTo>
                    <a:lnTo>
                      <a:pt x="539" y="574"/>
                    </a:lnTo>
                    <a:lnTo>
                      <a:pt x="518" y="555"/>
                    </a:lnTo>
                    <a:lnTo>
                      <a:pt x="522" y="572"/>
                    </a:lnTo>
                    <a:lnTo>
                      <a:pt x="529" y="584"/>
                    </a:lnTo>
                    <a:lnTo>
                      <a:pt x="536" y="591"/>
                    </a:lnTo>
                    <a:lnTo>
                      <a:pt x="544" y="593"/>
                    </a:lnTo>
                    <a:lnTo>
                      <a:pt x="546" y="600"/>
                    </a:lnTo>
                    <a:lnTo>
                      <a:pt x="536" y="617"/>
                    </a:lnTo>
                    <a:lnTo>
                      <a:pt x="532" y="621"/>
                    </a:lnTo>
                    <a:lnTo>
                      <a:pt x="522" y="626"/>
                    </a:lnTo>
                    <a:lnTo>
                      <a:pt x="518" y="636"/>
                    </a:lnTo>
                    <a:lnTo>
                      <a:pt x="520" y="643"/>
                    </a:lnTo>
                    <a:lnTo>
                      <a:pt x="482" y="633"/>
                    </a:lnTo>
                    <a:lnTo>
                      <a:pt x="468" y="619"/>
                    </a:lnTo>
                    <a:lnTo>
                      <a:pt x="466" y="600"/>
                    </a:lnTo>
                    <a:lnTo>
                      <a:pt x="456" y="579"/>
                    </a:lnTo>
                    <a:lnTo>
                      <a:pt x="428" y="546"/>
                    </a:lnTo>
                    <a:lnTo>
                      <a:pt x="411" y="539"/>
                    </a:lnTo>
                    <a:lnTo>
                      <a:pt x="397" y="515"/>
                    </a:lnTo>
                    <a:lnTo>
                      <a:pt x="380" y="473"/>
                    </a:lnTo>
                    <a:lnTo>
                      <a:pt x="359" y="447"/>
                    </a:lnTo>
                    <a:lnTo>
                      <a:pt x="338" y="439"/>
                    </a:lnTo>
                    <a:lnTo>
                      <a:pt x="321" y="428"/>
                    </a:lnTo>
                    <a:lnTo>
                      <a:pt x="312" y="411"/>
                    </a:lnTo>
                    <a:lnTo>
                      <a:pt x="302" y="402"/>
                    </a:lnTo>
                    <a:lnTo>
                      <a:pt x="293" y="399"/>
                    </a:lnTo>
                    <a:lnTo>
                      <a:pt x="288" y="390"/>
                    </a:lnTo>
                    <a:lnTo>
                      <a:pt x="286" y="378"/>
                    </a:lnTo>
                    <a:lnTo>
                      <a:pt x="269" y="364"/>
                    </a:lnTo>
                    <a:lnTo>
                      <a:pt x="232" y="340"/>
                    </a:lnTo>
                    <a:lnTo>
                      <a:pt x="220" y="324"/>
                    </a:lnTo>
                    <a:lnTo>
                      <a:pt x="201" y="309"/>
                    </a:lnTo>
                    <a:lnTo>
                      <a:pt x="154" y="276"/>
                    </a:lnTo>
                    <a:lnTo>
                      <a:pt x="154" y="276"/>
                    </a:lnTo>
                    <a:lnTo>
                      <a:pt x="104" y="210"/>
                    </a:lnTo>
                    <a:lnTo>
                      <a:pt x="104" y="210"/>
                    </a:lnTo>
                    <a:lnTo>
                      <a:pt x="94" y="196"/>
                    </a:lnTo>
                    <a:lnTo>
                      <a:pt x="87" y="191"/>
                    </a:lnTo>
                    <a:lnTo>
                      <a:pt x="73" y="191"/>
                    </a:lnTo>
                    <a:lnTo>
                      <a:pt x="59" y="186"/>
                    </a:lnTo>
                    <a:lnTo>
                      <a:pt x="35" y="170"/>
                    </a:lnTo>
                    <a:lnTo>
                      <a:pt x="35" y="170"/>
                    </a:lnTo>
                    <a:lnTo>
                      <a:pt x="0" y="151"/>
                    </a:lnTo>
                    <a:lnTo>
                      <a:pt x="5" y="130"/>
                    </a:lnTo>
                    <a:lnTo>
                      <a:pt x="26" y="101"/>
                    </a:lnTo>
                    <a:lnTo>
                      <a:pt x="31" y="85"/>
                    </a:lnTo>
                    <a:lnTo>
                      <a:pt x="33" y="85"/>
                    </a:lnTo>
                    <a:lnTo>
                      <a:pt x="35" y="85"/>
                    </a:lnTo>
                    <a:lnTo>
                      <a:pt x="61" y="73"/>
                    </a:lnTo>
                    <a:lnTo>
                      <a:pt x="87" y="59"/>
                    </a:lnTo>
                    <a:lnTo>
                      <a:pt x="94" y="59"/>
                    </a:lnTo>
                    <a:lnTo>
                      <a:pt x="109" y="47"/>
                    </a:lnTo>
                    <a:lnTo>
                      <a:pt x="139" y="33"/>
                    </a:lnTo>
                    <a:lnTo>
                      <a:pt x="149" y="23"/>
                    </a:lnTo>
                    <a:lnTo>
                      <a:pt x="156" y="23"/>
                    </a:lnTo>
                    <a:lnTo>
                      <a:pt x="184" y="21"/>
                    </a:lnTo>
                    <a:lnTo>
                      <a:pt x="210" y="19"/>
                    </a:lnTo>
                    <a:lnTo>
                      <a:pt x="239" y="16"/>
                    </a:lnTo>
                    <a:lnTo>
                      <a:pt x="265" y="11"/>
                    </a:lnTo>
                    <a:lnTo>
                      <a:pt x="293" y="9"/>
                    </a:lnTo>
                    <a:lnTo>
                      <a:pt x="319" y="7"/>
                    </a:lnTo>
                    <a:lnTo>
                      <a:pt x="347" y="2"/>
                    </a:lnTo>
                    <a:lnTo>
                      <a:pt x="373" y="0"/>
                    </a:lnTo>
                    <a:lnTo>
                      <a:pt x="380" y="0"/>
                    </a:lnTo>
                    <a:lnTo>
                      <a:pt x="383" y="4"/>
                    </a:lnTo>
                    <a:lnTo>
                      <a:pt x="383" y="11"/>
                    </a:lnTo>
                    <a:lnTo>
                      <a:pt x="385" y="16"/>
                    </a:lnTo>
                    <a:lnTo>
                      <a:pt x="402" y="4"/>
                    </a:lnTo>
                    <a:lnTo>
                      <a:pt x="414" y="14"/>
                    </a:lnTo>
                    <a:lnTo>
                      <a:pt x="432" y="30"/>
                    </a:lnTo>
                    <a:lnTo>
                      <a:pt x="435" y="42"/>
                    </a:lnTo>
                    <a:lnTo>
                      <a:pt x="437" y="59"/>
                    </a:lnTo>
                    <a:lnTo>
                      <a:pt x="461" y="56"/>
                    </a:lnTo>
                    <a:lnTo>
                      <a:pt x="487" y="52"/>
                    </a:lnTo>
                    <a:lnTo>
                      <a:pt x="510" y="49"/>
                    </a:lnTo>
                    <a:lnTo>
                      <a:pt x="534" y="45"/>
                    </a:lnTo>
                    <a:lnTo>
                      <a:pt x="560" y="42"/>
                    </a:lnTo>
                    <a:lnTo>
                      <a:pt x="584" y="37"/>
                    </a:lnTo>
                    <a:lnTo>
                      <a:pt x="607" y="35"/>
                    </a:lnTo>
                    <a:lnTo>
                      <a:pt x="631" y="30"/>
                    </a:lnTo>
                    <a:lnTo>
                      <a:pt x="659" y="52"/>
                    </a:lnTo>
                    <a:lnTo>
                      <a:pt x="688" y="71"/>
                    </a:lnTo>
                    <a:lnTo>
                      <a:pt x="714" y="89"/>
                    </a:lnTo>
                    <a:lnTo>
                      <a:pt x="742" y="108"/>
                    </a:lnTo>
                    <a:lnTo>
                      <a:pt x="770" y="127"/>
                    </a:lnTo>
                    <a:lnTo>
                      <a:pt x="796" y="146"/>
                    </a:lnTo>
                    <a:lnTo>
                      <a:pt x="825" y="167"/>
                    </a:lnTo>
                    <a:lnTo>
                      <a:pt x="856" y="18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6" name="Freeform 83">
                <a:extLst>
                  <a:ext uri="{FF2B5EF4-FFF2-40B4-BE49-F238E27FC236}">
                    <a16:creationId xmlns:a16="http://schemas.microsoft.com/office/drawing/2014/main" id="{57DCC062-5074-6D6F-AAAC-1B9F4CA36880}"/>
                  </a:ext>
                </a:extLst>
              </p:cNvPr>
              <p:cNvSpPr>
                <a:spLocks/>
              </p:cNvSpPr>
              <p:nvPr/>
            </p:nvSpPr>
            <p:spPr bwMode="auto">
              <a:xfrm>
                <a:off x="3468" y="-196"/>
                <a:ext cx="1172" cy="778"/>
              </a:xfrm>
              <a:custGeom>
                <a:avLst/>
                <a:gdLst>
                  <a:gd name="T0" fmla="*/ 1153 w 1172"/>
                  <a:gd name="T1" fmla="*/ 73 h 778"/>
                  <a:gd name="T2" fmla="*/ 1141 w 1172"/>
                  <a:gd name="T3" fmla="*/ 92 h 778"/>
                  <a:gd name="T4" fmla="*/ 1113 w 1172"/>
                  <a:gd name="T5" fmla="*/ 118 h 778"/>
                  <a:gd name="T6" fmla="*/ 1120 w 1172"/>
                  <a:gd name="T7" fmla="*/ 135 h 778"/>
                  <a:gd name="T8" fmla="*/ 1137 w 1172"/>
                  <a:gd name="T9" fmla="*/ 161 h 778"/>
                  <a:gd name="T10" fmla="*/ 1172 w 1172"/>
                  <a:gd name="T11" fmla="*/ 189 h 778"/>
                  <a:gd name="T12" fmla="*/ 1172 w 1172"/>
                  <a:gd name="T13" fmla="*/ 283 h 778"/>
                  <a:gd name="T14" fmla="*/ 1172 w 1172"/>
                  <a:gd name="T15" fmla="*/ 378 h 778"/>
                  <a:gd name="T16" fmla="*/ 1172 w 1172"/>
                  <a:gd name="T17" fmla="*/ 475 h 778"/>
                  <a:gd name="T18" fmla="*/ 1170 w 1172"/>
                  <a:gd name="T19" fmla="*/ 570 h 778"/>
                  <a:gd name="T20" fmla="*/ 1151 w 1172"/>
                  <a:gd name="T21" fmla="*/ 581 h 778"/>
                  <a:gd name="T22" fmla="*/ 1158 w 1172"/>
                  <a:gd name="T23" fmla="*/ 603 h 778"/>
                  <a:gd name="T24" fmla="*/ 1153 w 1172"/>
                  <a:gd name="T25" fmla="*/ 615 h 778"/>
                  <a:gd name="T26" fmla="*/ 1156 w 1172"/>
                  <a:gd name="T27" fmla="*/ 626 h 778"/>
                  <a:gd name="T28" fmla="*/ 1167 w 1172"/>
                  <a:gd name="T29" fmla="*/ 638 h 778"/>
                  <a:gd name="T30" fmla="*/ 1170 w 1172"/>
                  <a:gd name="T31" fmla="*/ 652 h 778"/>
                  <a:gd name="T32" fmla="*/ 1160 w 1172"/>
                  <a:gd name="T33" fmla="*/ 681 h 778"/>
                  <a:gd name="T34" fmla="*/ 1144 w 1172"/>
                  <a:gd name="T35" fmla="*/ 719 h 778"/>
                  <a:gd name="T36" fmla="*/ 1144 w 1172"/>
                  <a:gd name="T37" fmla="*/ 730 h 778"/>
                  <a:gd name="T38" fmla="*/ 1158 w 1172"/>
                  <a:gd name="T39" fmla="*/ 752 h 778"/>
                  <a:gd name="T40" fmla="*/ 1165 w 1172"/>
                  <a:gd name="T41" fmla="*/ 778 h 778"/>
                  <a:gd name="T42" fmla="*/ 1141 w 1172"/>
                  <a:gd name="T43" fmla="*/ 766 h 778"/>
                  <a:gd name="T44" fmla="*/ 1115 w 1172"/>
                  <a:gd name="T45" fmla="*/ 737 h 778"/>
                  <a:gd name="T46" fmla="*/ 1059 w 1172"/>
                  <a:gd name="T47" fmla="*/ 714 h 778"/>
                  <a:gd name="T48" fmla="*/ 1021 w 1172"/>
                  <a:gd name="T49" fmla="*/ 697 h 778"/>
                  <a:gd name="T50" fmla="*/ 948 w 1172"/>
                  <a:gd name="T51" fmla="*/ 704 h 778"/>
                  <a:gd name="T52" fmla="*/ 907 w 1172"/>
                  <a:gd name="T53" fmla="*/ 702 h 778"/>
                  <a:gd name="T54" fmla="*/ 801 w 1172"/>
                  <a:gd name="T55" fmla="*/ 667 h 778"/>
                  <a:gd name="T56" fmla="*/ 695 w 1172"/>
                  <a:gd name="T57" fmla="*/ 664 h 778"/>
                  <a:gd name="T58" fmla="*/ 588 w 1172"/>
                  <a:gd name="T59" fmla="*/ 659 h 778"/>
                  <a:gd name="T60" fmla="*/ 479 w 1172"/>
                  <a:gd name="T61" fmla="*/ 655 h 778"/>
                  <a:gd name="T62" fmla="*/ 373 w 1172"/>
                  <a:gd name="T63" fmla="*/ 648 h 778"/>
                  <a:gd name="T64" fmla="*/ 267 w 1172"/>
                  <a:gd name="T65" fmla="*/ 641 h 778"/>
                  <a:gd name="T66" fmla="*/ 160 w 1172"/>
                  <a:gd name="T67" fmla="*/ 633 h 778"/>
                  <a:gd name="T68" fmla="*/ 54 w 1172"/>
                  <a:gd name="T69" fmla="*/ 624 h 778"/>
                  <a:gd name="T70" fmla="*/ 4 w 1172"/>
                  <a:gd name="T71" fmla="*/ 567 h 778"/>
                  <a:gd name="T72" fmla="*/ 14 w 1172"/>
                  <a:gd name="T73" fmla="*/ 461 h 778"/>
                  <a:gd name="T74" fmla="*/ 23 w 1172"/>
                  <a:gd name="T75" fmla="*/ 357 h 778"/>
                  <a:gd name="T76" fmla="*/ 30 w 1172"/>
                  <a:gd name="T77" fmla="*/ 250 h 778"/>
                  <a:gd name="T78" fmla="*/ 37 w 1172"/>
                  <a:gd name="T79" fmla="*/ 198 h 778"/>
                  <a:gd name="T80" fmla="*/ 40 w 1172"/>
                  <a:gd name="T81" fmla="*/ 198 h 778"/>
                  <a:gd name="T82" fmla="*/ 40 w 1172"/>
                  <a:gd name="T83" fmla="*/ 198 h 778"/>
                  <a:gd name="T84" fmla="*/ 40 w 1172"/>
                  <a:gd name="T85" fmla="*/ 196 h 778"/>
                  <a:gd name="T86" fmla="*/ 45 w 1172"/>
                  <a:gd name="T87" fmla="*/ 146 h 778"/>
                  <a:gd name="T88" fmla="*/ 54 w 1172"/>
                  <a:gd name="T89" fmla="*/ 49 h 778"/>
                  <a:gd name="T90" fmla="*/ 92 w 1172"/>
                  <a:gd name="T91" fmla="*/ 2 h 778"/>
                  <a:gd name="T92" fmla="*/ 160 w 1172"/>
                  <a:gd name="T93" fmla="*/ 9 h 778"/>
                  <a:gd name="T94" fmla="*/ 229 w 1172"/>
                  <a:gd name="T95" fmla="*/ 14 h 778"/>
                  <a:gd name="T96" fmla="*/ 297 w 1172"/>
                  <a:gd name="T97" fmla="*/ 19 h 778"/>
                  <a:gd name="T98" fmla="*/ 366 w 1172"/>
                  <a:gd name="T99" fmla="*/ 23 h 778"/>
                  <a:gd name="T100" fmla="*/ 435 w 1172"/>
                  <a:gd name="T101" fmla="*/ 28 h 778"/>
                  <a:gd name="T102" fmla="*/ 503 w 1172"/>
                  <a:gd name="T103" fmla="*/ 33 h 778"/>
                  <a:gd name="T104" fmla="*/ 572 w 1172"/>
                  <a:gd name="T105" fmla="*/ 35 h 778"/>
                  <a:gd name="T106" fmla="*/ 643 w 1172"/>
                  <a:gd name="T107" fmla="*/ 40 h 778"/>
                  <a:gd name="T108" fmla="*/ 711 w 1172"/>
                  <a:gd name="T109" fmla="*/ 42 h 778"/>
                  <a:gd name="T110" fmla="*/ 780 w 1172"/>
                  <a:gd name="T111" fmla="*/ 45 h 778"/>
                  <a:gd name="T112" fmla="*/ 848 w 1172"/>
                  <a:gd name="T113" fmla="*/ 47 h 778"/>
                  <a:gd name="T114" fmla="*/ 917 w 1172"/>
                  <a:gd name="T115" fmla="*/ 49 h 778"/>
                  <a:gd name="T116" fmla="*/ 985 w 1172"/>
                  <a:gd name="T117" fmla="*/ 49 h 778"/>
                  <a:gd name="T118" fmla="*/ 1054 w 1172"/>
                  <a:gd name="T119" fmla="*/ 52 h 778"/>
                  <a:gd name="T120" fmla="*/ 1122 w 1172"/>
                  <a:gd name="T121" fmla="*/ 52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2" h="778">
                    <a:moveTo>
                      <a:pt x="1158" y="52"/>
                    </a:moveTo>
                    <a:lnTo>
                      <a:pt x="1153" y="73"/>
                    </a:lnTo>
                    <a:lnTo>
                      <a:pt x="1148" y="83"/>
                    </a:lnTo>
                    <a:lnTo>
                      <a:pt x="1141" y="92"/>
                    </a:lnTo>
                    <a:lnTo>
                      <a:pt x="1120" y="113"/>
                    </a:lnTo>
                    <a:lnTo>
                      <a:pt x="1113" y="118"/>
                    </a:lnTo>
                    <a:lnTo>
                      <a:pt x="1115" y="125"/>
                    </a:lnTo>
                    <a:lnTo>
                      <a:pt x="1120" y="135"/>
                    </a:lnTo>
                    <a:lnTo>
                      <a:pt x="1130" y="153"/>
                    </a:lnTo>
                    <a:lnTo>
                      <a:pt x="1137" y="161"/>
                    </a:lnTo>
                    <a:lnTo>
                      <a:pt x="1160" y="172"/>
                    </a:lnTo>
                    <a:lnTo>
                      <a:pt x="1172" y="189"/>
                    </a:lnTo>
                    <a:lnTo>
                      <a:pt x="1172" y="236"/>
                    </a:lnTo>
                    <a:lnTo>
                      <a:pt x="1172" y="283"/>
                    </a:lnTo>
                    <a:lnTo>
                      <a:pt x="1172" y="331"/>
                    </a:lnTo>
                    <a:lnTo>
                      <a:pt x="1172" y="378"/>
                    </a:lnTo>
                    <a:lnTo>
                      <a:pt x="1172" y="425"/>
                    </a:lnTo>
                    <a:lnTo>
                      <a:pt x="1172" y="475"/>
                    </a:lnTo>
                    <a:lnTo>
                      <a:pt x="1170" y="522"/>
                    </a:lnTo>
                    <a:lnTo>
                      <a:pt x="1170" y="570"/>
                    </a:lnTo>
                    <a:lnTo>
                      <a:pt x="1148" y="570"/>
                    </a:lnTo>
                    <a:lnTo>
                      <a:pt x="1151" y="581"/>
                    </a:lnTo>
                    <a:lnTo>
                      <a:pt x="1158" y="596"/>
                    </a:lnTo>
                    <a:lnTo>
                      <a:pt x="1158" y="603"/>
                    </a:lnTo>
                    <a:lnTo>
                      <a:pt x="1156" y="610"/>
                    </a:lnTo>
                    <a:lnTo>
                      <a:pt x="1153" y="615"/>
                    </a:lnTo>
                    <a:lnTo>
                      <a:pt x="1153" y="624"/>
                    </a:lnTo>
                    <a:lnTo>
                      <a:pt x="1156" y="626"/>
                    </a:lnTo>
                    <a:lnTo>
                      <a:pt x="1165" y="631"/>
                    </a:lnTo>
                    <a:lnTo>
                      <a:pt x="1167" y="638"/>
                    </a:lnTo>
                    <a:lnTo>
                      <a:pt x="1170" y="648"/>
                    </a:lnTo>
                    <a:lnTo>
                      <a:pt x="1170" y="652"/>
                    </a:lnTo>
                    <a:lnTo>
                      <a:pt x="1163" y="664"/>
                    </a:lnTo>
                    <a:lnTo>
                      <a:pt x="1160" y="681"/>
                    </a:lnTo>
                    <a:lnTo>
                      <a:pt x="1153" y="704"/>
                    </a:lnTo>
                    <a:lnTo>
                      <a:pt x="1144" y="719"/>
                    </a:lnTo>
                    <a:lnTo>
                      <a:pt x="1144" y="726"/>
                    </a:lnTo>
                    <a:lnTo>
                      <a:pt x="1144" y="730"/>
                    </a:lnTo>
                    <a:lnTo>
                      <a:pt x="1156" y="747"/>
                    </a:lnTo>
                    <a:lnTo>
                      <a:pt x="1158" y="752"/>
                    </a:lnTo>
                    <a:lnTo>
                      <a:pt x="1160" y="761"/>
                    </a:lnTo>
                    <a:lnTo>
                      <a:pt x="1165" y="778"/>
                    </a:lnTo>
                    <a:lnTo>
                      <a:pt x="1153" y="775"/>
                    </a:lnTo>
                    <a:lnTo>
                      <a:pt x="1141" y="766"/>
                    </a:lnTo>
                    <a:lnTo>
                      <a:pt x="1134" y="752"/>
                    </a:lnTo>
                    <a:lnTo>
                      <a:pt x="1115" y="737"/>
                    </a:lnTo>
                    <a:lnTo>
                      <a:pt x="1082" y="723"/>
                    </a:lnTo>
                    <a:lnTo>
                      <a:pt x="1059" y="714"/>
                    </a:lnTo>
                    <a:lnTo>
                      <a:pt x="1049" y="702"/>
                    </a:lnTo>
                    <a:lnTo>
                      <a:pt x="1021" y="697"/>
                    </a:lnTo>
                    <a:lnTo>
                      <a:pt x="976" y="700"/>
                    </a:lnTo>
                    <a:lnTo>
                      <a:pt x="948" y="704"/>
                    </a:lnTo>
                    <a:lnTo>
                      <a:pt x="936" y="711"/>
                    </a:lnTo>
                    <a:lnTo>
                      <a:pt x="907" y="702"/>
                    </a:lnTo>
                    <a:lnTo>
                      <a:pt x="862" y="669"/>
                    </a:lnTo>
                    <a:lnTo>
                      <a:pt x="801" y="667"/>
                    </a:lnTo>
                    <a:lnTo>
                      <a:pt x="749" y="667"/>
                    </a:lnTo>
                    <a:lnTo>
                      <a:pt x="695" y="664"/>
                    </a:lnTo>
                    <a:lnTo>
                      <a:pt x="640" y="662"/>
                    </a:lnTo>
                    <a:lnTo>
                      <a:pt x="588" y="659"/>
                    </a:lnTo>
                    <a:lnTo>
                      <a:pt x="534" y="657"/>
                    </a:lnTo>
                    <a:lnTo>
                      <a:pt x="479" y="655"/>
                    </a:lnTo>
                    <a:lnTo>
                      <a:pt x="427" y="650"/>
                    </a:lnTo>
                    <a:lnTo>
                      <a:pt x="373" y="648"/>
                    </a:lnTo>
                    <a:lnTo>
                      <a:pt x="321" y="645"/>
                    </a:lnTo>
                    <a:lnTo>
                      <a:pt x="267" y="641"/>
                    </a:lnTo>
                    <a:lnTo>
                      <a:pt x="212" y="636"/>
                    </a:lnTo>
                    <a:lnTo>
                      <a:pt x="160" y="633"/>
                    </a:lnTo>
                    <a:lnTo>
                      <a:pt x="106" y="629"/>
                    </a:lnTo>
                    <a:lnTo>
                      <a:pt x="54" y="624"/>
                    </a:lnTo>
                    <a:lnTo>
                      <a:pt x="0" y="619"/>
                    </a:lnTo>
                    <a:lnTo>
                      <a:pt x="4" y="567"/>
                    </a:lnTo>
                    <a:lnTo>
                      <a:pt x="9" y="515"/>
                    </a:lnTo>
                    <a:lnTo>
                      <a:pt x="14" y="461"/>
                    </a:lnTo>
                    <a:lnTo>
                      <a:pt x="19" y="409"/>
                    </a:lnTo>
                    <a:lnTo>
                      <a:pt x="23" y="357"/>
                    </a:lnTo>
                    <a:lnTo>
                      <a:pt x="26" y="305"/>
                    </a:lnTo>
                    <a:lnTo>
                      <a:pt x="30" y="250"/>
                    </a:lnTo>
                    <a:lnTo>
                      <a:pt x="35" y="198"/>
                    </a:lnTo>
                    <a:lnTo>
                      <a:pt x="37" y="198"/>
                    </a:lnTo>
                    <a:lnTo>
                      <a:pt x="37" y="198"/>
                    </a:lnTo>
                    <a:lnTo>
                      <a:pt x="40" y="198"/>
                    </a:lnTo>
                    <a:lnTo>
                      <a:pt x="40" y="198"/>
                    </a:lnTo>
                    <a:lnTo>
                      <a:pt x="40" y="198"/>
                    </a:lnTo>
                    <a:lnTo>
                      <a:pt x="40" y="198"/>
                    </a:lnTo>
                    <a:lnTo>
                      <a:pt x="40" y="196"/>
                    </a:lnTo>
                    <a:lnTo>
                      <a:pt x="40" y="196"/>
                    </a:lnTo>
                    <a:lnTo>
                      <a:pt x="45" y="146"/>
                    </a:lnTo>
                    <a:lnTo>
                      <a:pt x="49" y="99"/>
                    </a:lnTo>
                    <a:lnTo>
                      <a:pt x="54" y="49"/>
                    </a:lnTo>
                    <a:lnTo>
                      <a:pt x="56" y="0"/>
                    </a:lnTo>
                    <a:lnTo>
                      <a:pt x="92" y="2"/>
                    </a:lnTo>
                    <a:lnTo>
                      <a:pt x="125" y="7"/>
                    </a:lnTo>
                    <a:lnTo>
                      <a:pt x="160" y="9"/>
                    </a:lnTo>
                    <a:lnTo>
                      <a:pt x="193" y="12"/>
                    </a:lnTo>
                    <a:lnTo>
                      <a:pt x="229" y="14"/>
                    </a:lnTo>
                    <a:lnTo>
                      <a:pt x="264" y="16"/>
                    </a:lnTo>
                    <a:lnTo>
                      <a:pt x="297" y="19"/>
                    </a:lnTo>
                    <a:lnTo>
                      <a:pt x="333" y="21"/>
                    </a:lnTo>
                    <a:lnTo>
                      <a:pt x="366" y="23"/>
                    </a:lnTo>
                    <a:lnTo>
                      <a:pt x="401" y="26"/>
                    </a:lnTo>
                    <a:lnTo>
                      <a:pt x="435" y="28"/>
                    </a:lnTo>
                    <a:lnTo>
                      <a:pt x="470" y="30"/>
                    </a:lnTo>
                    <a:lnTo>
                      <a:pt x="503" y="33"/>
                    </a:lnTo>
                    <a:lnTo>
                      <a:pt x="539" y="35"/>
                    </a:lnTo>
                    <a:lnTo>
                      <a:pt x="572" y="35"/>
                    </a:lnTo>
                    <a:lnTo>
                      <a:pt x="607" y="38"/>
                    </a:lnTo>
                    <a:lnTo>
                      <a:pt x="643" y="40"/>
                    </a:lnTo>
                    <a:lnTo>
                      <a:pt x="676" y="40"/>
                    </a:lnTo>
                    <a:lnTo>
                      <a:pt x="711" y="42"/>
                    </a:lnTo>
                    <a:lnTo>
                      <a:pt x="744" y="42"/>
                    </a:lnTo>
                    <a:lnTo>
                      <a:pt x="780" y="45"/>
                    </a:lnTo>
                    <a:lnTo>
                      <a:pt x="813" y="45"/>
                    </a:lnTo>
                    <a:lnTo>
                      <a:pt x="848" y="47"/>
                    </a:lnTo>
                    <a:lnTo>
                      <a:pt x="881" y="47"/>
                    </a:lnTo>
                    <a:lnTo>
                      <a:pt x="917" y="49"/>
                    </a:lnTo>
                    <a:lnTo>
                      <a:pt x="952" y="49"/>
                    </a:lnTo>
                    <a:lnTo>
                      <a:pt x="985" y="49"/>
                    </a:lnTo>
                    <a:lnTo>
                      <a:pt x="1021" y="52"/>
                    </a:lnTo>
                    <a:lnTo>
                      <a:pt x="1054" y="52"/>
                    </a:lnTo>
                    <a:lnTo>
                      <a:pt x="1089" y="52"/>
                    </a:lnTo>
                    <a:lnTo>
                      <a:pt x="1122" y="52"/>
                    </a:lnTo>
                    <a:lnTo>
                      <a:pt x="1158" y="52"/>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7" name="Freeform 84">
                <a:extLst>
                  <a:ext uri="{FF2B5EF4-FFF2-40B4-BE49-F238E27FC236}">
                    <a16:creationId xmlns:a16="http://schemas.microsoft.com/office/drawing/2014/main" id="{96E0269A-590D-77CD-D384-A84AFB704892}"/>
                  </a:ext>
                </a:extLst>
              </p:cNvPr>
              <p:cNvSpPr>
                <a:spLocks/>
              </p:cNvSpPr>
              <p:nvPr/>
            </p:nvSpPr>
            <p:spPr bwMode="auto">
              <a:xfrm>
                <a:off x="5697" y="1632"/>
                <a:ext cx="1432" cy="498"/>
              </a:xfrm>
              <a:custGeom>
                <a:avLst/>
                <a:gdLst>
                  <a:gd name="T0" fmla="*/ 1215 w 1432"/>
                  <a:gd name="T1" fmla="*/ 35 h 498"/>
                  <a:gd name="T2" fmla="*/ 1347 w 1432"/>
                  <a:gd name="T3" fmla="*/ 14 h 498"/>
                  <a:gd name="T4" fmla="*/ 1409 w 1432"/>
                  <a:gd name="T5" fmla="*/ 2 h 498"/>
                  <a:gd name="T6" fmla="*/ 1427 w 1432"/>
                  <a:gd name="T7" fmla="*/ 28 h 498"/>
                  <a:gd name="T8" fmla="*/ 1416 w 1432"/>
                  <a:gd name="T9" fmla="*/ 56 h 498"/>
                  <a:gd name="T10" fmla="*/ 1383 w 1432"/>
                  <a:gd name="T11" fmla="*/ 111 h 498"/>
                  <a:gd name="T12" fmla="*/ 1340 w 1432"/>
                  <a:gd name="T13" fmla="*/ 115 h 498"/>
                  <a:gd name="T14" fmla="*/ 1307 w 1432"/>
                  <a:gd name="T15" fmla="*/ 153 h 498"/>
                  <a:gd name="T16" fmla="*/ 1295 w 1432"/>
                  <a:gd name="T17" fmla="*/ 153 h 498"/>
                  <a:gd name="T18" fmla="*/ 1283 w 1432"/>
                  <a:gd name="T19" fmla="*/ 141 h 498"/>
                  <a:gd name="T20" fmla="*/ 1260 w 1432"/>
                  <a:gd name="T21" fmla="*/ 167 h 498"/>
                  <a:gd name="T22" fmla="*/ 1243 w 1432"/>
                  <a:gd name="T23" fmla="*/ 184 h 498"/>
                  <a:gd name="T24" fmla="*/ 1212 w 1432"/>
                  <a:gd name="T25" fmla="*/ 210 h 498"/>
                  <a:gd name="T26" fmla="*/ 1115 w 1432"/>
                  <a:gd name="T27" fmla="*/ 269 h 498"/>
                  <a:gd name="T28" fmla="*/ 1070 w 1432"/>
                  <a:gd name="T29" fmla="*/ 307 h 498"/>
                  <a:gd name="T30" fmla="*/ 1037 w 1432"/>
                  <a:gd name="T31" fmla="*/ 342 h 498"/>
                  <a:gd name="T32" fmla="*/ 1028 w 1432"/>
                  <a:gd name="T33" fmla="*/ 401 h 498"/>
                  <a:gd name="T34" fmla="*/ 860 w 1432"/>
                  <a:gd name="T35" fmla="*/ 420 h 498"/>
                  <a:gd name="T36" fmla="*/ 749 w 1432"/>
                  <a:gd name="T37" fmla="*/ 432 h 498"/>
                  <a:gd name="T38" fmla="*/ 666 w 1432"/>
                  <a:gd name="T39" fmla="*/ 439 h 498"/>
                  <a:gd name="T40" fmla="*/ 584 w 1432"/>
                  <a:gd name="T41" fmla="*/ 449 h 498"/>
                  <a:gd name="T42" fmla="*/ 501 w 1432"/>
                  <a:gd name="T43" fmla="*/ 456 h 498"/>
                  <a:gd name="T44" fmla="*/ 418 w 1432"/>
                  <a:gd name="T45" fmla="*/ 463 h 498"/>
                  <a:gd name="T46" fmla="*/ 359 w 1432"/>
                  <a:gd name="T47" fmla="*/ 465 h 498"/>
                  <a:gd name="T48" fmla="*/ 319 w 1432"/>
                  <a:gd name="T49" fmla="*/ 475 h 498"/>
                  <a:gd name="T50" fmla="*/ 182 w 1432"/>
                  <a:gd name="T51" fmla="*/ 487 h 498"/>
                  <a:gd name="T52" fmla="*/ 42 w 1432"/>
                  <a:gd name="T53" fmla="*/ 496 h 498"/>
                  <a:gd name="T54" fmla="*/ 4 w 1432"/>
                  <a:gd name="T55" fmla="*/ 489 h 498"/>
                  <a:gd name="T56" fmla="*/ 26 w 1432"/>
                  <a:gd name="T57" fmla="*/ 430 h 498"/>
                  <a:gd name="T58" fmla="*/ 54 w 1432"/>
                  <a:gd name="T59" fmla="*/ 371 h 498"/>
                  <a:gd name="T60" fmla="*/ 75 w 1432"/>
                  <a:gd name="T61" fmla="*/ 323 h 498"/>
                  <a:gd name="T62" fmla="*/ 78 w 1432"/>
                  <a:gd name="T63" fmla="*/ 312 h 498"/>
                  <a:gd name="T64" fmla="*/ 82 w 1432"/>
                  <a:gd name="T65" fmla="*/ 302 h 498"/>
                  <a:gd name="T66" fmla="*/ 90 w 1432"/>
                  <a:gd name="T67" fmla="*/ 293 h 498"/>
                  <a:gd name="T68" fmla="*/ 87 w 1432"/>
                  <a:gd name="T69" fmla="*/ 276 h 498"/>
                  <a:gd name="T70" fmla="*/ 87 w 1432"/>
                  <a:gd name="T71" fmla="*/ 236 h 498"/>
                  <a:gd name="T72" fmla="*/ 101 w 1432"/>
                  <a:gd name="T73" fmla="*/ 227 h 498"/>
                  <a:gd name="T74" fmla="*/ 97 w 1432"/>
                  <a:gd name="T75" fmla="*/ 212 h 498"/>
                  <a:gd name="T76" fmla="*/ 108 w 1432"/>
                  <a:gd name="T77" fmla="*/ 191 h 498"/>
                  <a:gd name="T78" fmla="*/ 116 w 1432"/>
                  <a:gd name="T79" fmla="*/ 174 h 498"/>
                  <a:gd name="T80" fmla="*/ 123 w 1432"/>
                  <a:gd name="T81" fmla="*/ 174 h 498"/>
                  <a:gd name="T82" fmla="*/ 215 w 1432"/>
                  <a:gd name="T83" fmla="*/ 167 h 498"/>
                  <a:gd name="T84" fmla="*/ 302 w 1432"/>
                  <a:gd name="T85" fmla="*/ 160 h 498"/>
                  <a:gd name="T86" fmla="*/ 359 w 1432"/>
                  <a:gd name="T87" fmla="*/ 156 h 498"/>
                  <a:gd name="T88" fmla="*/ 350 w 1432"/>
                  <a:gd name="T89" fmla="*/ 115 h 498"/>
                  <a:gd name="T90" fmla="*/ 392 w 1432"/>
                  <a:gd name="T91" fmla="*/ 122 h 498"/>
                  <a:gd name="T92" fmla="*/ 560 w 1432"/>
                  <a:gd name="T93" fmla="*/ 101 h 498"/>
                  <a:gd name="T94" fmla="*/ 732 w 1432"/>
                  <a:gd name="T95" fmla="*/ 87 h 498"/>
                  <a:gd name="T96" fmla="*/ 910 w 1432"/>
                  <a:gd name="T97" fmla="*/ 73 h 498"/>
                  <a:gd name="T98" fmla="*/ 1085 w 1432"/>
                  <a:gd name="T99" fmla="*/ 56 h 498"/>
                  <a:gd name="T100" fmla="*/ 1089 w 1432"/>
                  <a:gd name="T101" fmla="*/ 54 h 498"/>
                  <a:gd name="T102" fmla="*/ 1092 w 1432"/>
                  <a:gd name="T103" fmla="*/ 52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2" h="498">
                    <a:moveTo>
                      <a:pt x="1094" y="49"/>
                    </a:moveTo>
                    <a:lnTo>
                      <a:pt x="1134" y="44"/>
                    </a:lnTo>
                    <a:lnTo>
                      <a:pt x="1215" y="35"/>
                    </a:lnTo>
                    <a:lnTo>
                      <a:pt x="1271" y="26"/>
                    </a:lnTo>
                    <a:lnTo>
                      <a:pt x="1319" y="18"/>
                    </a:lnTo>
                    <a:lnTo>
                      <a:pt x="1347" y="14"/>
                    </a:lnTo>
                    <a:lnTo>
                      <a:pt x="1383" y="9"/>
                    </a:lnTo>
                    <a:lnTo>
                      <a:pt x="1390" y="4"/>
                    </a:lnTo>
                    <a:lnTo>
                      <a:pt x="1409" y="2"/>
                    </a:lnTo>
                    <a:lnTo>
                      <a:pt x="1432" y="0"/>
                    </a:lnTo>
                    <a:lnTo>
                      <a:pt x="1427" y="16"/>
                    </a:lnTo>
                    <a:lnTo>
                      <a:pt x="1427" y="28"/>
                    </a:lnTo>
                    <a:lnTo>
                      <a:pt x="1425" y="44"/>
                    </a:lnTo>
                    <a:lnTo>
                      <a:pt x="1427" y="54"/>
                    </a:lnTo>
                    <a:lnTo>
                      <a:pt x="1416" y="56"/>
                    </a:lnTo>
                    <a:lnTo>
                      <a:pt x="1409" y="61"/>
                    </a:lnTo>
                    <a:lnTo>
                      <a:pt x="1399" y="68"/>
                    </a:lnTo>
                    <a:lnTo>
                      <a:pt x="1383" y="111"/>
                    </a:lnTo>
                    <a:lnTo>
                      <a:pt x="1373" y="115"/>
                    </a:lnTo>
                    <a:lnTo>
                      <a:pt x="1359" y="108"/>
                    </a:lnTo>
                    <a:lnTo>
                      <a:pt x="1340" y="115"/>
                    </a:lnTo>
                    <a:lnTo>
                      <a:pt x="1328" y="125"/>
                    </a:lnTo>
                    <a:lnTo>
                      <a:pt x="1314" y="146"/>
                    </a:lnTo>
                    <a:lnTo>
                      <a:pt x="1307" y="153"/>
                    </a:lnTo>
                    <a:lnTo>
                      <a:pt x="1302" y="156"/>
                    </a:lnTo>
                    <a:lnTo>
                      <a:pt x="1297" y="156"/>
                    </a:lnTo>
                    <a:lnTo>
                      <a:pt x="1295" y="153"/>
                    </a:lnTo>
                    <a:lnTo>
                      <a:pt x="1293" y="144"/>
                    </a:lnTo>
                    <a:lnTo>
                      <a:pt x="1290" y="141"/>
                    </a:lnTo>
                    <a:lnTo>
                      <a:pt x="1283" y="141"/>
                    </a:lnTo>
                    <a:lnTo>
                      <a:pt x="1276" y="146"/>
                    </a:lnTo>
                    <a:lnTo>
                      <a:pt x="1267" y="153"/>
                    </a:lnTo>
                    <a:lnTo>
                      <a:pt x="1260" y="167"/>
                    </a:lnTo>
                    <a:lnTo>
                      <a:pt x="1245" y="167"/>
                    </a:lnTo>
                    <a:lnTo>
                      <a:pt x="1243" y="170"/>
                    </a:lnTo>
                    <a:lnTo>
                      <a:pt x="1243" y="184"/>
                    </a:lnTo>
                    <a:lnTo>
                      <a:pt x="1238" y="193"/>
                    </a:lnTo>
                    <a:lnTo>
                      <a:pt x="1234" y="200"/>
                    </a:lnTo>
                    <a:lnTo>
                      <a:pt x="1212" y="210"/>
                    </a:lnTo>
                    <a:lnTo>
                      <a:pt x="1186" y="234"/>
                    </a:lnTo>
                    <a:lnTo>
                      <a:pt x="1151" y="260"/>
                    </a:lnTo>
                    <a:lnTo>
                      <a:pt x="1115" y="269"/>
                    </a:lnTo>
                    <a:lnTo>
                      <a:pt x="1101" y="276"/>
                    </a:lnTo>
                    <a:lnTo>
                      <a:pt x="1092" y="281"/>
                    </a:lnTo>
                    <a:lnTo>
                      <a:pt x="1070" y="307"/>
                    </a:lnTo>
                    <a:lnTo>
                      <a:pt x="1066" y="333"/>
                    </a:lnTo>
                    <a:lnTo>
                      <a:pt x="1054" y="340"/>
                    </a:lnTo>
                    <a:lnTo>
                      <a:pt x="1037" y="342"/>
                    </a:lnTo>
                    <a:lnTo>
                      <a:pt x="1033" y="347"/>
                    </a:lnTo>
                    <a:lnTo>
                      <a:pt x="1028" y="357"/>
                    </a:lnTo>
                    <a:lnTo>
                      <a:pt x="1028" y="401"/>
                    </a:lnTo>
                    <a:lnTo>
                      <a:pt x="974" y="409"/>
                    </a:lnTo>
                    <a:lnTo>
                      <a:pt x="917" y="416"/>
                    </a:lnTo>
                    <a:lnTo>
                      <a:pt x="860" y="420"/>
                    </a:lnTo>
                    <a:lnTo>
                      <a:pt x="806" y="427"/>
                    </a:lnTo>
                    <a:lnTo>
                      <a:pt x="777" y="430"/>
                    </a:lnTo>
                    <a:lnTo>
                      <a:pt x="749" y="432"/>
                    </a:lnTo>
                    <a:lnTo>
                      <a:pt x="721" y="435"/>
                    </a:lnTo>
                    <a:lnTo>
                      <a:pt x="695" y="437"/>
                    </a:lnTo>
                    <a:lnTo>
                      <a:pt x="666" y="439"/>
                    </a:lnTo>
                    <a:lnTo>
                      <a:pt x="638" y="444"/>
                    </a:lnTo>
                    <a:lnTo>
                      <a:pt x="612" y="446"/>
                    </a:lnTo>
                    <a:lnTo>
                      <a:pt x="584" y="449"/>
                    </a:lnTo>
                    <a:lnTo>
                      <a:pt x="555" y="451"/>
                    </a:lnTo>
                    <a:lnTo>
                      <a:pt x="527" y="453"/>
                    </a:lnTo>
                    <a:lnTo>
                      <a:pt x="501" y="456"/>
                    </a:lnTo>
                    <a:lnTo>
                      <a:pt x="472" y="458"/>
                    </a:lnTo>
                    <a:lnTo>
                      <a:pt x="444" y="461"/>
                    </a:lnTo>
                    <a:lnTo>
                      <a:pt x="418" y="463"/>
                    </a:lnTo>
                    <a:lnTo>
                      <a:pt x="390" y="463"/>
                    </a:lnTo>
                    <a:lnTo>
                      <a:pt x="361" y="465"/>
                    </a:lnTo>
                    <a:lnTo>
                      <a:pt x="359" y="465"/>
                    </a:lnTo>
                    <a:lnTo>
                      <a:pt x="361" y="468"/>
                    </a:lnTo>
                    <a:lnTo>
                      <a:pt x="366" y="472"/>
                    </a:lnTo>
                    <a:lnTo>
                      <a:pt x="319" y="475"/>
                    </a:lnTo>
                    <a:lnTo>
                      <a:pt x="272" y="480"/>
                    </a:lnTo>
                    <a:lnTo>
                      <a:pt x="227" y="482"/>
                    </a:lnTo>
                    <a:lnTo>
                      <a:pt x="182" y="487"/>
                    </a:lnTo>
                    <a:lnTo>
                      <a:pt x="134" y="489"/>
                    </a:lnTo>
                    <a:lnTo>
                      <a:pt x="90" y="491"/>
                    </a:lnTo>
                    <a:lnTo>
                      <a:pt x="42" y="496"/>
                    </a:lnTo>
                    <a:lnTo>
                      <a:pt x="0" y="498"/>
                    </a:lnTo>
                    <a:lnTo>
                      <a:pt x="0" y="498"/>
                    </a:lnTo>
                    <a:lnTo>
                      <a:pt x="4" y="489"/>
                    </a:lnTo>
                    <a:lnTo>
                      <a:pt x="23" y="472"/>
                    </a:lnTo>
                    <a:lnTo>
                      <a:pt x="30" y="453"/>
                    </a:lnTo>
                    <a:lnTo>
                      <a:pt x="26" y="430"/>
                    </a:lnTo>
                    <a:lnTo>
                      <a:pt x="33" y="409"/>
                    </a:lnTo>
                    <a:lnTo>
                      <a:pt x="49" y="390"/>
                    </a:lnTo>
                    <a:lnTo>
                      <a:pt x="54" y="371"/>
                    </a:lnTo>
                    <a:lnTo>
                      <a:pt x="49" y="352"/>
                    </a:lnTo>
                    <a:lnTo>
                      <a:pt x="56" y="335"/>
                    </a:lnTo>
                    <a:lnTo>
                      <a:pt x="75" y="323"/>
                    </a:lnTo>
                    <a:lnTo>
                      <a:pt x="78" y="319"/>
                    </a:lnTo>
                    <a:lnTo>
                      <a:pt x="78" y="314"/>
                    </a:lnTo>
                    <a:lnTo>
                      <a:pt x="78" y="312"/>
                    </a:lnTo>
                    <a:lnTo>
                      <a:pt x="78" y="309"/>
                    </a:lnTo>
                    <a:lnTo>
                      <a:pt x="78" y="305"/>
                    </a:lnTo>
                    <a:lnTo>
                      <a:pt x="82" y="302"/>
                    </a:lnTo>
                    <a:lnTo>
                      <a:pt x="87" y="302"/>
                    </a:lnTo>
                    <a:lnTo>
                      <a:pt x="90" y="297"/>
                    </a:lnTo>
                    <a:lnTo>
                      <a:pt x="90" y="293"/>
                    </a:lnTo>
                    <a:lnTo>
                      <a:pt x="85" y="286"/>
                    </a:lnTo>
                    <a:lnTo>
                      <a:pt x="87" y="281"/>
                    </a:lnTo>
                    <a:lnTo>
                      <a:pt x="87" y="276"/>
                    </a:lnTo>
                    <a:lnTo>
                      <a:pt x="94" y="260"/>
                    </a:lnTo>
                    <a:lnTo>
                      <a:pt x="97" y="245"/>
                    </a:lnTo>
                    <a:lnTo>
                      <a:pt x="87" y="236"/>
                    </a:lnTo>
                    <a:lnTo>
                      <a:pt x="92" y="229"/>
                    </a:lnTo>
                    <a:lnTo>
                      <a:pt x="97" y="227"/>
                    </a:lnTo>
                    <a:lnTo>
                      <a:pt x="101" y="227"/>
                    </a:lnTo>
                    <a:lnTo>
                      <a:pt x="104" y="224"/>
                    </a:lnTo>
                    <a:lnTo>
                      <a:pt x="104" y="219"/>
                    </a:lnTo>
                    <a:lnTo>
                      <a:pt x="97" y="212"/>
                    </a:lnTo>
                    <a:lnTo>
                      <a:pt x="99" y="208"/>
                    </a:lnTo>
                    <a:lnTo>
                      <a:pt x="106" y="200"/>
                    </a:lnTo>
                    <a:lnTo>
                      <a:pt x="108" y="191"/>
                    </a:lnTo>
                    <a:lnTo>
                      <a:pt x="104" y="174"/>
                    </a:lnTo>
                    <a:lnTo>
                      <a:pt x="116" y="174"/>
                    </a:lnTo>
                    <a:lnTo>
                      <a:pt x="116" y="174"/>
                    </a:lnTo>
                    <a:lnTo>
                      <a:pt x="118" y="177"/>
                    </a:lnTo>
                    <a:lnTo>
                      <a:pt x="123" y="174"/>
                    </a:lnTo>
                    <a:lnTo>
                      <a:pt x="123" y="174"/>
                    </a:lnTo>
                    <a:lnTo>
                      <a:pt x="156" y="172"/>
                    </a:lnTo>
                    <a:lnTo>
                      <a:pt x="184" y="170"/>
                    </a:lnTo>
                    <a:lnTo>
                      <a:pt x="215" y="167"/>
                    </a:lnTo>
                    <a:lnTo>
                      <a:pt x="243" y="165"/>
                    </a:lnTo>
                    <a:lnTo>
                      <a:pt x="272" y="163"/>
                    </a:lnTo>
                    <a:lnTo>
                      <a:pt x="302" y="160"/>
                    </a:lnTo>
                    <a:lnTo>
                      <a:pt x="331" y="158"/>
                    </a:lnTo>
                    <a:lnTo>
                      <a:pt x="357" y="156"/>
                    </a:lnTo>
                    <a:lnTo>
                      <a:pt x="359" y="156"/>
                    </a:lnTo>
                    <a:lnTo>
                      <a:pt x="357" y="137"/>
                    </a:lnTo>
                    <a:lnTo>
                      <a:pt x="347" y="115"/>
                    </a:lnTo>
                    <a:lnTo>
                      <a:pt x="350" y="115"/>
                    </a:lnTo>
                    <a:lnTo>
                      <a:pt x="371" y="115"/>
                    </a:lnTo>
                    <a:lnTo>
                      <a:pt x="387" y="115"/>
                    </a:lnTo>
                    <a:lnTo>
                      <a:pt x="392" y="122"/>
                    </a:lnTo>
                    <a:lnTo>
                      <a:pt x="449" y="115"/>
                    </a:lnTo>
                    <a:lnTo>
                      <a:pt x="503" y="108"/>
                    </a:lnTo>
                    <a:lnTo>
                      <a:pt x="560" y="101"/>
                    </a:lnTo>
                    <a:lnTo>
                      <a:pt x="617" y="94"/>
                    </a:lnTo>
                    <a:lnTo>
                      <a:pt x="676" y="92"/>
                    </a:lnTo>
                    <a:lnTo>
                      <a:pt x="732" y="87"/>
                    </a:lnTo>
                    <a:lnTo>
                      <a:pt x="792" y="82"/>
                    </a:lnTo>
                    <a:lnTo>
                      <a:pt x="851" y="78"/>
                    </a:lnTo>
                    <a:lnTo>
                      <a:pt x="910" y="73"/>
                    </a:lnTo>
                    <a:lnTo>
                      <a:pt x="969" y="66"/>
                    </a:lnTo>
                    <a:lnTo>
                      <a:pt x="1026" y="61"/>
                    </a:lnTo>
                    <a:lnTo>
                      <a:pt x="1085" y="56"/>
                    </a:lnTo>
                    <a:lnTo>
                      <a:pt x="1087" y="54"/>
                    </a:lnTo>
                    <a:lnTo>
                      <a:pt x="1087" y="54"/>
                    </a:lnTo>
                    <a:lnTo>
                      <a:pt x="1089" y="54"/>
                    </a:lnTo>
                    <a:lnTo>
                      <a:pt x="1089" y="52"/>
                    </a:lnTo>
                    <a:lnTo>
                      <a:pt x="1092" y="52"/>
                    </a:lnTo>
                    <a:lnTo>
                      <a:pt x="1092" y="52"/>
                    </a:lnTo>
                    <a:lnTo>
                      <a:pt x="1094" y="52"/>
                    </a:lnTo>
                    <a:lnTo>
                      <a:pt x="1094" y="49"/>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8" name="Freeform 86">
                <a:extLst>
                  <a:ext uri="{FF2B5EF4-FFF2-40B4-BE49-F238E27FC236}">
                    <a16:creationId xmlns:a16="http://schemas.microsoft.com/office/drawing/2014/main" id="{27BDD856-8CA0-4602-F261-645FD60DAABE}"/>
                  </a:ext>
                </a:extLst>
              </p:cNvPr>
              <p:cNvSpPr>
                <a:spLocks noEditPoints="1"/>
              </p:cNvSpPr>
              <p:nvPr/>
            </p:nvSpPr>
            <p:spPr bwMode="auto">
              <a:xfrm>
                <a:off x="2792" y="1799"/>
                <a:ext cx="2366" cy="2301"/>
              </a:xfrm>
              <a:custGeom>
                <a:avLst/>
                <a:gdLst>
                  <a:gd name="T0" fmla="*/ 2226 w 2366"/>
                  <a:gd name="T1" fmla="*/ 658 h 2301"/>
                  <a:gd name="T2" fmla="*/ 2264 w 2366"/>
                  <a:gd name="T3" fmla="*/ 804 h 2301"/>
                  <a:gd name="T4" fmla="*/ 2295 w 2366"/>
                  <a:gd name="T5" fmla="*/ 1017 h 2301"/>
                  <a:gd name="T6" fmla="*/ 2340 w 2366"/>
                  <a:gd name="T7" fmla="*/ 1133 h 2301"/>
                  <a:gd name="T8" fmla="*/ 2359 w 2366"/>
                  <a:gd name="T9" fmla="*/ 1239 h 2301"/>
                  <a:gd name="T10" fmla="*/ 2340 w 2366"/>
                  <a:gd name="T11" fmla="*/ 1391 h 2301"/>
                  <a:gd name="T12" fmla="*/ 2181 w 2366"/>
                  <a:gd name="T13" fmla="*/ 1528 h 2301"/>
                  <a:gd name="T14" fmla="*/ 2151 w 2366"/>
                  <a:gd name="T15" fmla="*/ 1471 h 2301"/>
                  <a:gd name="T16" fmla="*/ 2125 w 2366"/>
                  <a:gd name="T17" fmla="*/ 1552 h 2301"/>
                  <a:gd name="T18" fmla="*/ 1945 w 2366"/>
                  <a:gd name="T19" fmla="*/ 1710 h 2301"/>
                  <a:gd name="T20" fmla="*/ 1846 w 2366"/>
                  <a:gd name="T21" fmla="*/ 1705 h 2301"/>
                  <a:gd name="T22" fmla="*/ 1817 w 2366"/>
                  <a:gd name="T23" fmla="*/ 1741 h 2301"/>
                  <a:gd name="T24" fmla="*/ 1763 w 2366"/>
                  <a:gd name="T25" fmla="*/ 1797 h 2301"/>
                  <a:gd name="T26" fmla="*/ 1697 w 2366"/>
                  <a:gd name="T27" fmla="*/ 1814 h 2301"/>
                  <a:gd name="T28" fmla="*/ 1650 w 2366"/>
                  <a:gd name="T29" fmla="*/ 1873 h 2301"/>
                  <a:gd name="T30" fmla="*/ 1579 w 2366"/>
                  <a:gd name="T31" fmla="*/ 1958 h 2301"/>
                  <a:gd name="T32" fmla="*/ 1628 w 2366"/>
                  <a:gd name="T33" fmla="*/ 2110 h 2301"/>
                  <a:gd name="T34" fmla="*/ 1668 w 2366"/>
                  <a:gd name="T35" fmla="*/ 2284 h 2301"/>
                  <a:gd name="T36" fmla="*/ 1512 w 2366"/>
                  <a:gd name="T37" fmla="*/ 2256 h 2301"/>
                  <a:gd name="T38" fmla="*/ 1333 w 2366"/>
                  <a:gd name="T39" fmla="*/ 2178 h 2301"/>
                  <a:gd name="T40" fmla="*/ 1255 w 2366"/>
                  <a:gd name="T41" fmla="*/ 2034 h 2301"/>
                  <a:gd name="T42" fmla="*/ 1248 w 2366"/>
                  <a:gd name="T43" fmla="*/ 1930 h 2301"/>
                  <a:gd name="T44" fmla="*/ 1099 w 2366"/>
                  <a:gd name="T45" fmla="*/ 1734 h 2301"/>
                  <a:gd name="T46" fmla="*/ 999 w 2366"/>
                  <a:gd name="T47" fmla="*/ 1540 h 2301"/>
                  <a:gd name="T48" fmla="*/ 891 w 2366"/>
                  <a:gd name="T49" fmla="*/ 1433 h 2301"/>
                  <a:gd name="T50" fmla="*/ 744 w 2366"/>
                  <a:gd name="T51" fmla="*/ 1407 h 2301"/>
                  <a:gd name="T52" fmla="*/ 631 w 2366"/>
                  <a:gd name="T53" fmla="*/ 1537 h 2301"/>
                  <a:gd name="T54" fmla="*/ 453 w 2366"/>
                  <a:gd name="T55" fmla="*/ 1507 h 2301"/>
                  <a:gd name="T56" fmla="*/ 314 w 2366"/>
                  <a:gd name="T57" fmla="*/ 1346 h 2301"/>
                  <a:gd name="T58" fmla="*/ 134 w 2366"/>
                  <a:gd name="T59" fmla="*/ 1060 h 2301"/>
                  <a:gd name="T60" fmla="*/ 11 w 2366"/>
                  <a:gd name="T61" fmla="*/ 923 h 2301"/>
                  <a:gd name="T62" fmla="*/ 241 w 2366"/>
                  <a:gd name="T63" fmla="*/ 908 h 2301"/>
                  <a:gd name="T64" fmla="*/ 565 w 2366"/>
                  <a:gd name="T65" fmla="*/ 939 h 2301"/>
                  <a:gd name="T66" fmla="*/ 673 w 2366"/>
                  <a:gd name="T67" fmla="*/ 592 h 2301"/>
                  <a:gd name="T68" fmla="*/ 713 w 2366"/>
                  <a:gd name="T69" fmla="*/ 119 h 2301"/>
                  <a:gd name="T70" fmla="*/ 888 w 2366"/>
                  <a:gd name="T71" fmla="*/ 12 h 2301"/>
                  <a:gd name="T72" fmla="*/ 1141 w 2366"/>
                  <a:gd name="T73" fmla="*/ 26 h 2301"/>
                  <a:gd name="T74" fmla="*/ 1231 w 2366"/>
                  <a:gd name="T75" fmla="*/ 159 h 2301"/>
                  <a:gd name="T76" fmla="*/ 1224 w 2366"/>
                  <a:gd name="T77" fmla="*/ 360 h 2301"/>
                  <a:gd name="T78" fmla="*/ 1300 w 2366"/>
                  <a:gd name="T79" fmla="*/ 476 h 2301"/>
                  <a:gd name="T80" fmla="*/ 1359 w 2366"/>
                  <a:gd name="T81" fmla="*/ 497 h 2301"/>
                  <a:gd name="T82" fmla="*/ 1479 w 2366"/>
                  <a:gd name="T83" fmla="*/ 549 h 2301"/>
                  <a:gd name="T84" fmla="*/ 1572 w 2366"/>
                  <a:gd name="T85" fmla="*/ 570 h 2301"/>
                  <a:gd name="T86" fmla="*/ 1626 w 2366"/>
                  <a:gd name="T87" fmla="*/ 573 h 2301"/>
                  <a:gd name="T88" fmla="*/ 1678 w 2366"/>
                  <a:gd name="T89" fmla="*/ 606 h 2301"/>
                  <a:gd name="T90" fmla="*/ 1711 w 2366"/>
                  <a:gd name="T91" fmla="*/ 625 h 2301"/>
                  <a:gd name="T92" fmla="*/ 1744 w 2366"/>
                  <a:gd name="T93" fmla="*/ 587 h 2301"/>
                  <a:gd name="T94" fmla="*/ 1803 w 2366"/>
                  <a:gd name="T95" fmla="*/ 594 h 2301"/>
                  <a:gd name="T96" fmla="*/ 1862 w 2366"/>
                  <a:gd name="T97" fmla="*/ 634 h 2301"/>
                  <a:gd name="T98" fmla="*/ 1983 w 2366"/>
                  <a:gd name="T99" fmla="*/ 589 h 2301"/>
                  <a:gd name="T100" fmla="*/ 2051 w 2366"/>
                  <a:gd name="T101" fmla="*/ 582 h 2301"/>
                  <a:gd name="T102" fmla="*/ 2096 w 2366"/>
                  <a:gd name="T103" fmla="*/ 1599 h 2301"/>
                  <a:gd name="T104" fmla="*/ 1765 w 2366"/>
                  <a:gd name="T105" fmla="*/ 1814 h 2301"/>
                  <a:gd name="T106" fmla="*/ 1813 w 2366"/>
                  <a:gd name="T107" fmla="*/ 1786 h 2301"/>
                  <a:gd name="T108" fmla="*/ 1758 w 2366"/>
                  <a:gd name="T109" fmla="*/ 1826 h 2301"/>
                  <a:gd name="T110" fmla="*/ 1716 w 2366"/>
                  <a:gd name="T111" fmla="*/ 1883 h 2301"/>
                  <a:gd name="T112" fmla="*/ 1652 w 2366"/>
                  <a:gd name="T113" fmla="*/ 2015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6" h="2301">
                    <a:moveTo>
                      <a:pt x="2184" y="646"/>
                    </a:moveTo>
                    <a:lnTo>
                      <a:pt x="2193" y="655"/>
                    </a:lnTo>
                    <a:lnTo>
                      <a:pt x="2200" y="658"/>
                    </a:lnTo>
                    <a:lnTo>
                      <a:pt x="2203" y="662"/>
                    </a:lnTo>
                    <a:lnTo>
                      <a:pt x="2205" y="662"/>
                    </a:lnTo>
                    <a:lnTo>
                      <a:pt x="2210" y="662"/>
                    </a:lnTo>
                    <a:lnTo>
                      <a:pt x="2217" y="658"/>
                    </a:lnTo>
                    <a:lnTo>
                      <a:pt x="2226" y="658"/>
                    </a:lnTo>
                    <a:lnTo>
                      <a:pt x="2236" y="658"/>
                    </a:lnTo>
                    <a:lnTo>
                      <a:pt x="2252" y="658"/>
                    </a:lnTo>
                    <a:lnTo>
                      <a:pt x="2262" y="662"/>
                    </a:lnTo>
                    <a:lnTo>
                      <a:pt x="2262" y="691"/>
                    </a:lnTo>
                    <a:lnTo>
                      <a:pt x="2262" y="722"/>
                    </a:lnTo>
                    <a:lnTo>
                      <a:pt x="2264" y="750"/>
                    </a:lnTo>
                    <a:lnTo>
                      <a:pt x="2264" y="778"/>
                    </a:lnTo>
                    <a:lnTo>
                      <a:pt x="2264" y="804"/>
                    </a:lnTo>
                    <a:lnTo>
                      <a:pt x="2266" y="830"/>
                    </a:lnTo>
                    <a:lnTo>
                      <a:pt x="2266" y="859"/>
                    </a:lnTo>
                    <a:lnTo>
                      <a:pt x="2266" y="885"/>
                    </a:lnTo>
                    <a:lnTo>
                      <a:pt x="2266" y="911"/>
                    </a:lnTo>
                    <a:lnTo>
                      <a:pt x="2269" y="939"/>
                    </a:lnTo>
                    <a:lnTo>
                      <a:pt x="2269" y="965"/>
                    </a:lnTo>
                    <a:lnTo>
                      <a:pt x="2269" y="991"/>
                    </a:lnTo>
                    <a:lnTo>
                      <a:pt x="2295" y="1017"/>
                    </a:lnTo>
                    <a:lnTo>
                      <a:pt x="2307" y="1034"/>
                    </a:lnTo>
                    <a:lnTo>
                      <a:pt x="2309" y="1043"/>
                    </a:lnTo>
                    <a:lnTo>
                      <a:pt x="2311" y="1074"/>
                    </a:lnTo>
                    <a:lnTo>
                      <a:pt x="2314" y="1081"/>
                    </a:lnTo>
                    <a:lnTo>
                      <a:pt x="2326" y="1093"/>
                    </a:lnTo>
                    <a:lnTo>
                      <a:pt x="2328" y="1100"/>
                    </a:lnTo>
                    <a:lnTo>
                      <a:pt x="2340" y="1124"/>
                    </a:lnTo>
                    <a:lnTo>
                      <a:pt x="2340" y="1133"/>
                    </a:lnTo>
                    <a:lnTo>
                      <a:pt x="2354" y="1157"/>
                    </a:lnTo>
                    <a:lnTo>
                      <a:pt x="2361" y="1164"/>
                    </a:lnTo>
                    <a:lnTo>
                      <a:pt x="2363" y="1180"/>
                    </a:lnTo>
                    <a:lnTo>
                      <a:pt x="2366" y="1192"/>
                    </a:lnTo>
                    <a:lnTo>
                      <a:pt x="2361" y="1202"/>
                    </a:lnTo>
                    <a:lnTo>
                      <a:pt x="2363" y="1213"/>
                    </a:lnTo>
                    <a:lnTo>
                      <a:pt x="2361" y="1223"/>
                    </a:lnTo>
                    <a:lnTo>
                      <a:pt x="2359" y="1239"/>
                    </a:lnTo>
                    <a:lnTo>
                      <a:pt x="2352" y="1263"/>
                    </a:lnTo>
                    <a:lnTo>
                      <a:pt x="2344" y="1275"/>
                    </a:lnTo>
                    <a:lnTo>
                      <a:pt x="2335" y="1296"/>
                    </a:lnTo>
                    <a:lnTo>
                      <a:pt x="2335" y="1313"/>
                    </a:lnTo>
                    <a:lnTo>
                      <a:pt x="2330" y="1334"/>
                    </a:lnTo>
                    <a:lnTo>
                      <a:pt x="2330" y="1341"/>
                    </a:lnTo>
                    <a:lnTo>
                      <a:pt x="2335" y="1355"/>
                    </a:lnTo>
                    <a:lnTo>
                      <a:pt x="2340" y="1391"/>
                    </a:lnTo>
                    <a:lnTo>
                      <a:pt x="2335" y="1398"/>
                    </a:lnTo>
                    <a:lnTo>
                      <a:pt x="2323" y="1419"/>
                    </a:lnTo>
                    <a:lnTo>
                      <a:pt x="2316" y="1419"/>
                    </a:lnTo>
                    <a:lnTo>
                      <a:pt x="2297" y="1455"/>
                    </a:lnTo>
                    <a:lnTo>
                      <a:pt x="2309" y="1473"/>
                    </a:lnTo>
                    <a:lnTo>
                      <a:pt x="2309" y="1481"/>
                    </a:lnTo>
                    <a:lnTo>
                      <a:pt x="2269" y="1485"/>
                    </a:lnTo>
                    <a:lnTo>
                      <a:pt x="2181" y="1528"/>
                    </a:lnTo>
                    <a:lnTo>
                      <a:pt x="2148" y="1549"/>
                    </a:lnTo>
                    <a:lnTo>
                      <a:pt x="2148" y="1542"/>
                    </a:lnTo>
                    <a:lnTo>
                      <a:pt x="2191" y="1514"/>
                    </a:lnTo>
                    <a:lnTo>
                      <a:pt x="2177" y="1509"/>
                    </a:lnTo>
                    <a:lnTo>
                      <a:pt x="2153" y="1516"/>
                    </a:lnTo>
                    <a:lnTo>
                      <a:pt x="2144" y="1514"/>
                    </a:lnTo>
                    <a:lnTo>
                      <a:pt x="2153" y="1492"/>
                    </a:lnTo>
                    <a:lnTo>
                      <a:pt x="2151" y="1471"/>
                    </a:lnTo>
                    <a:lnTo>
                      <a:pt x="2134" y="1471"/>
                    </a:lnTo>
                    <a:lnTo>
                      <a:pt x="2122" y="1488"/>
                    </a:lnTo>
                    <a:lnTo>
                      <a:pt x="2115" y="1485"/>
                    </a:lnTo>
                    <a:lnTo>
                      <a:pt x="2106" y="1481"/>
                    </a:lnTo>
                    <a:lnTo>
                      <a:pt x="2099" y="1483"/>
                    </a:lnTo>
                    <a:lnTo>
                      <a:pt x="2103" y="1518"/>
                    </a:lnTo>
                    <a:lnTo>
                      <a:pt x="2115" y="1533"/>
                    </a:lnTo>
                    <a:lnTo>
                      <a:pt x="2125" y="1552"/>
                    </a:lnTo>
                    <a:lnTo>
                      <a:pt x="2099" y="1575"/>
                    </a:lnTo>
                    <a:lnTo>
                      <a:pt x="2077" y="1596"/>
                    </a:lnTo>
                    <a:lnTo>
                      <a:pt x="2075" y="1615"/>
                    </a:lnTo>
                    <a:lnTo>
                      <a:pt x="2054" y="1639"/>
                    </a:lnTo>
                    <a:lnTo>
                      <a:pt x="2032" y="1653"/>
                    </a:lnTo>
                    <a:lnTo>
                      <a:pt x="1980" y="1686"/>
                    </a:lnTo>
                    <a:lnTo>
                      <a:pt x="1966" y="1693"/>
                    </a:lnTo>
                    <a:lnTo>
                      <a:pt x="1945" y="1710"/>
                    </a:lnTo>
                    <a:lnTo>
                      <a:pt x="1912" y="1719"/>
                    </a:lnTo>
                    <a:lnTo>
                      <a:pt x="1884" y="1738"/>
                    </a:lnTo>
                    <a:lnTo>
                      <a:pt x="1872" y="1741"/>
                    </a:lnTo>
                    <a:lnTo>
                      <a:pt x="1891" y="1726"/>
                    </a:lnTo>
                    <a:lnTo>
                      <a:pt x="1914" y="1710"/>
                    </a:lnTo>
                    <a:lnTo>
                      <a:pt x="1895" y="1712"/>
                    </a:lnTo>
                    <a:lnTo>
                      <a:pt x="1865" y="1705"/>
                    </a:lnTo>
                    <a:lnTo>
                      <a:pt x="1846" y="1705"/>
                    </a:lnTo>
                    <a:lnTo>
                      <a:pt x="1846" y="1710"/>
                    </a:lnTo>
                    <a:lnTo>
                      <a:pt x="1832" y="1719"/>
                    </a:lnTo>
                    <a:lnTo>
                      <a:pt x="1817" y="1708"/>
                    </a:lnTo>
                    <a:lnTo>
                      <a:pt x="1810" y="1700"/>
                    </a:lnTo>
                    <a:lnTo>
                      <a:pt x="1808" y="1693"/>
                    </a:lnTo>
                    <a:lnTo>
                      <a:pt x="1803" y="1691"/>
                    </a:lnTo>
                    <a:lnTo>
                      <a:pt x="1796" y="1693"/>
                    </a:lnTo>
                    <a:lnTo>
                      <a:pt x="1817" y="1741"/>
                    </a:lnTo>
                    <a:lnTo>
                      <a:pt x="1827" y="1743"/>
                    </a:lnTo>
                    <a:lnTo>
                      <a:pt x="1836" y="1748"/>
                    </a:lnTo>
                    <a:lnTo>
                      <a:pt x="1824" y="1760"/>
                    </a:lnTo>
                    <a:lnTo>
                      <a:pt x="1810" y="1767"/>
                    </a:lnTo>
                    <a:lnTo>
                      <a:pt x="1789" y="1771"/>
                    </a:lnTo>
                    <a:lnTo>
                      <a:pt x="1770" y="1755"/>
                    </a:lnTo>
                    <a:lnTo>
                      <a:pt x="1765" y="1776"/>
                    </a:lnTo>
                    <a:lnTo>
                      <a:pt x="1763" y="1797"/>
                    </a:lnTo>
                    <a:lnTo>
                      <a:pt x="1758" y="1805"/>
                    </a:lnTo>
                    <a:lnTo>
                      <a:pt x="1749" y="1812"/>
                    </a:lnTo>
                    <a:lnTo>
                      <a:pt x="1742" y="1805"/>
                    </a:lnTo>
                    <a:lnTo>
                      <a:pt x="1739" y="1797"/>
                    </a:lnTo>
                    <a:lnTo>
                      <a:pt x="1735" y="1805"/>
                    </a:lnTo>
                    <a:lnTo>
                      <a:pt x="1725" y="1809"/>
                    </a:lnTo>
                    <a:lnTo>
                      <a:pt x="1709" y="1812"/>
                    </a:lnTo>
                    <a:lnTo>
                      <a:pt x="1697" y="1814"/>
                    </a:lnTo>
                    <a:lnTo>
                      <a:pt x="1697" y="1823"/>
                    </a:lnTo>
                    <a:lnTo>
                      <a:pt x="1702" y="1831"/>
                    </a:lnTo>
                    <a:lnTo>
                      <a:pt x="1720" y="1826"/>
                    </a:lnTo>
                    <a:lnTo>
                      <a:pt x="1713" y="1847"/>
                    </a:lnTo>
                    <a:lnTo>
                      <a:pt x="1694" y="1871"/>
                    </a:lnTo>
                    <a:lnTo>
                      <a:pt x="1678" y="1875"/>
                    </a:lnTo>
                    <a:lnTo>
                      <a:pt x="1657" y="1871"/>
                    </a:lnTo>
                    <a:lnTo>
                      <a:pt x="1650" y="1873"/>
                    </a:lnTo>
                    <a:lnTo>
                      <a:pt x="1645" y="1878"/>
                    </a:lnTo>
                    <a:lnTo>
                      <a:pt x="1671" y="1913"/>
                    </a:lnTo>
                    <a:lnTo>
                      <a:pt x="1654" y="1968"/>
                    </a:lnTo>
                    <a:lnTo>
                      <a:pt x="1642" y="1987"/>
                    </a:lnTo>
                    <a:lnTo>
                      <a:pt x="1633" y="1989"/>
                    </a:lnTo>
                    <a:lnTo>
                      <a:pt x="1626" y="1989"/>
                    </a:lnTo>
                    <a:lnTo>
                      <a:pt x="1595" y="1972"/>
                    </a:lnTo>
                    <a:lnTo>
                      <a:pt x="1579" y="1958"/>
                    </a:lnTo>
                    <a:lnTo>
                      <a:pt x="1593" y="1996"/>
                    </a:lnTo>
                    <a:lnTo>
                      <a:pt x="1633" y="2005"/>
                    </a:lnTo>
                    <a:lnTo>
                      <a:pt x="1635" y="2020"/>
                    </a:lnTo>
                    <a:lnTo>
                      <a:pt x="1633" y="2031"/>
                    </a:lnTo>
                    <a:lnTo>
                      <a:pt x="1626" y="2046"/>
                    </a:lnTo>
                    <a:lnTo>
                      <a:pt x="1619" y="2065"/>
                    </a:lnTo>
                    <a:lnTo>
                      <a:pt x="1624" y="2076"/>
                    </a:lnTo>
                    <a:lnTo>
                      <a:pt x="1628" y="2110"/>
                    </a:lnTo>
                    <a:lnTo>
                      <a:pt x="1635" y="2124"/>
                    </a:lnTo>
                    <a:lnTo>
                      <a:pt x="1640" y="2169"/>
                    </a:lnTo>
                    <a:lnTo>
                      <a:pt x="1645" y="2188"/>
                    </a:lnTo>
                    <a:lnTo>
                      <a:pt x="1680" y="2258"/>
                    </a:lnTo>
                    <a:lnTo>
                      <a:pt x="1692" y="2258"/>
                    </a:lnTo>
                    <a:lnTo>
                      <a:pt x="1694" y="2266"/>
                    </a:lnTo>
                    <a:lnTo>
                      <a:pt x="1694" y="2282"/>
                    </a:lnTo>
                    <a:lnTo>
                      <a:pt x="1668" y="2284"/>
                    </a:lnTo>
                    <a:lnTo>
                      <a:pt x="1657" y="2292"/>
                    </a:lnTo>
                    <a:lnTo>
                      <a:pt x="1654" y="2296"/>
                    </a:lnTo>
                    <a:lnTo>
                      <a:pt x="1652" y="2301"/>
                    </a:lnTo>
                    <a:lnTo>
                      <a:pt x="1650" y="2299"/>
                    </a:lnTo>
                    <a:lnTo>
                      <a:pt x="1635" y="2296"/>
                    </a:lnTo>
                    <a:lnTo>
                      <a:pt x="1607" y="2275"/>
                    </a:lnTo>
                    <a:lnTo>
                      <a:pt x="1567" y="2261"/>
                    </a:lnTo>
                    <a:lnTo>
                      <a:pt x="1512" y="2256"/>
                    </a:lnTo>
                    <a:lnTo>
                      <a:pt x="1475" y="2244"/>
                    </a:lnTo>
                    <a:lnTo>
                      <a:pt x="1456" y="2228"/>
                    </a:lnTo>
                    <a:lnTo>
                      <a:pt x="1434" y="2218"/>
                    </a:lnTo>
                    <a:lnTo>
                      <a:pt x="1413" y="2216"/>
                    </a:lnTo>
                    <a:lnTo>
                      <a:pt x="1397" y="2206"/>
                    </a:lnTo>
                    <a:lnTo>
                      <a:pt x="1382" y="2192"/>
                    </a:lnTo>
                    <a:lnTo>
                      <a:pt x="1361" y="2183"/>
                    </a:lnTo>
                    <a:lnTo>
                      <a:pt x="1333" y="2178"/>
                    </a:lnTo>
                    <a:lnTo>
                      <a:pt x="1316" y="2169"/>
                    </a:lnTo>
                    <a:lnTo>
                      <a:pt x="1304" y="2143"/>
                    </a:lnTo>
                    <a:lnTo>
                      <a:pt x="1304" y="2143"/>
                    </a:lnTo>
                    <a:lnTo>
                      <a:pt x="1295" y="2100"/>
                    </a:lnTo>
                    <a:lnTo>
                      <a:pt x="1283" y="2072"/>
                    </a:lnTo>
                    <a:lnTo>
                      <a:pt x="1257" y="2039"/>
                    </a:lnTo>
                    <a:lnTo>
                      <a:pt x="1255" y="2034"/>
                    </a:lnTo>
                    <a:lnTo>
                      <a:pt x="1255" y="2034"/>
                    </a:lnTo>
                    <a:lnTo>
                      <a:pt x="1255" y="2029"/>
                    </a:lnTo>
                    <a:lnTo>
                      <a:pt x="1257" y="2010"/>
                    </a:lnTo>
                    <a:lnTo>
                      <a:pt x="1255" y="1996"/>
                    </a:lnTo>
                    <a:lnTo>
                      <a:pt x="1248" y="1984"/>
                    </a:lnTo>
                    <a:lnTo>
                      <a:pt x="1245" y="1972"/>
                    </a:lnTo>
                    <a:lnTo>
                      <a:pt x="1250" y="1961"/>
                    </a:lnTo>
                    <a:lnTo>
                      <a:pt x="1252" y="1946"/>
                    </a:lnTo>
                    <a:lnTo>
                      <a:pt x="1248" y="1930"/>
                    </a:lnTo>
                    <a:lnTo>
                      <a:pt x="1231" y="1909"/>
                    </a:lnTo>
                    <a:lnTo>
                      <a:pt x="1203" y="1887"/>
                    </a:lnTo>
                    <a:lnTo>
                      <a:pt x="1179" y="1859"/>
                    </a:lnTo>
                    <a:lnTo>
                      <a:pt x="1158" y="1819"/>
                    </a:lnTo>
                    <a:lnTo>
                      <a:pt x="1139" y="1790"/>
                    </a:lnTo>
                    <a:lnTo>
                      <a:pt x="1120" y="1776"/>
                    </a:lnTo>
                    <a:lnTo>
                      <a:pt x="1106" y="1757"/>
                    </a:lnTo>
                    <a:lnTo>
                      <a:pt x="1099" y="1734"/>
                    </a:lnTo>
                    <a:lnTo>
                      <a:pt x="1099" y="1722"/>
                    </a:lnTo>
                    <a:lnTo>
                      <a:pt x="1101" y="1719"/>
                    </a:lnTo>
                    <a:lnTo>
                      <a:pt x="1089" y="1693"/>
                    </a:lnTo>
                    <a:lnTo>
                      <a:pt x="1063" y="1648"/>
                    </a:lnTo>
                    <a:lnTo>
                      <a:pt x="1049" y="1615"/>
                    </a:lnTo>
                    <a:lnTo>
                      <a:pt x="1047" y="1594"/>
                    </a:lnTo>
                    <a:lnTo>
                      <a:pt x="1030" y="1570"/>
                    </a:lnTo>
                    <a:lnTo>
                      <a:pt x="999" y="1540"/>
                    </a:lnTo>
                    <a:lnTo>
                      <a:pt x="983" y="1521"/>
                    </a:lnTo>
                    <a:lnTo>
                      <a:pt x="981" y="1509"/>
                    </a:lnTo>
                    <a:lnTo>
                      <a:pt x="978" y="1509"/>
                    </a:lnTo>
                    <a:lnTo>
                      <a:pt x="933" y="1469"/>
                    </a:lnTo>
                    <a:lnTo>
                      <a:pt x="919" y="1445"/>
                    </a:lnTo>
                    <a:lnTo>
                      <a:pt x="910" y="1436"/>
                    </a:lnTo>
                    <a:lnTo>
                      <a:pt x="895" y="1436"/>
                    </a:lnTo>
                    <a:lnTo>
                      <a:pt x="891" y="1433"/>
                    </a:lnTo>
                    <a:lnTo>
                      <a:pt x="891" y="1429"/>
                    </a:lnTo>
                    <a:lnTo>
                      <a:pt x="886" y="1429"/>
                    </a:lnTo>
                    <a:lnTo>
                      <a:pt x="877" y="1433"/>
                    </a:lnTo>
                    <a:lnTo>
                      <a:pt x="851" y="1431"/>
                    </a:lnTo>
                    <a:lnTo>
                      <a:pt x="808" y="1426"/>
                    </a:lnTo>
                    <a:lnTo>
                      <a:pt x="775" y="1419"/>
                    </a:lnTo>
                    <a:lnTo>
                      <a:pt x="756" y="1407"/>
                    </a:lnTo>
                    <a:lnTo>
                      <a:pt x="744" y="1407"/>
                    </a:lnTo>
                    <a:lnTo>
                      <a:pt x="735" y="1419"/>
                    </a:lnTo>
                    <a:lnTo>
                      <a:pt x="718" y="1426"/>
                    </a:lnTo>
                    <a:lnTo>
                      <a:pt x="692" y="1429"/>
                    </a:lnTo>
                    <a:lnTo>
                      <a:pt x="669" y="1450"/>
                    </a:lnTo>
                    <a:lnTo>
                      <a:pt x="645" y="1490"/>
                    </a:lnTo>
                    <a:lnTo>
                      <a:pt x="635" y="1516"/>
                    </a:lnTo>
                    <a:lnTo>
                      <a:pt x="638" y="1528"/>
                    </a:lnTo>
                    <a:lnTo>
                      <a:pt x="631" y="1537"/>
                    </a:lnTo>
                    <a:lnTo>
                      <a:pt x="619" y="1542"/>
                    </a:lnTo>
                    <a:lnTo>
                      <a:pt x="605" y="1554"/>
                    </a:lnTo>
                    <a:lnTo>
                      <a:pt x="591" y="1573"/>
                    </a:lnTo>
                    <a:lnTo>
                      <a:pt x="576" y="1580"/>
                    </a:lnTo>
                    <a:lnTo>
                      <a:pt x="560" y="1578"/>
                    </a:lnTo>
                    <a:lnTo>
                      <a:pt x="529" y="1561"/>
                    </a:lnTo>
                    <a:lnTo>
                      <a:pt x="487" y="1528"/>
                    </a:lnTo>
                    <a:lnTo>
                      <a:pt x="453" y="1507"/>
                    </a:lnTo>
                    <a:lnTo>
                      <a:pt x="430" y="1497"/>
                    </a:lnTo>
                    <a:lnTo>
                      <a:pt x="409" y="1483"/>
                    </a:lnTo>
                    <a:lnTo>
                      <a:pt x="390" y="1462"/>
                    </a:lnTo>
                    <a:lnTo>
                      <a:pt x="373" y="1445"/>
                    </a:lnTo>
                    <a:lnTo>
                      <a:pt x="357" y="1438"/>
                    </a:lnTo>
                    <a:lnTo>
                      <a:pt x="340" y="1414"/>
                    </a:lnTo>
                    <a:lnTo>
                      <a:pt x="323" y="1374"/>
                    </a:lnTo>
                    <a:lnTo>
                      <a:pt x="314" y="1346"/>
                    </a:lnTo>
                    <a:lnTo>
                      <a:pt x="316" y="1315"/>
                    </a:lnTo>
                    <a:lnTo>
                      <a:pt x="295" y="1246"/>
                    </a:lnTo>
                    <a:lnTo>
                      <a:pt x="283" y="1216"/>
                    </a:lnTo>
                    <a:lnTo>
                      <a:pt x="274" y="1202"/>
                    </a:lnTo>
                    <a:lnTo>
                      <a:pt x="253" y="1183"/>
                    </a:lnTo>
                    <a:lnTo>
                      <a:pt x="222" y="1161"/>
                    </a:lnTo>
                    <a:lnTo>
                      <a:pt x="184" y="1121"/>
                    </a:lnTo>
                    <a:lnTo>
                      <a:pt x="134" y="1060"/>
                    </a:lnTo>
                    <a:lnTo>
                      <a:pt x="99" y="1022"/>
                    </a:lnTo>
                    <a:lnTo>
                      <a:pt x="80" y="1010"/>
                    </a:lnTo>
                    <a:lnTo>
                      <a:pt x="61" y="986"/>
                    </a:lnTo>
                    <a:lnTo>
                      <a:pt x="49" y="958"/>
                    </a:lnTo>
                    <a:lnTo>
                      <a:pt x="35" y="937"/>
                    </a:lnTo>
                    <a:lnTo>
                      <a:pt x="33" y="937"/>
                    </a:lnTo>
                    <a:lnTo>
                      <a:pt x="11" y="923"/>
                    </a:lnTo>
                    <a:lnTo>
                      <a:pt x="11" y="923"/>
                    </a:lnTo>
                    <a:lnTo>
                      <a:pt x="0" y="882"/>
                    </a:lnTo>
                    <a:lnTo>
                      <a:pt x="0" y="882"/>
                    </a:lnTo>
                    <a:lnTo>
                      <a:pt x="40" y="887"/>
                    </a:lnTo>
                    <a:lnTo>
                      <a:pt x="80" y="892"/>
                    </a:lnTo>
                    <a:lnTo>
                      <a:pt x="120" y="897"/>
                    </a:lnTo>
                    <a:lnTo>
                      <a:pt x="160" y="901"/>
                    </a:lnTo>
                    <a:lnTo>
                      <a:pt x="201" y="906"/>
                    </a:lnTo>
                    <a:lnTo>
                      <a:pt x="241" y="908"/>
                    </a:lnTo>
                    <a:lnTo>
                      <a:pt x="281" y="913"/>
                    </a:lnTo>
                    <a:lnTo>
                      <a:pt x="321" y="918"/>
                    </a:lnTo>
                    <a:lnTo>
                      <a:pt x="361" y="920"/>
                    </a:lnTo>
                    <a:lnTo>
                      <a:pt x="401" y="925"/>
                    </a:lnTo>
                    <a:lnTo>
                      <a:pt x="444" y="930"/>
                    </a:lnTo>
                    <a:lnTo>
                      <a:pt x="484" y="932"/>
                    </a:lnTo>
                    <a:lnTo>
                      <a:pt x="524" y="937"/>
                    </a:lnTo>
                    <a:lnTo>
                      <a:pt x="565" y="939"/>
                    </a:lnTo>
                    <a:lnTo>
                      <a:pt x="605" y="941"/>
                    </a:lnTo>
                    <a:lnTo>
                      <a:pt x="645" y="946"/>
                    </a:lnTo>
                    <a:lnTo>
                      <a:pt x="650" y="887"/>
                    </a:lnTo>
                    <a:lnTo>
                      <a:pt x="654" y="828"/>
                    </a:lnTo>
                    <a:lnTo>
                      <a:pt x="659" y="769"/>
                    </a:lnTo>
                    <a:lnTo>
                      <a:pt x="664" y="710"/>
                    </a:lnTo>
                    <a:lnTo>
                      <a:pt x="669" y="651"/>
                    </a:lnTo>
                    <a:lnTo>
                      <a:pt x="673" y="592"/>
                    </a:lnTo>
                    <a:lnTo>
                      <a:pt x="678" y="532"/>
                    </a:lnTo>
                    <a:lnTo>
                      <a:pt x="683" y="473"/>
                    </a:lnTo>
                    <a:lnTo>
                      <a:pt x="687" y="414"/>
                    </a:lnTo>
                    <a:lnTo>
                      <a:pt x="692" y="355"/>
                    </a:lnTo>
                    <a:lnTo>
                      <a:pt x="697" y="296"/>
                    </a:lnTo>
                    <a:lnTo>
                      <a:pt x="704" y="237"/>
                    </a:lnTo>
                    <a:lnTo>
                      <a:pt x="709" y="178"/>
                    </a:lnTo>
                    <a:lnTo>
                      <a:pt x="713" y="119"/>
                    </a:lnTo>
                    <a:lnTo>
                      <a:pt x="718" y="60"/>
                    </a:lnTo>
                    <a:lnTo>
                      <a:pt x="723" y="0"/>
                    </a:lnTo>
                    <a:lnTo>
                      <a:pt x="730" y="0"/>
                    </a:lnTo>
                    <a:lnTo>
                      <a:pt x="761" y="3"/>
                    </a:lnTo>
                    <a:lnTo>
                      <a:pt x="791" y="5"/>
                    </a:lnTo>
                    <a:lnTo>
                      <a:pt x="825" y="7"/>
                    </a:lnTo>
                    <a:lnTo>
                      <a:pt x="855" y="10"/>
                    </a:lnTo>
                    <a:lnTo>
                      <a:pt x="888" y="12"/>
                    </a:lnTo>
                    <a:lnTo>
                      <a:pt x="919" y="15"/>
                    </a:lnTo>
                    <a:lnTo>
                      <a:pt x="952" y="17"/>
                    </a:lnTo>
                    <a:lnTo>
                      <a:pt x="983" y="19"/>
                    </a:lnTo>
                    <a:lnTo>
                      <a:pt x="1016" y="22"/>
                    </a:lnTo>
                    <a:lnTo>
                      <a:pt x="1047" y="22"/>
                    </a:lnTo>
                    <a:lnTo>
                      <a:pt x="1077" y="24"/>
                    </a:lnTo>
                    <a:lnTo>
                      <a:pt x="1111" y="26"/>
                    </a:lnTo>
                    <a:lnTo>
                      <a:pt x="1141" y="26"/>
                    </a:lnTo>
                    <a:lnTo>
                      <a:pt x="1174" y="29"/>
                    </a:lnTo>
                    <a:lnTo>
                      <a:pt x="1205" y="31"/>
                    </a:lnTo>
                    <a:lnTo>
                      <a:pt x="1238" y="31"/>
                    </a:lnTo>
                    <a:lnTo>
                      <a:pt x="1236" y="57"/>
                    </a:lnTo>
                    <a:lnTo>
                      <a:pt x="1236" y="83"/>
                    </a:lnTo>
                    <a:lnTo>
                      <a:pt x="1233" y="107"/>
                    </a:lnTo>
                    <a:lnTo>
                      <a:pt x="1233" y="133"/>
                    </a:lnTo>
                    <a:lnTo>
                      <a:pt x="1231" y="159"/>
                    </a:lnTo>
                    <a:lnTo>
                      <a:pt x="1231" y="182"/>
                    </a:lnTo>
                    <a:lnTo>
                      <a:pt x="1231" y="208"/>
                    </a:lnTo>
                    <a:lnTo>
                      <a:pt x="1229" y="234"/>
                    </a:lnTo>
                    <a:lnTo>
                      <a:pt x="1229" y="258"/>
                    </a:lnTo>
                    <a:lnTo>
                      <a:pt x="1226" y="284"/>
                    </a:lnTo>
                    <a:lnTo>
                      <a:pt x="1226" y="308"/>
                    </a:lnTo>
                    <a:lnTo>
                      <a:pt x="1224" y="334"/>
                    </a:lnTo>
                    <a:lnTo>
                      <a:pt x="1224" y="360"/>
                    </a:lnTo>
                    <a:lnTo>
                      <a:pt x="1222" y="383"/>
                    </a:lnTo>
                    <a:lnTo>
                      <a:pt x="1222" y="409"/>
                    </a:lnTo>
                    <a:lnTo>
                      <a:pt x="1222" y="435"/>
                    </a:lnTo>
                    <a:lnTo>
                      <a:pt x="1231" y="438"/>
                    </a:lnTo>
                    <a:lnTo>
                      <a:pt x="1243" y="445"/>
                    </a:lnTo>
                    <a:lnTo>
                      <a:pt x="1274" y="473"/>
                    </a:lnTo>
                    <a:lnTo>
                      <a:pt x="1283" y="478"/>
                    </a:lnTo>
                    <a:lnTo>
                      <a:pt x="1300" y="476"/>
                    </a:lnTo>
                    <a:lnTo>
                      <a:pt x="1319" y="480"/>
                    </a:lnTo>
                    <a:lnTo>
                      <a:pt x="1323" y="480"/>
                    </a:lnTo>
                    <a:lnTo>
                      <a:pt x="1326" y="469"/>
                    </a:lnTo>
                    <a:lnTo>
                      <a:pt x="1328" y="466"/>
                    </a:lnTo>
                    <a:lnTo>
                      <a:pt x="1330" y="466"/>
                    </a:lnTo>
                    <a:lnTo>
                      <a:pt x="1347" y="478"/>
                    </a:lnTo>
                    <a:lnTo>
                      <a:pt x="1349" y="483"/>
                    </a:lnTo>
                    <a:lnTo>
                      <a:pt x="1359" y="497"/>
                    </a:lnTo>
                    <a:lnTo>
                      <a:pt x="1359" y="513"/>
                    </a:lnTo>
                    <a:lnTo>
                      <a:pt x="1364" y="518"/>
                    </a:lnTo>
                    <a:lnTo>
                      <a:pt x="1373" y="521"/>
                    </a:lnTo>
                    <a:lnTo>
                      <a:pt x="1397" y="521"/>
                    </a:lnTo>
                    <a:lnTo>
                      <a:pt x="1427" y="532"/>
                    </a:lnTo>
                    <a:lnTo>
                      <a:pt x="1439" y="535"/>
                    </a:lnTo>
                    <a:lnTo>
                      <a:pt x="1460" y="532"/>
                    </a:lnTo>
                    <a:lnTo>
                      <a:pt x="1479" y="549"/>
                    </a:lnTo>
                    <a:lnTo>
                      <a:pt x="1486" y="551"/>
                    </a:lnTo>
                    <a:lnTo>
                      <a:pt x="1494" y="549"/>
                    </a:lnTo>
                    <a:lnTo>
                      <a:pt x="1505" y="539"/>
                    </a:lnTo>
                    <a:lnTo>
                      <a:pt x="1529" y="539"/>
                    </a:lnTo>
                    <a:lnTo>
                      <a:pt x="1550" y="539"/>
                    </a:lnTo>
                    <a:lnTo>
                      <a:pt x="1550" y="551"/>
                    </a:lnTo>
                    <a:lnTo>
                      <a:pt x="1555" y="561"/>
                    </a:lnTo>
                    <a:lnTo>
                      <a:pt x="1572" y="570"/>
                    </a:lnTo>
                    <a:lnTo>
                      <a:pt x="1574" y="575"/>
                    </a:lnTo>
                    <a:lnTo>
                      <a:pt x="1574" y="592"/>
                    </a:lnTo>
                    <a:lnTo>
                      <a:pt x="1579" y="596"/>
                    </a:lnTo>
                    <a:lnTo>
                      <a:pt x="1586" y="596"/>
                    </a:lnTo>
                    <a:lnTo>
                      <a:pt x="1593" y="596"/>
                    </a:lnTo>
                    <a:lnTo>
                      <a:pt x="1602" y="592"/>
                    </a:lnTo>
                    <a:lnTo>
                      <a:pt x="1619" y="577"/>
                    </a:lnTo>
                    <a:lnTo>
                      <a:pt x="1626" y="573"/>
                    </a:lnTo>
                    <a:lnTo>
                      <a:pt x="1628" y="573"/>
                    </a:lnTo>
                    <a:lnTo>
                      <a:pt x="1633" y="573"/>
                    </a:lnTo>
                    <a:lnTo>
                      <a:pt x="1635" y="577"/>
                    </a:lnTo>
                    <a:lnTo>
                      <a:pt x="1640" y="589"/>
                    </a:lnTo>
                    <a:lnTo>
                      <a:pt x="1657" y="596"/>
                    </a:lnTo>
                    <a:lnTo>
                      <a:pt x="1666" y="606"/>
                    </a:lnTo>
                    <a:lnTo>
                      <a:pt x="1671" y="608"/>
                    </a:lnTo>
                    <a:lnTo>
                      <a:pt x="1678" y="606"/>
                    </a:lnTo>
                    <a:lnTo>
                      <a:pt x="1687" y="599"/>
                    </a:lnTo>
                    <a:lnTo>
                      <a:pt x="1694" y="601"/>
                    </a:lnTo>
                    <a:lnTo>
                      <a:pt x="1704" y="594"/>
                    </a:lnTo>
                    <a:lnTo>
                      <a:pt x="1706" y="596"/>
                    </a:lnTo>
                    <a:lnTo>
                      <a:pt x="1709" y="599"/>
                    </a:lnTo>
                    <a:lnTo>
                      <a:pt x="1706" y="613"/>
                    </a:lnTo>
                    <a:lnTo>
                      <a:pt x="1706" y="618"/>
                    </a:lnTo>
                    <a:lnTo>
                      <a:pt x="1711" y="625"/>
                    </a:lnTo>
                    <a:lnTo>
                      <a:pt x="1716" y="627"/>
                    </a:lnTo>
                    <a:lnTo>
                      <a:pt x="1720" y="629"/>
                    </a:lnTo>
                    <a:lnTo>
                      <a:pt x="1723" y="625"/>
                    </a:lnTo>
                    <a:lnTo>
                      <a:pt x="1730" y="608"/>
                    </a:lnTo>
                    <a:lnTo>
                      <a:pt x="1730" y="603"/>
                    </a:lnTo>
                    <a:lnTo>
                      <a:pt x="1737" y="601"/>
                    </a:lnTo>
                    <a:lnTo>
                      <a:pt x="1742" y="599"/>
                    </a:lnTo>
                    <a:lnTo>
                      <a:pt x="1744" y="587"/>
                    </a:lnTo>
                    <a:lnTo>
                      <a:pt x="1754" y="582"/>
                    </a:lnTo>
                    <a:lnTo>
                      <a:pt x="1756" y="582"/>
                    </a:lnTo>
                    <a:lnTo>
                      <a:pt x="1761" y="587"/>
                    </a:lnTo>
                    <a:lnTo>
                      <a:pt x="1768" y="599"/>
                    </a:lnTo>
                    <a:lnTo>
                      <a:pt x="1787" y="603"/>
                    </a:lnTo>
                    <a:lnTo>
                      <a:pt x="1791" y="603"/>
                    </a:lnTo>
                    <a:lnTo>
                      <a:pt x="1796" y="601"/>
                    </a:lnTo>
                    <a:lnTo>
                      <a:pt x="1803" y="594"/>
                    </a:lnTo>
                    <a:lnTo>
                      <a:pt x="1808" y="592"/>
                    </a:lnTo>
                    <a:lnTo>
                      <a:pt x="1810" y="594"/>
                    </a:lnTo>
                    <a:lnTo>
                      <a:pt x="1813" y="594"/>
                    </a:lnTo>
                    <a:lnTo>
                      <a:pt x="1813" y="606"/>
                    </a:lnTo>
                    <a:lnTo>
                      <a:pt x="1832" y="618"/>
                    </a:lnTo>
                    <a:lnTo>
                      <a:pt x="1846" y="620"/>
                    </a:lnTo>
                    <a:lnTo>
                      <a:pt x="1858" y="634"/>
                    </a:lnTo>
                    <a:lnTo>
                      <a:pt x="1862" y="634"/>
                    </a:lnTo>
                    <a:lnTo>
                      <a:pt x="1867" y="625"/>
                    </a:lnTo>
                    <a:lnTo>
                      <a:pt x="1881" y="622"/>
                    </a:lnTo>
                    <a:lnTo>
                      <a:pt x="1893" y="610"/>
                    </a:lnTo>
                    <a:lnTo>
                      <a:pt x="1926" y="599"/>
                    </a:lnTo>
                    <a:lnTo>
                      <a:pt x="1940" y="603"/>
                    </a:lnTo>
                    <a:lnTo>
                      <a:pt x="1954" y="601"/>
                    </a:lnTo>
                    <a:lnTo>
                      <a:pt x="1959" y="596"/>
                    </a:lnTo>
                    <a:lnTo>
                      <a:pt x="1983" y="589"/>
                    </a:lnTo>
                    <a:lnTo>
                      <a:pt x="1988" y="584"/>
                    </a:lnTo>
                    <a:lnTo>
                      <a:pt x="1995" y="589"/>
                    </a:lnTo>
                    <a:lnTo>
                      <a:pt x="1997" y="594"/>
                    </a:lnTo>
                    <a:lnTo>
                      <a:pt x="2002" y="596"/>
                    </a:lnTo>
                    <a:lnTo>
                      <a:pt x="2018" y="601"/>
                    </a:lnTo>
                    <a:lnTo>
                      <a:pt x="2028" y="601"/>
                    </a:lnTo>
                    <a:lnTo>
                      <a:pt x="2044" y="592"/>
                    </a:lnTo>
                    <a:lnTo>
                      <a:pt x="2051" y="582"/>
                    </a:lnTo>
                    <a:lnTo>
                      <a:pt x="2054" y="582"/>
                    </a:lnTo>
                    <a:lnTo>
                      <a:pt x="2068" y="587"/>
                    </a:lnTo>
                    <a:lnTo>
                      <a:pt x="2099" y="606"/>
                    </a:lnTo>
                    <a:lnTo>
                      <a:pt x="2115" y="622"/>
                    </a:lnTo>
                    <a:lnTo>
                      <a:pt x="2134" y="629"/>
                    </a:lnTo>
                    <a:lnTo>
                      <a:pt x="2144" y="636"/>
                    </a:lnTo>
                    <a:lnTo>
                      <a:pt x="2184" y="646"/>
                    </a:lnTo>
                    <a:close/>
                    <a:moveTo>
                      <a:pt x="2096" y="1599"/>
                    </a:moveTo>
                    <a:lnTo>
                      <a:pt x="2087" y="1601"/>
                    </a:lnTo>
                    <a:lnTo>
                      <a:pt x="2127" y="1568"/>
                    </a:lnTo>
                    <a:lnTo>
                      <a:pt x="2134" y="1559"/>
                    </a:lnTo>
                    <a:lnTo>
                      <a:pt x="2146" y="1559"/>
                    </a:lnTo>
                    <a:lnTo>
                      <a:pt x="2127" y="1578"/>
                    </a:lnTo>
                    <a:lnTo>
                      <a:pt x="2096" y="1599"/>
                    </a:lnTo>
                    <a:close/>
                    <a:moveTo>
                      <a:pt x="1772" y="1812"/>
                    </a:moveTo>
                    <a:lnTo>
                      <a:pt x="1765" y="1814"/>
                    </a:lnTo>
                    <a:lnTo>
                      <a:pt x="1772" y="1802"/>
                    </a:lnTo>
                    <a:lnTo>
                      <a:pt x="1787" y="1795"/>
                    </a:lnTo>
                    <a:lnTo>
                      <a:pt x="1817" y="1774"/>
                    </a:lnTo>
                    <a:lnTo>
                      <a:pt x="1832" y="1771"/>
                    </a:lnTo>
                    <a:lnTo>
                      <a:pt x="1836" y="1764"/>
                    </a:lnTo>
                    <a:lnTo>
                      <a:pt x="1841" y="1764"/>
                    </a:lnTo>
                    <a:lnTo>
                      <a:pt x="1839" y="1774"/>
                    </a:lnTo>
                    <a:lnTo>
                      <a:pt x="1813" y="1786"/>
                    </a:lnTo>
                    <a:lnTo>
                      <a:pt x="1772" y="1812"/>
                    </a:lnTo>
                    <a:close/>
                    <a:moveTo>
                      <a:pt x="1723" y="1866"/>
                    </a:moveTo>
                    <a:lnTo>
                      <a:pt x="1720" y="1866"/>
                    </a:lnTo>
                    <a:lnTo>
                      <a:pt x="1730" y="1847"/>
                    </a:lnTo>
                    <a:lnTo>
                      <a:pt x="1730" y="1842"/>
                    </a:lnTo>
                    <a:lnTo>
                      <a:pt x="1746" y="1819"/>
                    </a:lnTo>
                    <a:lnTo>
                      <a:pt x="1754" y="1816"/>
                    </a:lnTo>
                    <a:lnTo>
                      <a:pt x="1758" y="1826"/>
                    </a:lnTo>
                    <a:lnTo>
                      <a:pt x="1742" y="1840"/>
                    </a:lnTo>
                    <a:lnTo>
                      <a:pt x="1723" y="1866"/>
                    </a:lnTo>
                    <a:close/>
                    <a:moveTo>
                      <a:pt x="1657" y="1994"/>
                    </a:moveTo>
                    <a:lnTo>
                      <a:pt x="1652" y="2005"/>
                    </a:lnTo>
                    <a:lnTo>
                      <a:pt x="1654" y="1987"/>
                    </a:lnTo>
                    <a:lnTo>
                      <a:pt x="1668" y="1946"/>
                    </a:lnTo>
                    <a:lnTo>
                      <a:pt x="1702" y="1892"/>
                    </a:lnTo>
                    <a:lnTo>
                      <a:pt x="1716" y="1883"/>
                    </a:lnTo>
                    <a:lnTo>
                      <a:pt x="1678" y="1942"/>
                    </a:lnTo>
                    <a:lnTo>
                      <a:pt x="1657" y="1994"/>
                    </a:lnTo>
                    <a:close/>
                    <a:moveTo>
                      <a:pt x="1690" y="2237"/>
                    </a:moveTo>
                    <a:lnTo>
                      <a:pt x="1687" y="2249"/>
                    </a:lnTo>
                    <a:lnTo>
                      <a:pt x="1671" y="2202"/>
                    </a:lnTo>
                    <a:lnTo>
                      <a:pt x="1647" y="2095"/>
                    </a:lnTo>
                    <a:lnTo>
                      <a:pt x="1647" y="2036"/>
                    </a:lnTo>
                    <a:lnTo>
                      <a:pt x="1652" y="2015"/>
                    </a:lnTo>
                    <a:lnTo>
                      <a:pt x="1657" y="2100"/>
                    </a:lnTo>
                    <a:lnTo>
                      <a:pt x="1683" y="2209"/>
                    </a:lnTo>
                    <a:lnTo>
                      <a:pt x="1690" y="2237"/>
                    </a:lnTo>
                    <a:close/>
                  </a:path>
                </a:pathLst>
              </a:custGeom>
              <a:solidFill>
                <a:schemeClr val="accent2"/>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29" name="Freeform 87">
                <a:extLst>
                  <a:ext uri="{FF2B5EF4-FFF2-40B4-BE49-F238E27FC236}">
                    <a16:creationId xmlns:a16="http://schemas.microsoft.com/office/drawing/2014/main" id="{91A617E9-201C-A470-FF0B-F3BD3D9FDB18}"/>
                  </a:ext>
                </a:extLst>
              </p:cNvPr>
              <p:cNvSpPr>
                <a:spLocks/>
              </p:cNvSpPr>
              <p:nvPr/>
            </p:nvSpPr>
            <p:spPr bwMode="auto">
              <a:xfrm>
                <a:off x="1688" y="409"/>
                <a:ext cx="948" cy="1173"/>
              </a:xfrm>
              <a:custGeom>
                <a:avLst/>
                <a:gdLst>
                  <a:gd name="T0" fmla="*/ 664 w 948"/>
                  <a:gd name="T1" fmla="*/ 111 h 1173"/>
                  <a:gd name="T2" fmla="*/ 654 w 948"/>
                  <a:gd name="T3" fmla="*/ 163 h 1173"/>
                  <a:gd name="T4" fmla="*/ 647 w 948"/>
                  <a:gd name="T5" fmla="*/ 215 h 1173"/>
                  <a:gd name="T6" fmla="*/ 638 w 948"/>
                  <a:gd name="T7" fmla="*/ 267 h 1173"/>
                  <a:gd name="T8" fmla="*/ 673 w 948"/>
                  <a:gd name="T9" fmla="*/ 298 h 1173"/>
                  <a:gd name="T10" fmla="*/ 751 w 948"/>
                  <a:gd name="T11" fmla="*/ 312 h 1173"/>
                  <a:gd name="T12" fmla="*/ 829 w 948"/>
                  <a:gd name="T13" fmla="*/ 324 h 1173"/>
                  <a:gd name="T14" fmla="*/ 910 w 948"/>
                  <a:gd name="T15" fmla="*/ 336 h 1173"/>
                  <a:gd name="T16" fmla="*/ 940 w 948"/>
                  <a:gd name="T17" fmla="*/ 393 h 1173"/>
                  <a:gd name="T18" fmla="*/ 926 w 948"/>
                  <a:gd name="T19" fmla="*/ 497 h 1173"/>
                  <a:gd name="T20" fmla="*/ 912 w 948"/>
                  <a:gd name="T21" fmla="*/ 601 h 1173"/>
                  <a:gd name="T22" fmla="*/ 896 w 948"/>
                  <a:gd name="T23" fmla="*/ 705 h 1173"/>
                  <a:gd name="T24" fmla="*/ 881 w 948"/>
                  <a:gd name="T25" fmla="*/ 809 h 1173"/>
                  <a:gd name="T26" fmla="*/ 865 w 948"/>
                  <a:gd name="T27" fmla="*/ 913 h 1173"/>
                  <a:gd name="T28" fmla="*/ 851 w 948"/>
                  <a:gd name="T29" fmla="*/ 1017 h 1173"/>
                  <a:gd name="T30" fmla="*/ 836 w 948"/>
                  <a:gd name="T31" fmla="*/ 1121 h 1173"/>
                  <a:gd name="T32" fmla="*/ 777 w 948"/>
                  <a:gd name="T33" fmla="*/ 1166 h 1173"/>
                  <a:gd name="T34" fmla="*/ 673 w 948"/>
                  <a:gd name="T35" fmla="*/ 1149 h 1173"/>
                  <a:gd name="T36" fmla="*/ 569 w 948"/>
                  <a:gd name="T37" fmla="*/ 1133 h 1173"/>
                  <a:gd name="T38" fmla="*/ 465 w 948"/>
                  <a:gd name="T39" fmla="*/ 1116 h 1173"/>
                  <a:gd name="T40" fmla="*/ 361 w 948"/>
                  <a:gd name="T41" fmla="*/ 1100 h 1173"/>
                  <a:gd name="T42" fmla="*/ 257 w 948"/>
                  <a:gd name="T43" fmla="*/ 1081 h 1173"/>
                  <a:gd name="T44" fmla="*/ 153 w 948"/>
                  <a:gd name="T45" fmla="*/ 1059 h 1173"/>
                  <a:gd name="T46" fmla="*/ 52 w 948"/>
                  <a:gd name="T47" fmla="*/ 1040 h 1173"/>
                  <a:gd name="T48" fmla="*/ 4 w 948"/>
                  <a:gd name="T49" fmla="*/ 998 h 1173"/>
                  <a:gd name="T50" fmla="*/ 19 w 948"/>
                  <a:gd name="T51" fmla="*/ 934 h 1173"/>
                  <a:gd name="T52" fmla="*/ 30 w 948"/>
                  <a:gd name="T53" fmla="*/ 868 h 1173"/>
                  <a:gd name="T54" fmla="*/ 45 w 948"/>
                  <a:gd name="T55" fmla="*/ 804 h 1173"/>
                  <a:gd name="T56" fmla="*/ 56 w 948"/>
                  <a:gd name="T57" fmla="*/ 740 h 1173"/>
                  <a:gd name="T58" fmla="*/ 71 w 948"/>
                  <a:gd name="T59" fmla="*/ 676 h 1173"/>
                  <a:gd name="T60" fmla="*/ 82 w 948"/>
                  <a:gd name="T61" fmla="*/ 612 h 1173"/>
                  <a:gd name="T62" fmla="*/ 97 w 948"/>
                  <a:gd name="T63" fmla="*/ 546 h 1173"/>
                  <a:gd name="T64" fmla="*/ 108 w 948"/>
                  <a:gd name="T65" fmla="*/ 482 h 1173"/>
                  <a:gd name="T66" fmla="*/ 123 w 948"/>
                  <a:gd name="T67" fmla="*/ 419 h 1173"/>
                  <a:gd name="T68" fmla="*/ 134 w 948"/>
                  <a:gd name="T69" fmla="*/ 355 h 1173"/>
                  <a:gd name="T70" fmla="*/ 149 w 948"/>
                  <a:gd name="T71" fmla="*/ 289 h 1173"/>
                  <a:gd name="T72" fmla="*/ 160 w 948"/>
                  <a:gd name="T73" fmla="*/ 225 h 1173"/>
                  <a:gd name="T74" fmla="*/ 175 w 948"/>
                  <a:gd name="T75" fmla="*/ 161 h 1173"/>
                  <a:gd name="T76" fmla="*/ 186 w 948"/>
                  <a:gd name="T77" fmla="*/ 97 h 1173"/>
                  <a:gd name="T78" fmla="*/ 198 w 948"/>
                  <a:gd name="T79" fmla="*/ 31 h 1173"/>
                  <a:gd name="T80" fmla="*/ 234 w 948"/>
                  <a:gd name="T81" fmla="*/ 5 h 1173"/>
                  <a:gd name="T82" fmla="*/ 293 w 948"/>
                  <a:gd name="T83" fmla="*/ 17 h 1173"/>
                  <a:gd name="T84" fmla="*/ 350 w 948"/>
                  <a:gd name="T85" fmla="*/ 28 h 1173"/>
                  <a:gd name="T86" fmla="*/ 409 w 948"/>
                  <a:gd name="T87" fmla="*/ 38 h 1173"/>
                  <a:gd name="T88" fmla="*/ 465 w 948"/>
                  <a:gd name="T89" fmla="*/ 50 h 1173"/>
                  <a:gd name="T90" fmla="*/ 522 w 948"/>
                  <a:gd name="T91" fmla="*/ 59 h 1173"/>
                  <a:gd name="T92" fmla="*/ 581 w 948"/>
                  <a:gd name="T93" fmla="*/ 71 h 1173"/>
                  <a:gd name="T94" fmla="*/ 638 w 948"/>
                  <a:gd name="T95" fmla="*/ 80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8" h="1173">
                    <a:moveTo>
                      <a:pt x="669" y="85"/>
                    </a:moveTo>
                    <a:lnTo>
                      <a:pt x="664" y="111"/>
                    </a:lnTo>
                    <a:lnTo>
                      <a:pt x="659" y="137"/>
                    </a:lnTo>
                    <a:lnTo>
                      <a:pt x="654" y="163"/>
                    </a:lnTo>
                    <a:lnTo>
                      <a:pt x="650" y="189"/>
                    </a:lnTo>
                    <a:lnTo>
                      <a:pt x="647" y="215"/>
                    </a:lnTo>
                    <a:lnTo>
                      <a:pt x="643" y="241"/>
                    </a:lnTo>
                    <a:lnTo>
                      <a:pt x="638" y="267"/>
                    </a:lnTo>
                    <a:lnTo>
                      <a:pt x="633" y="293"/>
                    </a:lnTo>
                    <a:lnTo>
                      <a:pt x="673" y="298"/>
                    </a:lnTo>
                    <a:lnTo>
                      <a:pt x="711" y="305"/>
                    </a:lnTo>
                    <a:lnTo>
                      <a:pt x="751" y="312"/>
                    </a:lnTo>
                    <a:lnTo>
                      <a:pt x="792" y="317"/>
                    </a:lnTo>
                    <a:lnTo>
                      <a:pt x="829" y="324"/>
                    </a:lnTo>
                    <a:lnTo>
                      <a:pt x="870" y="329"/>
                    </a:lnTo>
                    <a:lnTo>
                      <a:pt x="910" y="336"/>
                    </a:lnTo>
                    <a:lnTo>
                      <a:pt x="948" y="341"/>
                    </a:lnTo>
                    <a:lnTo>
                      <a:pt x="940" y="393"/>
                    </a:lnTo>
                    <a:lnTo>
                      <a:pt x="933" y="445"/>
                    </a:lnTo>
                    <a:lnTo>
                      <a:pt x="926" y="497"/>
                    </a:lnTo>
                    <a:lnTo>
                      <a:pt x="919" y="549"/>
                    </a:lnTo>
                    <a:lnTo>
                      <a:pt x="912" y="601"/>
                    </a:lnTo>
                    <a:lnTo>
                      <a:pt x="903" y="653"/>
                    </a:lnTo>
                    <a:lnTo>
                      <a:pt x="896" y="705"/>
                    </a:lnTo>
                    <a:lnTo>
                      <a:pt x="888" y="757"/>
                    </a:lnTo>
                    <a:lnTo>
                      <a:pt x="881" y="809"/>
                    </a:lnTo>
                    <a:lnTo>
                      <a:pt x="874" y="861"/>
                    </a:lnTo>
                    <a:lnTo>
                      <a:pt x="865" y="913"/>
                    </a:lnTo>
                    <a:lnTo>
                      <a:pt x="858" y="965"/>
                    </a:lnTo>
                    <a:lnTo>
                      <a:pt x="851" y="1017"/>
                    </a:lnTo>
                    <a:lnTo>
                      <a:pt x="844" y="1069"/>
                    </a:lnTo>
                    <a:lnTo>
                      <a:pt x="836" y="1121"/>
                    </a:lnTo>
                    <a:lnTo>
                      <a:pt x="829" y="1173"/>
                    </a:lnTo>
                    <a:lnTo>
                      <a:pt x="777" y="1166"/>
                    </a:lnTo>
                    <a:lnTo>
                      <a:pt x="725" y="1159"/>
                    </a:lnTo>
                    <a:lnTo>
                      <a:pt x="673" y="1149"/>
                    </a:lnTo>
                    <a:lnTo>
                      <a:pt x="621" y="1142"/>
                    </a:lnTo>
                    <a:lnTo>
                      <a:pt x="569" y="1133"/>
                    </a:lnTo>
                    <a:lnTo>
                      <a:pt x="517" y="1126"/>
                    </a:lnTo>
                    <a:lnTo>
                      <a:pt x="465" y="1116"/>
                    </a:lnTo>
                    <a:lnTo>
                      <a:pt x="413" y="1107"/>
                    </a:lnTo>
                    <a:lnTo>
                      <a:pt x="361" y="1100"/>
                    </a:lnTo>
                    <a:lnTo>
                      <a:pt x="309" y="1090"/>
                    </a:lnTo>
                    <a:lnTo>
                      <a:pt x="257" y="1081"/>
                    </a:lnTo>
                    <a:lnTo>
                      <a:pt x="205" y="1071"/>
                    </a:lnTo>
                    <a:lnTo>
                      <a:pt x="153" y="1059"/>
                    </a:lnTo>
                    <a:lnTo>
                      <a:pt x="101" y="1050"/>
                    </a:lnTo>
                    <a:lnTo>
                      <a:pt x="52" y="1040"/>
                    </a:lnTo>
                    <a:lnTo>
                      <a:pt x="0" y="1029"/>
                    </a:lnTo>
                    <a:lnTo>
                      <a:pt x="4" y="998"/>
                    </a:lnTo>
                    <a:lnTo>
                      <a:pt x="12" y="965"/>
                    </a:lnTo>
                    <a:lnTo>
                      <a:pt x="19" y="934"/>
                    </a:lnTo>
                    <a:lnTo>
                      <a:pt x="26" y="901"/>
                    </a:lnTo>
                    <a:lnTo>
                      <a:pt x="30" y="868"/>
                    </a:lnTo>
                    <a:lnTo>
                      <a:pt x="38" y="837"/>
                    </a:lnTo>
                    <a:lnTo>
                      <a:pt x="45" y="804"/>
                    </a:lnTo>
                    <a:lnTo>
                      <a:pt x="52" y="773"/>
                    </a:lnTo>
                    <a:lnTo>
                      <a:pt x="56" y="740"/>
                    </a:lnTo>
                    <a:lnTo>
                      <a:pt x="64" y="707"/>
                    </a:lnTo>
                    <a:lnTo>
                      <a:pt x="71" y="676"/>
                    </a:lnTo>
                    <a:lnTo>
                      <a:pt x="75" y="643"/>
                    </a:lnTo>
                    <a:lnTo>
                      <a:pt x="82" y="612"/>
                    </a:lnTo>
                    <a:lnTo>
                      <a:pt x="90" y="579"/>
                    </a:lnTo>
                    <a:lnTo>
                      <a:pt x="97" y="546"/>
                    </a:lnTo>
                    <a:lnTo>
                      <a:pt x="101" y="516"/>
                    </a:lnTo>
                    <a:lnTo>
                      <a:pt x="108" y="482"/>
                    </a:lnTo>
                    <a:lnTo>
                      <a:pt x="116" y="452"/>
                    </a:lnTo>
                    <a:lnTo>
                      <a:pt x="123" y="419"/>
                    </a:lnTo>
                    <a:lnTo>
                      <a:pt x="127" y="385"/>
                    </a:lnTo>
                    <a:lnTo>
                      <a:pt x="134" y="355"/>
                    </a:lnTo>
                    <a:lnTo>
                      <a:pt x="142" y="322"/>
                    </a:lnTo>
                    <a:lnTo>
                      <a:pt x="149" y="289"/>
                    </a:lnTo>
                    <a:lnTo>
                      <a:pt x="153" y="258"/>
                    </a:lnTo>
                    <a:lnTo>
                      <a:pt x="160" y="225"/>
                    </a:lnTo>
                    <a:lnTo>
                      <a:pt x="168" y="194"/>
                    </a:lnTo>
                    <a:lnTo>
                      <a:pt x="175" y="161"/>
                    </a:lnTo>
                    <a:lnTo>
                      <a:pt x="179" y="128"/>
                    </a:lnTo>
                    <a:lnTo>
                      <a:pt x="186" y="97"/>
                    </a:lnTo>
                    <a:lnTo>
                      <a:pt x="194" y="64"/>
                    </a:lnTo>
                    <a:lnTo>
                      <a:pt x="198" y="31"/>
                    </a:lnTo>
                    <a:lnTo>
                      <a:pt x="205" y="0"/>
                    </a:lnTo>
                    <a:lnTo>
                      <a:pt x="234" y="5"/>
                    </a:lnTo>
                    <a:lnTo>
                      <a:pt x="264" y="12"/>
                    </a:lnTo>
                    <a:lnTo>
                      <a:pt x="293" y="17"/>
                    </a:lnTo>
                    <a:lnTo>
                      <a:pt x="321" y="21"/>
                    </a:lnTo>
                    <a:lnTo>
                      <a:pt x="350" y="28"/>
                    </a:lnTo>
                    <a:lnTo>
                      <a:pt x="378" y="33"/>
                    </a:lnTo>
                    <a:lnTo>
                      <a:pt x="409" y="38"/>
                    </a:lnTo>
                    <a:lnTo>
                      <a:pt x="437" y="45"/>
                    </a:lnTo>
                    <a:lnTo>
                      <a:pt x="465" y="50"/>
                    </a:lnTo>
                    <a:lnTo>
                      <a:pt x="494" y="54"/>
                    </a:lnTo>
                    <a:lnTo>
                      <a:pt x="522" y="59"/>
                    </a:lnTo>
                    <a:lnTo>
                      <a:pt x="553" y="64"/>
                    </a:lnTo>
                    <a:lnTo>
                      <a:pt x="581" y="71"/>
                    </a:lnTo>
                    <a:lnTo>
                      <a:pt x="610" y="76"/>
                    </a:lnTo>
                    <a:lnTo>
                      <a:pt x="638" y="80"/>
                    </a:lnTo>
                    <a:lnTo>
                      <a:pt x="669" y="85"/>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30" name="Freeform 88">
                <a:extLst>
                  <a:ext uri="{FF2B5EF4-FFF2-40B4-BE49-F238E27FC236}">
                    <a16:creationId xmlns:a16="http://schemas.microsoft.com/office/drawing/2014/main" id="{8E0B6F0E-DABA-5C6C-C691-F5C93028603A}"/>
                  </a:ext>
                </a:extLst>
              </p:cNvPr>
              <p:cNvSpPr>
                <a:spLocks noEditPoints="1"/>
              </p:cNvSpPr>
              <p:nvPr/>
            </p:nvSpPr>
            <p:spPr bwMode="auto">
              <a:xfrm>
                <a:off x="6791" y="946"/>
                <a:ext cx="1340" cy="735"/>
              </a:xfrm>
              <a:custGeom>
                <a:avLst/>
                <a:gdLst>
                  <a:gd name="T0" fmla="*/ 924 w 1340"/>
                  <a:gd name="T1" fmla="*/ 21 h 735"/>
                  <a:gd name="T2" fmla="*/ 960 w 1340"/>
                  <a:gd name="T3" fmla="*/ 49 h 735"/>
                  <a:gd name="T4" fmla="*/ 1005 w 1340"/>
                  <a:gd name="T5" fmla="*/ 68 h 735"/>
                  <a:gd name="T6" fmla="*/ 998 w 1340"/>
                  <a:gd name="T7" fmla="*/ 123 h 735"/>
                  <a:gd name="T8" fmla="*/ 993 w 1340"/>
                  <a:gd name="T9" fmla="*/ 191 h 735"/>
                  <a:gd name="T10" fmla="*/ 1059 w 1340"/>
                  <a:gd name="T11" fmla="*/ 213 h 735"/>
                  <a:gd name="T12" fmla="*/ 1161 w 1340"/>
                  <a:gd name="T13" fmla="*/ 241 h 735"/>
                  <a:gd name="T14" fmla="*/ 1180 w 1340"/>
                  <a:gd name="T15" fmla="*/ 288 h 735"/>
                  <a:gd name="T16" fmla="*/ 1090 w 1340"/>
                  <a:gd name="T17" fmla="*/ 260 h 735"/>
                  <a:gd name="T18" fmla="*/ 1028 w 1340"/>
                  <a:gd name="T19" fmla="*/ 224 h 735"/>
                  <a:gd name="T20" fmla="*/ 1125 w 1340"/>
                  <a:gd name="T21" fmla="*/ 293 h 735"/>
                  <a:gd name="T22" fmla="*/ 1177 w 1340"/>
                  <a:gd name="T23" fmla="*/ 328 h 735"/>
                  <a:gd name="T24" fmla="*/ 1177 w 1340"/>
                  <a:gd name="T25" fmla="*/ 359 h 735"/>
                  <a:gd name="T26" fmla="*/ 1158 w 1340"/>
                  <a:gd name="T27" fmla="*/ 380 h 735"/>
                  <a:gd name="T28" fmla="*/ 1147 w 1340"/>
                  <a:gd name="T29" fmla="*/ 380 h 735"/>
                  <a:gd name="T30" fmla="*/ 1208 w 1340"/>
                  <a:gd name="T31" fmla="*/ 414 h 735"/>
                  <a:gd name="T32" fmla="*/ 1184 w 1340"/>
                  <a:gd name="T33" fmla="*/ 435 h 735"/>
                  <a:gd name="T34" fmla="*/ 1137 w 1340"/>
                  <a:gd name="T35" fmla="*/ 407 h 735"/>
                  <a:gd name="T36" fmla="*/ 1052 w 1340"/>
                  <a:gd name="T37" fmla="*/ 407 h 735"/>
                  <a:gd name="T38" fmla="*/ 1144 w 1340"/>
                  <a:gd name="T39" fmla="*/ 414 h 735"/>
                  <a:gd name="T40" fmla="*/ 1201 w 1340"/>
                  <a:gd name="T41" fmla="*/ 461 h 735"/>
                  <a:gd name="T42" fmla="*/ 1274 w 1340"/>
                  <a:gd name="T43" fmla="*/ 451 h 735"/>
                  <a:gd name="T44" fmla="*/ 1300 w 1340"/>
                  <a:gd name="T45" fmla="*/ 513 h 735"/>
                  <a:gd name="T46" fmla="*/ 1125 w 1340"/>
                  <a:gd name="T47" fmla="*/ 548 h 735"/>
                  <a:gd name="T48" fmla="*/ 887 w 1340"/>
                  <a:gd name="T49" fmla="*/ 596 h 735"/>
                  <a:gd name="T50" fmla="*/ 643 w 1340"/>
                  <a:gd name="T51" fmla="*/ 638 h 735"/>
                  <a:gd name="T52" fmla="*/ 402 w 1340"/>
                  <a:gd name="T53" fmla="*/ 678 h 735"/>
                  <a:gd name="T54" fmla="*/ 296 w 1340"/>
                  <a:gd name="T55" fmla="*/ 690 h 735"/>
                  <a:gd name="T56" fmla="*/ 177 w 1340"/>
                  <a:gd name="T57" fmla="*/ 712 h 735"/>
                  <a:gd name="T58" fmla="*/ 17 w 1340"/>
                  <a:gd name="T59" fmla="*/ 723 h 735"/>
                  <a:gd name="T60" fmla="*/ 121 w 1340"/>
                  <a:gd name="T61" fmla="*/ 655 h 735"/>
                  <a:gd name="T62" fmla="*/ 149 w 1340"/>
                  <a:gd name="T63" fmla="*/ 603 h 735"/>
                  <a:gd name="T64" fmla="*/ 258 w 1340"/>
                  <a:gd name="T65" fmla="*/ 506 h 735"/>
                  <a:gd name="T66" fmla="*/ 277 w 1340"/>
                  <a:gd name="T67" fmla="*/ 541 h 735"/>
                  <a:gd name="T68" fmla="*/ 329 w 1340"/>
                  <a:gd name="T69" fmla="*/ 560 h 735"/>
                  <a:gd name="T70" fmla="*/ 364 w 1340"/>
                  <a:gd name="T71" fmla="*/ 527 h 735"/>
                  <a:gd name="T72" fmla="*/ 433 w 1340"/>
                  <a:gd name="T73" fmla="*/ 522 h 735"/>
                  <a:gd name="T74" fmla="*/ 442 w 1340"/>
                  <a:gd name="T75" fmla="*/ 496 h 735"/>
                  <a:gd name="T76" fmla="*/ 466 w 1340"/>
                  <a:gd name="T77" fmla="*/ 496 h 735"/>
                  <a:gd name="T78" fmla="*/ 523 w 1340"/>
                  <a:gd name="T79" fmla="*/ 470 h 735"/>
                  <a:gd name="T80" fmla="*/ 534 w 1340"/>
                  <a:gd name="T81" fmla="*/ 433 h 735"/>
                  <a:gd name="T82" fmla="*/ 567 w 1340"/>
                  <a:gd name="T83" fmla="*/ 340 h 735"/>
                  <a:gd name="T84" fmla="*/ 596 w 1340"/>
                  <a:gd name="T85" fmla="*/ 260 h 735"/>
                  <a:gd name="T86" fmla="*/ 615 w 1340"/>
                  <a:gd name="T87" fmla="*/ 222 h 735"/>
                  <a:gd name="T88" fmla="*/ 660 w 1340"/>
                  <a:gd name="T89" fmla="*/ 236 h 735"/>
                  <a:gd name="T90" fmla="*/ 683 w 1340"/>
                  <a:gd name="T91" fmla="*/ 184 h 735"/>
                  <a:gd name="T92" fmla="*/ 716 w 1340"/>
                  <a:gd name="T93" fmla="*/ 149 h 735"/>
                  <a:gd name="T94" fmla="*/ 740 w 1340"/>
                  <a:gd name="T95" fmla="*/ 120 h 735"/>
                  <a:gd name="T96" fmla="*/ 778 w 1340"/>
                  <a:gd name="T97" fmla="*/ 26 h 735"/>
                  <a:gd name="T98" fmla="*/ 818 w 1340"/>
                  <a:gd name="T99" fmla="*/ 21 h 735"/>
                  <a:gd name="T100" fmla="*/ 879 w 1340"/>
                  <a:gd name="T101" fmla="*/ 2 h 735"/>
                  <a:gd name="T102" fmla="*/ 1329 w 1340"/>
                  <a:gd name="T103" fmla="*/ 217 h 735"/>
                  <a:gd name="T104" fmla="*/ 1277 w 1340"/>
                  <a:gd name="T105" fmla="*/ 206 h 735"/>
                  <a:gd name="T106" fmla="*/ 1303 w 1340"/>
                  <a:gd name="T107" fmla="*/ 295 h 735"/>
                  <a:gd name="T108" fmla="*/ 1272 w 1340"/>
                  <a:gd name="T109" fmla="*/ 331 h 735"/>
                  <a:gd name="T110" fmla="*/ 1251 w 1340"/>
                  <a:gd name="T111" fmla="*/ 371 h 735"/>
                  <a:gd name="T112" fmla="*/ 1269 w 1340"/>
                  <a:gd name="T113" fmla="*/ 24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0" h="735">
                    <a:moveTo>
                      <a:pt x="879" y="2"/>
                    </a:moveTo>
                    <a:lnTo>
                      <a:pt x="889" y="9"/>
                    </a:lnTo>
                    <a:lnTo>
                      <a:pt x="913" y="14"/>
                    </a:lnTo>
                    <a:lnTo>
                      <a:pt x="924" y="21"/>
                    </a:lnTo>
                    <a:lnTo>
                      <a:pt x="922" y="31"/>
                    </a:lnTo>
                    <a:lnTo>
                      <a:pt x="922" y="38"/>
                    </a:lnTo>
                    <a:lnTo>
                      <a:pt x="927" y="42"/>
                    </a:lnTo>
                    <a:lnTo>
                      <a:pt x="960" y="49"/>
                    </a:lnTo>
                    <a:lnTo>
                      <a:pt x="981" y="61"/>
                    </a:lnTo>
                    <a:lnTo>
                      <a:pt x="993" y="66"/>
                    </a:lnTo>
                    <a:lnTo>
                      <a:pt x="995" y="66"/>
                    </a:lnTo>
                    <a:lnTo>
                      <a:pt x="1005" y="68"/>
                    </a:lnTo>
                    <a:lnTo>
                      <a:pt x="1009" y="73"/>
                    </a:lnTo>
                    <a:lnTo>
                      <a:pt x="1012" y="97"/>
                    </a:lnTo>
                    <a:lnTo>
                      <a:pt x="1007" y="111"/>
                    </a:lnTo>
                    <a:lnTo>
                      <a:pt x="998" y="123"/>
                    </a:lnTo>
                    <a:lnTo>
                      <a:pt x="986" y="142"/>
                    </a:lnTo>
                    <a:lnTo>
                      <a:pt x="983" y="156"/>
                    </a:lnTo>
                    <a:lnTo>
                      <a:pt x="986" y="184"/>
                    </a:lnTo>
                    <a:lnTo>
                      <a:pt x="993" y="191"/>
                    </a:lnTo>
                    <a:lnTo>
                      <a:pt x="1000" y="194"/>
                    </a:lnTo>
                    <a:lnTo>
                      <a:pt x="1019" y="182"/>
                    </a:lnTo>
                    <a:lnTo>
                      <a:pt x="1031" y="184"/>
                    </a:lnTo>
                    <a:lnTo>
                      <a:pt x="1059" y="213"/>
                    </a:lnTo>
                    <a:lnTo>
                      <a:pt x="1104" y="215"/>
                    </a:lnTo>
                    <a:lnTo>
                      <a:pt x="1123" y="220"/>
                    </a:lnTo>
                    <a:lnTo>
                      <a:pt x="1139" y="234"/>
                    </a:lnTo>
                    <a:lnTo>
                      <a:pt x="1161" y="241"/>
                    </a:lnTo>
                    <a:lnTo>
                      <a:pt x="1177" y="250"/>
                    </a:lnTo>
                    <a:lnTo>
                      <a:pt x="1180" y="260"/>
                    </a:lnTo>
                    <a:lnTo>
                      <a:pt x="1177" y="272"/>
                    </a:lnTo>
                    <a:lnTo>
                      <a:pt x="1180" y="288"/>
                    </a:lnTo>
                    <a:lnTo>
                      <a:pt x="1175" y="298"/>
                    </a:lnTo>
                    <a:lnTo>
                      <a:pt x="1161" y="302"/>
                    </a:lnTo>
                    <a:lnTo>
                      <a:pt x="1149" y="302"/>
                    </a:lnTo>
                    <a:lnTo>
                      <a:pt x="1090" y="260"/>
                    </a:lnTo>
                    <a:lnTo>
                      <a:pt x="1083" y="258"/>
                    </a:lnTo>
                    <a:lnTo>
                      <a:pt x="1059" y="234"/>
                    </a:lnTo>
                    <a:lnTo>
                      <a:pt x="1035" y="224"/>
                    </a:lnTo>
                    <a:lnTo>
                      <a:pt x="1028" y="224"/>
                    </a:lnTo>
                    <a:lnTo>
                      <a:pt x="1064" y="246"/>
                    </a:lnTo>
                    <a:lnTo>
                      <a:pt x="1080" y="262"/>
                    </a:lnTo>
                    <a:lnTo>
                      <a:pt x="1109" y="284"/>
                    </a:lnTo>
                    <a:lnTo>
                      <a:pt x="1125" y="293"/>
                    </a:lnTo>
                    <a:lnTo>
                      <a:pt x="1142" y="307"/>
                    </a:lnTo>
                    <a:lnTo>
                      <a:pt x="1154" y="314"/>
                    </a:lnTo>
                    <a:lnTo>
                      <a:pt x="1187" y="319"/>
                    </a:lnTo>
                    <a:lnTo>
                      <a:pt x="1177" y="328"/>
                    </a:lnTo>
                    <a:lnTo>
                      <a:pt x="1196" y="333"/>
                    </a:lnTo>
                    <a:lnTo>
                      <a:pt x="1201" y="345"/>
                    </a:lnTo>
                    <a:lnTo>
                      <a:pt x="1203" y="362"/>
                    </a:lnTo>
                    <a:lnTo>
                      <a:pt x="1177" y="359"/>
                    </a:lnTo>
                    <a:lnTo>
                      <a:pt x="1180" y="371"/>
                    </a:lnTo>
                    <a:lnTo>
                      <a:pt x="1184" y="378"/>
                    </a:lnTo>
                    <a:lnTo>
                      <a:pt x="1175" y="385"/>
                    </a:lnTo>
                    <a:lnTo>
                      <a:pt x="1158" y="380"/>
                    </a:lnTo>
                    <a:lnTo>
                      <a:pt x="1113" y="347"/>
                    </a:lnTo>
                    <a:lnTo>
                      <a:pt x="1116" y="354"/>
                    </a:lnTo>
                    <a:lnTo>
                      <a:pt x="1121" y="359"/>
                    </a:lnTo>
                    <a:lnTo>
                      <a:pt x="1147" y="380"/>
                    </a:lnTo>
                    <a:lnTo>
                      <a:pt x="1168" y="392"/>
                    </a:lnTo>
                    <a:lnTo>
                      <a:pt x="1187" y="395"/>
                    </a:lnTo>
                    <a:lnTo>
                      <a:pt x="1201" y="407"/>
                    </a:lnTo>
                    <a:lnTo>
                      <a:pt x="1208" y="414"/>
                    </a:lnTo>
                    <a:lnTo>
                      <a:pt x="1213" y="425"/>
                    </a:lnTo>
                    <a:lnTo>
                      <a:pt x="1206" y="435"/>
                    </a:lnTo>
                    <a:lnTo>
                      <a:pt x="1196" y="442"/>
                    </a:lnTo>
                    <a:lnTo>
                      <a:pt x="1184" y="435"/>
                    </a:lnTo>
                    <a:lnTo>
                      <a:pt x="1175" y="428"/>
                    </a:lnTo>
                    <a:lnTo>
                      <a:pt x="1156" y="418"/>
                    </a:lnTo>
                    <a:lnTo>
                      <a:pt x="1149" y="402"/>
                    </a:lnTo>
                    <a:lnTo>
                      <a:pt x="1137" y="407"/>
                    </a:lnTo>
                    <a:lnTo>
                      <a:pt x="1083" y="395"/>
                    </a:lnTo>
                    <a:lnTo>
                      <a:pt x="1040" y="402"/>
                    </a:lnTo>
                    <a:lnTo>
                      <a:pt x="1045" y="404"/>
                    </a:lnTo>
                    <a:lnTo>
                      <a:pt x="1052" y="407"/>
                    </a:lnTo>
                    <a:lnTo>
                      <a:pt x="1085" y="404"/>
                    </a:lnTo>
                    <a:lnTo>
                      <a:pt x="1099" y="411"/>
                    </a:lnTo>
                    <a:lnTo>
                      <a:pt x="1128" y="414"/>
                    </a:lnTo>
                    <a:lnTo>
                      <a:pt x="1144" y="414"/>
                    </a:lnTo>
                    <a:lnTo>
                      <a:pt x="1156" y="437"/>
                    </a:lnTo>
                    <a:lnTo>
                      <a:pt x="1180" y="451"/>
                    </a:lnTo>
                    <a:lnTo>
                      <a:pt x="1187" y="463"/>
                    </a:lnTo>
                    <a:lnTo>
                      <a:pt x="1201" y="461"/>
                    </a:lnTo>
                    <a:lnTo>
                      <a:pt x="1225" y="444"/>
                    </a:lnTo>
                    <a:lnTo>
                      <a:pt x="1241" y="444"/>
                    </a:lnTo>
                    <a:lnTo>
                      <a:pt x="1265" y="442"/>
                    </a:lnTo>
                    <a:lnTo>
                      <a:pt x="1274" y="451"/>
                    </a:lnTo>
                    <a:lnTo>
                      <a:pt x="1281" y="470"/>
                    </a:lnTo>
                    <a:lnTo>
                      <a:pt x="1295" y="492"/>
                    </a:lnTo>
                    <a:lnTo>
                      <a:pt x="1305" y="511"/>
                    </a:lnTo>
                    <a:lnTo>
                      <a:pt x="1300" y="513"/>
                    </a:lnTo>
                    <a:lnTo>
                      <a:pt x="1288" y="515"/>
                    </a:lnTo>
                    <a:lnTo>
                      <a:pt x="1246" y="525"/>
                    </a:lnTo>
                    <a:lnTo>
                      <a:pt x="1187" y="537"/>
                    </a:lnTo>
                    <a:lnTo>
                      <a:pt x="1125" y="548"/>
                    </a:lnTo>
                    <a:lnTo>
                      <a:pt x="1066" y="563"/>
                    </a:lnTo>
                    <a:lnTo>
                      <a:pt x="1007" y="574"/>
                    </a:lnTo>
                    <a:lnTo>
                      <a:pt x="946" y="584"/>
                    </a:lnTo>
                    <a:lnTo>
                      <a:pt x="887" y="596"/>
                    </a:lnTo>
                    <a:lnTo>
                      <a:pt x="825" y="607"/>
                    </a:lnTo>
                    <a:lnTo>
                      <a:pt x="764" y="619"/>
                    </a:lnTo>
                    <a:lnTo>
                      <a:pt x="705" y="629"/>
                    </a:lnTo>
                    <a:lnTo>
                      <a:pt x="643" y="638"/>
                    </a:lnTo>
                    <a:lnTo>
                      <a:pt x="584" y="650"/>
                    </a:lnTo>
                    <a:lnTo>
                      <a:pt x="523" y="660"/>
                    </a:lnTo>
                    <a:lnTo>
                      <a:pt x="461" y="669"/>
                    </a:lnTo>
                    <a:lnTo>
                      <a:pt x="402" y="678"/>
                    </a:lnTo>
                    <a:lnTo>
                      <a:pt x="341" y="688"/>
                    </a:lnTo>
                    <a:lnTo>
                      <a:pt x="338" y="686"/>
                    </a:lnTo>
                    <a:lnTo>
                      <a:pt x="315" y="688"/>
                    </a:lnTo>
                    <a:lnTo>
                      <a:pt x="296" y="690"/>
                    </a:lnTo>
                    <a:lnTo>
                      <a:pt x="289" y="695"/>
                    </a:lnTo>
                    <a:lnTo>
                      <a:pt x="253" y="700"/>
                    </a:lnTo>
                    <a:lnTo>
                      <a:pt x="225" y="704"/>
                    </a:lnTo>
                    <a:lnTo>
                      <a:pt x="177" y="712"/>
                    </a:lnTo>
                    <a:lnTo>
                      <a:pt x="121" y="721"/>
                    </a:lnTo>
                    <a:lnTo>
                      <a:pt x="38" y="730"/>
                    </a:lnTo>
                    <a:lnTo>
                      <a:pt x="0" y="735"/>
                    </a:lnTo>
                    <a:lnTo>
                      <a:pt x="17" y="723"/>
                    </a:lnTo>
                    <a:lnTo>
                      <a:pt x="40" y="714"/>
                    </a:lnTo>
                    <a:lnTo>
                      <a:pt x="83" y="690"/>
                    </a:lnTo>
                    <a:lnTo>
                      <a:pt x="99" y="671"/>
                    </a:lnTo>
                    <a:lnTo>
                      <a:pt x="121" y="655"/>
                    </a:lnTo>
                    <a:lnTo>
                      <a:pt x="130" y="638"/>
                    </a:lnTo>
                    <a:lnTo>
                      <a:pt x="144" y="622"/>
                    </a:lnTo>
                    <a:lnTo>
                      <a:pt x="149" y="605"/>
                    </a:lnTo>
                    <a:lnTo>
                      <a:pt x="149" y="603"/>
                    </a:lnTo>
                    <a:lnTo>
                      <a:pt x="175" y="584"/>
                    </a:lnTo>
                    <a:lnTo>
                      <a:pt x="201" y="560"/>
                    </a:lnTo>
                    <a:lnTo>
                      <a:pt x="255" y="501"/>
                    </a:lnTo>
                    <a:lnTo>
                      <a:pt x="258" y="506"/>
                    </a:lnTo>
                    <a:lnTo>
                      <a:pt x="258" y="515"/>
                    </a:lnTo>
                    <a:lnTo>
                      <a:pt x="265" y="522"/>
                    </a:lnTo>
                    <a:lnTo>
                      <a:pt x="270" y="534"/>
                    </a:lnTo>
                    <a:lnTo>
                      <a:pt x="277" y="541"/>
                    </a:lnTo>
                    <a:lnTo>
                      <a:pt x="286" y="546"/>
                    </a:lnTo>
                    <a:lnTo>
                      <a:pt x="300" y="551"/>
                    </a:lnTo>
                    <a:lnTo>
                      <a:pt x="317" y="558"/>
                    </a:lnTo>
                    <a:lnTo>
                      <a:pt x="329" y="560"/>
                    </a:lnTo>
                    <a:lnTo>
                      <a:pt x="333" y="558"/>
                    </a:lnTo>
                    <a:lnTo>
                      <a:pt x="345" y="546"/>
                    </a:lnTo>
                    <a:lnTo>
                      <a:pt x="355" y="539"/>
                    </a:lnTo>
                    <a:lnTo>
                      <a:pt x="364" y="527"/>
                    </a:lnTo>
                    <a:lnTo>
                      <a:pt x="388" y="539"/>
                    </a:lnTo>
                    <a:lnTo>
                      <a:pt x="395" y="537"/>
                    </a:lnTo>
                    <a:lnTo>
                      <a:pt x="414" y="527"/>
                    </a:lnTo>
                    <a:lnTo>
                      <a:pt x="433" y="522"/>
                    </a:lnTo>
                    <a:lnTo>
                      <a:pt x="437" y="520"/>
                    </a:lnTo>
                    <a:lnTo>
                      <a:pt x="445" y="513"/>
                    </a:lnTo>
                    <a:lnTo>
                      <a:pt x="442" y="501"/>
                    </a:lnTo>
                    <a:lnTo>
                      <a:pt x="442" y="496"/>
                    </a:lnTo>
                    <a:lnTo>
                      <a:pt x="445" y="494"/>
                    </a:lnTo>
                    <a:lnTo>
                      <a:pt x="449" y="494"/>
                    </a:lnTo>
                    <a:lnTo>
                      <a:pt x="459" y="496"/>
                    </a:lnTo>
                    <a:lnTo>
                      <a:pt x="466" y="496"/>
                    </a:lnTo>
                    <a:lnTo>
                      <a:pt x="499" y="475"/>
                    </a:lnTo>
                    <a:lnTo>
                      <a:pt x="501" y="475"/>
                    </a:lnTo>
                    <a:lnTo>
                      <a:pt x="508" y="482"/>
                    </a:lnTo>
                    <a:lnTo>
                      <a:pt x="523" y="470"/>
                    </a:lnTo>
                    <a:lnTo>
                      <a:pt x="530" y="461"/>
                    </a:lnTo>
                    <a:lnTo>
                      <a:pt x="532" y="449"/>
                    </a:lnTo>
                    <a:lnTo>
                      <a:pt x="537" y="437"/>
                    </a:lnTo>
                    <a:lnTo>
                      <a:pt x="534" y="433"/>
                    </a:lnTo>
                    <a:lnTo>
                      <a:pt x="530" y="425"/>
                    </a:lnTo>
                    <a:lnTo>
                      <a:pt x="532" y="409"/>
                    </a:lnTo>
                    <a:lnTo>
                      <a:pt x="539" y="392"/>
                    </a:lnTo>
                    <a:lnTo>
                      <a:pt x="567" y="340"/>
                    </a:lnTo>
                    <a:lnTo>
                      <a:pt x="572" y="310"/>
                    </a:lnTo>
                    <a:lnTo>
                      <a:pt x="584" y="291"/>
                    </a:lnTo>
                    <a:lnTo>
                      <a:pt x="586" y="274"/>
                    </a:lnTo>
                    <a:lnTo>
                      <a:pt x="596" y="260"/>
                    </a:lnTo>
                    <a:lnTo>
                      <a:pt x="598" y="229"/>
                    </a:lnTo>
                    <a:lnTo>
                      <a:pt x="601" y="222"/>
                    </a:lnTo>
                    <a:lnTo>
                      <a:pt x="608" y="220"/>
                    </a:lnTo>
                    <a:lnTo>
                      <a:pt x="615" y="222"/>
                    </a:lnTo>
                    <a:lnTo>
                      <a:pt x="622" y="227"/>
                    </a:lnTo>
                    <a:lnTo>
                      <a:pt x="627" y="234"/>
                    </a:lnTo>
                    <a:lnTo>
                      <a:pt x="645" y="239"/>
                    </a:lnTo>
                    <a:lnTo>
                      <a:pt x="660" y="236"/>
                    </a:lnTo>
                    <a:lnTo>
                      <a:pt x="669" y="229"/>
                    </a:lnTo>
                    <a:lnTo>
                      <a:pt x="674" y="217"/>
                    </a:lnTo>
                    <a:lnTo>
                      <a:pt x="679" y="198"/>
                    </a:lnTo>
                    <a:lnTo>
                      <a:pt x="683" y="184"/>
                    </a:lnTo>
                    <a:lnTo>
                      <a:pt x="686" y="170"/>
                    </a:lnTo>
                    <a:lnTo>
                      <a:pt x="690" y="158"/>
                    </a:lnTo>
                    <a:lnTo>
                      <a:pt x="697" y="151"/>
                    </a:lnTo>
                    <a:lnTo>
                      <a:pt x="716" y="149"/>
                    </a:lnTo>
                    <a:lnTo>
                      <a:pt x="726" y="137"/>
                    </a:lnTo>
                    <a:lnTo>
                      <a:pt x="731" y="125"/>
                    </a:lnTo>
                    <a:lnTo>
                      <a:pt x="735" y="120"/>
                    </a:lnTo>
                    <a:lnTo>
                      <a:pt x="740" y="120"/>
                    </a:lnTo>
                    <a:lnTo>
                      <a:pt x="757" y="101"/>
                    </a:lnTo>
                    <a:lnTo>
                      <a:pt x="773" y="64"/>
                    </a:lnTo>
                    <a:lnTo>
                      <a:pt x="773" y="42"/>
                    </a:lnTo>
                    <a:lnTo>
                      <a:pt x="778" y="26"/>
                    </a:lnTo>
                    <a:lnTo>
                      <a:pt x="775" y="9"/>
                    </a:lnTo>
                    <a:lnTo>
                      <a:pt x="778" y="0"/>
                    </a:lnTo>
                    <a:lnTo>
                      <a:pt x="804" y="12"/>
                    </a:lnTo>
                    <a:lnTo>
                      <a:pt x="818" y="21"/>
                    </a:lnTo>
                    <a:lnTo>
                      <a:pt x="849" y="38"/>
                    </a:lnTo>
                    <a:lnTo>
                      <a:pt x="870" y="47"/>
                    </a:lnTo>
                    <a:lnTo>
                      <a:pt x="872" y="28"/>
                    </a:lnTo>
                    <a:lnTo>
                      <a:pt x="879" y="2"/>
                    </a:lnTo>
                    <a:close/>
                    <a:moveTo>
                      <a:pt x="1336" y="184"/>
                    </a:moveTo>
                    <a:lnTo>
                      <a:pt x="1340" y="182"/>
                    </a:lnTo>
                    <a:lnTo>
                      <a:pt x="1340" y="182"/>
                    </a:lnTo>
                    <a:lnTo>
                      <a:pt x="1329" y="217"/>
                    </a:lnTo>
                    <a:lnTo>
                      <a:pt x="1324" y="222"/>
                    </a:lnTo>
                    <a:lnTo>
                      <a:pt x="1336" y="184"/>
                    </a:lnTo>
                    <a:close/>
                    <a:moveTo>
                      <a:pt x="1274" y="217"/>
                    </a:moveTo>
                    <a:lnTo>
                      <a:pt x="1277" y="206"/>
                    </a:lnTo>
                    <a:lnTo>
                      <a:pt x="1300" y="198"/>
                    </a:lnTo>
                    <a:lnTo>
                      <a:pt x="1317" y="191"/>
                    </a:lnTo>
                    <a:lnTo>
                      <a:pt x="1298" y="281"/>
                    </a:lnTo>
                    <a:lnTo>
                      <a:pt x="1303" y="295"/>
                    </a:lnTo>
                    <a:lnTo>
                      <a:pt x="1298" y="302"/>
                    </a:lnTo>
                    <a:lnTo>
                      <a:pt x="1286" y="307"/>
                    </a:lnTo>
                    <a:lnTo>
                      <a:pt x="1279" y="319"/>
                    </a:lnTo>
                    <a:lnTo>
                      <a:pt x="1272" y="331"/>
                    </a:lnTo>
                    <a:lnTo>
                      <a:pt x="1272" y="359"/>
                    </a:lnTo>
                    <a:lnTo>
                      <a:pt x="1265" y="392"/>
                    </a:lnTo>
                    <a:lnTo>
                      <a:pt x="1255" y="380"/>
                    </a:lnTo>
                    <a:lnTo>
                      <a:pt x="1251" y="371"/>
                    </a:lnTo>
                    <a:lnTo>
                      <a:pt x="1248" y="343"/>
                    </a:lnTo>
                    <a:lnTo>
                      <a:pt x="1251" y="293"/>
                    </a:lnTo>
                    <a:lnTo>
                      <a:pt x="1260" y="262"/>
                    </a:lnTo>
                    <a:lnTo>
                      <a:pt x="1269" y="246"/>
                    </a:lnTo>
                    <a:lnTo>
                      <a:pt x="1274" y="217"/>
                    </a:lnTo>
                    <a:close/>
                  </a:path>
                </a:pathLst>
              </a:custGeom>
              <a:solidFill>
                <a:schemeClr val="accent2"/>
              </a:solid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31" name="Freeform 89">
                <a:extLst>
                  <a:ext uri="{FF2B5EF4-FFF2-40B4-BE49-F238E27FC236}">
                    <a16:creationId xmlns:a16="http://schemas.microsoft.com/office/drawing/2014/main" id="{A9F21449-7B02-373D-0917-7166EF5B4112}"/>
                  </a:ext>
                </a:extLst>
              </p:cNvPr>
              <p:cNvSpPr>
                <a:spLocks/>
              </p:cNvSpPr>
              <p:nvPr/>
            </p:nvSpPr>
            <p:spPr bwMode="auto">
              <a:xfrm>
                <a:off x="8072" y="-437"/>
                <a:ext cx="282" cy="527"/>
              </a:xfrm>
              <a:custGeom>
                <a:avLst/>
                <a:gdLst>
                  <a:gd name="T0" fmla="*/ 237 w 282"/>
                  <a:gd name="T1" fmla="*/ 506 h 527"/>
                  <a:gd name="T2" fmla="*/ 206 w 282"/>
                  <a:gd name="T3" fmla="*/ 513 h 527"/>
                  <a:gd name="T4" fmla="*/ 175 w 282"/>
                  <a:gd name="T5" fmla="*/ 517 h 527"/>
                  <a:gd name="T6" fmla="*/ 147 w 282"/>
                  <a:gd name="T7" fmla="*/ 524 h 527"/>
                  <a:gd name="T8" fmla="*/ 123 w 282"/>
                  <a:gd name="T9" fmla="*/ 517 h 527"/>
                  <a:gd name="T10" fmla="*/ 121 w 282"/>
                  <a:gd name="T11" fmla="*/ 491 h 527"/>
                  <a:gd name="T12" fmla="*/ 111 w 282"/>
                  <a:gd name="T13" fmla="*/ 451 h 527"/>
                  <a:gd name="T14" fmla="*/ 100 w 282"/>
                  <a:gd name="T15" fmla="*/ 404 h 527"/>
                  <a:gd name="T16" fmla="*/ 90 w 282"/>
                  <a:gd name="T17" fmla="*/ 364 h 527"/>
                  <a:gd name="T18" fmla="*/ 74 w 282"/>
                  <a:gd name="T19" fmla="*/ 352 h 527"/>
                  <a:gd name="T20" fmla="*/ 69 w 282"/>
                  <a:gd name="T21" fmla="*/ 364 h 527"/>
                  <a:gd name="T22" fmla="*/ 64 w 282"/>
                  <a:gd name="T23" fmla="*/ 364 h 527"/>
                  <a:gd name="T24" fmla="*/ 59 w 282"/>
                  <a:gd name="T25" fmla="*/ 326 h 527"/>
                  <a:gd name="T26" fmla="*/ 55 w 282"/>
                  <a:gd name="T27" fmla="*/ 302 h 527"/>
                  <a:gd name="T28" fmla="*/ 36 w 282"/>
                  <a:gd name="T29" fmla="*/ 264 h 527"/>
                  <a:gd name="T30" fmla="*/ 38 w 282"/>
                  <a:gd name="T31" fmla="*/ 238 h 527"/>
                  <a:gd name="T32" fmla="*/ 43 w 282"/>
                  <a:gd name="T33" fmla="*/ 219 h 527"/>
                  <a:gd name="T34" fmla="*/ 33 w 282"/>
                  <a:gd name="T35" fmla="*/ 182 h 527"/>
                  <a:gd name="T36" fmla="*/ 12 w 282"/>
                  <a:gd name="T37" fmla="*/ 118 h 527"/>
                  <a:gd name="T38" fmla="*/ 3 w 282"/>
                  <a:gd name="T39" fmla="*/ 85 h 527"/>
                  <a:gd name="T40" fmla="*/ 24 w 282"/>
                  <a:gd name="T41" fmla="*/ 63 h 527"/>
                  <a:gd name="T42" fmla="*/ 144 w 282"/>
                  <a:gd name="T43" fmla="*/ 33 h 527"/>
                  <a:gd name="T44" fmla="*/ 265 w 282"/>
                  <a:gd name="T45" fmla="*/ 0 h 527"/>
                  <a:gd name="T46" fmla="*/ 272 w 282"/>
                  <a:gd name="T47" fmla="*/ 18 h 527"/>
                  <a:gd name="T48" fmla="*/ 267 w 282"/>
                  <a:gd name="T49" fmla="*/ 61 h 527"/>
                  <a:gd name="T50" fmla="*/ 282 w 282"/>
                  <a:gd name="T51" fmla="*/ 89 h 527"/>
                  <a:gd name="T52" fmla="*/ 279 w 282"/>
                  <a:gd name="T53" fmla="*/ 104 h 527"/>
                  <a:gd name="T54" fmla="*/ 272 w 282"/>
                  <a:gd name="T55" fmla="*/ 120 h 527"/>
                  <a:gd name="T56" fmla="*/ 251 w 282"/>
                  <a:gd name="T57" fmla="*/ 146 h 527"/>
                  <a:gd name="T58" fmla="*/ 230 w 282"/>
                  <a:gd name="T59" fmla="*/ 165 h 527"/>
                  <a:gd name="T60" fmla="*/ 234 w 282"/>
                  <a:gd name="T61" fmla="*/ 227 h 527"/>
                  <a:gd name="T62" fmla="*/ 232 w 282"/>
                  <a:gd name="T63" fmla="*/ 255 h 527"/>
                  <a:gd name="T64" fmla="*/ 223 w 282"/>
                  <a:gd name="T65" fmla="*/ 295 h 527"/>
                  <a:gd name="T66" fmla="*/ 220 w 282"/>
                  <a:gd name="T67" fmla="*/ 324 h 527"/>
                  <a:gd name="T68" fmla="*/ 227 w 282"/>
                  <a:gd name="T69" fmla="*/ 376 h 527"/>
                  <a:gd name="T70" fmla="*/ 234 w 282"/>
                  <a:gd name="T71" fmla="*/ 439 h 527"/>
                  <a:gd name="T72" fmla="*/ 230 w 282"/>
                  <a:gd name="T73" fmla="*/ 456 h 527"/>
                  <a:gd name="T74" fmla="*/ 232 w 282"/>
                  <a:gd name="T75" fmla="*/ 480 h 527"/>
                  <a:gd name="T76" fmla="*/ 246 w 282"/>
                  <a:gd name="T77" fmla="*/ 496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527">
                    <a:moveTo>
                      <a:pt x="251" y="501"/>
                    </a:moveTo>
                    <a:lnTo>
                      <a:pt x="237" y="506"/>
                    </a:lnTo>
                    <a:lnTo>
                      <a:pt x="220" y="508"/>
                    </a:lnTo>
                    <a:lnTo>
                      <a:pt x="206" y="513"/>
                    </a:lnTo>
                    <a:lnTo>
                      <a:pt x="192" y="515"/>
                    </a:lnTo>
                    <a:lnTo>
                      <a:pt x="175" y="517"/>
                    </a:lnTo>
                    <a:lnTo>
                      <a:pt x="161" y="522"/>
                    </a:lnTo>
                    <a:lnTo>
                      <a:pt x="147" y="524"/>
                    </a:lnTo>
                    <a:lnTo>
                      <a:pt x="130" y="527"/>
                    </a:lnTo>
                    <a:lnTo>
                      <a:pt x="123" y="517"/>
                    </a:lnTo>
                    <a:lnTo>
                      <a:pt x="123" y="506"/>
                    </a:lnTo>
                    <a:lnTo>
                      <a:pt x="121" y="491"/>
                    </a:lnTo>
                    <a:lnTo>
                      <a:pt x="116" y="472"/>
                    </a:lnTo>
                    <a:lnTo>
                      <a:pt x="111" y="451"/>
                    </a:lnTo>
                    <a:lnTo>
                      <a:pt x="104" y="423"/>
                    </a:lnTo>
                    <a:lnTo>
                      <a:pt x="100" y="404"/>
                    </a:lnTo>
                    <a:lnTo>
                      <a:pt x="95" y="387"/>
                    </a:lnTo>
                    <a:lnTo>
                      <a:pt x="90" y="364"/>
                    </a:lnTo>
                    <a:lnTo>
                      <a:pt x="78" y="354"/>
                    </a:lnTo>
                    <a:lnTo>
                      <a:pt x="74" y="352"/>
                    </a:lnTo>
                    <a:lnTo>
                      <a:pt x="71" y="354"/>
                    </a:lnTo>
                    <a:lnTo>
                      <a:pt x="69" y="364"/>
                    </a:lnTo>
                    <a:lnTo>
                      <a:pt x="66" y="364"/>
                    </a:lnTo>
                    <a:lnTo>
                      <a:pt x="64" y="364"/>
                    </a:lnTo>
                    <a:lnTo>
                      <a:pt x="62" y="354"/>
                    </a:lnTo>
                    <a:lnTo>
                      <a:pt x="59" y="326"/>
                    </a:lnTo>
                    <a:lnTo>
                      <a:pt x="59" y="316"/>
                    </a:lnTo>
                    <a:lnTo>
                      <a:pt x="55" y="302"/>
                    </a:lnTo>
                    <a:lnTo>
                      <a:pt x="38" y="271"/>
                    </a:lnTo>
                    <a:lnTo>
                      <a:pt x="36" y="264"/>
                    </a:lnTo>
                    <a:lnTo>
                      <a:pt x="36" y="253"/>
                    </a:lnTo>
                    <a:lnTo>
                      <a:pt x="38" y="238"/>
                    </a:lnTo>
                    <a:lnTo>
                      <a:pt x="43" y="227"/>
                    </a:lnTo>
                    <a:lnTo>
                      <a:pt x="43" y="219"/>
                    </a:lnTo>
                    <a:lnTo>
                      <a:pt x="36" y="201"/>
                    </a:lnTo>
                    <a:lnTo>
                      <a:pt x="33" y="182"/>
                    </a:lnTo>
                    <a:lnTo>
                      <a:pt x="17" y="156"/>
                    </a:lnTo>
                    <a:lnTo>
                      <a:pt x="12" y="118"/>
                    </a:lnTo>
                    <a:lnTo>
                      <a:pt x="5" y="101"/>
                    </a:lnTo>
                    <a:lnTo>
                      <a:pt x="3" y="85"/>
                    </a:lnTo>
                    <a:lnTo>
                      <a:pt x="0" y="71"/>
                    </a:lnTo>
                    <a:lnTo>
                      <a:pt x="24" y="63"/>
                    </a:lnTo>
                    <a:lnTo>
                      <a:pt x="85" y="49"/>
                    </a:lnTo>
                    <a:lnTo>
                      <a:pt x="144" y="33"/>
                    </a:lnTo>
                    <a:lnTo>
                      <a:pt x="206" y="16"/>
                    </a:lnTo>
                    <a:lnTo>
                      <a:pt x="265" y="0"/>
                    </a:lnTo>
                    <a:lnTo>
                      <a:pt x="265" y="4"/>
                    </a:lnTo>
                    <a:lnTo>
                      <a:pt x="272" y="18"/>
                    </a:lnTo>
                    <a:lnTo>
                      <a:pt x="263" y="52"/>
                    </a:lnTo>
                    <a:lnTo>
                      <a:pt x="267" y="61"/>
                    </a:lnTo>
                    <a:lnTo>
                      <a:pt x="279" y="82"/>
                    </a:lnTo>
                    <a:lnTo>
                      <a:pt x="282" y="89"/>
                    </a:lnTo>
                    <a:lnTo>
                      <a:pt x="279" y="92"/>
                    </a:lnTo>
                    <a:lnTo>
                      <a:pt x="279" y="104"/>
                    </a:lnTo>
                    <a:lnTo>
                      <a:pt x="277" y="111"/>
                    </a:lnTo>
                    <a:lnTo>
                      <a:pt x="272" y="120"/>
                    </a:lnTo>
                    <a:lnTo>
                      <a:pt x="256" y="141"/>
                    </a:lnTo>
                    <a:lnTo>
                      <a:pt x="251" y="146"/>
                    </a:lnTo>
                    <a:lnTo>
                      <a:pt x="232" y="158"/>
                    </a:lnTo>
                    <a:lnTo>
                      <a:pt x="230" y="165"/>
                    </a:lnTo>
                    <a:lnTo>
                      <a:pt x="234" y="203"/>
                    </a:lnTo>
                    <a:lnTo>
                      <a:pt x="234" y="227"/>
                    </a:lnTo>
                    <a:lnTo>
                      <a:pt x="237" y="236"/>
                    </a:lnTo>
                    <a:lnTo>
                      <a:pt x="232" y="255"/>
                    </a:lnTo>
                    <a:lnTo>
                      <a:pt x="230" y="276"/>
                    </a:lnTo>
                    <a:lnTo>
                      <a:pt x="223" y="295"/>
                    </a:lnTo>
                    <a:lnTo>
                      <a:pt x="223" y="314"/>
                    </a:lnTo>
                    <a:lnTo>
                      <a:pt x="220" y="324"/>
                    </a:lnTo>
                    <a:lnTo>
                      <a:pt x="220" y="335"/>
                    </a:lnTo>
                    <a:lnTo>
                      <a:pt x="227" y="376"/>
                    </a:lnTo>
                    <a:lnTo>
                      <a:pt x="227" y="399"/>
                    </a:lnTo>
                    <a:lnTo>
                      <a:pt x="234" y="439"/>
                    </a:lnTo>
                    <a:lnTo>
                      <a:pt x="232" y="449"/>
                    </a:lnTo>
                    <a:lnTo>
                      <a:pt x="230" y="456"/>
                    </a:lnTo>
                    <a:lnTo>
                      <a:pt x="230" y="472"/>
                    </a:lnTo>
                    <a:lnTo>
                      <a:pt x="232" y="480"/>
                    </a:lnTo>
                    <a:lnTo>
                      <a:pt x="234" y="484"/>
                    </a:lnTo>
                    <a:lnTo>
                      <a:pt x="246" y="496"/>
                    </a:lnTo>
                    <a:lnTo>
                      <a:pt x="251" y="50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32" name="Freeform 90">
                <a:extLst>
                  <a:ext uri="{FF2B5EF4-FFF2-40B4-BE49-F238E27FC236}">
                    <a16:creationId xmlns:a16="http://schemas.microsoft.com/office/drawing/2014/main" id="{DDD60691-1881-D5C4-7260-8B8A42CC0A70}"/>
                  </a:ext>
                </a:extLst>
              </p:cNvPr>
              <p:cNvSpPr>
                <a:spLocks noEditPoints="1"/>
              </p:cNvSpPr>
              <p:nvPr/>
            </p:nvSpPr>
            <p:spPr bwMode="auto">
              <a:xfrm>
                <a:off x="645" y="-1357"/>
                <a:ext cx="1130" cy="849"/>
              </a:xfrm>
              <a:custGeom>
                <a:avLst/>
                <a:gdLst>
                  <a:gd name="T0" fmla="*/ 816 w 1130"/>
                  <a:gd name="T1" fmla="*/ 801 h 849"/>
                  <a:gd name="T2" fmla="*/ 674 w 1130"/>
                  <a:gd name="T3" fmla="*/ 778 h 849"/>
                  <a:gd name="T4" fmla="*/ 390 w 1130"/>
                  <a:gd name="T5" fmla="*/ 768 h 849"/>
                  <a:gd name="T6" fmla="*/ 239 w 1130"/>
                  <a:gd name="T7" fmla="*/ 733 h 849"/>
                  <a:gd name="T8" fmla="*/ 152 w 1130"/>
                  <a:gd name="T9" fmla="*/ 690 h 849"/>
                  <a:gd name="T10" fmla="*/ 111 w 1130"/>
                  <a:gd name="T11" fmla="*/ 572 h 849"/>
                  <a:gd name="T12" fmla="*/ 55 w 1130"/>
                  <a:gd name="T13" fmla="*/ 522 h 849"/>
                  <a:gd name="T14" fmla="*/ 24 w 1130"/>
                  <a:gd name="T15" fmla="*/ 444 h 849"/>
                  <a:gd name="T16" fmla="*/ 31 w 1130"/>
                  <a:gd name="T17" fmla="*/ 416 h 849"/>
                  <a:gd name="T18" fmla="*/ 40 w 1130"/>
                  <a:gd name="T19" fmla="*/ 362 h 849"/>
                  <a:gd name="T20" fmla="*/ 48 w 1130"/>
                  <a:gd name="T21" fmla="*/ 217 h 849"/>
                  <a:gd name="T22" fmla="*/ 50 w 1130"/>
                  <a:gd name="T23" fmla="*/ 57 h 849"/>
                  <a:gd name="T24" fmla="*/ 225 w 1130"/>
                  <a:gd name="T25" fmla="*/ 170 h 849"/>
                  <a:gd name="T26" fmla="*/ 274 w 1130"/>
                  <a:gd name="T27" fmla="*/ 196 h 849"/>
                  <a:gd name="T28" fmla="*/ 298 w 1130"/>
                  <a:gd name="T29" fmla="*/ 234 h 849"/>
                  <a:gd name="T30" fmla="*/ 222 w 1130"/>
                  <a:gd name="T31" fmla="*/ 295 h 849"/>
                  <a:gd name="T32" fmla="*/ 232 w 1130"/>
                  <a:gd name="T33" fmla="*/ 331 h 849"/>
                  <a:gd name="T34" fmla="*/ 232 w 1130"/>
                  <a:gd name="T35" fmla="*/ 298 h 849"/>
                  <a:gd name="T36" fmla="*/ 305 w 1130"/>
                  <a:gd name="T37" fmla="*/ 253 h 849"/>
                  <a:gd name="T38" fmla="*/ 291 w 1130"/>
                  <a:gd name="T39" fmla="*/ 281 h 849"/>
                  <a:gd name="T40" fmla="*/ 284 w 1130"/>
                  <a:gd name="T41" fmla="*/ 321 h 849"/>
                  <a:gd name="T42" fmla="*/ 256 w 1130"/>
                  <a:gd name="T43" fmla="*/ 359 h 849"/>
                  <a:gd name="T44" fmla="*/ 225 w 1130"/>
                  <a:gd name="T45" fmla="*/ 354 h 849"/>
                  <a:gd name="T46" fmla="*/ 239 w 1130"/>
                  <a:gd name="T47" fmla="*/ 399 h 849"/>
                  <a:gd name="T48" fmla="*/ 286 w 1130"/>
                  <a:gd name="T49" fmla="*/ 373 h 849"/>
                  <a:gd name="T50" fmla="*/ 319 w 1130"/>
                  <a:gd name="T51" fmla="*/ 310 h 849"/>
                  <a:gd name="T52" fmla="*/ 329 w 1130"/>
                  <a:gd name="T53" fmla="*/ 269 h 849"/>
                  <a:gd name="T54" fmla="*/ 352 w 1130"/>
                  <a:gd name="T55" fmla="*/ 210 h 849"/>
                  <a:gd name="T56" fmla="*/ 334 w 1130"/>
                  <a:gd name="T57" fmla="*/ 201 h 849"/>
                  <a:gd name="T58" fmla="*/ 355 w 1130"/>
                  <a:gd name="T59" fmla="*/ 170 h 849"/>
                  <a:gd name="T60" fmla="*/ 331 w 1130"/>
                  <a:gd name="T61" fmla="*/ 125 h 849"/>
                  <a:gd name="T62" fmla="*/ 357 w 1130"/>
                  <a:gd name="T63" fmla="*/ 113 h 849"/>
                  <a:gd name="T64" fmla="*/ 352 w 1130"/>
                  <a:gd name="T65" fmla="*/ 66 h 849"/>
                  <a:gd name="T66" fmla="*/ 478 w 1130"/>
                  <a:gd name="T67" fmla="*/ 52 h 849"/>
                  <a:gd name="T68" fmla="*/ 823 w 1130"/>
                  <a:gd name="T69" fmla="*/ 146 h 849"/>
                  <a:gd name="T70" fmla="*/ 1130 w 1130"/>
                  <a:gd name="T71" fmla="*/ 222 h 849"/>
                  <a:gd name="T72" fmla="*/ 1083 w 1130"/>
                  <a:gd name="T73" fmla="*/ 423 h 849"/>
                  <a:gd name="T74" fmla="*/ 1036 w 1130"/>
                  <a:gd name="T75" fmla="*/ 622 h 849"/>
                  <a:gd name="T76" fmla="*/ 1003 w 1130"/>
                  <a:gd name="T77" fmla="*/ 761 h 849"/>
                  <a:gd name="T78" fmla="*/ 1003 w 1130"/>
                  <a:gd name="T79" fmla="*/ 849 h 849"/>
                  <a:gd name="T80" fmla="*/ 329 w 1130"/>
                  <a:gd name="T81" fmla="*/ 78 h 849"/>
                  <a:gd name="T82" fmla="*/ 310 w 1130"/>
                  <a:gd name="T83" fmla="*/ 87 h 849"/>
                  <a:gd name="T84" fmla="*/ 315 w 1130"/>
                  <a:gd name="T85" fmla="*/ 66 h 849"/>
                  <a:gd name="T86" fmla="*/ 270 w 1130"/>
                  <a:gd name="T87" fmla="*/ 92 h 849"/>
                  <a:gd name="T88" fmla="*/ 310 w 1130"/>
                  <a:gd name="T89" fmla="*/ 125 h 849"/>
                  <a:gd name="T90" fmla="*/ 308 w 1130"/>
                  <a:gd name="T91" fmla="*/ 99 h 849"/>
                  <a:gd name="T92" fmla="*/ 324 w 1130"/>
                  <a:gd name="T93" fmla="*/ 222 h 849"/>
                  <a:gd name="T94" fmla="*/ 331 w 1130"/>
                  <a:gd name="T95" fmla="*/ 243 h 849"/>
                  <a:gd name="T96" fmla="*/ 319 w 1130"/>
                  <a:gd name="T97" fmla="*/ 196 h 849"/>
                  <a:gd name="T98" fmla="*/ 312 w 1130"/>
                  <a:gd name="T99" fmla="*/ 161 h 849"/>
                  <a:gd name="T100" fmla="*/ 338 w 1130"/>
                  <a:gd name="T101" fmla="*/ 165 h 849"/>
                  <a:gd name="T102" fmla="*/ 300 w 1130"/>
                  <a:gd name="T103" fmla="*/ 310 h 849"/>
                  <a:gd name="T104" fmla="*/ 300 w 1130"/>
                  <a:gd name="T105" fmla="*/ 286 h 849"/>
                  <a:gd name="T106" fmla="*/ 296 w 1130"/>
                  <a:gd name="T107" fmla="*/ 362 h 849"/>
                  <a:gd name="T108" fmla="*/ 296 w 1130"/>
                  <a:gd name="T109" fmla="*/ 333 h 849"/>
                  <a:gd name="T110" fmla="*/ 225 w 1130"/>
                  <a:gd name="T111" fmla="*/ 37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0" h="849">
                    <a:moveTo>
                      <a:pt x="1003" y="849"/>
                    </a:moveTo>
                    <a:lnTo>
                      <a:pt x="967" y="839"/>
                    </a:lnTo>
                    <a:lnTo>
                      <a:pt x="929" y="830"/>
                    </a:lnTo>
                    <a:lnTo>
                      <a:pt x="891" y="820"/>
                    </a:lnTo>
                    <a:lnTo>
                      <a:pt x="854" y="811"/>
                    </a:lnTo>
                    <a:lnTo>
                      <a:pt x="816" y="801"/>
                    </a:lnTo>
                    <a:lnTo>
                      <a:pt x="778" y="792"/>
                    </a:lnTo>
                    <a:lnTo>
                      <a:pt x="740" y="782"/>
                    </a:lnTo>
                    <a:lnTo>
                      <a:pt x="702" y="773"/>
                    </a:lnTo>
                    <a:lnTo>
                      <a:pt x="700" y="773"/>
                    </a:lnTo>
                    <a:lnTo>
                      <a:pt x="693" y="775"/>
                    </a:lnTo>
                    <a:lnTo>
                      <a:pt x="674" y="778"/>
                    </a:lnTo>
                    <a:lnTo>
                      <a:pt x="636" y="771"/>
                    </a:lnTo>
                    <a:lnTo>
                      <a:pt x="558" y="771"/>
                    </a:lnTo>
                    <a:lnTo>
                      <a:pt x="523" y="778"/>
                    </a:lnTo>
                    <a:lnTo>
                      <a:pt x="494" y="778"/>
                    </a:lnTo>
                    <a:lnTo>
                      <a:pt x="440" y="771"/>
                    </a:lnTo>
                    <a:lnTo>
                      <a:pt x="390" y="768"/>
                    </a:lnTo>
                    <a:lnTo>
                      <a:pt x="369" y="761"/>
                    </a:lnTo>
                    <a:lnTo>
                      <a:pt x="364" y="752"/>
                    </a:lnTo>
                    <a:lnTo>
                      <a:pt x="343" y="740"/>
                    </a:lnTo>
                    <a:lnTo>
                      <a:pt x="305" y="728"/>
                    </a:lnTo>
                    <a:lnTo>
                      <a:pt x="272" y="723"/>
                    </a:lnTo>
                    <a:lnTo>
                      <a:pt x="239" y="733"/>
                    </a:lnTo>
                    <a:lnTo>
                      <a:pt x="230" y="733"/>
                    </a:lnTo>
                    <a:lnTo>
                      <a:pt x="230" y="733"/>
                    </a:lnTo>
                    <a:lnTo>
                      <a:pt x="220" y="730"/>
                    </a:lnTo>
                    <a:lnTo>
                      <a:pt x="173" y="709"/>
                    </a:lnTo>
                    <a:lnTo>
                      <a:pt x="159" y="704"/>
                    </a:lnTo>
                    <a:lnTo>
                      <a:pt x="152" y="690"/>
                    </a:lnTo>
                    <a:lnTo>
                      <a:pt x="154" y="676"/>
                    </a:lnTo>
                    <a:lnTo>
                      <a:pt x="154" y="624"/>
                    </a:lnTo>
                    <a:lnTo>
                      <a:pt x="149" y="593"/>
                    </a:lnTo>
                    <a:lnTo>
                      <a:pt x="137" y="579"/>
                    </a:lnTo>
                    <a:lnTo>
                      <a:pt x="128" y="572"/>
                    </a:lnTo>
                    <a:lnTo>
                      <a:pt x="111" y="572"/>
                    </a:lnTo>
                    <a:lnTo>
                      <a:pt x="109" y="567"/>
                    </a:lnTo>
                    <a:lnTo>
                      <a:pt x="102" y="565"/>
                    </a:lnTo>
                    <a:lnTo>
                      <a:pt x="90" y="551"/>
                    </a:lnTo>
                    <a:lnTo>
                      <a:pt x="85" y="539"/>
                    </a:lnTo>
                    <a:lnTo>
                      <a:pt x="59" y="532"/>
                    </a:lnTo>
                    <a:lnTo>
                      <a:pt x="55" y="522"/>
                    </a:lnTo>
                    <a:lnTo>
                      <a:pt x="24" y="520"/>
                    </a:lnTo>
                    <a:lnTo>
                      <a:pt x="17" y="511"/>
                    </a:lnTo>
                    <a:lnTo>
                      <a:pt x="0" y="511"/>
                    </a:lnTo>
                    <a:lnTo>
                      <a:pt x="10" y="492"/>
                    </a:lnTo>
                    <a:lnTo>
                      <a:pt x="17" y="468"/>
                    </a:lnTo>
                    <a:lnTo>
                      <a:pt x="24" y="444"/>
                    </a:lnTo>
                    <a:lnTo>
                      <a:pt x="24" y="463"/>
                    </a:lnTo>
                    <a:lnTo>
                      <a:pt x="29" y="485"/>
                    </a:lnTo>
                    <a:lnTo>
                      <a:pt x="38" y="466"/>
                    </a:lnTo>
                    <a:lnTo>
                      <a:pt x="50" y="440"/>
                    </a:lnTo>
                    <a:lnTo>
                      <a:pt x="43" y="428"/>
                    </a:lnTo>
                    <a:lnTo>
                      <a:pt x="31" y="416"/>
                    </a:lnTo>
                    <a:lnTo>
                      <a:pt x="31" y="390"/>
                    </a:lnTo>
                    <a:lnTo>
                      <a:pt x="76" y="380"/>
                    </a:lnTo>
                    <a:lnTo>
                      <a:pt x="57" y="371"/>
                    </a:lnTo>
                    <a:lnTo>
                      <a:pt x="52" y="359"/>
                    </a:lnTo>
                    <a:lnTo>
                      <a:pt x="43" y="354"/>
                    </a:lnTo>
                    <a:lnTo>
                      <a:pt x="40" y="362"/>
                    </a:lnTo>
                    <a:lnTo>
                      <a:pt x="33" y="371"/>
                    </a:lnTo>
                    <a:lnTo>
                      <a:pt x="36" y="357"/>
                    </a:lnTo>
                    <a:lnTo>
                      <a:pt x="38" y="343"/>
                    </a:lnTo>
                    <a:lnTo>
                      <a:pt x="43" y="317"/>
                    </a:lnTo>
                    <a:lnTo>
                      <a:pt x="40" y="272"/>
                    </a:lnTo>
                    <a:lnTo>
                      <a:pt x="48" y="217"/>
                    </a:lnTo>
                    <a:lnTo>
                      <a:pt x="45" y="187"/>
                    </a:lnTo>
                    <a:lnTo>
                      <a:pt x="31" y="156"/>
                    </a:lnTo>
                    <a:lnTo>
                      <a:pt x="29" y="139"/>
                    </a:lnTo>
                    <a:lnTo>
                      <a:pt x="36" y="101"/>
                    </a:lnTo>
                    <a:lnTo>
                      <a:pt x="48" y="75"/>
                    </a:lnTo>
                    <a:lnTo>
                      <a:pt x="50" y="57"/>
                    </a:lnTo>
                    <a:lnTo>
                      <a:pt x="59" y="61"/>
                    </a:lnTo>
                    <a:lnTo>
                      <a:pt x="83" y="85"/>
                    </a:lnTo>
                    <a:lnTo>
                      <a:pt x="114" y="106"/>
                    </a:lnTo>
                    <a:lnTo>
                      <a:pt x="121" y="118"/>
                    </a:lnTo>
                    <a:lnTo>
                      <a:pt x="135" y="130"/>
                    </a:lnTo>
                    <a:lnTo>
                      <a:pt x="225" y="170"/>
                    </a:lnTo>
                    <a:lnTo>
                      <a:pt x="232" y="170"/>
                    </a:lnTo>
                    <a:lnTo>
                      <a:pt x="246" y="168"/>
                    </a:lnTo>
                    <a:lnTo>
                      <a:pt x="251" y="170"/>
                    </a:lnTo>
                    <a:lnTo>
                      <a:pt x="260" y="189"/>
                    </a:lnTo>
                    <a:lnTo>
                      <a:pt x="265" y="194"/>
                    </a:lnTo>
                    <a:lnTo>
                      <a:pt x="274" y="196"/>
                    </a:lnTo>
                    <a:lnTo>
                      <a:pt x="282" y="194"/>
                    </a:lnTo>
                    <a:lnTo>
                      <a:pt x="296" y="189"/>
                    </a:lnTo>
                    <a:lnTo>
                      <a:pt x="296" y="191"/>
                    </a:lnTo>
                    <a:lnTo>
                      <a:pt x="293" y="201"/>
                    </a:lnTo>
                    <a:lnTo>
                      <a:pt x="293" y="215"/>
                    </a:lnTo>
                    <a:lnTo>
                      <a:pt x="298" y="234"/>
                    </a:lnTo>
                    <a:lnTo>
                      <a:pt x="298" y="246"/>
                    </a:lnTo>
                    <a:lnTo>
                      <a:pt x="272" y="269"/>
                    </a:lnTo>
                    <a:lnTo>
                      <a:pt x="267" y="269"/>
                    </a:lnTo>
                    <a:lnTo>
                      <a:pt x="270" y="260"/>
                    </a:lnTo>
                    <a:lnTo>
                      <a:pt x="270" y="258"/>
                    </a:lnTo>
                    <a:lnTo>
                      <a:pt x="222" y="295"/>
                    </a:lnTo>
                    <a:lnTo>
                      <a:pt x="204" y="317"/>
                    </a:lnTo>
                    <a:lnTo>
                      <a:pt x="199" y="326"/>
                    </a:lnTo>
                    <a:lnTo>
                      <a:pt x="199" y="333"/>
                    </a:lnTo>
                    <a:lnTo>
                      <a:pt x="204" y="336"/>
                    </a:lnTo>
                    <a:lnTo>
                      <a:pt x="213" y="336"/>
                    </a:lnTo>
                    <a:lnTo>
                      <a:pt x="232" y="331"/>
                    </a:lnTo>
                    <a:lnTo>
                      <a:pt x="232" y="328"/>
                    </a:lnTo>
                    <a:lnTo>
                      <a:pt x="218" y="328"/>
                    </a:lnTo>
                    <a:lnTo>
                      <a:pt x="211" y="326"/>
                    </a:lnTo>
                    <a:lnTo>
                      <a:pt x="215" y="317"/>
                    </a:lnTo>
                    <a:lnTo>
                      <a:pt x="218" y="312"/>
                    </a:lnTo>
                    <a:lnTo>
                      <a:pt x="232" y="298"/>
                    </a:lnTo>
                    <a:lnTo>
                      <a:pt x="244" y="291"/>
                    </a:lnTo>
                    <a:lnTo>
                      <a:pt x="263" y="284"/>
                    </a:lnTo>
                    <a:lnTo>
                      <a:pt x="272" y="279"/>
                    </a:lnTo>
                    <a:lnTo>
                      <a:pt x="282" y="267"/>
                    </a:lnTo>
                    <a:lnTo>
                      <a:pt x="300" y="258"/>
                    </a:lnTo>
                    <a:lnTo>
                      <a:pt x="305" y="253"/>
                    </a:lnTo>
                    <a:lnTo>
                      <a:pt x="308" y="241"/>
                    </a:lnTo>
                    <a:lnTo>
                      <a:pt x="310" y="239"/>
                    </a:lnTo>
                    <a:lnTo>
                      <a:pt x="317" y="243"/>
                    </a:lnTo>
                    <a:lnTo>
                      <a:pt x="312" y="265"/>
                    </a:lnTo>
                    <a:lnTo>
                      <a:pt x="308" y="274"/>
                    </a:lnTo>
                    <a:lnTo>
                      <a:pt x="291" y="281"/>
                    </a:lnTo>
                    <a:lnTo>
                      <a:pt x="289" y="286"/>
                    </a:lnTo>
                    <a:lnTo>
                      <a:pt x="286" y="302"/>
                    </a:lnTo>
                    <a:lnTo>
                      <a:pt x="284" y="302"/>
                    </a:lnTo>
                    <a:lnTo>
                      <a:pt x="279" y="298"/>
                    </a:lnTo>
                    <a:lnTo>
                      <a:pt x="277" y="300"/>
                    </a:lnTo>
                    <a:lnTo>
                      <a:pt x="284" y="321"/>
                    </a:lnTo>
                    <a:lnTo>
                      <a:pt x="284" y="336"/>
                    </a:lnTo>
                    <a:lnTo>
                      <a:pt x="282" y="347"/>
                    </a:lnTo>
                    <a:lnTo>
                      <a:pt x="272" y="369"/>
                    </a:lnTo>
                    <a:lnTo>
                      <a:pt x="267" y="371"/>
                    </a:lnTo>
                    <a:lnTo>
                      <a:pt x="260" y="369"/>
                    </a:lnTo>
                    <a:lnTo>
                      <a:pt x="256" y="359"/>
                    </a:lnTo>
                    <a:lnTo>
                      <a:pt x="253" y="359"/>
                    </a:lnTo>
                    <a:lnTo>
                      <a:pt x="241" y="376"/>
                    </a:lnTo>
                    <a:lnTo>
                      <a:pt x="239" y="373"/>
                    </a:lnTo>
                    <a:lnTo>
                      <a:pt x="241" y="352"/>
                    </a:lnTo>
                    <a:lnTo>
                      <a:pt x="239" y="350"/>
                    </a:lnTo>
                    <a:lnTo>
                      <a:pt x="225" y="354"/>
                    </a:lnTo>
                    <a:lnTo>
                      <a:pt x="215" y="362"/>
                    </a:lnTo>
                    <a:lnTo>
                      <a:pt x="208" y="376"/>
                    </a:lnTo>
                    <a:lnTo>
                      <a:pt x="199" y="380"/>
                    </a:lnTo>
                    <a:lnTo>
                      <a:pt x="215" y="388"/>
                    </a:lnTo>
                    <a:lnTo>
                      <a:pt x="230" y="388"/>
                    </a:lnTo>
                    <a:lnTo>
                      <a:pt x="239" y="399"/>
                    </a:lnTo>
                    <a:lnTo>
                      <a:pt x="244" y="399"/>
                    </a:lnTo>
                    <a:lnTo>
                      <a:pt x="256" y="397"/>
                    </a:lnTo>
                    <a:lnTo>
                      <a:pt x="260" y="392"/>
                    </a:lnTo>
                    <a:lnTo>
                      <a:pt x="274" y="373"/>
                    </a:lnTo>
                    <a:lnTo>
                      <a:pt x="282" y="371"/>
                    </a:lnTo>
                    <a:lnTo>
                      <a:pt x="286" y="373"/>
                    </a:lnTo>
                    <a:lnTo>
                      <a:pt x="293" y="371"/>
                    </a:lnTo>
                    <a:lnTo>
                      <a:pt x="308" y="362"/>
                    </a:lnTo>
                    <a:lnTo>
                      <a:pt x="310" y="357"/>
                    </a:lnTo>
                    <a:lnTo>
                      <a:pt x="315" y="328"/>
                    </a:lnTo>
                    <a:lnTo>
                      <a:pt x="319" y="314"/>
                    </a:lnTo>
                    <a:lnTo>
                      <a:pt x="319" y="310"/>
                    </a:lnTo>
                    <a:lnTo>
                      <a:pt x="317" y="302"/>
                    </a:lnTo>
                    <a:lnTo>
                      <a:pt x="319" y="298"/>
                    </a:lnTo>
                    <a:lnTo>
                      <a:pt x="324" y="291"/>
                    </a:lnTo>
                    <a:lnTo>
                      <a:pt x="326" y="284"/>
                    </a:lnTo>
                    <a:lnTo>
                      <a:pt x="326" y="276"/>
                    </a:lnTo>
                    <a:lnTo>
                      <a:pt x="329" y="269"/>
                    </a:lnTo>
                    <a:lnTo>
                      <a:pt x="343" y="255"/>
                    </a:lnTo>
                    <a:lnTo>
                      <a:pt x="345" y="248"/>
                    </a:lnTo>
                    <a:lnTo>
                      <a:pt x="362" y="236"/>
                    </a:lnTo>
                    <a:lnTo>
                      <a:pt x="360" y="229"/>
                    </a:lnTo>
                    <a:lnTo>
                      <a:pt x="355" y="220"/>
                    </a:lnTo>
                    <a:lnTo>
                      <a:pt x="352" y="210"/>
                    </a:lnTo>
                    <a:lnTo>
                      <a:pt x="350" y="198"/>
                    </a:lnTo>
                    <a:lnTo>
                      <a:pt x="348" y="194"/>
                    </a:lnTo>
                    <a:lnTo>
                      <a:pt x="345" y="194"/>
                    </a:lnTo>
                    <a:lnTo>
                      <a:pt x="345" y="213"/>
                    </a:lnTo>
                    <a:lnTo>
                      <a:pt x="345" y="215"/>
                    </a:lnTo>
                    <a:lnTo>
                      <a:pt x="334" y="201"/>
                    </a:lnTo>
                    <a:lnTo>
                      <a:pt x="334" y="194"/>
                    </a:lnTo>
                    <a:lnTo>
                      <a:pt x="334" y="187"/>
                    </a:lnTo>
                    <a:lnTo>
                      <a:pt x="336" y="179"/>
                    </a:lnTo>
                    <a:lnTo>
                      <a:pt x="345" y="177"/>
                    </a:lnTo>
                    <a:lnTo>
                      <a:pt x="355" y="177"/>
                    </a:lnTo>
                    <a:lnTo>
                      <a:pt x="355" y="170"/>
                    </a:lnTo>
                    <a:lnTo>
                      <a:pt x="350" y="151"/>
                    </a:lnTo>
                    <a:lnTo>
                      <a:pt x="345" y="142"/>
                    </a:lnTo>
                    <a:lnTo>
                      <a:pt x="341" y="137"/>
                    </a:lnTo>
                    <a:lnTo>
                      <a:pt x="334" y="132"/>
                    </a:lnTo>
                    <a:lnTo>
                      <a:pt x="331" y="130"/>
                    </a:lnTo>
                    <a:lnTo>
                      <a:pt x="331" y="125"/>
                    </a:lnTo>
                    <a:lnTo>
                      <a:pt x="334" y="120"/>
                    </a:lnTo>
                    <a:lnTo>
                      <a:pt x="338" y="120"/>
                    </a:lnTo>
                    <a:lnTo>
                      <a:pt x="350" y="125"/>
                    </a:lnTo>
                    <a:lnTo>
                      <a:pt x="357" y="125"/>
                    </a:lnTo>
                    <a:lnTo>
                      <a:pt x="360" y="118"/>
                    </a:lnTo>
                    <a:lnTo>
                      <a:pt x="357" y="113"/>
                    </a:lnTo>
                    <a:lnTo>
                      <a:pt x="364" y="90"/>
                    </a:lnTo>
                    <a:lnTo>
                      <a:pt x="367" y="68"/>
                    </a:lnTo>
                    <a:lnTo>
                      <a:pt x="364" y="66"/>
                    </a:lnTo>
                    <a:lnTo>
                      <a:pt x="362" y="64"/>
                    </a:lnTo>
                    <a:lnTo>
                      <a:pt x="360" y="66"/>
                    </a:lnTo>
                    <a:lnTo>
                      <a:pt x="352" y="66"/>
                    </a:lnTo>
                    <a:lnTo>
                      <a:pt x="350" y="57"/>
                    </a:lnTo>
                    <a:lnTo>
                      <a:pt x="348" y="45"/>
                    </a:lnTo>
                    <a:lnTo>
                      <a:pt x="348" y="12"/>
                    </a:lnTo>
                    <a:lnTo>
                      <a:pt x="362" y="16"/>
                    </a:lnTo>
                    <a:lnTo>
                      <a:pt x="419" y="33"/>
                    </a:lnTo>
                    <a:lnTo>
                      <a:pt x="478" y="52"/>
                    </a:lnTo>
                    <a:lnTo>
                      <a:pt x="534" y="68"/>
                    </a:lnTo>
                    <a:lnTo>
                      <a:pt x="591" y="85"/>
                    </a:lnTo>
                    <a:lnTo>
                      <a:pt x="650" y="99"/>
                    </a:lnTo>
                    <a:lnTo>
                      <a:pt x="707" y="116"/>
                    </a:lnTo>
                    <a:lnTo>
                      <a:pt x="766" y="132"/>
                    </a:lnTo>
                    <a:lnTo>
                      <a:pt x="823" y="146"/>
                    </a:lnTo>
                    <a:lnTo>
                      <a:pt x="882" y="163"/>
                    </a:lnTo>
                    <a:lnTo>
                      <a:pt x="941" y="177"/>
                    </a:lnTo>
                    <a:lnTo>
                      <a:pt x="998" y="191"/>
                    </a:lnTo>
                    <a:lnTo>
                      <a:pt x="1057" y="206"/>
                    </a:lnTo>
                    <a:lnTo>
                      <a:pt x="1114" y="220"/>
                    </a:lnTo>
                    <a:lnTo>
                      <a:pt x="1130" y="222"/>
                    </a:lnTo>
                    <a:lnTo>
                      <a:pt x="1121" y="255"/>
                    </a:lnTo>
                    <a:lnTo>
                      <a:pt x="1114" y="291"/>
                    </a:lnTo>
                    <a:lnTo>
                      <a:pt x="1107" y="324"/>
                    </a:lnTo>
                    <a:lnTo>
                      <a:pt x="1097" y="357"/>
                    </a:lnTo>
                    <a:lnTo>
                      <a:pt x="1090" y="390"/>
                    </a:lnTo>
                    <a:lnTo>
                      <a:pt x="1083" y="423"/>
                    </a:lnTo>
                    <a:lnTo>
                      <a:pt x="1076" y="456"/>
                    </a:lnTo>
                    <a:lnTo>
                      <a:pt x="1066" y="489"/>
                    </a:lnTo>
                    <a:lnTo>
                      <a:pt x="1059" y="522"/>
                    </a:lnTo>
                    <a:lnTo>
                      <a:pt x="1052" y="555"/>
                    </a:lnTo>
                    <a:lnTo>
                      <a:pt x="1045" y="589"/>
                    </a:lnTo>
                    <a:lnTo>
                      <a:pt x="1036" y="622"/>
                    </a:lnTo>
                    <a:lnTo>
                      <a:pt x="1029" y="655"/>
                    </a:lnTo>
                    <a:lnTo>
                      <a:pt x="1021" y="688"/>
                    </a:lnTo>
                    <a:lnTo>
                      <a:pt x="1014" y="721"/>
                    </a:lnTo>
                    <a:lnTo>
                      <a:pt x="1005" y="754"/>
                    </a:lnTo>
                    <a:lnTo>
                      <a:pt x="1005" y="756"/>
                    </a:lnTo>
                    <a:lnTo>
                      <a:pt x="1003" y="761"/>
                    </a:lnTo>
                    <a:lnTo>
                      <a:pt x="1003" y="775"/>
                    </a:lnTo>
                    <a:lnTo>
                      <a:pt x="1007" y="799"/>
                    </a:lnTo>
                    <a:lnTo>
                      <a:pt x="1007" y="813"/>
                    </a:lnTo>
                    <a:lnTo>
                      <a:pt x="1003" y="820"/>
                    </a:lnTo>
                    <a:lnTo>
                      <a:pt x="1000" y="834"/>
                    </a:lnTo>
                    <a:lnTo>
                      <a:pt x="1003" y="849"/>
                    </a:lnTo>
                    <a:close/>
                    <a:moveTo>
                      <a:pt x="308" y="0"/>
                    </a:moveTo>
                    <a:lnTo>
                      <a:pt x="312" y="2"/>
                    </a:lnTo>
                    <a:lnTo>
                      <a:pt x="310" y="5"/>
                    </a:lnTo>
                    <a:lnTo>
                      <a:pt x="308" y="2"/>
                    </a:lnTo>
                    <a:lnTo>
                      <a:pt x="308" y="0"/>
                    </a:lnTo>
                    <a:close/>
                    <a:moveTo>
                      <a:pt x="329" y="78"/>
                    </a:moveTo>
                    <a:lnTo>
                      <a:pt x="329" y="83"/>
                    </a:lnTo>
                    <a:lnTo>
                      <a:pt x="322" y="85"/>
                    </a:lnTo>
                    <a:lnTo>
                      <a:pt x="319" y="85"/>
                    </a:lnTo>
                    <a:lnTo>
                      <a:pt x="315" y="75"/>
                    </a:lnTo>
                    <a:lnTo>
                      <a:pt x="312" y="75"/>
                    </a:lnTo>
                    <a:lnTo>
                      <a:pt x="310" y="87"/>
                    </a:lnTo>
                    <a:lnTo>
                      <a:pt x="310" y="90"/>
                    </a:lnTo>
                    <a:lnTo>
                      <a:pt x="298" y="80"/>
                    </a:lnTo>
                    <a:lnTo>
                      <a:pt x="298" y="73"/>
                    </a:lnTo>
                    <a:lnTo>
                      <a:pt x="303" y="68"/>
                    </a:lnTo>
                    <a:lnTo>
                      <a:pt x="312" y="66"/>
                    </a:lnTo>
                    <a:lnTo>
                      <a:pt x="315" y="66"/>
                    </a:lnTo>
                    <a:lnTo>
                      <a:pt x="329" y="78"/>
                    </a:lnTo>
                    <a:close/>
                    <a:moveTo>
                      <a:pt x="286" y="104"/>
                    </a:moveTo>
                    <a:lnTo>
                      <a:pt x="289" y="111"/>
                    </a:lnTo>
                    <a:lnTo>
                      <a:pt x="274" y="104"/>
                    </a:lnTo>
                    <a:lnTo>
                      <a:pt x="270" y="97"/>
                    </a:lnTo>
                    <a:lnTo>
                      <a:pt x="270" y="92"/>
                    </a:lnTo>
                    <a:lnTo>
                      <a:pt x="272" y="80"/>
                    </a:lnTo>
                    <a:lnTo>
                      <a:pt x="274" y="75"/>
                    </a:lnTo>
                    <a:lnTo>
                      <a:pt x="279" y="75"/>
                    </a:lnTo>
                    <a:lnTo>
                      <a:pt x="289" y="97"/>
                    </a:lnTo>
                    <a:lnTo>
                      <a:pt x="286" y="104"/>
                    </a:lnTo>
                    <a:close/>
                    <a:moveTo>
                      <a:pt x="310" y="125"/>
                    </a:moveTo>
                    <a:lnTo>
                      <a:pt x="305" y="127"/>
                    </a:lnTo>
                    <a:lnTo>
                      <a:pt x="300" y="123"/>
                    </a:lnTo>
                    <a:lnTo>
                      <a:pt x="296" y="116"/>
                    </a:lnTo>
                    <a:lnTo>
                      <a:pt x="298" y="111"/>
                    </a:lnTo>
                    <a:lnTo>
                      <a:pt x="303" y="101"/>
                    </a:lnTo>
                    <a:lnTo>
                      <a:pt x="308" y="99"/>
                    </a:lnTo>
                    <a:lnTo>
                      <a:pt x="310" y="99"/>
                    </a:lnTo>
                    <a:lnTo>
                      <a:pt x="308" y="111"/>
                    </a:lnTo>
                    <a:lnTo>
                      <a:pt x="310" y="123"/>
                    </a:lnTo>
                    <a:lnTo>
                      <a:pt x="310" y="125"/>
                    </a:lnTo>
                    <a:close/>
                    <a:moveTo>
                      <a:pt x="326" y="191"/>
                    </a:moveTo>
                    <a:lnTo>
                      <a:pt x="324" y="222"/>
                    </a:lnTo>
                    <a:lnTo>
                      <a:pt x="331" y="210"/>
                    </a:lnTo>
                    <a:lnTo>
                      <a:pt x="343" y="236"/>
                    </a:lnTo>
                    <a:lnTo>
                      <a:pt x="341" y="246"/>
                    </a:lnTo>
                    <a:lnTo>
                      <a:pt x="338" y="248"/>
                    </a:lnTo>
                    <a:lnTo>
                      <a:pt x="334" y="248"/>
                    </a:lnTo>
                    <a:lnTo>
                      <a:pt x="331" y="243"/>
                    </a:lnTo>
                    <a:lnTo>
                      <a:pt x="329" y="236"/>
                    </a:lnTo>
                    <a:lnTo>
                      <a:pt x="326" y="232"/>
                    </a:lnTo>
                    <a:lnTo>
                      <a:pt x="317" y="227"/>
                    </a:lnTo>
                    <a:lnTo>
                      <a:pt x="315" y="217"/>
                    </a:lnTo>
                    <a:lnTo>
                      <a:pt x="315" y="213"/>
                    </a:lnTo>
                    <a:lnTo>
                      <a:pt x="319" y="196"/>
                    </a:lnTo>
                    <a:lnTo>
                      <a:pt x="319" y="191"/>
                    </a:lnTo>
                    <a:lnTo>
                      <a:pt x="315" y="189"/>
                    </a:lnTo>
                    <a:lnTo>
                      <a:pt x="310" y="184"/>
                    </a:lnTo>
                    <a:lnTo>
                      <a:pt x="308" y="172"/>
                    </a:lnTo>
                    <a:lnTo>
                      <a:pt x="308" y="168"/>
                    </a:lnTo>
                    <a:lnTo>
                      <a:pt x="312" y="161"/>
                    </a:lnTo>
                    <a:lnTo>
                      <a:pt x="324" y="149"/>
                    </a:lnTo>
                    <a:lnTo>
                      <a:pt x="331" y="144"/>
                    </a:lnTo>
                    <a:lnTo>
                      <a:pt x="336" y="146"/>
                    </a:lnTo>
                    <a:lnTo>
                      <a:pt x="338" y="151"/>
                    </a:lnTo>
                    <a:lnTo>
                      <a:pt x="341" y="161"/>
                    </a:lnTo>
                    <a:lnTo>
                      <a:pt x="338" y="165"/>
                    </a:lnTo>
                    <a:lnTo>
                      <a:pt x="315" y="170"/>
                    </a:lnTo>
                    <a:lnTo>
                      <a:pt x="312" y="172"/>
                    </a:lnTo>
                    <a:lnTo>
                      <a:pt x="322" y="179"/>
                    </a:lnTo>
                    <a:lnTo>
                      <a:pt x="324" y="182"/>
                    </a:lnTo>
                    <a:lnTo>
                      <a:pt x="326" y="191"/>
                    </a:lnTo>
                    <a:close/>
                    <a:moveTo>
                      <a:pt x="300" y="310"/>
                    </a:moveTo>
                    <a:lnTo>
                      <a:pt x="300" y="314"/>
                    </a:lnTo>
                    <a:lnTo>
                      <a:pt x="293" y="307"/>
                    </a:lnTo>
                    <a:lnTo>
                      <a:pt x="291" y="302"/>
                    </a:lnTo>
                    <a:lnTo>
                      <a:pt x="296" y="293"/>
                    </a:lnTo>
                    <a:lnTo>
                      <a:pt x="298" y="286"/>
                    </a:lnTo>
                    <a:lnTo>
                      <a:pt x="300" y="286"/>
                    </a:lnTo>
                    <a:lnTo>
                      <a:pt x="305" y="291"/>
                    </a:lnTo>
                    <a:lnTo>
                      <a:pt x="305" y="291"/>
                    </a:lnTo>
                    <a:lnTo>
                      <a:pt x="300" y="310"/>
                    </a:lnTo>
                    <a:close/>
                    <a:moveTo>
                      <a:pt x="303" y="354"/>
                    </a:moveTo>
                    <a:lnTo>
                      <a:pt x="300" y="359"/>
                    </a:lnTo>
                    <a:lnTo>
                      <a:pt x="296" y="362"/>
                    </a:lnTo>
                    <a:lnTo>
                      <a:pt x="293" y="359"/>
                    </a:lnTo>
                    <a:lnTo>
                      <a:pt x="293" y="354"/>
                    </a:lnTo>
                    <a:lnTo>
                      <a:pt x="293" y="352"/>
                    </a:lnTo>
                    <a:lnTo>
                      <a:pt x="286" y="357"/>
                    </a:lnTo>
                    <a:lnTo>
                      <a:pt x="289" y="345"/>
                    </a:lnTo>
                    <a:lnTo>
                      <a:pt x="296" y="333"/>
                    </a:lnTo>
                    <a:lnTo>
                      <a:pt x="298" y="333"/>
                    </a:lnTo>
                    <a:lnTo>
                      <a:pt x="300" y="343"/>
                    </a:lnTo>
                    <a:lnTo>
                      <a:pt x="303" y="354"/>
                    </a:lnTo>
                    <a:close/>
                    <a:moveTo>
                      <a:pt x="227" y="376"/>
                    </a:moveTo>
                    <a:lnTo>
                      <a:pt x="225" y="378"/>
                    </a:lnTo>
                    <a:lnTo>
                      <a:pt x="225" y="378"/>
                    </a:lnTo>
                    <a:lnTo>
                      <a:pt x="222" y="369"/>
                    </a:lnTo>
                    <a:lnTo>
                      <a:pt x="222" y="362"/>
                    </a:lnTo>
                    <a:lnTo>
                      <a:pt x="227" y="359"/>
                    </a:lnTo>
                    <a:lnTo>
                      <a:pt x="230" y="373"/>
                    </a:lnTo>
                    <a:lnTo>
                      <a:pt x="227" y="376"/>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33" name="Freeform 91">
                <a:extLst>
                  <a:ext uri="{FF2B5EF4-FFF2-40B4-BE49-F238E27FC236}">
                    <a16:creationId xmlns:a16="http://schemas.microsoft.com/office/drawing/2014/main" id="{515576C6-BDDC-DFB4-1438-3041CF2F5938}"/>
                  </a:ext>
                </a:extLst>
              </p:cNvPr>
              <p:cNvSpPr>
                <a:spLocks noEditPoints="1"/>
              </p:cNvSpPr>
              <p:nvPr/>
            </p:nvSpPr>
            <p:spPr bwMode="auto">
              <a:xfrm>
                <a:off x="5170" y="-409"/>
                <a:ext cx="900" cy="965"/>
              </a:xfrm>
              <a:custGeom>
                <a:avLst/>
                <a:gdLst>
                  <a:gd name="T0" fmla="*/ 345 w 900"/>
                  <a:gd name="T1" fmla="*/ 2 h 965"/>
                  <a:gd name="T2" fmla="*/ 309 w 900"/>
                  <a:gd name="T3" fmla="*/ 33 h 965"/>
                  <a:gd name="T4" fmla="*/ 302 w 900"/>
                  <a:gd name="T5" fmla="*/ 26 h 965"/>
                  <a:gd name="T6" fmla="*/ 359 w 900"/>
                  <a:gd name="T7" fmla="*/ 111 h 965"/>
                  <a:gd name="T8" fmla="*/ 387 w 900"/>
                  <a:gd name="T9" fmla="*/ 128 h 965"/>
                  <a:gd name="T10" fmla="*/ 439 w 900"/>
                  <a:gd name="T11" fmla="*/ 161 h 965"/>
                  <a:gd name="T12" fmla="*/ 531 w 900"/>
                  <a:gd name="T13" fmla="*/ 180 h 965"/>
                  <a:gd name="T14" fmla="*/ 595 w 900"/>
                  <a:gd name="T15" fmla="*/ 203 h 965"/>
                  <a:gd name="T16" fmla="*/ 697 w 900"/>
                  <a:gd name="T17" fmla="*/ 215 h 965"/>
                  <a:gd name="T18" fmla="*/ 747 w 900"/>
                  <a:gd name="T19" fmla="*/ 258 h 965"/>
                  <a:gd name="T20" fmla="*/ 754 w 900"/>
                  <a:gd name="T21" fmla="*/ 303 h 965"/>
                  <a:gd name="T22" fmla="*/ 754 w 900"/>
                  <a:gd name="T23" fmla="*/ 333 h 965"/>
                  <a:gd name="T24" fmla="*/ 780 w 900"/>
                  <a:gd name="T25" fmla="*/ 336 h 965"/>
                  <a:gd name="T26" fmla="*/ 794 w 900"/>
                  <a:gd name="T27" fmla="*/ 385 h 965"/>
                  <a:gd name="T28" fmla="*/ 761 w 900"/>
                  <a:gd name="T29" fmla="*/ 430 h 965"/>
                  <a:gd name="T30" fmla="*/ 742 w 900"/>
                  <a:gd name="T31" fmla="*/ 504 h 965"/>
                  <a:gd name="T32" fmla="*/ 775 w 900"/>
                  <a:gd name="T33" fmla="*/ 482 h 965"/>
                  <a:gd name="T34" fmla="*/ 806 w 900"/>
                  <a:gd name="T35" fmla="*/ 437 h 965"/>
                  <a:gd name="T36" fmla="*/ 841 w 900"/>
                  <a:gd name="T37" fmla="*/ 452 h 965"/>
                  <a:gd name="T38" fmla="*/ 820 w 900"/>
                  <a:gd name="T39" fmla="*/ 534 h 965"/>
                  <a:gd name="T40" fmla="*/ 806 w 900"/>
                  <a:gd name="T41" fmla="*/ 605 h 965"/>
                  <a:gd name="T42" fmla="*/ 806 w 900"/>
                  <a:gd name="T43" fmla="*/ 671 h 965"/>
                  <a:gd name="T44" fmla="*/ 791 w 900"/>
                  <a:gd name="T45" fmla="*/ 738 h 965"/>
                  <a:gd name="T46" fmla="*/ 787 w 900"/>
                  <a:gd name="T47" fmla="*/ 804 h 965"/>
                  <a:gd name="T48" fmla="*/ 791 w 900"/>
                  <a:gd name="T49" fmla="*/ 830 h 965"/>
                  <a:gd name="T50" fmla="*/ 810 w 900"/>
                  <a:gd name="T51" fmla="*/ 870 h 965"/>
                  <a:gd name="T52" fmla="*/ 791 w 900"/>
                  <a:gd name="T53" fmla="*/ 939 h 965"/>
                  <a:gd name="T54" fmla="*/ 442 w 900"/>
                  <a:gd name="T55" fmla="*/ 962 h 965"/>
                  <a:gd name="T56" fmla="*/ 321 w 900"/>
                  <a:gd name="T57" fmla="*/ 924 h 965"/>
                  <a:gd name="T58" fmla="*/ 286 w 900"/>
                  <a:gd name="T59" fmla="*/ 825 h 965"/>
                  <a:gd name="T60" fmla="*/ 269 w 900"/>
                  <a:gd name="T61" fmla="*/ 776 h 965"/>
                  <a:gd name="T62" fmla="*/ 219 w 900"/>
                  <a:gd name="T63" fmla="*/ 648 h 965"/>
                  <a:gd name="T64" fmla="*/ 120 w 900"/>
                  <a:gd name="T65" fmla="*/ 570 h 965"/>
                  <a:gd name="T66" fmla="*/ 61 w 900"/>
                  <a:gd name="T67" fmla="*/ 539 h 965"/>
                  <a:gd name="T68" fmla="*/ 21 w 900"/>
                  <a:gd name="T69" fmla="*/ 494 h 965"/>
                  <a:gd name="T70" fmla="*/ 21 w 900"/>
                  <a:gd name="T71" fmla="*/ 407 h 965"/>
                  <a:gd name="T72" fmla="*/ 21 w 900"/>
                  <a:gd name="T73" fmla="*/ 340 h 965"/>
                  <a:gd name="T74" fmla="*/ 21 w 900"/>
                  <a:gd name="T75" fmla="*/ 272 h 965"/>
                  <a:gd name="T76" fmla="*/ 85 w 900"/>
                  <a:gd name="T77" fmla="*/ 225 h 965"/>
                  <a:gd name="T78" fmla="*/ 89 w 900"/>
                  <a:gd name="T79" fmla="*/ 99 h 965"/>
                  <a:gd name="T80" fmla="*/ 111 w 900"/>
                  <a:gd name="T81" fmla="*/ 85 h 965"/>
                  <a:gd name="T82" fmla="*/ 215 w 900"/>
                  <a:gd name="T83" fmla="*/ 64 h 965"/>
                  <a:gd name="T84" fmla="*/ 274 w 900"/>
                  <a:gd name="T85" fmla="*/ 31 h 965"/>
                  <a:gd name="T86" fmla="*/ 297 w 900"/>
                  <a:gd name="T87" fmla="*/ 47 h 965"/>
                  <a:gd name="T88" fmla="*/ 276 w 900"/>
                  <a:gd name="T89" fmla="*/ 102 h 965"/>
                  <a:gd name="T90" fmla="*/ 305 w 900"/>
                  <a:gd name="T91" fmla="*/ 85 h 965"/>
                  <a:gd name="T92" fmla="*/ 357 w 900"/>
                  <a:gd name="T93" fmla="*/ 102 h 965"/>
                  <a:gd name="T94" fmla="*/ 326 w 900"/>
                  <a:gd name="T95" fmla="*/ 26 h 965"/>
                  <a:gd name="T96" fmla="*/ 302 w 900"/>
                  <a:gd name="T97" fmla="*/ 69 h 965"/>
                  <a:gd name="T98" fmla="*/ 326 w 900"/>
                  <a:gd name="T99" fmla="*/ 45 h 965"/>
                  <a:gd name="T100" fmla="*/ 309 w 900"/>
                  <a:gd name="T101" fmla="*/ 64 h 965"/>
                  <a:gd name="T102" fmla="*/ 886 w 900"/>
                  <a:gd name="T103" fmla="*/ 307 h 965"/>
                  <a:gd name="T104" fmla="*/ 900 w 900"/>
                  <a:gd name="T105" fmla="*/ 322 h 965"/>
                  <a:gd name="T106" fmla="*/ 877 w 900"/>
                  <a:gd name="T107" fmla="*/ 364 h 965"/>
                  <a:gd name="T108" fmla="*/ 877 w 900"/>
                  <a:gd name="T109" fmla="*/ 378 h 965"/>
                  <a:gd name="T110" fmla="*/ 860 w 900"/>
                  <a:gd name="T111" fmla="*/ 404 h 965"/>
                  <a:gd name="T112" fmla="*/ 843 w 900"/>
                  <a:gd name="T113" fmla="*/ 440 h 965"/>
                  <a:gd name="T114" fmla="*/ 829 w 900"/>
                  <a:gd name="T115" fmla="*/ 414 h 965"/>
                  <a:gd name="T116" fmla="*/ 858 w 900"/>
                  <a:gd name="T117" fmla="*/ 362 h 965"/>
                  <a:gd name="T118" fmla="*/ 884 w 900"/>
                  <a:gd name="T119" fmla="*/ 340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0" h="965">
                    <a:moveTo>
                      <a:pt x="347" y="12"/>
                    </a:moveTo>
                    <a:lnTo>
                      <a:pt x="342" y="14"/>
                    </a:lnTo>
                    <a:lnTo>
                      <a:pt x="342" y="12"/>
                    </a:lnTo>
                    <a:lnTo>
                      <a:pt x="342" y="7"/>
                    </a:lnTo>
                    <a:lnTo>
                      <a:pt x="345" y="2"/>
                    </a:lnTo>
                    <a:lnTo>
                      <a:pt x="347" y="0"/>
                    </a:lnTo>
                    <a:lnTo>
                      <a:pt x="349" y="2"/>
                    </a:lnTo>
                    <a:lnTo>
                      <a:pt x="349" y="7"/>
                    </a:lnTo>
                    <a:lnTo>
                      <a:pt x="347" y="12"/>
                    </a:lnTo>
                    <a:close/>
                    <a:moveTo>
                      <a:pt x="309" y="33"/>
                    </a:moveTo>
                    <a:lnTo>
                      <a:pt x="307" y="35"/>
                    </a:lnTo>
                    <a:lnTo>
                      <a:pt x="300" y="33"/>
                    </a:lnTo>
                    <a:lnTo>
                      <a:pt x="300" y="31"/>
                    </a:lnTo>
                    <a:lnTo>
                      <a:pt x="300" y="26"/>
                    </a:lnTo>
                    <a:lnTo>
                      <a:pt x="302" y="26"/>
                    </a:lnTo>
                    <a:lnTo>
                      <a:pt x="307" y="31"/>
                    </a:lnTo>
                    <a:lnTo>
                      <a:pt x="309" y="33"/>
                    </a:lnTo>
                    <a:close/>
                    <a:moveTo>
                      <a:pt x="357" y="102"/>
                    </a:moveTo>
                    <a:lnTo>
                      <a:pt x="357" y="104"/>
                    </a:lnTo>
                    <a:lnTo>
                      <a:pt x="359" y="111"/>
                    </a:lnTo>
                    <a:lnTo>
                      <a:pt x="366" y="109"/>
                    </a:lnTo>
                    <a:lnTo>
                      <a:pt x="371" y="113"/>
                    </a:lnTo>
                    <a:lnTo>
                      <a:pt x="375" y="116"/>
                    </a:lnTo>
                    <a:lnTo>
                      <a:pt x="383" y="118"/>
                    </a:lnTo>
                    <a:lnTo>
                      <a:pt x="387" y="128"/>
                    </a:lnTo>
                    <a:lnTo>
                      <a:pt x="392" y="135"/>
                    </a:lnTo>
                    <a:lnTo>
                      <a:pt x="397" y="144"/>
                    </a:lnTo>
                    <a:lnTo>
                      <a:pt x="401" y="154"/>
                    </a:lnTo>
                    <a:lnTo>
                      <a:pt x="420" y="156"/>
                    </a:lnTo>
                    <a:lnTo>
                      <a:pt x="439" y="161"/>
                    </a:lnTo>
                    <a:lnTo>
                      <a:pt x="458" y="165"/>
                    </a:lnTo>
                    <a:lnTo>
                      <a:pt x="477" y="168"/>
                    </a:lnTo>
                    <a:lnTo>
                      <a:pt x="496" y="173"/>
                    </a:lnTo>
                    <a:lnTo>
                      <a:pt x="513" y="175"/>
                    </a:lnTo>
                    <a:lnTo>
                      <a:pt x="531" y="180"/>
                    </a:lnTo>
                    <a:lnTo>
                      <a:pt x="550" y="184"/>
                    </a:lnTo>
                    <a:lnTo>
                      <a:pt x="562" y="189"/>
                    </a:lnTo>
                    <a:lnTo>
                      <a:pt x="572" y="194"/>
                    </a:lnTo>
                    <a:lnTo>
                      <a:pt x="583" y="199"/>
                    </a:lnTo>
                    <a:lnTo>
                      <a:pt x="595" y="203"/>
                    </a:lnTo>
                    <a:lnTo>
                      <a:pt x="609" y="203"/>
                    </a:lnTo>
                    <a:lnTo>
                      <a:pt x="626" y="206"/>
                    </a:lnTo>
                    <a:lnTo>
                      <a:pt x="645" y="206"/>
                    </a:lnTo>
                    <a:lnTo>
                      <a:pt x="666" y="208"/>
                    </a:lnTo>
                    <a:lnTo>
                      <a:pt x="697" y="215"/>
                    </a:lnTo>
                    <a:lnTo>
                      <a:pt x="704" y="222"/>
                    </a:lnTo>
                    <a:lnTo>
                      <a:pt x="706" y="229"/>
                    </a:lnTo>
                    <a:lnTo>
                      <a:pt x="704" y="241"/>
                    </a:lnTo>
                    <a:lnTo>
                      <a:pt x="735" y="251"/>
                    </a:lnTo>
                    <a:lnTo>
                      <a:pt x="747" y="258"/>
                    </a:lnTo>
                    <a:lnTo>
                      <a:pt x="751" y="265"/>
                    </a:lnTo>
                    <a:lnTo>
                      <a:pt x="751" y="272"/>
                    </a:lnTo>
                    <a:lnTo>
                      <a:pt x="756" y="284"/>
                    </a:lnTo>
                    <a:lnTo>
                      <a:pt x="754" y="291"/>
                    </a:lnTo>
                    <a:lnTo>
                      <a:pt x="754" y="303"/>
                    </a:lnTo>
                    <a:lnTo>
                      <a:pt x="749" y="317"/>
                    </a:lnTo>
                    <a:lnTo>
                      <a:pt x="749" y="324"/>
                    </a:lnTo>
                    <a:lnTo>
                      <a:pt x="749" y="329"/>
                    </a:lnTo>
                    <a:lnTo>
                      <a:pt x="749" y="333"/>
                    </a:lnTo>
                    <a:lnTo>
                      <a:pt x="754" y="333"/>
                    </a:lnTo>
                    <a:lnTo>
                      <a:pt x="763" y="333"/>
                    </a:lnTo>
                    <a:lnTo>
                      <a:pt x="775" y="329"/>
                    </a:lnTo>
                    <a:lnTo>
                      <a:pt x="780" y="329"/>
                    </a:lnTo>
                    <a:lnTo>
                      <a:pt x="780" y="331"/>
                    </a:lnTo>
                    <a:lnTo>
                      <a:pt x="780" y="336"/>
                    </a:lnTo>
                    <a:lnTo>
                      <a:pt x="773" y="357"/>
                    </a:lnTo>
                    <a:lnTo>
                      <a:pt x="775" y="366"/>
                    </a:lnTo>
                    <a:lnTo>
                      <a:pt x="780" y="374"/>
                    </a:lnTo>
                    <a:lnTo>
                      <a:pt x="787" y="383"/>
                    </a:lnTo>
                    <a:lnTo>
                      <a:pt x="794" y="385"/>
                    </a:lnTo>
                    <a:lnTo>
                      <a:pt x="794" y="390"/>
                    </a:lnTo>
                    <a:lnTo>
                      <a:pt x="791" y="400"/>
                    </a:lnTo>
                    <a:lnTo>
                      <a:pt x="784" y="409"/>
                    </a:lnTo>
                    <a:lnTo>
                      <a:pt x="763" y="423"/>
                    </a:lnTo>
                    <a:lnTo>
                      <a:pt x="761" y="430"/>
                    </a:lnTo>
                    <a:lnTo>
                      <a:pt x="761" y="435"/>
                    </a:lnTo>
                    <a:lnTo>
                      <a:pt x="749" y="461"/>
                    </a:lnTo>
                    <a:lnTo>
                      <a:pt x="742" y="478"/>
                    </a:lnTo>
                    <a:lnTo>
                      <a:pt x="739" y="494"/>
                    </a:lnTo>
                    <a:lnTo>
                      <a:pt x="742" y="504"/>
                    </a:lnTo>
                    <a:lnTo>
                      <a:pt x="749" y="506"/>
                    </a:lnTo>
                    <a:lnTo>
                      <a:pt x="756" y="504"/>
                    </a:lnTo>
                    <a:lnTo>
                      <a:pt x="758" y="496"/>
                    </a:lnTo>
                    <a:lnTo>
                      <a:pt x="765" y="489"/>
                    </a:lnTo>
                    <a:lnTo>
                      <a:pt x="775" y="482"/>
                    </a:lnTo>
                    <a:lnTo>
                      <a:pt x="782" y="473"/>
                    </a:lnTo>
                    <a:lnTo>
                      <a:pt x="789" y="452"/>
                    </a:lnTo>
                    <a:lnTo>
                      <a:pt x="799" y="440"/>
                    </a:lnTo>
                    <a:lnTo>
                      <a:pt x="803" y="437"/>
                    </a:lnTo>
                    <a:lnTo>
                      <a:pt x="806" y="437"/>
                    </a:lnTo>
                    <a:lnTo>
                      <a:pt x="817" y="433"/>
                    </a:lnTo>
                    <a:lnTo>
                      <a:pt x="827" y="433"/>
                    </a:lnTo>
                    <a:lnTo>
                      <a:pt x="832" y="440"/>
                    </a:lnTo>
                    <a:lnTo>
                      <a:pt x="839" y="444"/>
                    </a:lnTo>
                    <a:lnTo>
                      <a:pt x="841" y="452"/>
                    </a:lnTo>
                    <a:lnTo>
                      <a:pt x="839" y="463"/>
                    </a:lnTo>
                    <a:lnTo>
                      <a:pt x="834" y="475"/>
                    </a:lnTo>
                    <a:lnTo>
                      <a:pt x="829" y="489"/>
                    </a:lnTo>
                    <a:lnTo>
                      <a:pt x="822" y="508"/>
                    </a:lnTo>
                    <a:lnTo>
                      <a:pt x="820" y="534"/>
                    </a:lnTo>
                    <a:lnTo>
                      <a:pt x="820" y="556"/>
                    </a:lnTo>
                    <a:lnTo>
                      <a:pt x="825" y="567"/>
                    </a:lnTo>
                    <a:lnTo>
                      <a:pt x="822" y="579"/>
                    </a:lnTo>
                    <a:lnTo>
                      <a:pt x="813" y="591"/>
                    </a:lnTo>
                    <a:lnTo>
                      <a:pt x="806" y="605"/>
                    </a:lnTo>
                    <a:lnTo>
                      <a:pt x="801" y="624"/>
                    </a:lnTo>
                    <a:lnTo>
                      <a:pt x="799" y="638"/>
                    </a:lnTo>
                    <a:lnTo>
                      <a:pt x="799" y="650"/>
                    </a:lnTo>
                    <a:lnTo>
                      <a:pt x="801" y="660"/>
                    </a:lnTo>
                    <a:lnTo>
                      <a:pt x="806" y="671"/>
                    </a:lnTo>
                    <a:lnTo>
                      <a:pt x="806" y="676"/>
                    </a:lnTo>
                    <a:lnTo>
                      <a:pt x="796" y="705"/>
                    </a:lnTo>
                    <a:lnTo>
                      <a:pt x="794" y="716"/>
                    </a:lnTo>
                    <a:lnTo>
                      <a:pt x="794" y="728"/>
                    </a:lnTo>
                    <a:lnTo>
                      <a:pt x="791" y="738"/>
                    </a:lnTo>
                    <a:lnTo>
                      <a:pt x="784" y="759"/>
                    </a:lnTo>
                    <a:lnTo>
                      <a:pt x="784" y="771"/>
                    </a:lnTo>
                    <a:lnTo>
                      <a:pt x="784" y="780"/>
                    </a:lnTo>
                    <a:lnTo>
                      <a:pt x="787" y="797"/>
                    </a:lnTo>
                    <a:lnTo>
                      <a:pt x="787" y="804"/>
                    </a:lnTo>
                    <a:lnTo>
                      <a:pt x="789" y="806"/>
                    </a:lnTo>
                    <a:lnTo>
                      <a:pt x="791" y="811"/>
                    </a:lnTo>
                    <a:lnTo>
                      <a:pt x="791" y="816"/>
                    </a:lnTo>
                    <a:lnTo>
                      <a:pt x="789" y="823"/>
                    </a:lnTo>
                    <a:lnTo>
                      <a:pt x="791" y="830"/>
                    </a:lnTo>
                    <a:lnTo>
                      <a:pt x="796" y="832"/>
                    </a:lnTo>
                    <a:lnTo>
                      <a:pt x="799" y="842"/>
                    </a:lnTo>
                    <a:lnTo>
                      <a:pt x="801" y="854"/>
                    </a:lnTo>
                    <a:lnTo>
                      <a:pt x="806" y="863"/>
                    </a:lnTo>
                    <a:lnTo>
                      <a:pt x="810" y="870"/>
                    </a:lnTo>
                    <a:lnTo>
                      <a:pt x="813" y="882"/>
                    </a:lnTo>
                    <a:lnTo>
                      <a:pt x="810" y="898"/>
                    </a:lnTo>
                    <a:lnTo>
                      <a:pt x="810" y="927"/>
                    </a:lnTo>
                    <a:lnTo>
                      <a:pt x="813" y="936"/>
                    </a:lnTo>
                    <a:lnTo>
                      <a:pt x="791" y="939"/>
                    </a:lnTo>
                    <a:lnTo>
                      <a:pt x="723" y="943"/>
                    </a:lnTo>
                    <a:lnTo>
                      <a:pt x="652" y="948"/>
                    </a:lnTo>
                    <a:lnTo>
                      <a:pt x="583" y="953"/>
                    </a:lnTo>
                    <a:lnTo>
                      <a:pt x="513" y="958"/>
                    </a:lnTo>
                    <a:lnTo>
                      <a:pt x="442" y="962"/>
                    </a:lnTo>
                    <a:lnTo>
                      <a:pt x="371" y="965"/>
                    </a:lnTo>
                    <a:lnTo>
                      <a:pt x="371" y="965"/>
                    </a:lnTo>
                    <a:lnTo>
                      <a:pt x="364" y="946"/>
                    </a:lnTo>
                    <a:lnTo>
                      <a:pt x="347" y="932"/>
                    </a:lnTo>
                    <a:lnTo>
                      <a:pt x="321" y="924"/>
                    </a:lnTo>
                    <a:lnTo>
                      <a:pt x="302" y="913"/>
                    </a:lnTo>
                    <a:lnTo>
                      <a:pt x="295" y="891"/>
                    </a:lnTo>
                    <a:lnTo>
                      <a:pt x="288" y="870"/>
                    </a:lnTo>
                    <a:lnTo>
                      <a:pt x="286" y="846"/>
                    </a:lnTo>
                    <a:lnTo>
                      <a:pt x="286" y="825"/>
                    </a:lnTo>
                    <a:lnTo>
                      <a:pt x="290" y="809"/>
                    </a:lnTo>
                    <a:lnTo>
                      <a:pt x="288" y="797"/>
                    </a:lnTo>
                    <a:lnTo>
                      <a:pt x="278" y="792"/>
                    </a:lnTo>
                    <a:lnTo>
                      <a:pt x="274" y="785"/>
                    </a:lnTo>
                    <a:lnTo>
                      <a:pt x="269" y="776"/>
                    </a:lnTo>
                    <a:lnTo>
                      <a:pt x="267" y="764"/>
                    </a:lnTo>
                    <a:lnTo>
                      <a:pt x="260" y="700"/>
                    </a:lnTo>
                    <a:lnTo>
                      <a:pt x="250" y="671"/>
                    </a:lnTo>
                    <a:lnTo>
                      <a:pt x="241" y="660"/>
                    </a:lnTo>
                    <a:lnTo>
                      <a:pt x="219" y="648"/>
                    </a:lnTo>
                    <a:lnTo>
                      <a:pt x="189" y="634"/>
                    </a:lnTo>
                    <a:lnTo>
                      <a:pt x="170" y="622"/>
                    </a:lnTo>
                    <a:lnTo>
                      <a:pt x="158" y="601"/>
                    </a:lnTo>
                    <a:lnTo>
                      <a:pt x="134" y="579"/>
                    </a:lnTo>
                    <a:lnTo>
                      <a:pt x="120" y="570"/>
                    </a:lnTo>
                    <a:lnTo>
                      <a:pt x="106" y="567"/>
                    </a:lnTo>
                    <a:lnTo>
                      <a:pt x="94" y="560"/>
                    </a:lnTo>
                    <a:lnTo>
                      <a:pt x="87" y="549"/>
                    </a:lnTo>
                    <a:lnTo>
                      <a:pt x="75" y="541"/>
                    </a:lnTo>
                    <a:lnTo>
                      <a:pt x="61" y="539"/>
                    </a:lnTo>
                    <a:lnTo>
                      <a:pt x="44" y="532"/>
                    </a:lnTo>
                    <a:lnTo>
                      <a:pt x="23" y="515"/>
                    </a:lnTo>
                    <a:lnTo>
                      <a:pt x="23" y="513"/>
                    </a:lnTo>
                    <a:lnTo>
                      <a:pt x="18" y="501"/>
                    </a:lnTo>
                    <a:lnTo>
                      <a:pt x="21" y="494"/>
                    </a:lnTo>
                    <a:lnTo>
                      <a:pt x="23" y="470"/>
                    </a:lnTo>
                    <a:lnTo>
                      <a:pt x="23" y="463"/>
                    </a:lnTo>
                    <a:lnTo>
                      <a:pt x="18" y="442"/>
                    </a:lnTo>
                    <a:lnTo>
                      <a:pt x="23" y="433"/>
                    </a:lnTo>
                    <a:lnTo>
                      <a:pt x="21" y="407"/>
                    </a:lnTo>
                    <a:lnTo>
                      <a:pt x="23" y="397"/>
                    </a:lnTo>
                    <a:lnTo>
                      <a:pt x="33" y="376"/>
                    </a:lnTo>
                    <a:lnTo>
                      <a:pt x="33" y="364"/>
                    </a:lnTo>
                    <a:lnTo>
                      <a:pt x="28" y="352"/>
                    </a:lnTo>
                    <a:lnTo>
                      <a:pt x="21" y="340"/>
                    </a:lnTo>
                    <a:lnTo>
                      <a:pt x="0" y="331"/>
                    </a:lnTo>
                    <a:lnTo>
                      <a:pt x="0" y="317"/>
                    </a:lnTo>
                    <a:lnTo>
                      <a:pt x="2" y="307"/>
                    </a:lnTo>
                    <a:lnTo>
                      <a:pt x="14" y="288"/>
                    </a:lnTo>
                    <a:lnTo>
                      <a:pt x="21" y="272"/>
                    </a:lnTo>
                    <a:lnTo>
                      <a:pt x="26" y="262"/>
                    </a:lnTo>
                    <a:lnTo>
                      <a:pt x="66" y="236"/>
                    </a:lnTo>
                    <a:lnTo>
                      <a:pt x="73" y="234"/>
                    </a:lnTo>
                    <a:lnTo>
                      <a:pt x="80" y="227"/>
                    </a:lnTo>
                    <a:lnTo>
                      <a:pt x="85" y="225"/>
                    </a:lnTo>
                    <a:lnTo>
                      <a:pt x="82" y="194"/>
                    </a:lnTo>
                    <a:lnTo>
                      <a:pt x="82" y="163"/>
                    </a:lnTo>
                    <a:lnTo>
                      <a:pt x="80" y="132"/>
                    </a:lnTo>
                    <a:lnTo>
                      <a:pt x="80" y="102"/>
                    </a:lnTo>
                    <a:lnTo>
                      <a:pt x="89" y="99"/>
                    </a:lnTo>
                    <a:lnTo>
                      <a:pt x="94" y="92"/>
                    </a:lnTo>
                    <a:lnTo>
                      <a:pt x="104" y="80"/>
                    </a:lnTo>
                    <a:lnTo>
                      <a:pt x="106" y="80"/>
                    </a:lnTo>
                    <a:lnTo>
                      <a:pt x="106" y="80"/>
                    </a:lnTo>
                    <a:lnTo>
                      <a:pt x="111" y="85"/>
                    </a:lnTo>
                    <a:lnTo>
                      <a:pt x="125" y="92"/>
                    </a:lnTo>
                    <a:lnTo>
                      <a:pt x="134" y="92"/>
                    </a:lnTo>
                    <a:lnTo>
                      <a:pt x="146" y="90"/>
                    </a:lnTo>
                    <a:lnTo>
                      <a:pt x="193" y="73"/>
                    </a:lnTo>
                    <a:lnTo>
                      <a:pt x="215" y="64"/>
                    </a:lnTo>
                    <a:lnTo>
                      <a:pt x="234" y="47"/>
                    </a:lnTo>
                    <a:lnTo>
                      <a:pt x="236" y="47"/>
                    </a:lnTo>
                    <a:lnTo>
                      <a:pt x="245" y="50"/>
                    </a:lnTo>
                    <a:lnTo>
                      <a:pt x="248" y="50"/>
                    </a:lnTo>
                    <a:lnTo>
                      <a:pt x="274" y="31"/>
                    </a:lnTo>
                    <a:lnTo>
                      <a:pt x="281" y="28"/>
                    </a:lnTo>
                    <a:lnTo>
                      <a:pt x="288" y="28"/>
                    </a:lnTo>
                    <a:lnTo>
                      <a:pt x="297" y="35"/>
                    </a:lnTo>
                    <a:lnTo>
                      <a:pt x="300" y="38"/>
                    </a:lnTo>
                    <a:lnTo>
                      <a:pt x="297" y="47"/>
                    </a:lnTo>
                    <a:lnTo>
                      <a:pt x="290" y="59"/>
                    </a:lnTo>
                    <a:lnTo>
                      <a:pt x="286" y="71"/>
                    </a:lnTo>
                    <a:lnTo>
                      <a:pt x="288" y="80"/>
                    </a:lnTo>
                    <a:lnTo>
                      <a:pt x="286" y="87"/>
                    </a:lnTo>
                    <a:lnTo>
                      <a:pt x="276" y="102"/>
                    </a:lnTo>
                    <a:lnTo>
                      <a:pt x="281" y="104"/>
                    </a:lnTo>
                    <a:lnTo>
                      <a:pt x="302" y="95"/>
                    </a:lnTo>
                    <a:lnTo>
                      <a:pt x="305" y="90"/>
                    </a:lnTo>
                    <a:lnTo>
                      <a:pt x="305" y="90"/>
                    </a:lnTo>
                    <a:lnTo>
                      <a:pt x="305" y="85"/>
                    </a:lnTo>
                    <a:lnTo>
                      <a:pt x="307" y="85"/>
                    </a:lnTo>
                    <a:lnTo>
                      <a:pt x="323" y="97"/>
                    </a:lnTo>
                    <a:lnTo>
                      <a:pt x="338" y="102"/>
                    </a:lnTo>
                    <a:lnTo>
                      <a:pt x="347" y="104"/>
                    </a:lnTo>
                    <a:lnTo>
                      <a:pt x="357" y="102"/>
                    </a:lnTo>
                    <a:close/>
                    <a:moveTo>
                      <a:pt x="331" y="35"/>
                    </a:moveTo>
                    <a:lnTo>
                      <a:pt x="326" y="35"/>
                    </a:lnTo>
                    <a:lnTo>
                      <a:pt x="316" y="35"/>
                    </a:lnTo>
                    <a:lnTo>
                      <a:pt x="316" y="31"/>
                    </a:lnTo>
                    <a:lnTo>
                      <a:pt x="326" y="26"/>
                    </a:lnTo>
                    <a:lnTo>
                      <a:pt x="331" y="26"/>
                    </a:lnTo>
                    <a:lnTo>
                      <a:pt x="333" y="26"/>
                    </a:lnTo>
                    <a:lnTo>
                      <a:pt x="331" y="35"/>
                    </a:lnTo>
                    <a:close/>
                    <a:moveTo>
                      <a:pt x="309" y="64"/>
                    </a:moveTo>
                    <a:lnTo>
                      <a:pt x="302" y="69"/>
                    </a:lnTo>
                    <a:lnTo>
                      <a:pt x="297" y="69"/>
                    </a:lnTo>
                    <a:lnTo>
                      <a:pt x="300" y="64"/>
                    </a:lnTo>
                    <a:lnTo>
                      <a:pt x="302" y="59"/>
                    </a:lnTo>
                    <a:lnTo>
                      <a:pt x="321" y="45"/>
                    </a:lnTo>
                    <a:lnTo>
                      <a:pt x="326" y="45"/>
                    </a:lnTo>
                    <a:lnTo>
                      <a:pt x="326" y="47"/>
                    </a:lnTo>
                    <a:lnTo>
                      <a:pt x="316" y="54"/>
                    </a:lnTo>
                    <a:lnTo>
                      <a:pt x="314" y="59"/>
                    </a:lnTo>
                    <a:lnTo>
                      <a:pt x="314" y="61"/>
                    </a:lnTo>
                    <a:lnTo>
                      <a:pt x="309" y="64"/>
                    </a:lnTo>
                    <a:close/>
                    <a:moveTo>
                      <a:pt x="900" y="322"/>
                    </a:moveTo>
                    <a:lnTo>
                      <a:pt x="895" y="324"/>
                    </a:lnTo>
                    <a:lnTo>
                      <a:pt x="886" y="324"/>
                    </a:lnTo>
                    <a:lnTo>
                      <a:pt x="884" y="319"/>
                    </a:lnTo>
                    <a:lnTo>
                      <a:pt x="886" y="307"/>
                    </a:lnTo>
                    <a:lnTo>
                      <a:pt x="888" y="310"/>
                    </a:lnTo>
                    <a:lnTo>
                      <a:pt x="895" y="310"/>
                    </a:lnTo>
                    <a:lnTo>
                      <a:pt x="898" y="310"/>
                    </a:lnTo>
                    <a:lnTo>
                      <a:pt x="900" y="312"/>
                    </a:lnTo>
                    <a:lnTo>
                      <a:pt x="900" y="322"/>
                    </a:lnTo>
                    <a:close/>
                    <a:moveTo>
                      <a:pt x="884" y="348"/>
                    </a:moveTo>
                    <a:lnTo>
                      <a:pt x="881" y="350"/>
                    </a:lnTo>
                    <a:lnTo>
                      <a:pt x="877" y="350"/>
                    </a:lnTo>
                    <a:lnTo>
                      <a:pt x="874" y="352"/>
                    </a:lnTo>
                    <a:lnTo>
                      <a:pt x="877" y="364"/>
                    </a:lnTo>
                    <a:lnTo>
                      <a:pt x="874" y="366"/>
                    </a:lnTo>
                    <a:lnTo>
                      <a:pt x="872" y="366"/>
                    </a:lnTo>
                    <a:lnTo>
                      <a:pt x="872" y="369"/>
                    </a:lnTo>
                    <a:lnTo>
                      <a:pt x="874" y="374"/>
                    </a:lnTo>
                    <a:lnTo>
                      <a:pt x="877" y="378"/>
                    </a:lnTo>
                    <a:lnTo>
                      <a:pt x="874" y="383"/>
                    </a:lnTo>
                    <a:lnTo>
                      <a:pt x="872" y="385"/>
                    </a:lnTo>
                    <a:lnTo>
                      <a:pt x="867" y="385"/>
                    </a:lnTo>
                    <a:lnTo>
                      <a:pt x="865" y="392"/>
                    </a:lnTo>
                    <a:lnTo>
                      <a:pt x="860" y="404"/>
                    </a:lnTo>
                    <a:lnTo>
                      <a:pt x="860" y="411"/>
                    </a:lnTo>
                    <a:lnTo>
                      <a:pt x="860" y="414"/>
                    </a:lnTo>
                    <a:lnTo>
                      <a:pt x="860" y="418"/>
                    </a:lnTo>
                    <a:lnTo>
                      <a:pt x="848" y="437"/>
                    </a:lnTo>
                    <a:lnTo>
                      <a:pt x="843" y="440"/>
                    </a:lnTo>
                    <a:lnTo>
                      <a:pt x="836" y="437"/>
                    </a:lnTo>
                    <a:lnTo>
                      <a:pt x="832" y="433"/>
                    </a:lnTo>
                    <a:lnTo>
                      <a:pt x="829" y="426"/>
                    </a:lnTo>
                    <a:lnTo>
                      <a:pt x="827" y="418"/>
                    </a:lnTo>
                    <a:lnTo>
                      <a:pt x="829" y="414"/>
                    </a:lnTo>
                    <a:lnTo>
                      <a:pt x="839" y="397"/>
                    </a:lnTo>
                    <a:lnTo>
                      <a:pt x="843" y="385"/>
                    </a:lnTo>
                    <a:lnTo>
                      <a:pt x="846" y="374"/>
                    </a:lnTo>
                    <a:lnTo>
                      <a:pt x="851" y="364"/>
                    </a:lnTo>
                    <a:lnTo>
                      <a:pt x="858" y="362"/>
                    </a:lnTo>
                    <a:lnTo>
                      <a:pt x="865" y="352"/>
                    </a:lnTo>
                    <a:lnTo>
                      <a:pt x="867" y="340"/>
                    </a:lnTo>
                    <a:lnTo>
                      <a:pt x="872" y="336"/>
                    </a:lnTo>
                    <a:lnTo>
                      <a:pt x="879" y="336"/>
                    </a:lnTo>
                    <a:lnTo>
                      <a:pt x="884" y="340"/>
                    </a:lnTo>
                    <a:lnTo>
                      <a:pt x="884" y="348"/>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34" name="Freeform 92">
                <a:extLst>
                  <a:ext uri="{FF2B5EF4-FFF2-40B4-BE49-F238E27FC236}">
                    <a16:creationId xmlns:a16="http://schemas.microsoft.com/office/drawing/2014/main" id="{E09214C7-DEBC-15FC-C624-AC7385563555}"/>
                  </a:ext>
                </a:extLst>
              </p:cNvPr>
              <p:cNvSpPr>
                <a:spLocks/>
              </p:cNvSpPr>
              <p:nvPr/>
            </p:nvSpPr>
            <p:spPr bwMode="auto">
              <a:xfrm>
                <a:off x="6912" y="764"/>
                <a:ext cx="758" cy="742"/>
              </a:xfrm>
              <a:custGeom>
                <a:avLst/>
                <a:gdLst>
                  <a:gd name="T0" fmla="*/ 472 w 758"/>
                  <a:gd name="T1" fmla="*/ 215 h 742"/>
                  <a:gd name="T2" fmla="*/ 498 w 758"/>
                  <a:gd name="T3" fmla="*/ 248 h 742"/>
                  <a:gd name="T4" fmla="*/ 541 w 758"/>
                  <a:gd name="T5" fmla="*/ 198 h 742"/>
                  <a:gd name="T6" fmla="*/ 576 w 758"/>
                  <a:gd name="T7" fmla="*/ 163 h 742"/>
                  <a:gd name="T8" fmla="*/ 584 w 758"/>
                  <a:gd name="T9" fmla="*/ 163 h 742"/>
                  <a:gd name="T10" fmla="*/ 598 w 758"/>
                  <a:gd name="T11" fmla="*/ 172 h 742"/>
                  <a:gd name="T12" fmla="*/ 626 w 758"/>
                  <a:gd name="T13" fmla="*/ 170 h 742"/>
                  <a:gd name="T14" fmla="*/ 638 w 758"/>
                  <a:gd name="T15" fmla="*/ 149 h 742"/>
                  <a:gd name="T16" fmla="*/ 685 w 758"/>
                  <a:gd name="T17" fmla="*/ 127 h 742"/>
                  <a:gd name="T18" fmla="*/ 721 w 758"/>
                  <a:gd name="T19" fmla="*/ 135 h 742"/>
                  <a:gd name="T20" fmla="*/ 730 w 758"/>
                  <a:gd name="T21" fmla="*/ 146 h 742"/>
                  <a:gd name="T22" fmla="*/ 742 w 758"/>
                  <a:gd name="T23" fmla="*/ 163 h 742"/>
                  <a:gd name="T24" fmla="*/ 751 w 758"/>
                  <a:gd name="T25" fmla="*/ 175 h 742"/>
                  <a:gd name="T26" fmla="*/ 751 w 758"/>
                  <a:gd name="T27" fmla="*/ 213 h 742"/>
                  <a:gd name="T28" fmla="*/ 697 w 758"/>
                  <a:gd name="T29" fmla="*/ 203 h 742"/>
                  <a:gd name="T30" fmla="*/ 654 w 758"/>
                  <a:gd name="T31" fmla="*/ 191 h 742"/>
                  <a:gd name="T32" fmla="*/ 652 w 758"/>
                  <a:gd name="T33" fmla="*/ 246 h 742"/>
                  <a:gd name="T34" fmla="*/ 614 w 758"/>
                  <a:gd name="T35" fmla="*/ 302 h 742"/>
                  <a:gd name="T36" fmla="*/ 595 w 758"/>
                  <a:gd name="T37" fmla="*/ 331 h 742"/>
                  <a:gd name="T38" fmla="*/ 565 w 758"/>
                  <a:gd name="T39" fmla="*/ 352 h 742"/>
                  <a:gd name="T40" fmla="*/ 553 w 758"/>
                  <a:gd name="T41" fmla="*/ 399 h 742"/>
                  <a:gd name="T42" fmla="*/ 524 w 758"/>
                  <a:gd name="T43" fmla="*/ 421 h 742"/>
                  <a:gd name="T44" fmla="*/ 494 w 758"/>
                  <a:gd name="T45" fmla="*/ 404 h 742"/>
                  <a:gd name="T46" fmla="*/ 477 w 758"/>
                  <a:gd name="T47" fmla="*/ 411 h 742"/>
                  <a:gd name="T48" fmla="*/ 463 w 758"/>
                  <a:gd name="T49" fmla="*/ 473 h 742"/>
                  <a:gd name="T50" fmla="*/ 418 w 758"/>
                  <a:gd name="T51" fmla="*/ 574 h 742"/>
                  <a:gd name="T52" fmla="*/ 413 w 758"/>
                  <a:gd name="T53" fmla="*/ 615 h 742"/>
                  <a:gd name="T54" fmla="*/ 409 w 758"/>
                  <a:gd name="T55" fmla="*/ 643 h 742"/>
                  <a:gd name="T56" fmla="*/ 383 w 758"/>
                  <a:gd name="T57" fmla="*/ 657 h 742"/>
                  <a:gd name="T58" fmla="*/ 338 w 758"/>
                  <a:gd name="T59" fmla="*/ 678 h 742"/>
                  <a:gd name="T60" fmla="*/ 321 w 758"/>
                  <a:gd name="T61" fmla="*/ 678 h 742"/>
                  <a:gd name="T62" fmla="*/ 316 w 758"/>
                  <a:gd name="T63" fmla="*/ 702 h 742"/>
                  <a:gd name="T64" fmla="*/ 274 w 758"/>
                  <a:gd name="T65" fmla="*/ 719 h 742"/>
                  <a:gd name="T66" fmla="*/ 234 w 758"/>
                  <a:gd name="T67" fmla="*/ 721 h 742"/>
                  <a:gd name="T68" fmla="*/ 208 w 758"/>
                  <a:gd name="T69" fmla="*/ 742 h 742"/>
                  <a:gd name="T70" fmla="*/ 165 w 758"/>
                  <a:gd name="T71" fmla="*/ 728 h 742"/>
                  <a:gd name="T72" fmla="*/ 144 w 758"/>
                  <a:gd name="T73" fmla="*/ 704 h 742"/>
                  <a:gd name="T74" fmla="*/ 134 w 758"/>
                  <a:gd name="T75" fmla="*/ 683 h 742"/>
                  <a:gd name="T76" fmla="*/ 56 w 758"/>
                  <a:gd name="T77" fmla="*/ 633 h 742"/>
                  <a:gd name="T78" fmla="*/ 35 w 758"/>
                  <a:gd name="T79" fmla="*/ 603 h 742"/>
                  <a:gd name="T80" fmla="*/ 7 w 758"/>
                  <a:gd name="T81" fmla="*/ 565 h 742"/>
                  <a:gd name="T82" fmla="*/ 4 w 758"/>
                  <a:gd name="T83" fmla="*/ 515 h 742"/>
                  <a:gd name="T84" fmla="*/ 38 w 758"/>
                  <a:gd name="T85" fmla="*/ 508 h 742"/>
                  <a:gd name="T86" fmla="*/ 54 w 758"/>
                  <a:gd name="T87" fmla="*/ 470 h 742"/>
                  <a:gd name="T88" fmla="*/ 61 w 758"/>
                  <a:gd name="T89" fmla="*/ 444 h 742"/>
                  <a:gd name="T90" fmla="*/ 73 w 758"/>
                  <a:gd name="T91" fmla="*/ 390 h 742"/>
                  <a:gd name="T92" fmla="*/ 97 w 758"/>
                  <a:gd name="T93" fmla="*/ 388 h 742"/>
                  <a:gd name="T94" fmla="*/ 106 w 758"/>
                  <a:gd name="T95" fmla="*/ 399 h 742"/>
                  <a:gd name="T96" fmla="*/ 118 w 758"/>
                  <a:gd name="T97" fmla="*/ 385 h 742"/>
                  <a:gd name="T98" fmla="*/ 113 w 758"/>
                  <a:gd name="T99" fmla="*/ 366 h 742"/>
                  <a:gd name="T100" fmla="*/ 120 w 758"/>
                  <a:gd name="T101" fmla="*/ 343 h 742"/>
                  <a:gd name="T102" fmla="*/ 137 w 758"/>
                  <a:gd name="T103" fmla="*/ 312 h 742"/>
                  <a:gd name="T104" fmla="*/ 160 w 758"/>
                  <a:gd name="T105" fmla="*/ 283 h 742"/>
                  <a:gd name="T106" fmla="*/ 189 w 758"/>
                  <a:gd name="T107" fmla="*/ 281 h 742"/>
                  <a:gd name="T108" fmla="*/ 241 w 758"/>
                  <a:gd name="T109" fmla="*/ 213 h 742"/>
                  <a:gd name="T110" fmla="*/ 257 w 758"/>
                  <a:gd name="T111" fmla="*/ 99 h 742"/>
                  <a:gd name="T112" fmla="*/ 253 w 758"/>
                  <a:gd name="T113" fmla="*/ 30 h 742"/>
                  <a:gd name="T114" fmla="*/ 264 w 758"/>
                  <a:gd name="T115" fmla="*/ 0 h 742"/>
                  <a:gd name="T116" fmla="*/ 276 w 758"/>
                  <a:gd name="T117" fmla="*/ 71 h 742"/>
                  <a:gd name="T118" fmla="*/ 288 w 758"/>
                  <a:gd name="T119" fmla="*/ 144 h 742"/>
                  <a:gd name="T120" fmla="*/ 316 w 758"/>
                  <a:gd name="T121" fmla="*/ 187 h 742"/>
                  <a:gd name="T122" fmla="*/ 380 w 758"/>
                  <a:gd name="T123" fmla="*/ 177 h 742"/>
                  <a:gd name="T124" fmla="*/ 442 w 758"/>
                  <a:gd name="T125" fmla="*/ 165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8" h="742">
                    <a:moveTo>
                      <a:pt x="463" y="161"/>
                    </a:moveTo>
                    <a:lnTo>
                      <a:pt x="468" y="187"/>
                    </a:lnTo>
                    <a:lnTo>
                      <a:pt x="472" y="215"/>
                    </a:lnTo>
                    <a:lnTo>
                      <a:pt x="477" y="241"/>
                    </a:lnTo>
                    <a:lnTo>
                      <a:pt x="480" y="267"/>
                    </a:lnTo>
                    <a:lnTo>
                      <a:pt x="498" y="248"/>
                    </a:lnTo>
                    <a:lnTo>
                      <a:pt x="508" y="241"/>
                    </a:lnTo>
                    <a:lnTo>
                      <a:pt x="536" y="201"/>
                    </a:lnTo>
                    <a:lnTo>
                      <a:pt x="541" y="198"/>
                    </a:lnTo>
                    <a:lnTo>
                      <a:pt x="555" y="201"/>
                    </a:lnTo>
                    <a:lnTo>
                      <a:pt x="574" y="172"/>
                    </a:lnTo>
                    <a:lnTo>
                      <a:pt x="576" y="163"/>
                    </a:lnTo>
                    <a:lnTo>
                      <a:pt x="579" y="161"/>
                    </a:lnTo>
                    <a:lnTo>
                      <a:pt x="581" y="161"/>
                    </a:lnTo>
                    <a:lnTo>
                      <a:pt x="584" y="163"/>
                    </a:lnTo>
                    <a:lnTo>
                      <a:pt x="584" y="168"/>
                    </a:lnTo>
                    <a:lnTo>
                      <a:pt x="586" y="170"/>
                    </a:lnTo>
                    <a:lnTo>
                      <a:pt x="598" y="172"/>
                    </a:lnTo>
                    <a:lnTo>
                      <a:pt x="612" y="172"/>
                    </a:lnTo>
                    <a:lnTo>
                      <a:pt x="614" y="172"/>
                    </a:lnTo>
                    <a:lnTo>
                      <a:pt x="626" y="170"/>
                    </a:lnTo>
                    <a:lnTo>
                      <a:pt x="631" y="165"/>
                    </a:lnTo>
                    <a:lnTo>
                      <a:pt x="633" y="156"/>
                    </a:lnTo>
                    <a:lnTo>
                      <a:pt x="638" y="149"/>
                    </a:lnTo>
                    <a:lnTo>
                      <a:pt x="650" y="144"/>
                    </a:lnTo>
                    <a:lnTo>
                      <a:pt x="671" y="130"/>
                    </a:lnTo>
                    <a:lnTo>
                      <a:pt x="685" y="127"/>
                    </a:lnTo>
                    <a:lnTo>
                      <a:pt x="697" y="135"/>
                    </a:lnTo>
                    <a:lnTo>
                      <a:pt x="711" y="137"/>
                    </a:lnTo>
                    <a:lnTo>
                      <a:pt x="721" y="135"/>
                    </a:lnTo>
                    <a:lnTo>
                      <a:pt x="725" y="137"/>
                    </a:lnTo>
                    <a:lnTo>
                      <a:pt x="725" y="142"/>
                    </a:lnTo>
                    <a:lnTo>
                      <a:pt x="730" y="146"/>
                    </a:lnTo>
                    <a:lnTo>
                      <a:pt x="740" y="151"/>
                    </a:lnTo>
                    <a:lnTo>
                      <a:pt x="744" y="158"/>
                    </a:lnTo>
                    <a:lnTo>
                      <a:pt x="742" y="163"/>
                    </a:lnTo>
                    <a:lnTo>
                      <a:pt x="744" y="168"/>
                    </a:lnTo>
                    <a:lnTo>
                      <a:pt x="749" y="168"/>
                    </a:lnTo>
                    <a:lnTo>
                      <a:pt x="751" y="175"/>
                    </a:lnTo>
                    <a:lnTo>
                      <a:pt x="756" y="184"/>
                    </a:lnTo>
                    <a:lnTo>
                      <a:pt x="758" y="184"/>
                    </a:lnTo>
                    <a:lnTo>
                      <a:pt x="751" y="213"/>
                    </a:lnTo>
                    <a:lnTo>
                      <a:pt x="749" y="229"/>
                    </a:lnTo>
                    <a:lnTo>
                      <a:pt x="728" y="220"/>
                    </a:lnTo>
                    <a:lnTo>
                      <a:pt x="697" y="203"/>
                    </a:lnTo>
                    <a:lnTo>
                      <a:pt x="683" y="194"/>
                    </a:lnTo>
                    <a:lnTo>
                      <a:pt x="659" y="182"/>
                    </a:lnTo>
                    <a:lnTo>
                      <a:pt x="654" y="191"/>
                    </a:lnTo>
                    <a:lnTo>
                      <a:pt x="657" y="208"/>
                    </a:lnTo>
                    <a:lnTo>
                      <a:pt x="652" y="224"/>
                    </a:lnTo>
                    <a:lnTo>
                      <a:pt x="652" y="246"/>
                    </a:lnTo>
                    <a:lnTo>
                      <a:pt x="636" y="283"/>
                    </a:lnTo>
                    <a:lnTo>
                      <a:pt x="619" y="302"/>
                    </a:lnTo>
                    <a:lnTo>
                      <a:pt x="614" y="302"/>
                    </a:lnTo>
                    <a:lnTo>
                      <a:pt x="610" y="307"/>
                    </a:lnTo>
                    <a:lnTo>
                      <a:pt x="605" y="319"/>
                    </a:lnTo>
                    <a:lnTo>
                      <a:pt x="595" y="331"/>
                    </a:lnTo>
                    <a:lnTo>
                      <a:pt x="576" y="333"/>
                    </a:lnTo>
                    <a:lnTo>
                      <a:pt x="569" y="340"/>
                    </a:lnTo>
                    <a:lnTo>
                      <a:pt x="565" y="352"/>
                    </a:lnTo>
                    <a:lnTo>
                      <a:pt x="562" y="366"/>
                    </a:lnTo>
                    <a:lnTo>
                      <a:pt x="558" y="380"/>
                    </a:lnTo>
                    <a:lnTo>
                      <a:pt x="553" y="399"/>
                    </a:lnTo>
                    <a:lnTo>
                      <a:pt x="548" y="411"/>
                    </a:lnTo>
                    <a:lnTo>
                      <a:pt x="539" y="418"/>
                    </a:lnTo>
                    <a:lnTo>
                      <a:pt x="524" y="421"/>
                    </a:lnTo>
                    <a:lnTo>
                      <a:pt x="506" y="416"/>
                    </a:lnTo>
                    <a:lnTo>
                      <a:pt x="501" y="409"/>
                    </a:lnTo>
                    <a:lnTo>
                      <a:pt x="494" y="404"/>
                    </a:lnTo>
                    <a:lnTo>
                      <a:pt x="487" y="402"/>
                    </a:lnTo>
                    <a:lnTo>
                      <a:pt x="480" y="404"/>
                    </a:lnTo>
                    <a:lnTo>
                      <a:pt x="477" y="411"/>
                    </a:lnTo>
                    <a:lnTo>
                      <a:pt x="475" y="442"/>
                    </a:lnTo>
                    <a:lnTo>
                      <a:pt x="465" y="456"/>
                    </a:lnTo>
                    <a:lnTo>
                      <a:pt x="463" y="473"/>
                    </a:lnTo>
                    <a:lnTo>
                      <a:pt x="451" y="492"/>
                    </a:lnTo>
                    <a:lnTo>
                      <a:pt x="446" y="522"/>
                    </a:lnTo>
                    <a:lnTo>
                      <a:pt x="418" y="574"/>
                    </a:lnTo>
                    <a:lnTo>
                      <a:pt x="411" y="591"/>
                    </a:lnTo>
                    <a:lnTo>
                      <a:pt x="409" y="607"/>
                    </a:lnTo>
                    <a:lnTo>
                      <a:pt x="413" y="615"/>
                    </a:lnTo>
                    <a:lnTo>
                      <a:pt x="416" y="619"/>
                    </a:lnTo>
                    <a:lnTo>
                      <a:pt x="411" y="631"/>
                    </a:lnTo>
                    <a:lnTo>
                      <a:pt x="409" y="643"/>
                    </a:lnTo>
                    <a:lnTo>
                      <a:pt x="402" y="652"/>
                    </a:lnTo>
                    <a:lnTo>
                      <a:pt x="387" y="664"/>
                    </a:lnTo>
                    <a:lnTo>
                      <a:pt x="383" y="657"/>
                    </a:lnTo>
                    <a:lnTo>
                      <a:pt x="378" y="657"/>
                    </a:lnTo>
                    <a:lnTo>
                      <a:pt x="347" y="678"/>
                    </a:lnTo>
                    <a:lnTo>
                      <a:pt x="338" y="678"/>
                    </a:lnTo>
                    <a:lnTo>
                      <a:pt x="328" y="676"/>
                    </a:lnTo>
                    <a:lnTo>
                      <a:pt x="326" y="676"/>
                    </a:lnTo>
                    <a:lnTo>
                      <a:pt x="321" y="678"/>
                    </a:lnTo>
                    <a:lnTo>
                      <a:pt x="321" y="683"/>
                    </a:lnTo>
                    <a:lnTo>
                      <a:pt x="324" y="695"/>
                    </a:lnTo>
                    <a:lnTo>
                      <a:pt x="316" y="702"/>
                    </a:lnTo>
                    <a:lnTo>
                      <a:pt x="312" y="704"/>
                    </a:lnTo>
                    <a:lnTo>
                      <a:pt x="293" y="709"/>
                    </a:lnTo>
                    <a:lnTo>
                      <a:pt x="274" y="719"/>
                    </a:lnTo>
                    <a:lnTo>
                      <a:pt x="267" y="721"/>
                    </a:lnTo>
                    <a:lnTo>
                      <a:pt x="243" y="709"/>
                    </a:lnTo>
                    <a:lnTo>
                      <a:pt x="234" y="721"/>
                    </a:lnTo>
                    <a:lnTo>
                      <a:pt x="224" y="728"/>
                    </a:lnTo>
                    <a:lnTo>
                      <a:pt x="212" y="740"/>
                    </a:lnTo>
                    <a:lnTo>
                      <a:pt x="208" y="742"/>
                    </a:lnTo>
                    <a:lnTo>
                      <a:pt x="196" y="740"/>
                    </a:lnTo>
                    <a:lnTo>
                      <a:pt x="179" y="733"/>
                    </a:lnTo>
                    <a:lnTo>
                      <a:pt x="165" y="728"/>
                    </a:lnTo>
                    <a:lnTo>
                      <a:pt x="158" y="723"/>
                    </a:lnTo>
                    <a:lnTo>
                      <a:pt x="149" y="716"/>
                    </a:lnTo>
                    <a:lnTo>
                      <a:pt x="144" y="704"/>
                    </a:lnTo>
                    <a:lnTo>
                      <a:pt x="137" y="697"/>
                    </a:lnTo>
                    <a:lnTo>
                      <a:pt x="137" y="688"/>
                    </a:lnTo>
                    <a:lnTo>
                      <a:pt x="134" y="683"/>
                    </a:lnTo>
                    <a:lnTo>
                      <a:pt x="111" y="678"/>
                    </a:lnTo>
                    <a:lnTo>
                      <a:pt x="78" y="659"/>
                    </a:lnTo>
                    <a:lnTo>
                      <a:pt x="56" y="633"/>
                    </a:lnTo>
                    <a:lnTo>
                      <a:pt x="47" y="619"/>
                    </a:lnTo>
                    <a:lnTo>
                      <a:pt x="40" y="612"/>
                    </a:lnTo>
                    <a:lnTo>
                      <a:pt x="35" y="603"/>
                    </a:lnTo>
                    <a:lnTo>
                      <a:pt x="14" y="581"/>
                    </a:lnTo>
                    <a:lnTo>
                      <a:pt x="9" y="572"/>
                    </a:lnTo>
                    <a:lnTo>
                      <a:pt x="7" y="565"/>
                    </a:lnTo>
                    <a:lnTo>
                      <a:pt x="12" y="551"/>
                    </a:lnTo>
                    <a:lnTo>
                      <a:pt x="12" y="546"/>
                    </a:lnTo>
                    <a:lnTo>
                      <a:pt x="4" y="515"/>
                    </a:lnTo>
                    <a:lnTo>
                      <a:pt x="0" y="510"/>
                    </a:lnTo>
                    <a:lnTo>
                      <a:pt x="21" y="513"/>
                    </a:lnTo>
                    <a:lnTo>
                      <a:pt x="38" y="508"/>
                    </a:lnTo>
                    <a:lnTo>
                      <a:pt x="47" y="496"/>
                    </a:lnTo>
                    <a:lnTo>
                      <a:pt x="49" y="480"/>
                    </a:lnTo>
                    <a:lnTo>
                      <a:pt x="54" y="470"/>
                    </a:lnTo>
                    <a:lnTo>
                      <a:pt x="61" y="466"/>
                    </a:lnTo>
                    <a:lnTo>
                      <a:pt x="66" y="458"/>
                    </a:lnTo>
                    <a:lnTo>
                      <a:pt x="61" y="444"/>
                    </a:lnTo>
                    <a:lnTo>
                      <a:pt x="56" y="432"/>
                    </a:lnTo>
                    <a:lnTo>
                      <a:pt x="61" y="416"/>
                    </a:lnTo>
                    <a:lnTo>
                      <a:pt x="73" y="390"/>
                    </a:lnTo>
                    <a:lnTo>
                      <a:pt x="82" y="378"/>
                    </a:lnTo>
                    <a:lnTo>
                      <a:pt x="92" y="380"/>
                    </a:lnTo>
                    <a:lnTo>
                      <a:pt x="97" y="388"/>
                    </a:lnTo>
                    <a:lnTo>
                      <a:pt x="101" y="397"/>
                    </a:lnTo>
                    <a:lnTo>
                      <a:pt x="104" y="399"/>
                    </a:lnTo>
                    <a:lnTo>
                      <a:pt x="106" y="399"/>
                    </a:lnTo>
                    <a:lnTo>
                      <a:pt x="111" y="390"/>
                    </a:lnTo>
                    <a:lnTo>
                      <a:pt x="116" y="385"/>
                    </a:lnTo>
                    <a:lnTo>
                      <a:pt x="118" y="385"/>
                    </a:lnTo>
                    <a:lnTo>
                      <a:pt x="120" y="385"/>
                    </a:lnTo>
                    <a:lnTo>
                      <a:pt x="120" y="380"/>
                    </a:lnTo>
                    <a:lnTo>
                      <a:pt x="113" y="366"/>
                    </a:lnTo>
                    <a:lnTo>
                      <a:pt x="111" y="357"/>
                    </a:lnTo>
                    <a:lnTo>
                      <a:pt x="116" y="354"/>
                    </a:lnTo>
                    <a:lnTo>
                      <a:pt x="120" y="343"/>
                    </a:lnTo>
                    <a:lnTo>
                      <a:pt x="123" y="324"/>
                    </a:lnTo>
                    <a:lnTo>
                      <a:pt x="130" y="314"/>
                    </a:lnTo>
                    <a:lnTo>
                      <a:pt x="137" y="312"/>
                    </a:lnTo>
                    <a:lnTo>
                      <a:pt x="144" y="305"/>
                    </a:lnTo>
                    <a:lnTo>
                      <a:pt x="153" y="288"/>
                    </a:lnTo>
                    <a:lnTo>
                      <a:pt x="160" y="283"/>
                    </a:lnTo>
                    <a:lnTo>
                      <a:pt x="168" y="288"/>
                    </a:lnTo>
                    <a:lnTo>
                      <a:pt x="179" y="288"/>
                    </a:lnTo>
                    <a:lnTo>
                      <a:pt x="189" y="281"/>
                    </a:lnTo>
                    <a:lnTo>
                      <a:pt x="205" y="262"/>
                    </a:lnTo>
                    <a:lnTo>
                      <a:pt x="231" y="234"/>
                    </a:lnTo>
                    <a:lnTo>
                      <a:pt x="241" y="213"/>
                    </a:lnTo>
                    <a:lnTo>
                      <a:pt x="238" y="198"/>
                    </a:lnTo>
                    <a:lnTo>
                      <a:pt x="246" y="161"/>
                    </a:lnTo>
                    <a:lnTo>
                      <a:pt x="257" y="99"/>
                    </a:lnTo>
                    <a:lnTo>
                      <a:pt x="260" y="61"/>
                    </a:lnTo>
                    <a:lnTo>
                      <a:pt x="257" y="42"/>
                    </a:lnTo>
                    <a:lnTo>
                      <a:pt x="253" y="30"/>
                    </a:lnTo>
                    <a:lnTo>
                      <a:pt x="246" y="21"/>
                    </a:lnTo>
                    <a:lnTo>
                      <a:pt x="246" y="12"/>
                    </a:lnTo>
                    <a:lnTo>
                      <a:pt x="264" y="0"/>
                    </a:lnTo>
                    <a:lnTo>
                      <a:pt x="267" y="23"/>
                    </a:lnTo>
                    <a:lnTo>
                      <a:pt x="272" y="47"/>
                    </a:lnTo>
                    <a:lnTo>
                      <a:pt x="276" y="71"/>
                    </a:lnTo>
                    <a:lnTo>
                      <a:pt x="281" y="94"/>
                    </a:lnTo>
                    <a:lnTo>
                      <a:pt x="283" y="118"/>
                    </a:lnTo>
                    <a:lnTo>
                      <a:pt x="288" y="144"/>
                    </a:lnTo>
                    <a:lnTo>
                      <a:pt x="293" y="168"/>
                    </a:lnTo>
                    <a:lnTo>
                      <a:pt x="298" y="191"/>
                    </a:lnTo>
                    <a:lnTo>
                      <a:pt x="316" y="187"/>
                    </a:lnTo>
                    <a:lnTo>
                      <a:pt x="338" y="184"/>
                    </a:lnTo>
                    <a:lnTo>
                      <a:pt x="359" y="179"/>
                    </a:lnTo>
                    <a:lnTo>
                      <a:pt x="380" y="177"/>
                    </a:lnTo>
                    <a:lnTo>
                      <a:pt x="402" y="172"/>
                    </a:lnTo>
                    <a:lnTo>
                      <a:pt x="420" y="168"/>
                    </a:lnTo>
                    <a:lnTo>
                      <a:pt x="442" y="165"/>
                    </a:lnTo>
                    <a:lnTo>
                      <a:pt x="463" y="161"/>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sp>
            <p:nvSpPr>
              <p:cNvPr id="1035" name="Freeform 93">
                <a:extLst>
                  <a:ext uri="{FF2B5EF4-FFF2-40B4-BE49-F238E27FC236}">
                    <a16:creationId xmlns:a16="http://schemas.microsoft.com/office/drawing/2014/main" id="{228A21F4-1FE7-6AF3-38F5-045C79C5DC05}"/>
                  </a:ext>
                </a:extLst>
              </p:cNvPr>
              <p:cNvSpPr>
                <a:spLocks/>
              </p:cNvSpPr>
              <p:nvPr/>
            </p:nvSpPr>
            <p:spPr bwMode="auto">
              <a:xfrm>
                <a:off x="2321" y="-130"/>
                <a:ext cx="1182" cy="974"/>
              </a:xfrm>
              <a:custGeom>
                <a:avLst/>
                <a:gdLst>
                  <a:gd name="T0" fmla="*/ 1142 w 1182"/>
                  <a:gd name="T1" fmla="*/ 605 h 974"/>
                  <a:gd name="T2" fmla="*/ 1132 w 1182"/>
                  <a:gd name="T3" fmla="*/ 712 h 974"/>
                  <a:gd name="T4" fmla="*/ 1125 w 1182"/>
                  <a:gd name="T5" fmla="*/ 816 h 974"/>
                  <a:gd name="T6" fmla="*/ 1116 w 1182"/>
                  <a:gd name="T7" fmla="*/ 920 h 974"/>
                  <a:gd name="T8" fmla="*/ 1062 w 1182"/>
                  <a:gd name="T9" fmla="*/ 969 h 974"/>
                  <a:gd name="T10" fmla="*/ 962 w 1182"/>
                  <a:gd name="T11" fmla="*/ 960 h 974"/>
                  <a:gd name="T12" fmla="*/ 861 w 1182"/>
                  <a:gd name="T13" fmla="*/ 948 h 974"/>
                  <a:gd name="T14" fmla="*/ 761 w 1182"/>
                  <a:gd name="T15" fmla="*/ 939 h 974"/>
                  <a:gd name="T16" fmla="*/ 662 w 1182"/>
                  <a:gd name="T17" fmla="*/ 927 h 974"/>
                  <a:gd name="T18" fmla="*/ 563 w 1182"/>
                  <a:gd name="T19" fmla="*/ 915 h 974"/>
                  <a:gd name="T20" fmla="*/ 464 w 1182"/>
                  <a:gd name="T21" fmla="*/ 901 h 974"/>
                  <a:gd name="T22" fmla="*/ 364 w 1182"/>
                  <a:gd name="T23" fmla="*/ 887 h 974"/>
                  <a:gd name="T24" fmla="*/ 277 w 1182"/>
                  <a:gd name="T25" fmla="*/ 875 h 974"/>
                  <a:gd name="T26" fmla="*/ 196 w 1182"/>
                  <a:gd name="T27" fmla="*/ 863 h 974"/>
                  <a:gd name="T28" fmla="*/ 118 w 1182"/>
                  <a:gd name="T29" fmla="*/ 851 h 974"/>
                  <a:gd name="T30" fmla="*/ 40 w 1182"/>
                  <a:gd name="T31" fmla="*/ 837 h 974"/>
                  <a:gd name="T32" fmla="*/ 5 w 1182"/>
                  <a:gd name="T33" fmla="*/ 806 h 974"/>
                  <a:gd name="T34" fmla="*/ 14 w 1182"/>
                  <a:gd name="T35" fmla="*/ 754 h 974"/>
                  <a:gd name="T36" fmla="*/ 21 w 1182"/>
                  <a:gd name="T37" fmla="*/ 702 h 974"/>
                  <a:gd name="T38" fmla="*/ 31 w 1182"/>
                  <a:gd name="T39" fmla="*/ 650 h 974"/>
                  <a:gd name="T40" fmla="*/ 40 w 1182"/>
                  <a:gd name="T41" fmla="*/ 591 h 974"/>
                  <a:gd name="T42" fmla="*/ 52 w 1182"/>
                  <a:gd name="T43" fmla="*/ 527 h 974"/>
                  <a:gd name="T44" fmla="*/ 62 w 1182"/>
                  <a:gd name="T45" fmla="*/ 461 h 974"/>
                  <a:gd name="T46" fmla="*/ 73 w 1182"/>
                  <a:gd name="T47" fmla="*/ 397 h 974"/>
                  <a:gd name="T48" fmla="*/ 83 w 1182"/>
                  <a:gd name="T49" fmla="*/ 331 h 974"/>
                  <a:gd name="T50" fmla="*/ 95 w 1182"/>
                  <a:gd name="T51" fmla="*/ 267 h 974"/>
                  <a:gd name="T52" fmla="*/ 104 w 1182"/>
                  <a:gd name="T53" fmla="*/ 201 h 974"/>
                  <a:gd name="T54" fmla="*/ 116 w 1182"/>
                  <a:gd name="T55" fmla="*/ 137 h 974"/>
                  <a:gd name="T56" fmla="*/ 125 w 1182"/>
                  <a:gd name="T57" fmla="*/ 78 h 974"/>
                  <a:gd name="T58" fmla="*/ 135 w 1182"/>
                  <a:gd name="T59" fmla="*/ 26 h 974"/>
                  <a:gd name="T60" fmla="*/ 170 w 1182"/>
                  <a:gd name="T61" fmla="*/ 5 h 974"/>
                  <a:gd name="T62" fmla="*/ 237 w 1182"/>
                  <a:gd name="T63" fmla="*/ 14 h 974"/>
                  <a:gd name="T64" fmla="*/ 300 w 1182"/>
                  <a:gd name="T65" fmla="*/ 26 h 974"/>
                  <a:gd name="T66" fmla="*/ 367 w 1182"/>
                  <a:gd name="T67" fmla="*/ 35 h 974"/>
                  <a:gd name="T68" fmla="*/ 430 w 1182"/>
                  <a:gd name="T69" fmla="*/ 45 h 974"/>
                  <a:gd name="T70" fmla="*/ 497 w 1182"/>
                  <a:gd name="T71" fmla="*/ 54 h 974"/>
                  <a:gd name="T72" fmla="*/ 563 w 1182"/>
                  <a:gd name="T73" fmla="*/ 64 h 974"/>
                  <a:gd name="T74" fmla="*/ 627 w 1182"/>
                  <a:gd name="T75" fmla="*/ 71 h 974"/>
                  <a:gd name="T76" fmla="*/ 693 w 1182"/>
                  <a:gd name="T77" fmla="*/ 80 h 974"/>
                  <a:gd name="T78" fmla="*/ 757 w 1182"/>
                  <a:gd name="T79" fmla="*/ 87 h 974"/>
                  <a:gd name="T80" fmla="*/ 823 w 1182"/>
                  <a:gd name="T81" fmla="*/ 97 h 974"/>
                  <a:gd name="T82" fmla="*/ 889 w 1182"/>
                  <a:gd name="T83" fmla="*/ 104 h 974"/>
                  <a:gd name="T84" fmla="*/ 953 w 1182"/>
                  <a:gd name="T85" fmla="*/ 111 h 974"/>
                  <a:gd name="T86" fmla="*/ 1019 w 1182"/>
                  <a:gd name="T87" fmla="*/ 118 h 974"/>
                  <a:gd name="T88" fmla="*/ 1085 w 1182"/>
                  <a:gd name="T89" fmla="*/ 123 h 974"/>
                  <a:gd name="T90" fmla="*/ 1149 w 1182"/>
                  <a:gd name="T91" fmla="*/ 130 h 974"/>
                  <a:gd name="T92" fmla="*/ 1177 w 1182"/>
                  <a:gd name="T93" fmla="*/ 184 h 974"/>
                  <a:gd name="T94" fmla="*/ 1170 w 1182"/>
                  <a:gd name="T95" fmla="*/ 291 h 974"/>
                  <a:gd name="T96" fmla="*/ 1161 w 1182"/>
                  <a:gd name="T97" fmla="*/ 395 h 974"/>
                  <a:gd name="T98" fmla="*/ 1151 w 1182"/>
                  <a:gd name="T99" fmla="*/ 501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2" h="974">
                    <a:moveTo>
                      <a:pt x="1147" y="553"/>
                    </a:moveTo>
                    <a:lnTo>
                      <a:pt x="1142" y="605"/>
                    </a:lnTo>
                    <a:lnTo>
                      <a:pt x="1137" y="657"/>
                    </a:lnTo>
                    <a:lnTo>
                      <a:pt x="1132" y="712"/>
                    </a:lnTo>
                    <a:lnTo>
                      <a:pt x="1128" y="764"/>
                    </a:lnTo>
                    <a:lnTo>
                      <a:pt x="1125" y="816"/>
                    </a:lnTo>
                    <a:lnTo>
                      <a:pt x="1121" y="868"/>
                    </a:lnTo>
                    <a:lnTo>
                      <a:pt x="1116" y="920"/>
                    </a:lnTo>
                    <a:lnTo>
                      <a:pt x="1111" y="974"/>
                    </a:lnTo>
                    <a:lnTo>
                      <a:pt x="1062" y="969"/>
                    </a:lnTo>
                    <a:lnTo>
                      <a:pt x="1012" y="965"/>
                    </a:lnTo>
                    <a:lnTo>
                      <a:pt x="962" y="960"/>
                    </a:lnTo>
                    <a:lnTo>
                      <a:pt x="913" y="955"/>
                    </a:lnTo>
                    <a:lnTo>
                      <a:pt x="861" y="948"/>
                    </a:lnTo>
                    <a:lnTo>
                      <a:pt x="811" y="943"/>
                    </a:lnTo>
                    <a:lnTo>
                      <a:pt x="761" y="939"/>
                    </a:lnTo>
                    <a:lnTo>
                      <a:pt x="712" y="932"/>
                    </a:lnTo>
                    <a:lnTo>
                      <a:pt x="662" y="927"/>
                    </a:lnTo>
                    <a:lnTo>
                      <a:pt x="612" y="920"/>
                    </a:lnTo>
                    <a:lnTo>
                      <a:pt x="563" y="915"/>
                    </a:lnTo>
                    <a:lnTo>
                      <a:pt x="513" y="908"/>
                    </a:lnTo>
                    <a:lnTo>
                      <a:pt x="464" y="901"/>
                    </a:lnTo>
                    <a:lnTo>
                      <a:pt x="414" y="894"/>
                    </a:lnTo>
                    <a:lnTo>
                      <a:pt x="364" y="887"/>
                    </a:lnTo>
                    <a:lnTo>
                      <a:pt x="315" y="880"/>
                    </a:lnTo>
                    <a:lnTo>
                      <a:pt x="277" y="875"/>
                    </a:lnTo>
                    <a:lnTo>
                      <a:pt x="237" y="868"/>
                    </a:lnTo>
                    <a:lnTo>
                      <a:pt x="196" y="863"/>
                    </a:lnTo>
                    <a:lnTo>
                      <a:pt x="159" y="856"/>
                    </a:lnTo>
                    <a:lnTo>
                      <a:pt x="118" y="851"/>
                    </a:lnTo>
                    <a:lnTo>
                      <a:pt x="78" y="844"/>
                    </a:lnTo>
                    <a:lnTo>
                      <a:pt x="40" y="837"/>
                    </a:lnTo>
                    <a:lnTo>
                      <a:pt x="0" y="832"/>
                    </a:lnTo>
                    <a:lnTo>
                      <a:pt x="5" y="806"/>
                    </a:lnTo>
                    <a:lnTo>
                      <a:pt x="10" y="780"/>
                    </a:lnTo>
                    <a:lnTo>
                      <a:pt x="14" y="754"/>
                    </a:lnTo>
                    <a:lnTo>
                      <a:pt x="17" y="728"/>
                    </a:lnTo>
                    <a:lnTo>
                      <a:pt x="21" y="702"/>
                    </a:lnTo>
                    <a:lnTo>
                      <a:pt x="26" y="676"/>
                    </a:lnTo>
                    <a:lnTo>
                      <a:pt x="31" y="650"/>
                    </a:lnTo>
                    <a:lnTo>
                      <a:pt x="36" y="624"/>
                    </a:lnTo>
                    <a:lnTo>
                      <a:pt x="40" y="591"/>
                    </a:lnTo>
                    <a:lnTo>
                      <a:pt x="45" y="558"/>
                    </a:lnTo>
                    <a:lnTo>
                      <a:pt x="52" y="527"/>
                    </a:lnTo>
                    <a:lnTo>
                      <a:pt x="57" y="494"/>
                    </a:lnTo>
                    <a:lnTo>
                      <a:pt x="62" y="461"/>
                    </a:lnTo>
                    <a:lnTo>
                      <a:pt x="66" y="428"/>
                    </a:lnTo>
                    <a:lnTo>
                      <a:pt x="73" y="397"/>
                    </a:lnTo>
                    <a:lnTo>
                      <a:pt x="78" y="364"/>
                    </a:lnTo>
                    <a:lnTo>
                      <a:pt x="83" y="331"/>
                    </a:lnTo>
                    <a:lnTo>
                      <a:pt x="90" y="300"/>
                    </a:lnTo>
                    <a:lnTo>
                      <a:pt x="95" y="267"/>
                    </a:lnTo>
                    <a:lnTo>
                      <a:pt x="99" y="234"/>
                    </a:lnTo>
                    <a:lnTo>
                      <a:pt x="104" y="201"/>
                    </a:lnTo>
                    <a:lnTo>
                      <a:pt x="111" y="170"/>
                    </a:lnTo>
                    <a:lnTo>
                      <a:pt x="116" y="137"/>
                    </a:lnTo>
                    <a:lnTo>
                      <a:pt x="121" y="104"/>
                    </a:lnTo>
                    <a:lnTo>
                      <a:pt x="125" y="78"/>
                    </a:lnTo>
                    <a:lnTo>
                      <a:pt x="130" y="52"/>
                    </a:lnTo>
                    <a:lnTo>
                      <a:pt x="135" y="26"/>
                    </a:lnTo>
                    <a:lnTo>
                      <a:pt x="140" y="0"/>
                    </a:lnTo>
                    <a:lnTo>
                      <a:pt x="170" y="5"/>
                    </a:lnTo>
                    <a:lnTo>
                      <a:pt x="203" y="9"/>
                    </a:lnTo>
                    <a:lnTo>
                      <a:pt x="237" y="14"/>
                    </a:lnTo>
                    <a:lnTo>
                      <a:pt x="270" y="21"/>
                    </a:lnTo>
                    <a:lnTo>
                      <a:pt x="300" y="26"/>
                    </a:lnTo>
                    <a:lnTo>
                      <a:pt x="333" y="31"/>
                    </a:lnTo>
                    <a:lnTo>
                      <a:pt x="367" y="35"/>
                    </a:lnTo>
                    <a:lnTo>
                      <a:pt x="400" y="40"/>
                    </a:lnTo>
                    <a:lnTo>
                      <a:pt x="430" y="45"/>
                    </a:lnTo>
                    <a:lnTo>
                      <a:pt x="464" y="50"/>
                    </a:lnTo>
                    <a:lnTo>
                      <a:pt x="497" y="54"/>
                    </a:lnTo>
                    <a:lnTo>
                      <a:pt x="530" y="59"/>
                    </a:lnTo>
                    <a:lnTo>
                      <a:pt x="563" y="64"/>
                    </a:lnTo>
                    <a:lnTo>
                      <a:pt x="594" y="69"/>
                    </a:lnTo>
                    <a:lnTo>
                      <a:pt x="627" y="71"/>
                    </a:lnTo>
                    <a:lnTo>
                      <a:pt x="660" y="76"/>
                    </a:lnTo>
                    <a:lnTo>
                      <a:pt x="693" y="80"/>
                    </a:lnTo>
                    <a:lnTo>
                      <a:pt x="726" y="85"/>
                    </a:lnTo>
                    <a:lnTo>
                      <a:pt x="757" y="87"/>
                    </a:lnTo>
                    <a:lnTo>
                      <a:pt x="790" y="92"/>
                    </a:lnTo>
                    <a:lnTo>
                      <a:pt x="823" y="97"/>
                    </a:lnTo>
                    <a:lnTo>
                      <a:pt x="856" y="99"/>
                    </a:lnTo>
                    <a:lnTo>
                      <a:pt x="889" y="104"/>
                    </a:lnTo>
                    <a:lnTo>
                      <a:pt x="922" y="106"/>
                    </a:lnTo>
                    <a:lnTo>
                      <a:pt x="953" y="111"/>
                    </a:lnTo>
                    <a:lnTo>
                      <a:pt x="986" y="113"/>
                    </a:lnTo>
                    <a:lnTo>
                      <a:pt x="1019" y="118"/>
                    </a:lnTo>
                    <a:lnTo>
                      <a:pt x="1052" y="121"/>
                    </a:lnTo>
                    <a:lnTo>
                      <a:pt x="1085" y="123"/>
                    </a:lnTo>
                    <a:lnTo>
                      <a:pt x="1118" y="128"/>
                    </a:lnTo>
                    <a:lnTo>
                      <a:pt x="1149" y="130"/>
                    </a:lnTo>
                    <a:lnTo>
                      <a:pt x="1182" y="132"/>
                    </a:lnTo>
                    <a:lnTo>
                      <a:pt x="1177" y="184"/>
                    </a:lnTo>
                    <a:lnTo>
                      <a:pt x="1173" y="239"/>
                    </a:lnTo>
                    <a:lnTo>
                      <a:pt x="1170" y="291"/>
                    </a:lnTo>
                    <a:lnTo>
                      <a:pt x="1166" y="343"/>
                    </a:lnTo>
                    <a:lnTo>
                      <a:pt x="1161" y="395"/>
                    </a:lnTo>
                    <a:lnTo>
                      <a:pt x="1156" y="449"/>
                    </a:lnTo>
                    <a:lnTo>
                      <a:pt x="1151" y="501"/>
                    </a:lnTo>
                    <a:lnTo>
                      <a:pt x="1147" y="553"/>
                    </a:lnTo>
                    <a:close/>
                  </a:path>
                </a:pathLst>
              </a:custGeom>
              <a:grpFill/>
              <a:ln w="3175" cap="rnd">
                <a:solidFill>
                  <a:schemeClr val="bg1"/>
                </a:solidFill>
                <a:prstDash val="solid"/>
                <a:round/>
                <a:headEnd/>
                <a:tailEnd/>
              </a:ln>
            </p:spPr>
            <p:txBody>
              <a:bodyPr vert="horz" wrap="square" lIns="68580" tIns="34291" rIns="68580" bIns="34291" numCol="1" anchor="ctr" anchorCtr="0" compatLnSpc="1">
                <a:prstTxWarp prst="textNoShape">
                  <a:avLst/>
                </a:prstTxWarp>
              </a:bodyPr>
              <a:lstStyle/>
              <a:p>
                <a:pPr algn="ctr"/>
                <a:endParaRPr lang="en-US" sz="1000" dirty="0"/>
              </a:p>
            </p:txBody>
          </p:sp>
        </p:grpSp>
        <p:grpSp>
          <p:nvGrpSpPr>
            <p:cNvPr id="591" name="Group 590">
              <a:extLst>
                <a:ext uri="{FF2B5EF4-FFF2-40B4-BE49-F238E27FC236}">
                  <a16:creationId xmlns:a16="http://schemas.microsoft.com/office/drawing/2014/main" id="{7E5C7230-58B4-1D59-5456-4FF35BB6D11C}"/>
                </a:ext>
              </a:extLst>
            </p:cNvPr>
            <p:cNvGrpSpPr/>
            <p:nvPr/>
          </p:nvGrpSpPr>
          <p:grpSpPr>
            <a:xfrm>
              <a:off x="12968537" y="5712801"/>
              <a:ext cx="1151176" cy="405809"/>
              <a:chOff x="3547970" y="6482040"/>
              <a:chExt cx="1282438" cy="452081"/>
            </a:xfrm>
            <a:solidFill>
              <a:schemeClr val="accent2"/>
            </a:solidFill>
          </p:grpSpPr>
          <p:sp>
            <p:nvSpPr>
              <p:cNvPr id="610" name="Rectangular Callout 109">
                <a:extLst>
                  <a:ext uri="{FF2B5EF4-FFF2-40B4-BE49-F238E27FC236}">
                    <a16:creationId xmlns:a16="http://schemas.microsoft.com/office/drawing/2014/main" id="{64F9436E-3C85-A6C0-3B7B-A516CFAB2F14}"/>
                  </a:ext>
                </a:extLst>
              </p:cNvPr>
              <p:cNvSpPr/>
              <p:nvPr/>
            </p:nvSpPr>
            <p:spPr bwMode="auto">
              <a:xfrm>
                <a:off x="3547970" y="6482040"/>
                <a:ext cx="1282438" cy="452081"/>
              </a:xfrm>
              <a:prstGeom prst="wedgeRectCallout">
                <a:avLst>
                  <a:gd name="adj1" fmla="val -7262"/>
                  <a:gd name="adj2" fmla="val -207214"/>
                </a:avLst>
              </a:prstGeom>
              <a:grp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611" name="Rectangle 610">
                <a:extLst>
                  <a:ext uri="{FF2B5EF4-FFF2-40B4-BE49-F238E27FC236}">
                    <a16:creationId xmlns:a16="http://schemas.microsoft.com/office/drawing/2014/main" id="{5D636715-BB2A-B037-B7CD-E4E4E27CD4CB}"/>
                  </a:ext>
                </a:extLst>
              </p:cNvPr>
              <p:cNvSpPr/>
              <p:nvPr/>
            </p:nvSpPr>
            <p:spPr>
              <a:xfrm>
                <a:off x="3988288" y="6622380"/>
                <a:ext cx="401802" cy="171435"/>
              </a:xfrm>
              <a:prstGeom prst="rect">
                <a:avLst/>
              </a:prstGeom>
              <a:grpFill/>
            </p:spPr>
            <p:txBody>
              <a:bodyPr wrap="none" lIns="0" tIns="0" rIns="0" bIns="0" anchor="ctr">
                <a:spAutoFit/>
              </a:bodyPr>
              <a:lstStyle/>
              <a:p>
                <a:pPr algn="ctr" defTabSz="1714414"/>
                <a:r>
                  <a:rPr lang="en-US" sz="1000" b="1" dirty="0">
                    <a:solidFill>
                      <a:schemeClr val="bg1"/>
                    </a:solidFill>
                  </a:rPr>
                  <a:t>Texas</a:t>
                </a:r>
              </a:p>
            </p:txBody>
          </p:sp>
        </p:grpSp>
        <p:grpSp>
          <p:nvGrpSpPr>
            <p:cNvPr id="593" name="Group 592">
              <a:extLst>
                <a:ext uri="{FF2B5EF4-FFF2-40B4-BE49-F238E27FC236}">
                  <a16:creationId xmlns:a16="http://schemas.microsoft.com/office/drawing/2014/main" id="{3B598F3F-643F-64E0-983C-256D1D2C4F29}"/>
                </a:ext>
              </a:extLst>
            </p:cNvPr>
            <p:cNvGrpSpPr/>
            <p:nvPr/>
          </p:nvGrpSpPr>
          <p:grpSpPr>
            <a:xfrm>
              <a:off x="16391966" y="3794808"/>
              <a:ext cx="1151176" cy="405809"/>
              <a:chOff x="7338744" y="4169044"/>
              <a:chExt cx="1282438" cy="452081"/>
            </a:xfrm>
            <a:solidFill>
              <a:schemeClr val="accent2"/>
            </a:solidFill>
          </p:grpSpPr>
          <p:sp>
            <p:nvSpPr>
              <p:cNvPr id="606" name="Rectangular Callout 115">
                <a:extLst>
                  <a:ext uri="{FF2B5EF4-FFF2-40B4-BE49-F238E27FC236}">
                    <a16:creationId xmlns:a16="http://schemas.microsoft.com/office/drawing/2014/main" id="{AA618690-84E6-270B-3752-63B67495AE0C}"/>
                  </a:ext>
                </a:extLst>
              </p:cNvPr>
              <p:cNvSpPr/>
              <p:nvPr/>
            </p:nvSpPr>
            <p:spPr bwMode="auto">
              <a:xfrm>
                <a:off x="7338744" y="4169044"/>
                <a:ext cx="1282438" cy="452081"/>
              </a:xfrm>
              <a:prstGeom prst="wedgeRectCallout">
                <a:avLst>
                  <a:gd name="adj1" fmla="val -73426"/>
                  <a:gd name="adj2" fmla="val -88526"/>
                </a:avLst>
              </a:prstGeom>
              <a:grp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607" name="Rectangle 606">
                <a:extLst>
                  <a:ext uri="{FF2B5EF4-FFF2-40B4-BE49-F238E27FC236}">
                    <a16:creationId xmlns:a16="http://schemas.microsoft.com/office/drawing/2014/main" id="{6859AC48-3A07-9317-9246-8399B009923E}"/>
                  </a:ext>
                </a:extLst>
              </p:cNvPr>
              <p:cNvSpPr/>
              <p:nvPr/>
            </p:nvSpPr>
            <p:spPr>
              <a:xfrm>
                <a:off x="7655842" y="4309384"/>
                <a:ext cx="648240" cy="171435"/>
              </a:xfrm>
              <a:prstGeom prst="rect">
                <a:avLst/>
              </a:prstGeom>
              <a:grpFill/>
            </p:spPr>
            <p:txBody>
              <a:bodyPr wrap="none" lIns="0" tIns="0" rIns="0" bIns="0" anchor="ctr">
                <a:spAutoFit/>
              </a:bodyPr>
              <a:lstStyle/>
              <a:p>
                <a:pPr algn="ctr" defTabSz="1714414"/>
                <a:r>
                  <a:rPr lang="en-US" sz="1000" b="1" dirty="0">
                    <a:solidFill>
                      <a:schemeClr val="bg1"/>
                    </a:solidFill>
                  </a:rPr>
                  <a:t>New York</a:t>
                </a:r>
              </a:p>
            </p:txBody>
          </p:sp>
        </p:grpSp>
        <p:grpSp>
          <p:nvGrpSpPr>
            <p:cNvPr id="594" name="Group 593">
              <a:extLst>
                <a:ext uri="{FF2B5EF4-FFF2-40B4-BE49-F238E27FC236}">
                  <a16:creationId xmlns:a16="http://schemas.microsoft.com/office/drawing/2014/main" id="{B5713EC6-7E30-87AA-3739-AC0EB21529CC}"/>
                </a:ext>
              </a:extLst>
            </p:cNvPr>
            <p:cNvGrpSpPr/>
            <p:nvPr/>
          </p:nvGrpSpPr>
          <p:grpSpPr>
            <a:xfrm>
              <a:off x="15996041" y="4326548"/>
              <a:ext cx="1151176" cy="405809"/>
              <a:chOff x="7125561" y="4878409"/>
              <a:chExt cx="1282438" cy="452081"/>
            </a:xfrm>
            <a:solidFill>
              <a:schemeClr val="accent2"/>
            </a:solidFill>
          </p:grpSpPr>
          <p:sp>
            <p:nvSpPr>
              <p:cNvPr id="604" name="Rectangular Callout 118">
                <a:extLst>
                  <a:ext uri="{FF2B5EF4-FFF2-40B4-BE49-F238E27FC236}">
                    <a16:creationId xmlns:a16="http://schemas.microsoft.com/office/drawing/2014/main" id="{F12559DE-0738-121A-F34E-7BAFCBC3D353}"/>
                  </a:ext>
                </a:extLst>
              </p:cNvPr>
              <p:cNvSpPr/>
              <p:nvPr/>
            </p:nvSpPr>
            <p:spPr bwMode="auto">
              <a:xfrm>
                <a:off x="7125561" y="4878409"/>
                <a:ext cx="1282438" cy="452081"/>
              </a:xfrm>
              <a:prstGeom prst="wedgeRectCallout">
                <a:avLst>
                  <a:gd name="adj1" fmla="val -73426"/>
                  <a:gd name="adj2" fmla="val -88526"/>
                </a:avLst>
              </a:prstGeom>
              <a:grp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605" name="Rectangle 604">
                <a:extLst>
                  <a:ext uri="{FF2B5EF4-FFF2-40B4-BE49-F238E27FC236}">
                    <a16:creationId xmlns:a16="http://schemas.microsoft.com/office/drawing/2014/main" id="{5374B662-8BA0-D959-ECD1-9373110BC52C}"/>
                  </a:ext>
                </a:extLst>
              </p:cNvPr>
              <p:cNvSpPr/>
              <p:nvPr/>
            </p:nvSpPr>
            <p:spPr>
              <a:xfrm>
                <a:off x="7506054" y="5018749"/>
                <a:ext cx="521449" cy="171435"/>
              </a:xfrm>
              <a:prstGeom prst="rect">
                <a:avLst/>
              </a:prstGeom>
              <a:grpFill/>
            </p:spPr>
            <p:txBody>
              <a:bodyPr wrap="none" lIns="0" tIns="0" rIns="0" bIns="0" anchor="ctr">
                <a:spAutoFit/>
              </a:bodyPr>
              <a:lstStyle/>
              <a:p>
                <a:pPr algn="ctr" defTabSz="1714414"/>
                <a:r>
                  <a:rPr lang="en-US" sz="1000" b="1" dirty="0">
                    <a:solidFill>
                      <a:schemeClr val="bg1"/>
                    </a:solidFill>
                  </a:rPr>
                  <a:t>Virginia</a:t>
                </a:r>
              </a:p>
            </p:txBody>
          </p:sp>
        </p:grpSp>
        <p:grpSp>
          <p:nvGrpSpPr>
            <p:cNvPr id="595" name="Group 594">
              <a:extLst>
                <a:ext uri="{FF2B5EF4-FFF2-40B4-BE49-F238E27FC236}">
                  <a16:creationId xmlns:a16="http://schemas.microsoft.com/office/drawing/2014/main" id="{14AE1C65-8E40-E091-DC83-D85DBA51DEFE}"/>
                </a:ext>
              </a:extLst>
            </p:cNvPr>
            <p:cNvGrpSpPr/>
            <p:nvPr/>
          </p:nvGrpSpPr>
          <p:grpSpPr>
            <a:xfrm>
              <a:off x="16088491" y="5529545"/>
              <a:ext cx="1151176" cy="405809"/>
              <a:chOff x="7041268" y="6284446"/>
              <a:chExt cx="1282438" cy="452081"/>
            </a:xfrm>
            <a:solidFill>
              <a:schemeClr val="accent2"/>
            </a:solidFill>
          </p:grpSpPr>
          <p:sp>
            <p:nvSpPr>
              <p:cNvPr id="602" name="Rectangular Callout 121">
                <a:extLst>
                  <a:ext uri="{FF2B5EF4-FFF2-40B4-BE49-F238E27FC236}">
                    <a16:creationId xmlns:a16="http://schemas.microsoft.com/office/drawing/2014/main" id="{502936FC-71EB-B7B3-357B-230D62EC951A}"/>
                  </a:ext>
                </a:extLst>
              </p:cNvPr>
              <p:cNvSpPr/>
              <p:nvPr/>
            </p:nvSpPr>
            <p:spPr bwMode="auto">
              <a:xfrm>
                <a:off x="7041268" y="6284446"/>
                <a:ext cx="1282438" cy="452081"/>
              </a:xfrm>
              <a:prstGeom prst="wedgeRectCallout">
                <a:avLst>
                  <a:gd name="adj1" fmla="val -73426"/>
                  <a:gd name="adj2" fmla="val -88526"/>
                </a:avLst>
              </a:prstGeom>
              <a:grp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603" name="Rectangle 602">
                <a:extLst>
                  <a:ext uri="{FF2B5EF4-FFF2-40B4-BE49-F238E27FC236}">
                    <a16:creationId xmlns:a16="http://schemas.microsoft.com/office/drawing/2014/main" id="{DC23C8D2-52AA-5163-2664-73B961F03091}"/>
                  </a:ext>
                </a:extLst>
              </p:cNvPr>
              <p:cNvSpPr/>
              <p:nvPr/>
            </p:nvSpPr>
            <p:spPr>
              <a:xfrm>
                <a:off x="7444978" y="6424786"/>
                <a:ext cx="475019" cy="171435"/>
              </a:xfrm>
              <a:prstGeom prst="rect">
                <a:avLst/>
              </a:prstGeom>
              <a:grpFill/>
            </p:spPr>
            <p:txBody>
              <a:bodyPr wrap="none" lIns="0" tIns="0" rIns="0" bIns="0" anchor="ctr">
                <a:spAutoFit/>
              </a:bodyPr>
              <a:lstStyle/>
              <a:p>
                <a:pPr algn="ctr" defTabSz="1714414"/>
                <a:r>
                  <a:rPr lang="en-US" sz="1000" b="1" dirty="0">
                    <a:solidFill>
                      <a:schemeClr val="bg1"/>
                    </a:solidFill>
                  </a:rPr>
                  <a:t>Florida</a:t>
                </a:r>
              </a:p>
            </p:txBody>
          </p:sp>
        </p:grpSp>
        <p:grpSp>
          <p:nvGrpSpPr>
            <p:cNvPr id="597" name="Group 596">
              <a:extLst>
                <a:ext uri="{FF2B5EF4-FFF2-40B4-BE49-F238E27FC236}">
                  <a16:creationId xmlns:a16="http://schemas.microsoft.com/office/drawing/2014/main" id="{DEF7FCE9-08CE-13A2-1DF0-D460A0E62D1F}"/>
                </a:ext>
              </a:extLst>
            </p:cNvPr>
            <p:cNvGrpSpPr/>
            <p:nvPr/>
          </p:nvGrpSpPr>
          <p:grpSpPr>
            <a:xfrm>
              <a:off x="14427645" y="5432945"/>
              <a:ext cx="1151176" cy="405809"/>
              <a:chOff x="5202294" y="6164368"/>
              <a:chExt cx="1282438" cy="452081"/>
            </a:xfrm>
            <a:solidFill>
              <a:schemeClr val="accent2"/>
            </a:solidFill>
          </p:grpSpPr>
          <p:sp>
            <p:nvSpPr>
              <p:cNvPr id="598" name="Rectangular Callout 127">
                <a:extLst>
                  <a:ext uri="{FF2B5EF4-FFF2-40B4-BE49-F238E27FC236}">
                    <a16:creationId xmlns:a16="http://schemas.microsoft.com/office/drawing/2014/main" id="{C526AAE6-7E2E-9838-A99B-A6572AAE08FD}"/>
                  </a:ext>
                </a:extLst>
              </p:cNvPr>
              <p:cNvSpPr/>
              <p:nvPr/>
            </p:nvSpPr>
            <p:spPr bwMode="auto">
              <a:xfrm>
                <a:off x="5202294" y="6164368"/>
                <a:ext cx="1282438" cy="452081"/>
              </a:xfrm>
              <a:prstGeom prst="wedgeRectCallout">
                <a:avLst>
                  <a:gd name="adj1" fmla="val -75740"/>
                  <a:gd name="adj2" fmla="val -426525"/>
                </a:avLst>
              </a:prstGeom>
              <a:grpFill/>
              <a:ln w="9525">
                <a:solidFill>
                  <a:schemeClr val="bg1"/>
                </a:solidFill>
                <a:round/>
                <a:headEnd/>
                <a:tailEnd/>
              </a:ln>
            </p:spPr>
            <p:txBody>
              <a:bodyPr vert="horz" wrap="square" lIns="91440" tIns="45720" rIns="91440" bIns="45720" numCol="1" rtlCol="0" anchor="ctr" anchorCtr="0" compatLnSpc="1">
                <a:prstTxWarp prst="textNoShape">
                  <a:avLst/>
                </a:prstTxWarp>
              </a:bodyPr>
              <a:lstStyle/>
              <a:p>
                <a:pPr algn="ctr"/>
                <a:endParaRPr lang="en-US" sz="1000" dirty="0">
                  <a:solidFill>
                    <a:schemeClr val="bg1"/>
                  </a:solidFill>
                </a:endParaRPr>
              </a:p>
            </p:txBody>
          </p:sp>
          <p:sp>
            <p:nvSpPr>
              <p:cNvPr id="599" name="Rectangle 598">
                <a:extLst>
                  <a:ext uri="{FF2B5EF4-FFF2-40B4-BE49-F238E27FC236}">
                    <a16:creationId xmlns:a16="http://schemas.microsoft.com/office/drawing/2014/main" id="{D118F4C6-77CE-6E2F-33E2-021555D896F7}"/>
                  </a:ext>
                </a:extLst>
              </p:cNvPr>
              <p:cNvSpPr/>
              <p:nvPr/>
            </p:nvSpPr>
            <p:spPr>
              <a:xfrm>
                <a:off x="5523857" y="6304708"/>
                <a:ext cx="639311" cy="171435"/>
              </a:xfrm>
              <a:prstGeom prst="rect">
                <a:avLst/>
              </a:prstGeom>
              <a:grpFill/>
            </p:spPr>
            <p:txBody>
              <a:bodyPr wrap="none" lIns="0" tIns="0" rIns="0" bIns="0" anchor="ctr">
                <a:spAutoFit/>
              </a:bodyPr>
              <a:lstStyle/>
              <a:p>
                <a:pPr algn="ctr" defTabSz="1714414"/>
                <a:r>
                  <a:rPr lang="en-US" sz="1000" b="1" dirty="0">
                    <a:solidFill>
                      <a:schemeClr val="bg1"/>
                    </a:solidFill>
                  </a:rPr>
                  <a:t>Nebraska</a:t>
                </a:r>
              </a:p>
            </p:txBody>
          </p:sp>
        </p:grpSp>
      </p:grpSp>
      <p:sp>
        <p:nvSpPr>
          <p:cNvPr id="1040" name="Rectangle 1039">
            <a:extLst>
              <a:ext uri="{FF2B5EF4-FFF2-40B4-BE49-F238E27FC236}">
                <a16:creationId xmlns:a16="http://schemas.microsoft.com/office/drawing/2014/main" id="{644D0882-B3F1-2879-E2FA-6F3083DCD8D4}"/>
              </a:ext>
            </a:extLst>
          </p:cNvPr>
          <p:cNvSpPr/>
          <p:nvPr/>
        </p:nvSpPr>
        <p:spPr>
          <a:xfrm>
            <a:off x="714375" y="7604760"/>
            <a:ext cx="8292465" cy="163131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lstStyle/>
          <a:p>
            <a:pPr marL="360000" indent="-360000">
              <a:spcBef>
                <a:spcPts val="300"/>
              </a:spcBef>
              <a:spcAft>
                <a:spcPts val="300"/>
              </a:spcAft>
              <a:buSzPct val="100000"/>
              <a:buFont typeface="Symbol" panose="05050102010706020507" pitchFamily="18" charset="2"/>
              <a:buChar char=""/>
            </a:pPr>
            <a:r>
              <a:rPr lang="en-US" dirty="0">
                <a:solidFill>
                  <a:schemeClr val="bg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SzPct val="100000"/>
              <a:buFont typeface="Symbol" panose="05050102010706020507" pitchFamily="18" charset="2"/>
              <a:buChar char=""/>
            </a:pPr>
            <a:r>
              <a:rPr lang="en-US" dirty="0">
                <a:solidFill>
                  <a:schemeClr val="bg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1043" name="Rectangle 1042">
            <a:extLst>
              <a:ext uri="{FF2B5EF4-FFF2-40B4-BE49-F238E27FC236}">
                <a16:creationId xmlns:a16="http://schemas.microsoft.com/office/drawing/2014/main" id="{8361F161-8EED-FA89-C9C6-77C053C2FEEA}"/>
              </a:ext>
            </a:extLst>
          </p:cNvPr>
          <p:cNvSpPr/>
          <p:nvPr/>
        </p:nvSpPr>
        <p:spPr>
          <a:xfrm>
            <a:off x="714376" y="1889125"/>
            <a:ext cx="8292464" cy="7346949"/>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4" name="Rectangle 1043">
            <a:extLst>
              <a:ext uri="{FF2B5EF4-FFF2-40B4-BE49-F238E27FC236}">
                <a16:creationId xmlns:a16="http://schemas.microsoft.com/office/drawing/2014/main" id="{F16631BC-A786-AA10-3182-973EB0661B2E}"/>
              </a:ext>
            </a:extLst>
          </p:cNvPr>
          <p:cNvSpPr/>
          <p:nvPr/>
        </p:nvSpPr>
        <p:spPr>
          <a:xfrm>
            <a:off x="9281160" y="1889125"/>
            <a:ext cx="8292464" cy="7346949"/>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5" name="Rectangle 1044">
            <a:extLst>
              <a:ext uri="{FF2B5EF4-FFF2-40B4-BE49-F238E27FC236}">
                <a16:creationId xmlns:a16="http://schemas.microsoft.com/office/drawing/2014/main" id="{DD5DB352-6DDF-7467-6CF1-211A479F7515}"/>
              </a:ext>
            </a:extLst>
          </p:cNvPr>
          <p:cNvSpPr/>
          <p:nvPr/>
        </p:nvSpPr>
        <p:spPr>
          <a:xfrm>
            <a:off x="9281160" y="7604760"/>
            <a:ext cx="8292465" cy="163131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lstStyle/>
          <a:p>
            <a:pPr marL="360000" indent="-360000">
              <a:spcBef>
                <a:spcPts val="300"/>
              </a:spcBef>
              <a:spcAft>
                <a:spcPts val="300"/>
              </a:spcAft>
              <a:buSzPct val="100000"/>
              <a:buFont typeface="Symbol" panose="05050102010706020507" pitchFamily="18" charset="2"/>
              <a:buChar char=""/>
            </a:pPr>
            <a:r>
              <a:rPr lang="en-US" dirty="0">
                <a:solidFill>
                  <a:schemeClr val="bg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SzPct val="100000"/>
              <a:buFont typeface="Symbol" panose="05050102010706020507" pitchFamily="18" charset="2"/>
              <a:buChar char=""/>
            </a:pPr>
            <a:r>
              <a:rPr lang="en-US" dirty="0">
                <a:solidFill>
                  <a:schemeClr val="bg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p:txBody>
      </p:sp>
      <p:sp>
        <p:nvSpPr>
          <p:cNvPr id="58" name="Slide Number Placeholder 57">
            <a:extLst>
              <a:ext uri="{FF2B5EF4-FFF2-40B4-BE49-F238E27FC236}">
                <a16:creationId xmlns:a16="http://schemas.microsoft.com/office/drawing/2014/main" id="{611770D7-8C20-0588-57F3-4AE5FE42E94B}"/>
              </a:ext>
            </a:extLst>
          </p:cNvPr>
          <p:cNvSpPr>
            <a:spLocks noGrp="1"/>
          </p:cNvSpPr>
          <p:nvPr>
            <p:ph type="sldNum" sz="quarter" idx="12"/>
          </p:nvPr>
        </p:nvSpPr>
        <p:spPr/>
        <p:txBody>
          <a:bodyPr/>
          <a:lstStyle/>
          <a:p>
            <a:fld id="{E2D680B1-7F17-42D2-83E2-2C9AC13983BB}" type="slidenum">
              <a:rPr lang="en-US" smtClean="0"/>
              <a:t>72</a:t>
            </a:fld>
            <a:endParaRPr lang="en-US" dirty="0"/>
          </a:p>
        </p:txBody>
      </p:sp>
    </p:spTree>
    <p:extLst>
      <p:ext uri="{BB962C8B-B14F-4D97-AF65-F5344CB8AC3E}">
        <p14:creationId xmlns:p14="http://schemas.microsoft.com/office/powerpoint/2010/main" val="21405325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3CF4D4-1321-4BB7-AAF1-0E7B857EBFCE}"/>
              </a:ext>
            </a:extLst>
          </p:cNvPr>
          <p:cNvSpPr>
            <a:spLocks noGrp="1"/>
          </p:cNvSpPr>
          <p:nvPr>
            <p:ph type="title"/>
          </p:nvPr>
        </p:nvSpPr>
        <p:spPr>
          <a:xfrm>
            <a:off x="714375" y="317500"/>
            <a:ext cx="16859250" cy="1266825"/>
          </a:xfrm>
        </p:spPr>
        <p:txBody>
          <a:bodyPr/>
          <a:lstStyle/>
          <a:p>
            <a:r>
              <a:rPr lang="en-US" dirty="0"/>
              <a:t>SWOT Analysis</a:t>
            </a:r>
          </a:p>
        </p:txBody>
      </p:sp>
      <p:grpSp>
        <p:nvGrpSpPr>
          <p:cNvPr id="11" name="Group 10">
            <a:extLst>
              <a:ext uri="{FF2B5EF4-FFF2-40B4-BE49-F238E27FC236}">
                <a16:creationId xmlns:a16="http://schemas.microsoft.com/office/drawing/2014/main" id="{BB47DF38-5011-C8B3-5FEB-91107B173E07}"/>
              </a:ext>
            </a:extLst>
          </p:cNvPr>
          <p:cNvGrpSpPr/>
          <p:nvPr/>
        </p:nvGrpSpPr>
        <p:grpSpPr>
          <a:xfrm>
            <a:off x="714375" y="1685926"/>
            <a:ext cx="16859250" cy="7343774"/>
            <a:chOff x="959643" y="2641680"/>
            <a:chExt cx="16368713" cy="7343774"/>
          </a:xfrm>
        </p:grpSpPr>
        <p:sp>
          <p:nvSpPr>
            <p:cNvPr id="7" name="Rectangle 6">
              <a:extLst>
                <a:ext uri="{FF2B5EF4-FFF2-40B4-BE49-F238E27FC236}">
                  <a16:creationId xmlns:a16="http://schemas.microsoft.com/office/drawing/2014/main" id="{C64FA65B-93E0-7A12-CFE8-BCA9F2946F80}"/>
                </a:ext>
              </a:extLst>
            </p:cNvPr>
            <p:cNvSpPr/>
            <p:nvPr/>
          </p:nvSpPr>
          <p:spPr>
            <a:xfrm>
              <a:off x="959643" y="4521461"/>
              <a:ext cx="3886438" cy="54639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35000" bIns="135000" rtlCol="0" anchor="t"/>
            <a:lstStyle/>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p:txBody>
        </p:sp>
        <p:sp>
          <p:nvSpPr>
            <p:cNvPr id="8" name="Rectangle: Top Corners Rounded 7">
              <a:extLst>
                <a:ext uri="{FF2B5EF4-FFF2-40B4-BE49-F238E27FC236}">
                  <a16:creationId xmlns:a16="http://schemas.microsoft.com/office/drawing/2014/main" id="{3ACE4441-4D5D-069F-1337-0ACA8E2D35D0}"/>
                </a:ext>
              </a:extLst>
            </p:cNvPr>
            <p:cNvSpPr/>
            <p:nvPr/>
          </p:nvSpPr>
          <p:spPr>
            <a:xfrm>
              <a:off x="959643" y="3465167"/>
              <a:ext cx="3886438" cy="1056293"/>
            </a:xfrm>
            <a:prstGeom prst="round2Same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135000" tIns="135000" rIns="135000" bIns="135000" rtlCol="0" anchor="ctr"/>
            <a:lstStyle/>
            <a:p>
              <a:pPr algn="ctr" defTabSz="685835">
                <a:spcBef>
                  <a:spcPts val="900"/>
                </a:spcBef>
                <a:spcAft>
                  <a:spcPts val="900"/>
                </a:spcAft>
                <a:defRPr/>
              </a:pPr>
              <a:r>
                <a:rPr lang="en-US" sz="2000" b="1" dirty="0">
                  <a:solidFill>
                    <a:schemeClr val="bg1"/>
                  </a:solidFill>
                  <a:latin typeface="Arial" panose="020B0604020202020204" pitchFamily="34" charset="0"/>
                  <a:ea typeface="Times New Roman" panose="02020603050405020304" pitchFamily="18" charset="0"/>
                  <a:cs typeface="Arial" panose="020B0604020202020204" pitchFamily="34" charset="0"/>
                </a:rPr>
                <a:t>STRENGTHS (+)</a:t>
              </a:r>
            </a:p>
          </p:txBody>
        </p:sp>
        <p:sp>
          <p:nvSpPr>
            <p:cNvPr id="27" name="TextBox 26">
              <a:extLst>
                <a:ext uri="{FF2B5EF4-FFF2-40B4-BE49-F238E27FC236}">
                  <a16:creationId xmlns:a16="http://schemas.microsoft.com/office/drawing/2014/main" id="{23D24EB9-2E90-2D53-F3F2-A18EA09FD70C}"/>
                </a:ext>
              </a:extLst>
            </p:cNvPr>
            <p:cNvSpPr txBox="1"/>
            <p:nvPr/>
          </p:nvSpPr>
          <p:spPr>
            <a:xfrm>
              <a:off x="2588663" y="2641680"/>
              <a:ext cx="748923" cy="1107996"/>
            </a:xfrm>
            <a:prstGeom prst="rect">
              <a:avLst/>
            </a:prstGeom>
            <a:noFill/>
          </p:spPr>
          <p:txBody>
            <a:bodyPr wrap="none" rtlCol="0">
              <a:spAutoFit/>
            </a:bodyPr>
            <a:lstStyle/>
            <a:p>
              <a:pPr algn="ctr"/>
              <a:r>
                <a:rPr lang="en-US" sz="6600" b="1" dirty="0">
                  <a:solidFill>
                    <a:schemeClr val="accent1"/>
                  </a:solidFill>
                  <a:latin typeface="Arial" panose="020B0604020202020204" pitchFamily="34" charset="0"/>
                  <a:cs typeface="Arial" panose="020B0604020202020204" pitchFamily="34" charset="0"/>
                </a:rPr>
                <a:t>S</a:t>
              </a:r>
              <a:endParaRPr lang="en-IN" sz="6600" b="1" dirty="0">
                <a:solidFill>
                  <a:schemeClr val="accent1"/>
                </a:solidFill>
                <a:latin typeface="Arial" panose="020B0604020202020204" pitchFamily="34" charset="0"/>
                <a:cs typeface="Arial" panose="020B0604020202020204" pitchFamily="34" charset="0"/>
              </a:endParaRPr>
            </a:p>
          </p:txBody>
        </p:sp>
        <p:sp>
          <p:nvSpPr>
            <p:cNvPr id="16" name="Rectangle: Top Corners Rounded 15">
              <a:extLst>
                <a:ext uri="{FF2B5EF4-FFF2-40B4-BE49-F238E27FC236}">
                  <a16:creationId xmlns:a16="http://schemas.microsoft.com/office/drawing/2014/main" id="{83C3E497-49C3-90EA-2795-A1ED64A2C002}"/>
                </a:ext>
              </a:extLst>
            </p:cNvPr>
            <p:cNvSpPr/>
            <p:nvPr/>
          </p:nvSpPr>
          <p:spPr>
            <a:xfrm>
              <a:off x="5120401" y="3465167"/>
              <a:ext cx="3886438" cy="1056293"/>
            </a:xfrm>
            <a:prstGeom prst="round2Same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35000" tIns="135000" rIns="135000" bIns="135000" rtlCol="0" anchor="ctr"/>
            <a:lstStyle/>
            <a:p>
              <a:pPr algn="ctr" defTabSz="685835">
                <a:spcBef>
                  <a:spcPts val="900"/>
                </a:spcBef>
                <a:spcAft>
                  <a:spcPts val="900"/>
                </a:spcAft>
                <a:defRPr/>
              </a:pPr>
              <a:r>
                <a:rPr lang="en-US" sz="2000" b="1" dirty="0">
                  <a:solidFill>
                    <a:schemeClr val="bg1"/>
                  </a:solidFill>
                  <a:latin typeface="Arial" panose="020B0604020202020204" pitchFamily="34" charset="0"/>
                  <a:ea typeface="Times New Roman" panose="02020603050405020304" pitchFamily="18" charset="0"/>
                  <a:cs typeface="Arial" panose="020B0604020202020204" pitchFamily="34" charset="0"/>
                </a:rPr>
                <a:t>WEAKNESSES (-)</a:t>
              </a:r>
            </a:p>
          </p:txBody>
        </p:sp>
        <p:sp>
          <p:nvSpPr>
            <p:cNvPr id="29" name="TextBox 28">
              <a:extLst>
                <a:ext uri="{FF2B5EF4-FFF2-40B4-BE49-F238E27FC236}">
                  <a16:creationId xmlns:a16="http://schemas.microsoft.com/office/drawing/2014/main" id="{D9674296-0D2F-588F-6E9B-13BF6DF97F13}"/>
                </a:ext>
              </a:extLst>
            </p:cNvPr>
            <p:cNvSpPr txBox="1"/>
            <p:nvPr/>
          </p:nvSpPr>
          <p:spPr>
            <a:xfrm>
              <a:off x="6778066" y="2641680"/>
              <a:ext cx="982961" cy="1107996"/>
            </a:xfrm>
            <a:prstGeom prst="rect">
              <a:avLst/>
            </a:prstGeom>
            <a:noFill/>
          </p:spPr>
          <p:txBody>
            <a:bodyPr wrap="none" rtlCol="0">
              <a:spAutoFit/>
            </a:bodyPr>
            <a:lstStyle/>
            <a:p>
              <a:pPr algn="ctr"/>
              <a:r>
                <a:rPr lang="en-US" sz="6600" b="1" dirty="0">
                  <a:solidFill>
                    <a:schemeClr val="accent2"/>
                  </a:solidFill>
                  <a:latin typeface="Arial" panose="020B0604020202020204" pitchFamily="34" charset="0"/>
                  <a:cs typeface="Arial" panose="020B0604020202020204" pitchFamily="34" charset="0"/>
                </a:rPr>
                <a:t>W</a:t>
              </a:r>
              <a:endParaRPr lang="en-IN" sz="6600" b="1" dirty="0">
                <a:solidFill>
                  <a:schemeClr val="accent2"/>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EF2CA7BF-A55E-FECD-B3D3-7ABD1A170481}"/>
                </a:ext>
              </a:extLst>
            </p:cNvPr>
            <p:cNvSpPr/>
            <p:nvPr/>
          </p:nvSpPr>
          <p:spPr>
            <a:xfrm>
              <a:off x="5120401" y="4521461"/>
              <a:ext cx="3886438" cy="54639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35000" bIns="135000" rtlCol="0" anchor="t"/>
            <a:lstStyle/>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p:txBody>
        </p:sp>
        <p:sp>
          <p:nvSpPr>
            <p:cNvPr id="20" name="Rectangle: Top Corners Rounded 19">
              <a:extLst>
                <a:ext uri="{FF2B5EF4-FFF2-40B4-BE49-F238E27FC236}">
                  <a16:creationId xmlns:a16="http://schemas.microsoft.com/office/drawing/2014/main" id="{0980BA99-FD1E-F94C-FF00-13F965CF7275}"/>
                </a:ext>
              </a:extLst>
            </p:cNvPr>
            <p:cNvSpPr/>
            <p:nvPr/>
          </p:nvSpPr>
          <p:spPr>
            <a:xfrm>
              <a:off x="9281159" y="3465167"/>
              <a:ext cx="3886438" cy="1056293"/>
            </a:xfrm>
            <a:prstGeom prst="round2SameRect">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5000" tIns="135000" rIns="135000" bIns="135000" rtlCol="0" anchor="ctr"/>
            <a:lstStyle/>
            <a:p>
              <a:pPr algn="ctr" defTabSz="685835">
                <a:spcBef>
                  <a:spcPts val="900"/>
                </a:spcBef>
                <a:spcAft>
                  <a:spcPts val="900"/>
                </a:spcAft>
                <a:defRPr/>
              </a:pPr>
              <a:r>
                <a:rPr lang="en-US" sz="2000" b="1" dirty="0">
                  <a:solidFill>
                    <a:schemeClr val="bg1"/>
                  </a:solidFill>
                  <a:latin typeface="Arial" panose="020B0604020202020204" pitchFamily="34" charset="0"/>
                  <a:ea typeface="Times New Roman" panose="02020603050405020304" pitchFamily="18" charset="0"/>
                  <a:cs typeface="Arial" panose="020B0604020202020204" pitchFamily="34" charset="0"/>
                </a:rPr>
                <a:t>OPPORTUNITIES (+)</a:t>
              </a:r>
            </a:p>
          </p:txBody>
        </p:sp>
        <p:sp>
          <p:nvSpPr>
            <p:cNvPr id="30" name="TextBox 29">
              <a:extLst>
                <a:ext uri="{FF2B5EF4-FFF2-40B4-BE49-F238E27FC236}">
                  <a16:creationId xmlns:a16="http://schemas.microsoft.com/office/drawing/2014/main" id="{2BCA2022-67E4-FFF4-632D-C67515F955F8}"/>
                </a:ext>
              </a:extLst>
            </p:cNvPr>
            <p:cNvSpPr txBox="1"/>
            <p:nvPr/>
          </p:nvSpPr>
          <p:spPr>
            <a:xfrm>
              <a:off x="10782540" y="2641680"/>
              <a:ext cx="843501" cy="1107996"/>
            </a:xfrm>
            <a:prstGeom prst="rect">
              <a:avLst/>
            </a:prstGeom>
            <a:noFill/>
          </p:spPr>
          <p:txBody>
            <a:bodyPr wrap="none" rtlCol="0">
              <a:spAutoFit/>
            </a:bodyPr>
            <a:lstStyle/>
            <a:p>
              <a:pPr algn="ctr"/>
              <a:r>
                <a:rPr lang="en-US" sz="6600" b="1" dirty="0">
                  <a:solidFill>
                    <a:schemeClr val="accent2">
                      <a:lumMod val="75000"/>
                    </a:schemeClr>
                  </a:solidFill>
                  <a:latin typeface="Arial" panose="020B0604020202020204" pitchFamily="34" charset="0"/>
                  <a:cs typeface="Arial" panose="020B0604020202020204" pitchFamily="34" charset="0"/>
                </a:rPr>
                <a:t>O</a:t>
              </a:r>
              <a:endParaRPr lang="en-IN" sz="6600" b="1" dirty="0">
                <a:solidFill>
                  <a:schemeClr val="accent2">
                    <a:lumMod val="75000"/>
                  </a:schemeClr>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F89CBEC2-884D-6D4A-E1BE-62EC029E0D1D}"/>
                </a:ext>
              </a:extLst>
            </p:cNvPr>
            <p:cNvSpPr/>
            <p:nvPr/>
          </p:nvSpPr>
          <p:spPr>
            <a:xfrm>
              <a:off x="9281159" y="4521461"/>
              <a:ext cx="3886438" cy="54639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35000" bIns="135000" rtlCol="0" anchor="t"/>
            <a:lstStyle/>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p:txBody>
        </p:sp>
        <p:sp>
          <p:nvSpPr>
            <p:cNvPr id="24" name="Rectangle: Top Corners Rounded 23">
              <a:extLst>
                <a:ext uri="{FF2B5EF4-FFF2-40B4-BE49-F238E27FC236}">
                  <a16:creationId xmlns:a16="http://schemas.microsoft.com/office/drawing/2014/main" id="{F259EF2B-E1F1-7005-24FE-77535601BA82}"/>
                </a:ext>
              </a:extLst>
            </p:cNvPr>
            <p:cNvSpPr/>
            <p:nvPr/>
          </p:nvSpPr>
          <p:spPr>
            <a:xfrm>
              <a:off x="13441918" y="3465167"/>
              <a:ext cx="3886438" cy="1056293"/>
            </a:xfrm>
            <a:prstGeom prst="round2SameRect">
              <a:avLst/>
            </a:prstGeom>
            <a:solidFill>
              <a:schemeClr val="accent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35000" tIns="135000" rIns="135000" bIns="135000" rtlCol="0" anchor="ctr"/>
            <a:lstStyle/>
            <a:p>
              <a:pPr algn="ctr" defTabSz="685835">
                <a:spcBef>
                  <a:spcPts val="900"/>
                </a:spcBef>
                <a:spcAft>
                  <a:spcPts val="900"/>
                </a:spcAft>
                <a:defRPr/>
              </a:pPr>
              <a:r>
                <a:rPr lang="en-US" sz="2000" b="1" dirty="0">
                  <a:solidFill>
                    <a:schemeClr val="bg1"/>
                  </a:solidFill>
                  <a:latin typeface="Arial" panose="020B0604020202020204" pitchFamily="34" charset="0"/>
                  <a:ea typeface="Times New Roman" panose="02020603050405020304" pitchFamily="18" charset="0"/>
                  <a:cs typeface="Arial" panose="020B0604020202020204" pitchFamily="34" charset="0"/>
                </a:rPr>
                <a:t>THREATS (-)</a:t>
              </a:r>
            </a:p>
          </p:txBody>
        </p:sp>
        <p:sp>
          <p:nvSpPr>
            <p:cNvPr id="31" name="TextBox 30">
              <a:extLst>
                <a:ext uri="{FF2B5EF4-FFF2-40B4-BE49-F238E27FC236}">
                  <a16:creationId xmlns:a16="http://schemas.microsoft.com/office/drawing/2014/main" id="{6EDF7A10-600C-3B31-C672-8B853E72D7FA}"/>
                </a:ext>
              </a:extLst>
            </p:cNvPr>
            <p:cNvSpPr txBox="1"/>
            <p:nvPr/>
          </p:nvSpPr>
          <p:spPr>
            <a:xfrm>
              <a:off x="14973659" y="2641680"/>
              <a:ext cx="702436" cy="1107996"/>
            </a:xfrm>
            <a:prstGeom prst="rect">
              <a:avLst/>
            </a:prstGeom>
            <a:noFill/>
          </p:spPr>
          <p:txBody>
            <a:bodyPr wrap="none" rtlCol="0">
              <a:spAutoFit/>
            </a:bodyPr>
            <a:lstStyle/>
            <a:p>
              <a:pPr algn="ctr"/>
              <a:r>
                <a:rPr lang="en-US" sz="6600" b="1" dirty="0">
                  <a:solidFill>
                    <a:schemeClr val="accent1">
                      <a:lumMod val="75000"/>
                      <a:lumOff val="25000"/>
                    </a:schemeClr>
                  </a:solidFill>
                  <a:latin typeface="Arial" panose="020B0604020202020204" pitchFamily="34" charset="0"/>
                  <a:cs typeface="Arial" panose="020B0604020202020204" pitchFamily="34" charset="0"/>
                </a:rPr>
                <a:t>T</a:t>
              </a:r>
              <a:endParaRPr lang="en-IN" sz="6600" b="1" dirty="0">
                <a:solidFill>
                  <a:schemeClr val="accent1">
                    <a:lumMod val="75000"/>
                    <a:lumOff val="25000"/>
                  </a:schemeClr>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4C0743DB-D082-F69C-3B4B-CD96E3DE78B5}"/>
                </a:ext>
              </a:extLst>
            </p:cNvPr>
            <p:cNvSpPr/>
            <p:nvPr/>
          </p:nvSpPr>
          <p:spPr>
            <a:xfrm>
              <a:off x="13441918" y="4521461"/>
              <a:ext cx="3886438" cy="54639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35000" bIns="135000" rtlCol="0" anchor="t"/>
            <a:lstStyle/>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a:p>
              <a:pPr marL="360000" indent="-360000">
                <a:spcBef>
                  <a:spcPts val="300"/>
                </a:spcBef>
                <a:spcAft>
                  <a:spcPts val="300"/>
                </a:spcAft>
                <a:buClr>
                  <a:schemeClr val="accent1"/>
                </a:buClr>
                <a:buSzPct val="100000"/>
                <a:buFont typeface="Symbol" panose="05050102010706020507" pitchFamily="18" charset="2"/>
                <a:buChar char=""/>
                <a:defRP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a:t>
              </a:r>
            </a:p>
          </p:txBody>
        </p:sp>
      </p:grpSp>
      <p:sp>
        <p:nvSpPr>
          <p:cNvPr id="5" name="Slide Number Placeholder 4">
            <a:extLst>
              <a:ext uri="{FF2B5EF4-FFF2-40B4-BE49-F238E27FC236}">
                <a16:creationId xmlns:a16="http://schemas.microsoft.com/office/drawing/2014/main" id="{797F4CE5-54E9-0419-1382-15DCD0EAC24A}"/>
              </a:ext>
            </a:extLst>
          </p:cNvPr>
          <p:cNvSpPr>
            <a:spLocks noGrp="1"/>
          </p:cNvSpPr>
          <p:nvPr>
            <p:ph type="sldNum" sz="quarter" idx="12"/>
          </p:nvPr>
        </p:nvSpPr>
        <p:spPr/>
        <p:txBody>
          <a:bodyPr/>
          <a:lstStyle/>
          <a:p>
            <a:fld id="{E2D680B1-7F17-42D2-83E2-2C9AC13983BB}" type="slidenum">
              <a:rPr lang="en-US" smtClean="0"/>
              <a:t>73</a:t>
            </a:fld>
            <a:endParaRPr lang="en-US" dirty="0"/>
          </a:p>
        </p:txBody>
      </p:sp>
    </p:spTree>
    <p:extLst>
      <p:ext uri="{BB962C8B-B14F-4D97-AF65-F5344CB8AC3E}">
        <p14:creationId xmlns:p14="http://schemas.microsoft.com/office/powerpoint/2010/main" val="6380525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5" name="Title 704">
            <a:extLst>
              <a:ext uri="{FF2B5EF4-FFF2-40B4-BE49-F238E27FC236}">
                <a16:creationId xmlns:a16="http://schemas.microsoft.com/office/drawing/2014/main" id="{902080A3-395D-90BB-8E68-0F9D538A460D}"/>
              </a:ext>
            </a:extLst>
          </p:cNvPr>
          <p:cNvSpPr>
            <a:spLocks noGrp="1"/>
          </p:cNvSpPr>
          <p:nvPr>
            <p:ph type="title"/>
          </p:nvPr>
        </p:nvSpPr>
        <p:spPr/>
        <p:txBody>
          <a:bodyPr/>
          <a:lstStyle/>
          <a:p>
            <a:r>
              <a:rPr lang="en-US" dirty="0"/>
              <a:t>Porter’s Five Forces Layout</a:t>
            </a:r>
          </a:p>
        </p:txBody>
      </p:sp>
      <p:sp>
        <p:nvSpPr>
          <p:cNvPr id="5" name="Block Arc 4">
            <a:extLst>
              <a:ext uri="{FF2B5EF4-FFF2-40B4-BE49-F238E27FC236}">
                <a16:creationId xmlns:a16="http://schemas.microsoft.com/office/drawing/2014/main" id="{38B9D6D5-985F-1D80-5E6C-37562998F2E2}"/>
              </a:ext>
            </a:extLst>
          </p:cNvPr>
          <p:cNvSpPr/>
          <p:nvPr/>
        </p:nvSpPr>
        <p:spPr>
          <a:xfrm>
            <a:off x="6273386" y="2949591"/>
            <a:ext cx="5741227" cy="5741220"/>
          </a:xfrm>
          <a:prstGeom prst="blockArc">
            <a:avLst>
              <a:gd name="adj1" fmla="val 11880000"/>
              <a:gd name="adj2" fmla="val 16200000"/>
              <a:gd name="adj3" fmla="val 4639"/>
            </a:avLst>
          </a:prstGeom>
          <a:solidFill>
            <a:schemeClr val="accent3"/>
          </a:solid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latin typeface="+mj-lt"/>
            </a:endParaRPr>
          </a:p>
        </p:txBody>
      </p:sp>
      <p:sp>
        <p:nvSpPr>
          <p:cNvPr id="6" name="Block Arc 5">
            <a:extLst>
              <a:ext uri="{FF2B5EF4-FFF2-40B4-BE49-F238E27FC236}">
                <a16:creationId xmlns:a16="http://schemas.microsoft.com/office/drawing/2014/main" id="{C3B6B6EE-D7A1-B7B9-F69E-9E0AF190CFB8}"/>
              </a:ext>
            </a:extLst>
          </p:cNvPr>
          <p:cNvSpPr/>
          <p:nvPr/>
        </p:nvSpPr>
        <p:spPr>
          <a:xfrm>
            <a:off x="6273386" y="2949591"/>
            <a:ext cx="5741227" cy="5741220"/>
          </a:xfrm>
          <a:prstGeom prst="blockArc">
            <a:avLst>
              <a:gd name="adj1" fmla="val 7560000"/>
              <a:gd name="adj2" fmla="val 11880000"/>
              <a:gd name="adj3" fmla="val 4639"/>
            </a:avLst>
          </a:prstGeom>
          <a:solidFill>
            <a:schemeClr val="accent3"/>
          </a:solid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latin typeface="+mj-lt"/>
            </a:endParaRPr>
          </a:p>
        </p:txBody>
      </p:sp>
      <p:sp>
        <p:nvSpPr>
          <p:cNvPr id="7" name="Block Arc 6">
            <a:extLst>
              <a:ext uri="{FF2B5EF4-FFF2-40B4-BE49-F238E27FC236}">
                <a16:creationId xmlns:a16="http://schemas.microsoft.com/office/drawing/2014/main" id="{7C9B6098-7DA3-569A-DE5E-B3C651483767}"/>
              </a:ext>
            </a:extLst>
          </p:cNvPr>
          <p:cNvSpPr/>
          <p:nvPr/>
        </p:nvSpPr>
        <p:spPr>
          <a:xfrm>
            <a:off x="6273386" y="2949591"/>
            <a:ext cx="5741227" cy="5741220"/>
          </a:xfrm>
          <a:prstGeom prst="blockArc">
            <a:avLst>
              <a:gd name="adj1" fmla="val 3240000"/>
              <a:gd name="adj2" fmla="val 7560000"/>
              <a:gd name="adj3" fmla="val 4639"/>
            </a:avLst>
          </a:prstGeom>
          <a:solidFill>
            <a:schemeClr val="accent3"/>
          </a:solid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latin typeface="+mj-lt"/>
            </a:endParaRPr>
          </a:p>
        </p:txBody>
      </p:sp>
      <p:sp>
        <p:nvSpPr>
          <p:cNvPr id="8" name="Block Arc 7">
            <a:extLst>
              <a:ext uri="{FF2B5EF4-FFF2-40B4-BE49-F238E27FC236}">
                <a16:creationId xmlns:a16="http://schemas.microsoft.com/office/drawing/2014/main" id="{BB5F7E8A-AAB4-66D9-56C7-E71A62419823}"/>
              </a:ext>
            </a:extLst>
          </p:cNvPr>
          <p:cNvSpPr/>
          <p:nvPr/>
        </p:nvSpPr>
        <p:spPr>
          <a:xfrm>
            <a:off x="6273386" y="2949591"/>
            <a:ext cx="5741227" cy="5741220"/>
          </a:xfrm>
          <a:prstGeom prst="blockArc">
            <a:avLst>
              <a:gd name="adj1" fmla="val 20520000"/>
              <a:gd name="adj2" fmla="val 3240000"/>
              <a:gd name="adj3" fmla="val 4639"/>
            </a:avLst>
          </a:prstGeom>
          <a:solidFill>
            <a:schemeClr val="accent3"/>
          </a:solid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latin typeface="+mj-lt"/>
            </a:endParaRPr>
          </a:p>
        </p:txBody>
      </p:sp>
      <p:sp>
        <p:nvSpPr>
          <p:cNvPr id="9" name="Block Arc 8">
            <a:extLst>
              <a:ext uri="{FF2B5EF4-FFF2-40B4-BE49-F238E27FC236}">
                <a16:creationId xmlns:a16="http://schemas.microsoft.com/office/drawing/2014/main" id="{5FA07737-242B-2F84-0351-07A6077FEFF0}"/>
              </a:ext>
            </a:extLst>
          </p:cNvPr>
          <p:cNvSpPr/>
          <p:nvPr/>
        </p:nvSpPr>
        <p:spPr>
          <a:xfrm>
            <a:off x="6273386" y="2949591"/>
            <a:ext cx="5741227" cy="5741220"/>
          </a:xfrm>
          <a:prstGeom prst="blockArc">
            <a:avLst>
              <a:gd name="adj1" fmla="val 16200000"/>
              <a:gd name="adj2" fmla="val 20520000"/>
              <a:gd name="adj3" fmla="val 4639"/>
            </a:avLst>
          </a:prstGeom>
          <a:solidFill>
            <a:schemeClr val="accent3"/>
          </a:solidFill>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latin typeface="+mj-lt"/>
            </a:endParaRPr>
          </a:p>
        </p:txBody>
      </p:sp>
      <p:sp>
        <p:nvSpPr>
          <p:cNvPr id="10" name="Freeform 22">
            <a:extLst>
              <a:ext uri="{FF2B5EF4-FFF2-40B4-BE49-F238E27FC236}">
                <a16:creationId xmlns:a16="http://schemas.microsoft.com/office/drawing/2014/main" id="{60B45F48-589F-C308-F211-9012490EDE71}"/>
              </a:ext>
            </a:extLst>
          </p:cNvPr>
          <p:cNvSpPr/>
          <p:nvPr/>
        </p:nvSpPr>
        <p:spPr>
          <a:xfrm>
            <a:off x="7624549" y="4300761"/>
            <a:ext cx="3038899" cy="3038886"/>
          </a:xfrm>
          <a:custGeom>
            <a:avLst/>
            <a:gdLst>
              <a:gd name="connsiteX0" fmla="*/ 0 w 619741"/>
              <a:gd name="connsiteY0" fmla="*/ 309871 h 619741"/>
              <a:gd name="connsiteX1" fmla="*/ 309871 w 619741"/>
              <a:gd name="connsiteY1" fmla="*/ 0 h 619741"/>
              <a:gd name="connsiteX2" fmla="*/ 619742 w 619741"/>
              <a:gd name="connsiteY2" fmla="*/ 309871 h 619741"/>
              <a:gd name="connsiteX3" fmla="*/ 309871 w 619741"/>
              <a:gd name="connsiteY3" fmla="*/ 619742 h 619741"/>
              <a:gd name="connsiteX4" fmla="*/ 0 w 619741"/>
              <a:gd name="connsiteY4" fmla="*/ 309871 h 61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741" h="619741">
                <a:moveTo>
                  <a:pt x="0" y="309871"/>
                </a:moveTo>
                <a:cubicBezTo>
                  <a:pt x="0" y="138734"/>
                  <a:pt x="138734" y="0"/>
                  <a:pt x="309871" y="0"/>
                </a:cubicBezTo>
                <a:cubicBezTo>
                  <a:pt x="481008" y="0"/>
                  <a:pt x="619742" y="138734"/>
                  <a:pt x="619742" y="309871"/>
                </a:cubicBezTo>
                <a:cubicBezTo>
                  <a:pt x="619742" y="481008"/>
                  <a:pt x="481008" y="619742"/>
                  <a:pt x="309871" y="619742"/>
                </a:cubicBezTo>
                <a:cubicBezTo>
                  <a:pt x="138734" y="619742"/>
                  <a:pt x="0" y="481008"/>
                  <a:pt x="0" y="309871"/>
                </a:cubicBezTo>
                <a:close/>
              </a:path>
            </a:pathLst>
          </a:custGeom>
          <a:solidFill>
            <a:schemeClr val="accent2"/>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5999" tIns="105999" rIns="105999" bIns="105999" numCol="1" spcCol="1270" anchor="ctr" anchorCtr="0">
            <a:noAutofit/>
          </a:bodyPr>
          <a:lstStyle/>
          <a:p>
            <a:pPr lvl="0" algn="ctr" defTabSz="533400">
              <a:lnSpc>
                <a:spcPct val="90000"/>
              </a:lnSpc>
              <a:spcBef>
                <a:spcPct val="0"/>
              </a:spcBef>
              <a:spcAft>
                <a:spcPct val="35000"/>
              </a:spcAft>
            </a:pPr>
            <a:r>
              <a:rPr lang="en-IN" sz="2400" b="1" kern="1200" dirty="0">
                <a:solidFill>
                  <a:schemeClr val="tx1"/>
                </a:solidFill>
                <a:latin typeface="+mj-lt"/>
              </a:rPr>
              <a:t>Heading</a:t>
            </a:r>
            <a:endParaRPr lang="en-US" sz="2400" b="1" kern="1200" dirty="0">
              <a:solidFill>
                <a:schemeClr val="tx1"/>
              </a:solidFill>
              <a:latin typeface="+mj-lt"/>
            </a:endParaRPr>
          </a:p>
        </p:txBody>
      </p:sp>
      <p:grpSp>
        <p:nvGrpSpPr>
          <p:cNvPr id="695" name="Group 694">
            <a:extLst>
              <a:ext uri="{FF2B5EF4-FFF2-40B4-BE49-F238E27FC236}">
                <a16:creationId xmlns:a16="http://schemas.microsoft.com/office/drawing/2014/main" id="{D3F0877F-56A6-88BB-84A0-E78BDDD08E7A}"/>
              </a:ext>
            </a:extLst>
          </p:cNvPr>
          <p:cNvGrpSpPr/>
          <p:nvPr/>
        </p:nvGrpSpPr>
        <p:grpSpPr>
          <a:xfrm>
            <a:off x="10818513" y="4028933"/>
            <a:ext cx="1849564" cy="1849564"/>
            <a:chOff x="10818513" y="4028933"/>
            <a:chExt cx="1849564" cy="1849564"/>
          </a:xfrm>
        </p:grpSpPr>
        <p:sp>
          <p:nvSpPr>
            <p:cNvPr id="12" name="Freeform 24">
              <a:extLst>
                <a:ext uri="{FF2B5EF4-FFF2-40B4-BE49-F238E27FC236}">
                  <a16:creationId xmlns:a16="http://schemas.microsoft.com/office/drawing/2014/main" id="{632A7550-BAA5-9026-94BC-805636AB127C}"/>
                </a:ext>
              </a:extLst>
            </p:cNvPr>
            <p:cNvSpPr/>
            <p:nvPr/>
          </p:nvSpPr>
          <p:spPr>
            <a:xfrm>
              <a:off x="10818513" y="4028933"/>
              <a:ext cx="1849564" cy="1849564"/>
            </a:xfrm>
            <a:custGeom>
              <a:avLst/>
              <a:gdLst>
                <a:gd name="connsiteX0" fmla="*/ 0 w 464774"/>
                <a:gd name="connsiteY0" fmla="*/ 232387 h 464774"/>
                <a:gd name="connsiteX1" fmla="*/ 232387 w 464774"/>
                <a:gd name="connsiteY1" fmla="*/ 0 h 464774"/>
                <a:gd name="connsiteX2" fmla="*/ 464774 w 464774"/>
                <a:gd name="connsiteY2" fmla="*/ 232387 h 464774"/>
                <a:gd name="connsiteX3" fmla="*/ 232387 w 464774"/>
                <a:gd name="connsiteY3" fmla="*/ 464774 h 464774"/>
                <a:gd name="connsiteX4" fmla="*/ 0 w 464774"/>
                <a:gd name="connsiteY4" fmla="*/ 232387 h 46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74" h="464774">
                  <a:moveTo>
                    <a:pt x="0" y="232387"/>
                  </a:moveTo>
                  <a:cubicBezTo>
                    <a:pt x="0" y="104043"/>
                    <a:pt x="104043" y="0"/>
                    <a:pt x="232387" y="0"/>
                  </a:cubicBezTo>
                  <a:cubicBezTo>
                    <a:pt x="360731" y="0"/>
                    <a:pt x="464774" y="104043"/>
                    <a:pt x="464774" y="232387"/>
                  </a:cubicBezTo>
                  <a:cubicBezTo>
                    <a:pt x="464774" y="360731"/>
                    <a:pt x="360731" y="464774"/>
                    <a:pt x="232387" y="464774"/>
                  </a:cubicBezTo>
                  <a:cubicBezTo>
                    <a:pt x="104043" y="464774"/>
                    <a:pt x="0" y="360731"/>
                    <a:pt x="0" y="232387"/>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95" tIns="79495" rIns="79495" bIns="79495" numCol="1" spcCol="1270" anchor="ctr" anchorCtr="0">
              <a:noAutofit/>
            </a:bodyPr>
            <a:lstStyle/>
            <a:p>
              <a:pPr lvl="0" algn="ctr" defTabSz="400050">
                <a:lnSpc>
                  <a:spcPct val="90000"/>
                </a:lnSpc>
                <a:spcBef>
                  <a:spcPct val="0"/>
                </a:spcBef>
                <a:spcAft>
                  <a:spcPct val="35000"/>
                </a:spcAft>
              </a:pPr>
              <a:endParaRPr lang="en-US" sz="900" kern="1200" dirty="0">
                <a:latin typeface="+mj-lt"/>
              </a:endParaRPr>
            </a:p>
          </p:txBody>
        </p:sp>
        <p:grpSp>
          <p:nvGrpSpPr>
            <p:cNvPr id="122" name="Google Shape;14778;p84">
              <a:extLst>
                <a:ext uri="{FF2B5EF4-FFF2-40B4-BE49-F238E27FC236}">
                  <a16:creationId xmlns:a16="http://schemas.microsoft.com/office/drawing/2014/main" id="{65DE98ED-1B5F-04EC-DB0D-4A098FCFB767}"/>
                </a:ext>
              </a:extLst>
            </p:cNvPr>
            <p:cNvGrpSpPr/>
            <p:nvPr/>
          </p:nvGrpSpPr>
          <p:grpSpPr>
            <a:xfrm>
              <a:off x="11460804" y="4560129"/>
              <a:ext cx="564982" cy="787172"/>
              <a:chOff x="1394743" y="1512058"/>
              <a:chExt cx="252444" cy="351721"/>
            </a:xfrm>
            <a:solidFill>
              <a:schemeClr val="bg1"/>
            </a:solidFill>
          </p:grpSpPr>
          <p:sp>
            <p:nvSpPr>
              <p:cNvPr id="666" name="Google Shape;14779;p84">
                <a:extLst>
                  <a:ext uri="{FF2B5EF4-FFF2-40B4-BE49-F238E27FC236}">
                    <a16:creationId xmlns:a16="http://schemas.microsoft.com/office/drawing/2014/main" id="{DA829A50-EC25-CA42-54C4-6229918115A5}"/>
                  </a:ext>
                </a:extLst>
              </p:cNvPr>
              <p:cNvSpPr/>
              <p:nvPr/>
            </p:nvSpPr>
            <p:spPr>
              <a:xfrm>
                <a:off x="1394743" y="1512058"/>
                <a:ext cx="252444" cy="351721"/>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67" name="Google Shape;14780;p84">
                <a:extLst>
                  <a:ext uri="{FF2B5EF4-FFF2-40B4-BE49-F238E27FC236}">
                    <a16:creationId xmlns:a16="http://schemas.microsoft.com/office/drawing/2014/main" id="{FDCBC6A6-8991-2C8A-AD26-5E33860191B6}"/>
                  </a:ext>
                </a:extLst>
              </p:cNvPr>
              <p:cNvSpPr/>
              <p:nvPr/>
            </p:nvSpPr>
            <p:spPr>
              <a:xfrm>
                <a:off x="1515284" y="1534022"/>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68" name="Google Shape;14781;p84">
                <a:extLst>
                  <a:ext uri="{FF2B5EF4-FFF2-40B4-BE49-F238E27FC236}">
                    <a16:creationId xmlns:a16="http://schemas.microsoft.com/office/drawing/2014/main" id="{5CDACEAD-0CC7-17A6-C5F2-E1B63EA60A12}"/>
                  </a:ext>
                </a:extLst>
              </p:cNvPr>
              <p:cNvSpPr/>
              <p:nvPr/>
            </p:nvSpPr>
            <p:spPr>
              <a:xfrm>
                <a:off x="1415977" y="1556017"/>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69" name="Google Shape;14782;p84">
                <a:extLst>
                  <a:ext uri="{FF2B5EF4-FFF2-40B4-BE49-F238E27FC236}">
                    <a16:creationId xmlns:a16="http://schemas.microsoft.com/office/drawing/2014/main" id="{373D7D52-4339-A645-4419-DE73E8BCF8A2}"/>
                  </a:ext>
                </a:extLst>
              </p:cNvPr>
              <p:cNvSpPr/>
              <p:nvPr/>
            </p:nvSpPr>
            <p:spPr>
              <a:xfrm>
                <a:off x="1449335" y="1665926"/>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0" name="Google Shape;14783;p84">
                <a:extLst>
                  <a:ext uri="{FF2B5EF4-FFF2-40B4-BE49-F238E27FC236}">
                    <a16:creationId xmlns:a16="http://schemas.microsoft.com/office/drawing/2014/main" id="{6DB3CAF7-7D99-3559-7F60-311284A97F51}"/>
                  </a:ext>
                </a:extLst>
              </p:cNvPr>
              <p:cNvSpPr/>
              <p:nvPr/>
            </p:nvSpPr>
            <p:spPr>
              <a:xfrm>
                <a:off x="1449335" y="1715167"/>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1" name="Google Shape;14784;p84">
                <a:extLst>
                  <a:ext uri="{FF2B5EF4-FFF2-40B4-BE49-F238E27FC236}">
                    <a16:creationId xmlns:a16="http://schemas.microsoft.com/office/drawing/2014/main" id="{33ED968A-3B7B-933E-BEB4-8B9B5AC5BAA2}"/>
                  </a:ext>
                </a:extLst>
              </p:cNvPr>
              <p:cNvSpPr/>
              <p:nvPr/>
            </p:nvSpPr>
            <p:spPr>
              <a:xfrm>
                <a:off x="1449335" y="1765204"/>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2" name="Google Shape;14785;p84">
                <a:extLst>
                  <a:ext uri="{FF2B5EF4-FFF2-40B4-BE49-F238E27FC236}">
                    <a16:creationId xmlns:a16="http://schemas.microsoft.com/office/drawing/2014/main" id="{C677E8EE-FA61-227E-2811-208AECAB6466}"/>
                  </a:ext>
                </a:extLst>
              </p:cNvPr>
              <p:cNvSpPr/>
              <p:nvPr/>
            </p:nvSpPr>
            <p:spPr>
              <a:xfrm>
                <a:off x="1493292" y="1665926"/>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3" name="Google Shape;14786;p84">
                <a:extLst>
                  <a:ext uri="{FF2B5EF4-FFF2-40B4-BE49-F238E27FC236}">
                    <a16:creationId xmlns:a16="http://schemas.microsoft.com/office/drawing/2014/main" id="{DE4346D7-500A-377C-0954-AECC72C24886}"/>
                  </a:ext>
                </a:extLst>
              </p:cNvPr>
              <p:cNvSpPr/>
              <p:nvPr/>
            </p:nvSpPr>
            <p:spPr>
              <a:xfrm>
                <a:off x="1493292" y="1687889"/>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4" name="Google Shape;14787;p84">
                <a:extLst>
                  <a:ext uri="{FF2B5EF4-FFF2-40B4-BE49-F238E27FC236}">
                    <a16:creationId xmlns:a16="http://schemas.microsoft.com/office/drawing/2014/main" id="{8306BE56-AA07-3B62-203D-988A46622DD9}"/>
                  </a:ext>
                </a:extLst>
              </p:cNvPr>
              <p:cNvSpPr/>
              <p:nvPr/>
            </p:nvSpPr>
            <p:spPr>
              <a:xfrm>
                <a:off x="1493292" y="1715167"/>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5" name="Google Shape;14788;p84">
                <a:extLst>
                  <a:ext uri="{FF2B5EF4-FFF2-40B4-BE49-F238E27FC236}">
                    <a16:creationId xmlns:a16="http://schemas.microsoft.com/office/drawing/2014/main" id="{D75F97B6-B949-7021-3C76-69053F89BBD9}"/>
                  </a:ext>
                </a:extLst>
              </p:cNvPr>
              <p:cNvSpPr/>
              <p:nvPr/>
            </p:nvSpPr>
            <p:spPr>
              <a:xfrm>
                <a:off x="1493293" y="1737544"/>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6" name="Google Shape;14789;p84">
                <a:extLst>
                  <a:ext uri="{FF2B5EF4-FFF2-40B4-BE49-F238E27FC236}">
                    <a16:creationId xmlns:a16="http://schemas.microsoft.com/office/drawing/2014/main" id="{526838A5-3234-6468-4FC0-96198076BDA4}"/>
                  </a:ext>
                </a:extLst>
              </p:cNvPr>
              <p:cNvSpPr/>
              <p:nvPr/>
            </p:nvSpPr>
            <p:spPr>
              <a:xfrm>
                <a:off x="1493293" y="1765204"/>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7" name="Google Shape;14790;p84">
                <a:extLst>
                  <a:ext uri="{FF2B5EF4-FFF2-40B4-BE49-F238E27FC236}">
                    <a16:creationId xmlns:a16="http://schemas.microsoft.com/office/drawing/2014/main" id="{E8E29599-4B25-95B1-CB71-3BD22EB897CC}"/>
                  </a:ext>
                </a:extLst>
              </p:cNvPr>
              <p:cNvSpPr/>
              <p:nvPr/>
            </p:nvSpPr>
            <p:spPr>
              <a:xfrm>
                <a:off x="1493291" y="1786819"/>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8" name="Google Shape;14791;p84">
                <a:extLst>
                  <a:ext uri="{FF2B5EF4-FFF2-40B4-BE49-F238E27FC236}">
                    <a16:creationId xmlns:a16="http://schemas.microsoft.com/office/drawing/2014/main" id="{9C0819C2-6970-9299-2E75-62F5FD87C6E1}"/>
                  </a:ext>
                </a:extLst>
              </p:cNvPr>
              <p:cNvSpPr/>
              <p:nvPr/>
            </p:nvSpPr>
            <p:spPr>
              <a:xfrm>
                <a:off x="1493288" y="1583680"/>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79" name="Google Shape;14792;p84">
                <a:extLst>
                  <a:ext uri="{FF2B5EF4-FFF2-40B4-BE49-F238E27FC236}">
                    <a16:creationId xmlns:a16="http://schemas.microsoft.com/office/drawing/2014/main" id="{A446C81F-238E-2742-3861-64875B66AB4B}"/>
                  </a:ext>
                </a:extLst>
              </p:cNvPr>
              <p:cNvSpPr/>
              <p:nvPr/>
            </p:nvSpPr>
            <p:spPr>
              <a:xfrm>
                <a:off x="1449330" y="1632954"/>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80" name="Google Shape;14793;p84">
                <a:extLst>
                  <a:ext uri="{FF2B5EF4-FFF2-40B4-BE49-F238E27FC236}">
                    <a16:creationId xmlns:a16="http://schemas.microsoft.com/office/drawing/2014/main" id="{724A20CC-C9F9-6290-0DCA-CB6303E138FE}"/>
                  </a:ext>
                </a:extLst>
              </p:cNvPr>
              <p:cNvSpPr/>
              <p:nvPr/>
            </p:nvSpPr>
            <p:spPr>
              <a:xfrm>
                <a:off x="1493287" y="1605308"/>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81" name="Google Shape;14794;p84">
                <a:extLst>
                  <a:ext uri="{FF2B5EF4-FFF2-40B4-BE49-F238E27FC236}">
                    <a16:creationId xmlns:a16="http://schemas.microsoft.com/office/drawing/2014/main" id="{D5D5EC61-B734-BEA9-6D2E-1A0729874398}"/>
                  </a:ext>
                </a:extLst>
              </p:cNvPr>
              <p:cNvSpPr/>
              <p:nvPr/>
            </p:nvSpPr>
            <p:spPr>
              <a:xfrm>
                <a:off x="1531581" y="1605293"/>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82" name="Google Shape;14795;p84">
                <a:extLst>
                  <a:ext uri="{FF2B5EF4-FFF2-40B4-BE49-F238E27FC236}">
                    <a16:creationId xmlns:a16="http://schemas.microsoft.com/office/drawing/2014/main" id="{EE3EDF55-78E9-0651-0E66-5094CE12EC68}"/>
                  </a:ext>
                </a:extLst>
              </p:cNvPr>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nvGrpSpPr>
          <p:cNvPr id="696" name="Group 695">
            <a:extLst>
              <a:ext uri="{FF2B5EF4-FFF2-40B4-BE49-F238E27FC236}">
                <a16:creationId xmlns:a16="http://schemas.microsoft.com/office/drawing/2014/main" id="{D1AA2C43-9884-E0EE-C9C0-507DCF56749C}"/>
              </a:ext>
            </a:extLst>
          </p:cNvPr>
          <p:cNvGrpSpPr/>
          <p:nvPr/>
        </p:nvGrpSpPr>
        <p:grpSpPr>
          <a:xfrm>
            <a:off x="9867385" y="7163928"/>
            <a:ext cx="1849564" cy="1849564"/>
            <a:chOff x="9867385" y="7163928"/>
            <a:chExt cx="1849564" cy="1849564"/>
          </a:xfrm>
        </p:grpSpPr>
        <p:sp>
          <p:nvSpPr>
            <p:cNvPr id="13" name="Freeform 25">
              <a:extLst>
                <a:ext uri="{FF2B5EF4-FFF2-40B4-BE49-F238E27FC236}">
                  <a16:creationId xmlns:a16="http://schemas.microsoft.com/office/drawing/2014/main" id="{586F8497-4AC9-11CB-F97C-09E2F2035510}"/>
                </a:ext>
              </a:extLst>
            </p:cNvPr>
            <p:cNvSpPr/>
            <p:nvPr/>
          </p:nvSpPr>
          <p:spPr>
            <a:xfrm>
              <a:off x="9867385" y="7163928"/>
              <a:ext cx="1849564" cy="1849564"/>
            </a:xfrm>
            <a:custGeom>
              <a:avLst/>
              <a:gdLst>
                <a:gd name="connsiteX0" fmla="*/ 0 w 464774"/>
                <a:gd name="connsiteY0" fmla="*/ 232387 h 464774"/>
                <a:gd name="connsiteX1" fmla="*/ 232387 w 464774"/>
                <a:gd name="connsiteY1" fmla="*/ 0 h 464774"/>
                <a:gd name="connsiteX2" fmla="*/ 464774 w 464774"/>
                <a:gd name="connsiteY2" fmla="*/ 232387 h 464774"/>
                <a:gd name="connsiteX3" fmla="*/ 232387 w 464774"/>
                <a:gd name="connsiteY3" fmla="*/ 464774 h 464774"/>
                <a:gd name="connsiteX4" fmla="*/ 0 w 464774"/>
                <a:gd name="connsiteY4" fmla="*/ 232387 h 46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74" h="464774">
                  <a:moveTo>
                    <a:pt x="0" y="232387"/>
                  </a:moveTo>
                  <a:cubicBezTo>
                    <a:pt x="0" y="104043"/>
                    <a:pt x="104043" y="0"/>
                    <a:pt x="232387" y="0"/>
                  </a:cubicBezTo>
                  <a:cubicBezTo>
                    <a:pt x="360731" y="0"/>
                    <a:pt x="464774" y="104043"/>
                    <a:pt x="464774" y="232387"/>
                  </a:cubicBezTo>
                  <a:cubicBezTo>
                    <a:pt x="464774" y="360731"/>
                    <a:pt x="360731" y="464774"/>
                    <a:pt x="232387" y="464774"/>
                  </a:cubicBezTo>
                  <a:cubicBezTo>
                    <a:pt x="104043" y="464774"/>
                    <a:pt x="0" y="360731"/>
                    <a:pt x="0" y="232387"/>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95" tIns="79495" rIns="79495" bIns="79495" numCol="1" spcCol="1270" anchor="ctr" anchorCtr="0">
              <a:noAutofit/>
            </a:bodyPr>
            <a:lstStyle/>
            <a:p>
              <a:pPr lvl="0" algn="ctr" defTabSz="400050">
                <a:lnSpc>
                  <a:spcPct val="90000"/>
                </a:lnSpc>
                <a:spcBef>
                  <a:spcPct val="0"/>
                </a:spcBef>
                <a:spcAft>
                  <a:spcPct val="35000"/>
                </a:spcAft>
              </a:pPr>
              <a:endParaRPr lang="en-US" sz="900" kern="1200" dirty="0">
                <a:latin typeface="+mj-lt"/>
              </a:endParaRPr>
            </a:p>
          </p:txBody>
        </p:sp>
        <p:grpSp>
          <p:nvGrpSpPr>
            <p:cNvPr id="127" name="Google Shape;14802;p84">
              <a:extLst>
                <a:ext uri="{FF2B5EF4-FFF2-40B4-BE49-F238E27FC236}">
                  <a16:creationId xmlns:a16="http://schemas.microsoft.com/office/drawing/2014/main" id="{F51BEB7D-63D8-F7E1-8D45-540FC52C4C45}"/>
                </a:ext>
              </a:extLst>
            </p:cNvPr>
            <p:cNvGrpSpPr/>
            <p:nvPr/>
          </p:nvGrpSpPr>
          <p:grpSpPr>
            <a:xfrm>
              <a:off x="10398154" y="7694698"/>
              <a:ext cx="788027" cy="788025"/>
              <a:chOff x="1819584" y="1511687"/>
              <a:chExt cx="352105" cy="352105"/>
            </a:xfrm>
            <a:solidFill>
              <a:schemeClr val="bg1"/>
            </a:solidFill>
          </p:grpSpPr>
          <p:sp>
            <p:nvSpPr>
              <p:cNvPr id="648" name="Google Shape;14803;p84">
                <a:extLst>
                  <a:ext uri="{FF2B5EF4-FFF2-40B4-BE49-F238E27FC236}">
                    <a16:creationId xmlns:a16="http://schemas.microsoft.com/office/drawing/2014/main" id="{025861E3-C41D-D188-5F4D-BA2BC168B2DE}"/>
                  </a:ext>
                </a:extLst>
              </p:cNvPr>
              <p:cNvSpPr/>
              <p:nvPr/>
            </p:nvSpPr>
            <p:spPr>
              <a:xfrm>
                <a:off x="1819584" y="1511687"/>
                <a:ext cx="352105" cy="352105"/>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49" name="Google Shape;14804;p84">
                <a:extLst>
                  <a:ext uri="{FF2B5EF4-FFF2-40B4-BE49-F238E27FC236}">
                    <a16:creationId xmlns:a16="http://schemas.microsoft.com/office/drawing/2014/main" id="{3004E373-4998-38B3-10F3-1E1408ACAE11}"/>
                  </a:ext>
                </a:extLst>
              </p:cNvPr>
              <p:cNvSpPr/>
              <p:nvPr/>
            </p:nvSpPr>
            <p:spPr>
              <a:xfrm>
                <a:off x="1885153" y="1578212"/>
                <a:ext cx="182323" cy="180604"/>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50" name="Google Shape;14805;p84">
                <a:extLst>
                  <a:ext uri="{FF2B5EF4-FFF2-40B4-BE49-F238E27FC236}">
                    <a16:creationId xmlns:a16="http://schemas.microsoft.com/office/drawing/2014/main" id="{B9B91169-F30D-2FEB-123E-F55B5A78D524}"/>
                  </a:ext>
                </a:extLst>
              </p:cNvPr>
              <p:cNvSpPr/>
              <p:nvPr/>
            </p:nvSpPr>
            <p:spPr>
              <a:xfrm>
                <a:off x="1923824" y="1610202"/>
                <a:ext cx="183054" cy="186875"/>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51" name="Google Shape;14806;p84">
                <a:extLst>
                  <a:ext uri="{FF2B5EF4-FFF2-40B4-BE49-F238E27FC236}">
                    <a16:creationId xmlns:a16="http://schemas.microsoft.com/office/drawing/2014/main" id="{E7EAEDCC-A78D-7CAC-E766-907C13D9B002}"/>
                  </a:ext>
                </a:extLst>
              </p:cNvPr>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nvGrpSpPr>
          <p:cNvPr id="698" name="Group 697">
            <a:extLst>
              <a:ext uri="{FF2B5EF4-FFF2-40B4-BE49-F238E27FC236}">
                <a16:creationId xmlns:a16="http://schemas.microsoft.com/office/drawing/2014/main" id="{7A832251-7159-B75D-AC38-6372ACBAC7CA}"/>
              </a:ext>
            </a:extLst>
          </p:cNvPr>
          <p:cNvGrpSpPr/>
          <p:nvPr/>
        </p:nvGrpSpPr>
        <p:grpSpPr>
          <a:xfrm>
            <a:off x="5552428" y="4028933"/>
            <a:ext cx="1849564" cy="1849564"/>
            <a:chOff x="5552428" y="4028933"/>
            <a:chExt cx="1849564" cy="1849564"/>
          </a:xfrm>
        </p:grpSpPr>
        <p:sp>
          <p:nvSpPr>
            <p:cNvPr id="15" name="Freeform 27">
              <a:extLst>
                <a:ext uri="{FF2B5EF4-FFF2-40B4-BE49-F238E27FC236}">
                  <a16:creationId xmlns:a16="http://schemas.microsoft.com/office/drawing/2014/main" id="{DBFD51EE-F259-A8A2-76C6-04D6E79D59AB}"/>
                </a:ext>
              </a:extLst>
            </p:cNvPr>
            <p:cNvSpPr/>
            <p:nvPr/>
          </p:nvSpPr>
          <p:spPr>
            <a:xfrm>
              <a:off x="5552428" y="4028933"/>
              <a:ext cx="1849564" cy="1849564"/>
            </a:xfrm>
            <a:custGeom>
              <a:avLst/>
              <a:gdLst>
                <a:gd name="connsiteX0" fmla="*/ 0 w 464774"/>
                <a:gd name="connsiteY0" fmla="*/ 232387 h 464774"/>
                <a:gd name="connsiteX1" fmla="*/ 232387 w 464774"/>
                <a:gd name="connsiteY1" fmla="*/ 0 h 464774"/>
                <a:gd name="connsiteX2" fmla="*/ 464774 w 464774"/>
                <a:gd name="connsiteY2" fmla="*/ 232387 h 464774"/>
                <a:gd name="connsiteX3" fmla="*/ 232387 w 464774"/>
                <a:gd name="connsiteY3" fmla="*/ 464774 h 464774"/>
                <a:gd name="connsiteX4" fmla="*/ 0 w 464774"/>
                <a:gd name="connsiteY4" fmla="*/ 232387 h 46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74" h="464774">
                  <a:moveTo>
                    <a:pt x="0" y="232387"/>
                  </a:moveTo>
                  <a:cubicBezTo>
                    <a:pt x="0" y="104043"/>
                    <a:pt x="104043" y="0"/>
                    <a:pt x="232387" y="0"/>
                  </a:cubicBezTo>
                  <a:cubicBezTo>
                    <a:pt x="360731" y="0"/>
                    <a:pt x="464774" y="104043"/>
                    <a:pt x="464774" y="232387"/>
                  </a:cubicBezTo>
                  <a:cubicBezTo>
                    <a:pt x="464774" y="360731"/>
                    <a:pt x="360731" y="464774"/>
                    <a:pt x="232387" y="464774"/>
                  </a:cubicBezTo>
                  <a:cubicBezTo>
                    <a:pt x="104043" y="464774"/>
                    <a:pt x="0" y="360731"/>
                    <a:pt x="0" y="232387"/>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95" tIns="79495" rIns="79495" bIns="79495" numCol="1" spcCol="1270" anchor="ctr" anchorCtr="0">
              <a:noAutofit/>
            </a:bodyPr>
            <a:lstStyle/>
            <a:p>
              <a:pPr lvl="0" algn="ctr" defTabSz="400050">
                <a:lnSpc>
                  <a:spcPct val="90000"/>
                </a:lnSpc>
                <a:spcBef>
                  <a:spcPct val="0"/>
                </a:spcBef>
                <a:spcAft>
                  <a:spcPct val="35000"/>
                </a:spcAft>
              </a:pPr>
              <a:endParaRPr lang="en-US" sz="900" kern="1200" dirty="0">
                <a:latin typeface="+mj-lt"/>
              </a:endParaRPr>
            </a:p>
          </p:txBody>
        </p:sp>
        <p:grpSp>
          <p:nvGrpSpPr>
            <p:cNvPr id="132" name="Google Shape;14870;p84">
              <a:extLst>
                <a:ext uri="{FF2B5EF4-FFF2-40B4-BE49-F238E27FC236}">
                  <a16:creationId xmlns:a16="http://schemas.microsoft.com/office/drawing/2014/main" id="{68291FB8-A6CC-5AE5-FCA3-75B74F2DEEA0}"/>
                </a:ext>
              </a:extLst>
            </p:cNvPr>
            <p:cNvGrpSpPr/>
            <p:nvPr/>
          </p:nvGrpSpPr>
          <p:grpSpPr>
            <a:xfrm>
              <a:off x="6072155" y="4601269"/>
              <a:ext cx="810110" cy="704893"/>
              <a:chOff x="3716358" y="1544655"/>
              <a:chExt cx="361971" cy="314958"/>
            </a:xfrm>
            <a:solidFill>
              <a:schemeClr val="bg1"/>
            </a:solidFill>
          </p:grpSpPr>
          <p:sp>
            <p:nvSpPr>
              <p:cNvPr id="612" name="Google Shape;14871;p84">
                <a:extLst>
                  <a:ext uri="{FF2B5EF4-FFF2-40B4-BE49-F238E27FC236}">
                    <a16:creationId xmlns:a16="http://schemas.microsoft.com/office/drawing/2014/main" id="{B98174D1-6CAC-2351-D084-3D2787C3D98C}"/>
                  </a:ext>
                </a:extLst>
              </p:cNvPr>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13" name="Google Shape;14872;p84">
                <a:extLst>
                  <a:ext uri="{FF2B5EF4-FFF2-40B4-BE49-F238E27FC236}">
                    <a16:creationId xmlns:a16="http://schemas.microsoft.com/office/drawing/2014/main" id="{8B8B45CE-E610-D2BE-3E42-3D0FF0C4E4BA}"/>
                  </a:ext>
                </a:extLst>
              </p:cNvPr>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14" name="Google Shape;14873;p84">
                <a:extLst>
                  <a:ext uri="{FF2B5EF4-FFF2-40B4-BE49-F238E27FC236}">
                    <a16:creationId xmlns:a16="http://schemas.microsoft.com/office/drawing/2014/main" id="{204DAFE6-B295-DC0F-4EED-DC6679F3508E}"/>
                  </a:ext>
                </a:extLst>
              </p:cNvPr>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15" name="Google Shape;14874;p84">
                <a:extLst>
                  <a:ext uri="{FF2B5EF4-FFF2-40B4-BE49-F238E27FC236}">
                    <a16:creationId xmlns:a16="http://schemas.microsoft.com/office/drawing/2014/main" id="{02634AA1-9F52-5F25-D949-6FD2EBE9F853}"/>
                  </a:ext>
                </a:extLst>
              </p:cNvPr>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16" name="Google Shape;14875;p84">
                <a:extLst>
                  <a:ext uri="{FF2B5EF4-FFF2-40B4-BE49-F238E27FC236}">
                    <a16:creationId xmlns:a16="http://schemas.microsoft.com/office/drawing/2014/main" id="{BB579719-391D-7EA3-A383-A4C39EC8ADDE}"/>
                  </a:ext>
                </a:extLst>
              </p:cNvPr>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nvGrpSpPr>
              <p:cNvPr id="617" name="Google Shape;14876;p84">
                <a:extLst>
                  <a:ext uri="{FF2B5EF4-FFF2-40B4-BE49-F238E27FC236}">
                    <a16:creationId xmlns:a16="http://schemas.microsoft.com/office/drawing/2014/main" id="{4A838114-575C-7C9E-C88C-60E09CD65DAF}"/>
                  </a:ext>
                </a:extLst>
              </p:cNvPr>
              <p:cNvGrpSpPr/>
              <p:nvPr/>
            </p:nvGrpSpPr>
            <p:grpSpPr>
              <a:xfrm>
                <a:off x="3716358" y="1544655"/>
                <a:ext cx="361971" cy="314958"/>
                <a:chOff x="3716358" y="1544655"/>
                <a:chExt cx="361971" cy="314958"/>
              </a:xfrm>
              <a:grpFill/>
            </p:grpSpPr>
            <p:sp>
              <p:nvSpPr>
                <p:cNvPr id="618" name="Google Shape;14877;p84">
                  <a:extLst>
                    <a:ext uri="{FF2B5EF4-FFF2-40B4-BE49-F238E27FC236}">
                      <a16:creationId xmlns:a16="http://schemas.microsoft.com/office/drawing/2014/main" id="{00876A5B-7489-14EE-9F4E-F8E040102FAD}"/>
                    </a:ext>
                  </a:extLst>
                </p:cNvPr>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19" name="Google Shape;14878;p84">
                  <a:extLst>
                    <a:ext uri="{FF2B5EF4-FFF2-40B4-BE49-F238E27FC236}">
                      <a16:creationId xmlns:a16="http://schemas.microsoft.com/office/drawing/2014/main" id="{36BE99B1-59F2-3E9E-7DFD-896952DD9E6D}"/>
                    </a:ext>
                  </a:extLst>
                </p:cNvPr>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20" name="Google Shape;14879;p84">
                  <a:extLst>
                    <a:ext uri="{FF2B5EF4-FFF2-40B4-BE49-F238E27FC236}">
                      <a16:creationId xmlns:a16="http://schemas.microsoft.com/office/drawing/2014/main" id="{25AFCF9A-8ABE-4E3F-D1B2-913A03BBBFE4}"/>
                    </a:ext>
                  </a:extLst>
                </p:cNvPr>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21" name="Google Shape;14880;p84">
                  <a:extLst>
                    <a:ext uri="{FF2B5EF4-FFF2-40B4-BE49-F238E27FC236}">
                      <a16:creationId xmlns:a16="http://schemas.microsoft.com/office/drawing/2014/main" id="{BE37BFB7-1A40-2FDE-69A4-1B96DBF67BE8}"/>
                    </a:ext>
                  </a:extLst>
                </p:cNvPr>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22" name="Google Shape;14881;p84">
                  <a:extLst>
                    <a:ext uri="{FF2B5EF4-FFF2-40B4-BE49-F238E27FC236}">
                      <a16:creationId xmlns:a16="http://schemas.microsoft.com/office/drawing/2014/main" id="{9D529C4E-FB34-9353-E356-4216DF43788B}"/>
                    </a:ext>
                  </a:extLst>
                </p:cNvPr>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grpSp>
        <p:nvGrpSpPr>
          <p:cNvPr id="694" name="Group 693">
            <a:extLst>
              <a:ext uri="{FF2B5EF4-FFF2-40B4-BE49-F238E27FC236}">
                <a16:creationId xmlns:a16="http://schemas.microsoft.com/office/drawing/2014/main" id="{4357230D-C8B5-C0A5-08D8-2DF0DDAAD88B}"/>
              </a:ext>
            </a:extLst>
          </p:cNvPr>
          <p:cNvGrpSpPr/>
          <p:nvPr/>
        </p:nvGrpSpPr>
        <p:grpSpPr>
          <a:xfrm>
            <a:off x="8219216" y="2091396"/>
            <a:ext cx="1849564" cy="1849564"/>
            <a:chOff x="8219216" y="2091396"/>
            <a:chExt cx="1849564" cy="1849564"/>
          </a:xfrm>
        </p:grpSpPr>
        <p:sp>
          <p:nvSpPr>
            <p:cNvPr id="11" name="Freeform 23">
              <a:extLst>
                <a:ext uri="{FF2B5EF4-FFF2-40B4-BE49-F238E27FC236}">
                  <a16:creationId xmlns:a16="http://schemas.microsoft.com/office/drawing/2014/main" id="{3A191787-703E-E3B2-088E-4CAC2F054668}"/>
                </a:ext>
              </a:extLst>
            </p:cNvPr>
            <p:cNvSpPr/>
            <p:nvPr/>
          </p:nvSpPr>
          <p:spPr>
            <a:xfrm>
              <a:off x="8219216" y="2091396"/>
              <a:ext cx="1849564" cy="1849564"/>
            </a:xfrm>
            <a:custGeom>
              <a:avLst/>
              <a:gdLst>
                <a:gd name="connsiteX0" fmla="*/ 0 w 464774"/>
                <a:gd name="connsiteY0" fmla="*/ 232387 h 464774"/>
                <a:gd name="connsiteX1" fmla="*/ 232387 w 464774"/>
                <a:gd name="connsiteY1" fmla="*/ 0 h 464774"/>
                <a:gd name="connsiteX2" fmla="*/ 464774 w 464774"/>
                <a:gd name="connsiteY2" fmla="*/ 232387 h 464774"/>
                <a:gd name="connsiteX3" fmla="*/ 232387 w 464774"/>
                <a:gd name="connsiteY3" fmla="*/ 464774 h 464774"/>
                <a:gd name="connsiteX4" fmla="*/ 0 w 464774"/>
                <a:gd name="connsiteY4" fmla="*/ 232387 h 46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74" h="464774">
                  <a:moveTo>
                    <a:pt x="0" y="232387"/>
                  </a:moveTo>
                  <a:cubicBezTo>
                    <a:pt x="0" y="104043"/>
                    <a:pt x="104043" y="0"/>
                    <a:pt x="232387" y="0"/>
                  </a:cubicBezTo>
                  <a:cubicBezTo>
                    <a:pt x="360731" y="0"/>
                    <a:pt x="464774" y="104043"/>
                    <a:pt x="464774" y="232387"/>
                  </a:cubicBezTo>
                  <a:cubicBezTo>
                    <a:pt x="464774" y="360731"/>
                    <a:pt x="360731" y="464774"/>
                    <a:pt x="232387" y="464774"/>
                  </a:cubicBezTo>
                  <a:cubicBezTo>
                    <a:pt x="104043" y="464774"/>
                    <a:pt x="0" y="360731"/>
                    <a:pt x="0" y="232387"/>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95" tIns="79495" rIns="79495" bIns="79495" numCol="1" spcCol="1270" anchor="ctr" anchorCtr="0">
              <a:noAutofit/>
            </a:bodyPr>
            <a:lstStyle/>
            <a:p>
              <a:pPr lvl="0" algn="ctr" defTabSz="400050">
                <a:lnSpc>
                  <a:spcPct val="90000"/>
                </a:lnSpc>
                <a:spcBef>
                  <a:spcPct val="0"/>
                </a:spcBef>
                <a:spcAft>
                  <a:spcPct val="35000"/>
                </a:spcAft>
              </a:pPr>
              <a:endParaRPr lang="en-US" sz="900" kern="1200" dirty="0">
                <a:latin typeface="+mj-lt"/>
              </a:endParaRPr>
            </a:p>
          </p:txBody>
        </p:sp>
        <p:grpSp>
          <p:nvGrpSpPr>
            <p:cNvPr id="137" name="Google Shape;14796;p84">
              <a:extLst>
                <a:ext uri="{FF2B5EF4-FFF2-40B4-BE49-F238E27FC236}">
                  <a16:creationId xmlns:a16="http://schemas.microsoft.com/office/drawing/2014/main" id="{21F2B11F-2A32-0A8B-0507-390208542F3D}"/>
                </a:ext>
              </a:extLst>
            </p:cNvPr>
            <p:cNvGrpSpPr/>
            <p:nvPr/>
          </p:nvGrpSpPr>
          <p:grpSpPr>
            <a:xfrm>
              <a:off x="8717750" y="2636161"/>
              <a:ext cx="852496" cy="760035"/>
              <a:chOff x="855096" y="1504482"/>
              <a:chExt cx="380909" cy="339596"/>
            </a:xfrm>
            <a:solidFill>
              <a:schemeClr val="bg1"/>
            </a:solidFill>
          </p:grpSpPr>
          <p:sp>
            <p:nvSpPr>
              <p:cNvPr id="573" name="Google Shape;14797;p84">
                <a:extLst>
                  <a:ext uri="{FF2B5EF4-FFF2-40B4-BE49-F238E27FC236}">
                    <a16:creationId xmlns:a16="http://schemas.microsoft.com/office/drawing/2014/main" id="{81CC2420-7ACA-7013-1BDF-642A87E5EF7B}"/>
                  </a:ext>
                </a:extLst>
              </p:cNvPr>
              <p:cNvSpPr/>
              <p:nvPr/>
            </p:nvSpPr>
            <p:spPr>
              <a:xfrm>
                <a:off x="1092706" y="1504482"/>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74" name="Google Shape;14798;p84">
                <a:extLst>
                  <a:ext uri="{FF2B5EF4-FFF2-40B4-BE49-F238E27FC236}">
                    <a16:creationId xmlns:a16="http://schemas.microsoft.com/office/drawing/2014/main" id="{10639A0B-F441-70A2-8D72-14A5148B323A}"/>
                  </a:ext>
                </a:extLst>
              </p:cNvPr>
              <p:cNvSpPr/>
              <p:nvPr/>
            </p:nvSpPr>
            <p:spPr>
              <a:xfrm>
                <a:off x="855096" y="1521895"/>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75" name="Google Shape;14799;p84">
                <a:extLst>
                  <a:ext uri="{FF2B5EF4-FFF2-40B4-BE49-F238E27FC236}">
                    <a16:creationId xmlns:a16="http://schemas.microsoft.com/office/drawing/2014/main" id="{FA91F561-3FE4-2D5B-EA31-CD2BEC1A4951}"/>
                  </a:ext>
                </a:extLst>
              </p:cNvPr>
              <p:cNvSpPr/>
              <p:nvPr/>
            </p:nvSpPr>
            <p:spPr>
              <a:xfrm>
                <a:off x="896412" y="1808778"/>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76" name="Google Shape;14800;p84">
                <a:extLst>
                  <a:ext uri="{FF2B5EF4-FFF2-40B4-BE49-F238E27FC236}">
                    <a16:creationId xmlns:a16="http://schemas.microsoft.com/office/drawing/2014/main" id="{B400A74F-83EE-65BC-FBDD-C8E02BEBC76F}"/>
                  </a:ext>
                </a:extLst>
              </p:cNvPr>
              <p:cNvSpPr/>
              <p:nvPr/>
            </p:nvSpPr>
            <p:spPr>
              <a:xfrm>
                <a:off x="1015393"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77" name="Google Shape;14801;p84">
                <a:extLst>
                  <a:ext uri="{FF2B5EF4-FFF2-40B4-BE49-F238E27FC236}">
                    <a16:creationId xmlns:a16="http://schemas.microsoft.com/office/drawing/2014/main" id="{1D9F87D6-EE97-3DD8-3E57-2103A3C81FEF}"/>
                  </a:ext>
                </a:extLst>
              </p:cNvPr>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nvGrpSpPr>
          <p:cNvPr id="706" name="Group 705">
            <a:extLst>
              <a:ext uri="{FF2B5EF4-FFF2-40B4-BE49-F238E27FC236}">
                <a16:creationId xmlns:a16="http://schemas.microsoft.com/office/drawing/2014/main" id="{4D24A4E0-879D-E92D-4BF4-99196FDE838B}"/>
              </a:ext>
            </a:extLst>
          </p:cNvPr>
          <p:cNvGrpSpPr/>
          <p:nvPr/>
        </p:nvGrpSpPr>
        <p:grpSpPr>
          <a:xfrm>
            <a:off x="6571052" y="7163928"/>
            <a:ext cx="1849564" cy="1849564"/>
            <a:chOff x="6571052" y="7163928"/>
            <a:chExt cx="1849564" cy="1849564"/>
          </a:xfrm>
        </p:grpSpPr>
        <p:sp>
          <p:nvSpPr>
            <p:cNvPr id="14" name="Freeform 26">
              <a:extLst>
                <a:ext uri="{FF2B5EF4-FFF2-40B4-BE49-F238E27FC236}">
                  <a16:creationId xmlns:a16="http://schemas.microsoft.com/office/drawing/2014/main" id="{F2F83939-960F-8F6D-C804-61EE131EF68E}"/>
                </a:ext>
              </a:extLst>
            </p:cNvPr>
            <p:cNvSpPr/>
            <p:nvPr/>
          </p:nvSpPr>
          <p:spPr>
            <a:xfrm>
              <a:off x="6571052" y="7163928"/>
              <a:ext cx="1849564" cy="1849564"/>
            </a:xfrm>
            <a:custGeom>
              <a:avLst/>
              <a:gdLst>
                <a:gd name="connsiteX0" fmla="*/ 0 w 464774"/>
                <a:gd name="connsiteY0" fmla="*/ 232387 h 464774"/>
                <a:gd name="connsiteX1" fmla="*/ 232387 w 464774"/>
                <a:gd name="connsiteY1" fmla="*/ 0 h 464774"/>
                <a:gd name="connsiteX2" fmla="*/ 464774 w 464774"/>
                <a:gd name="connsiteY2" fmla="*/ 232387 h 464774"/>
                <a:gd name="connsiteX3" fmla="*/ 232387 w 464774"/>
                <a:gd name="connsiteY3" fmla="*/ 464774 h 464774"/>
                <a:gd name="connsiteX4" fmla="*/ 0 w 464774"/>
                <a:gd name="connsiteY4" fmla="*/ 232387 h 464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74" h="464774">
                  <a:moveTo>
                    <a:pt x="0" y="232387"/>
                  </a:moveTo>
                  <a:cubicBezTo>
                    <a:pt x="0" y="104043"/>
                    <a:pt x="104043" y="0"/>
                    <a:pt x="232387" y="0"/>
                  </a:cubicBezTo>
                  <a:cubicBezTo>
                    <a:pt x="360731" y="0"/>
                    <a:pt x="464774" y="104043"/>
                    <a:pt x="464774" y="232387"/>
                  </a:cubicBezTo>
                  <a:cubicBezTo>
                    <a:pt x="464774" y="360731"/>
                    <a:pt x="360731" y="464774"/>
                    <a:pt x="232387" y="464774"/>
                  </a:cubicBezTo>
                  <a:cubicBezTo>
                    <a:pt x="104043" y="464774"/>
                    <a:pt x="0" y="360731"/>
                    <a:pt x="0" y="232387"/>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495" tIns="79495" rIns="79495" bIns="79495" numCol="1" spcCol="1270" anchor="ctr" anchorCtr="0">
              <a:noAutofit/>
            </a:bodyPr>
            <a:lstStyle/>
            <a:p>
              <a:pPr lvl="0" algn="ctr" defTabSz="400050">
                <a:lnSpc>
                  <a:spcPct val="90000"/>
                </a:lnSpc>
                <a:spcBef>
                  <a:spcPct val="0"/>
                </a:spcBef>
                <a:spcAft>
                  <a:spcPct val="35000"/>
                </a:spcAft>
              </a:pPr>
              <a:endParaRPr lang="en-US" sz="900" kern="1200" dirty="0">
                <a:latin typeface="+mj-lt"/>
              </a:endParaRPr>
            </a:p>
          </p:txBody>
        </p:sp>
        <p:grpSp>
          <p:nvGrpSpPr>
            <p:cNvPr id="142" name="Google Shape;14821;p84">
              <a:extLst>
                <a:ext uri="{FF2B5EF4-FFF2-40B4-BE49-F238E27FC236}">
                  <a16:creationId xmlns:a16="http://schemas.microsoft.com/office/drawing/2014/main" id="{A3E8A9BD-75D4-892D-F83B-408D9E937CA6}"/>
                </a:ext>
              </a:extLst>
            </p:cNvPr>
            <p:cNvGrpSpPr/>
            <p:nvPr/>
          </p:nvGrpSpPr>
          <p:grpSpPr>
            <a:xfrm>
              <a:off x="7119631" y="7713361"/>
              <a:ext cx="752406" cy="750699"/>
              <a:chOff x="2302783" y="1505998"/>
              <a:chExt cx="336187" cy="335429"/>
            </a:xfrm>
            <a:solidFill>
              <a:schemeClr val="bg1"/>
            </a:solidFill>
          </p:grpSpPr>
          <p:sp>
            <p:nvSpPr>
              <p:cNvPr id="542" name="Google Shape;14822;p84">
                <a:extLst>
                  <a:ext uri="{FF2B5EF4-FFF2-40B4-BE49-F238E27FC236}">
                    <a16:creationId xmlns:a16="http://schemas.microsoft.com/office/drawing/2014/main" id="{DB5535A9-5451-152A-0BFB-4ADE4573AD92}"/>
                  </a:ext>
                </a:extLst>
              </p:cNvPr>
              <p:cNvSpPr/>
              <p:nvPr/>
            </p:nvSpPr>
            <p:spPr>
              <a:xfrm>
                <a:off x="2302783" y="1505998"/>
                <a:ext cx="336187" cy="335429"/>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3" name="Google Shape;14823;p84">
                <a:extLst>
                  <a:ext uri="{FF2B5EF4-FFF2-40B4-BE49-F238E27FC236}">
                    <a16:creationId xmlns:a16="http://schemas.microsoft.com/office/drawing/2014/main" id="{0D58D48F-4DCC-7564-6781-207583B562E1}"/>
                  </a:ext>
                </a:extLst>
              </p:cNvPr>
              <p:cNvSpPr/>
              <p:nvPr/>
            </p:nvSpPr>
            <p:spPr>
              <a:xfrm>
                <a:off x="2327799" y="1530633"/>
                <a:ext cx="287265" cy="286919"/>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4" name="Google Shape;14824;p84">
                <a:extLst>
                  <a:ext uri="{FF2B5EF4-FFF2-40B4-BE49-F238E27FC236}">
                    <a16:creationId xmlns:a16="http://schemas.microsoft.com/office/drawing/2014/main" id="{1832334D-D9EC-66CB-46A3-71E3DE28871B}"/>
                  </a:ext>
                </a:extLst>
              </p:cNvPr>
              <p:cNvSpPr/>
              <p:nvPr/>
            </p:nvSpPr>
            <p:spPr>
              <a:xfrm>
                <a:off x="2352055" y="1669349"/>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5" name="Google Shape;14825;p84">
                <a:extLst>
                  <a:ext uri="{FF2B5EF4-FFF2-40B4-BE49-F238E27FC236}">
                    <a16:creationId xmlns:a16="http://schemas.microsoft.com/office/drawing/2014/main" id="{CBA8237F-6361-24F8-6829-C03BD1713124}"/>
                  </a:ext>
                </a:extLst>
              </p:cNvPr>
              <p:cNvSpPr/>
              <p:nvPr/>
            </p:nvSpPr>
            <p:spPr>
              <a:xfrm>
                <a:off x="2466867" y="1554504"/>
                <a:ext cx="123946" cy="124329"/>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6" name="Google Shape;14826;p84">
                <a:extLst>
                  <a:ext uri="{FF2B5EF4-FFF2-40B4-BE49-F238E27FC236}">
                    <a16:creationId xmlns:a16="http://schemas.microsoft.com/office/drawing/2014/main" id="{966C958F-F443-5D09-F4C3-B4212D6FBE8D}"/>
                  </a:ext>
                </a:extLst>
              </p:cNvPr>
              <p:cNvSpPr/>
              <p:nvPr/>
            </p:nvSpPr>
            <p:spPr>
              <a:xfrm>
                <a:off x="2466103" y="1776964"/>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7" name="Google Shape;14827;p84">
                <a:extLst>
                  <a:ext uri="{FF2B5EF4-FFF2-40B4-BE49-F238E27FC236}">
                    <a16:creationId xmlns:a16="http://schemas.microsoft.com/office/drawing/2014/main" id="{3B8BF73F-E824-A95B-5B8D-E55328E77FEE}"/>
                  </a:ext>
                </a:extLst>
              </p:cNvPr>
              <p:cNvSpPr/>
              <p:nvPr/>
            </p:nvSpPr>
            <p:spPr>
              <a:xfrm>
                <a:off x="2384268" y="1587957"/>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8" name="Google Shape;14828;p84">
                <a:extLst>
                  <a:ext uri="{FF2B5EF4-FFF2-40B4-BE49-F238E27FC236}">
                    <a16:creationId xmlns:a16="http://schemas.microsoft.com/office/drawing/2014/main" id="{D6AD6E18-4300-8436-4817-E4F11ACB196E}"/>
                  </a:ext>
                </a:extLst>
              </p:cNvPr>
              <p:cNvSpPr/>
              <p:nvPr/>
            </p:nvSpPr>
            <p:spPr>
              <a:xfrm>
                <a:off x="2541540" y="1745230"/>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49" name="Google Shape;14829;p84">
                <a:extLst>
                  <a:ext uri="{FF2B5EF4-FFF2-40B4-BE49-F238E27FC236}">
                    <a16:creationId xmlns:a16="http://schemas.microsoft.com/office/drawing/2014/main" id="{1834AF0E-3A36-79CE-09BD-C399D9075CDE}"/>
                  </a:ext>
                </a:extLst>
              </p:cNvPr>
              <p:cNvSpPr/>
              <p:nvPr/>
            </p:nvSpPr>
            <p:spPr>
              <a:xfrm>
                <a:off x="2541540" y="1587957"/>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0" name="Google Shape;14830;p84">
                <a:extLst>
                  <a:ext uri="{FF2B5EF4-FFF2-40B4-BE49-F238E27FC236}">
                    <a16:creationId xmlns:a16="http://schemas.microsoft.com/office/drawing/2014/main" id="{BD142223-C77A-E56C-5FE6-2682156FA351}"/>
                  </a:ext>
                </a:extLst>
              </p:cNvPr>
              <p:cNvSpPr/>
              <p:nvPr/>
            </p:nvSpPr>
            <p:spPr>
              <a:xfrm>
                <a:off x="2384650" y="1744466"/>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1" name="Google Shape;14831;p84">
                <a:extLst>
                  <a:ext uri="{FF2B5EF4-FFF2-40B4-BE49-F238E27FC236}">
                    <a16:creationId xmlns:a16="http://schemas.microsoft.com/office/drawing/2014/main" id="{D62E2190-2E7B-88AA-7D9B-42D7E9AE669E}"/>
                  </a:ext>
                </a:extLst>
              </p:cNvPr>
              <p:cNvSpPr/>
              <p:nvPr/>
            </p:nvSpPr>
            <p:spPr>
              <a:xfrm>
                <a:off x="2360015" y="1624561"/>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2" name="Google Shape;14832;p84">
                <a:extLst>
                  <a:ext uri="{FF2B5EF4-FFF2-40B4-BE49-F238E27FC236}">
                    <a16:creationId xmlns:a16="http://schemas.microsoft.com/office/drawing/2014/main" id="{F2D9F36F-F15F-37E7-93EB-F03F8B6656E3}"/>
                  </a:ext>
                </a:extLst>
              </p:cNvPr>
              <p:cNvSpPr/>
              <p:nvPr/>
            </p:nvSpPr>
            <p:spPr>
              <a:xfrm>
                <a:off x="2564267" y="1711140"/>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3" name="Google Shape;14833;p84">
                <a:extLst>
                  <a:ext uri="{FF2B5EF4-FFF2-40B4-BE49-F238E27FC236}">
                    <a16:creationId xmlns:a16="http://schemas.microsoft.com/office/drawing/2014/main" id="{2041E140-544E-2E35-271C-8E5BC365D3B6}"/>
                  </a:ext>
                </a:extLst>
              </p:cNvPr>
              <p:cNvSpPr/>
              <p:nvPr/>
            </p:nvSpPr>
            <p:spPr>
              <a:xfrm>
                <a:off x="2507802" y="1563925"/>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4" name="Google Shape;14834;p84">
                <a:extLst>
                  <a:ext uri="{FF2B5EF4-FFF2-40B4-BE49-F238E27FC236}">
                    <a16:creationId xmlns:a16="http://schemas.microsoft.com/office/drawing/2014/main" id="{8A86C672-6260-5198-BDF7-7EFFACB928BA}"/>
                  </a:ext>
                </a:extLst>
              </p:cNvPr>
              <p:cNvSpPr/>
              <p:nvPr/>
            </p:nvSpPr>
            <p:spPr>
              <a:xfrm>
                <a:off x="2420650" y="1767989"/>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5" name="Google Shape;14835;p84">
                <a:extLst>
                  <a:ext uri="{FF2B5EF4-FFF2-40B4-BE49-F238E27FC236}">
                    <a16:creationId xmlns:a16="http://schemas.microsoft.com/office/drawing/2014/main" id="{ACC187FC-E53E-2336-6E17-06A3F585FB05}"/>
                  </a:ext>
                </a:extLst>
              </p:cNvPr>
              <p:cNvSpPr/>
              <p:nvPr/>
            </p:nvSpPr>
            <p:spPr>
              <a:xfrm>
                <a:off x="2422529" y="1562459"/>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6" name="Google Shape;14836;p84">
                <a:extLst>
                  <a:ext uri="{FF2B5EF4-FFF2-40B4-BE49-F238E27FC236}">
                    <a16:creationId xmlns:a16="http://schemas.microsoft.com/office/drawing/2014/main" id="{AB68D29C-5B0F-E96A-3EBB-E89D4F4AF4B7}"/>
                  </a:ext>
                </a:extLst>
              </p:cNvPr>
              <p:cNvSpPr/>
              <p:nvPr/>
            </p:nvSpPr>
            <p:spPr>
              <a:xfrm>
                <a:off x="2505542" y="1768779"/>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7" name="Google Shape;14837;p84">
                <a:extLst>
                  <a:ext uri="{FF2B5EF4-FFF2-40B4-BE49-F238E27FC236}">
                    <a16:creationId xmlns:a16="http://schemas.microsoft.com/office/drawing/2014/main" id="{EC742EC5-68CD-30AE-762C-1174A1F98E8D}"/>
                  </a:ext>
                </a:extLst>
              </p:cNvPr>
              <p:cNvSpPr/>
              <p:nvPr/>
            </p:nvSpPr>
            <p:spPr>
              <a:xfrm>
                <a:off x="2565410" y="1625899"/>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sp>
            <p:nvSpPr>
              <p:cNvPr id="558" name="Google Shape;14838;p84">
                <a:extLst>
                  <a:ext uri="{FF2B5EF4-FFF2-40B4-BE49-F238E27FC236}">
                    <a16:creationId xmlns:a16="http://schemas.microsoft.com/office/drawing/2014/main" id="{2255C3DB-9A8D-8B15-EFE9-31F1CB1373E6}"/>
                  </a:ext>
                </a:extLst>
              </p:cNvPr>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grpFill/>
              <a:ln>
                <a:noFill/>
              </a:ln>
            </p:spPr>
            <p:txBody>
              <a:bodyPr spcFirstLastPara="1" wrap="square" lIns="137138" tIns="137138" rIns="137138" bIns="137138" anchor="ctr" anchorCtr="0">
                <a:noAutofit/>
              </a:bodyPr>
              <a:lstStyle/>
              <a:p>
                <a:endParaRPr sz="2700" dirty="0">
                  <a:solidFill>
                    <a:schemeClr val="accent1"/>
                  </a:solidFill>
                  <a:latin typeface="Arial" panose="020B0604020202020204" pitchFamily="34" charset="0"/>
                  <a:cs typeface="Arial" panose="020B0604020202020204" pitchFamily="34" charset="0"/>
                </a:endParaRPr>
              </a:p>
            </p:txBody>
          </p:sp>
        </p:grpSp>
      </p:grpSp>
      <p:sp>
        <p:nvSpPr>
          <p:cNvPr id="699" name="TextBox 12">
            <a:extLst>
              <a:ext uri="{FF2B5EF4-FFF2-40B4-BE49-F238E27FC236}">
                <a16:creationId xmlns:a16="http://schemas.microsoft.com/office/drawing/2014/main" id="{3FA1FB22-07B0-A88C-FAF5-DC6025819162}"/>
              </a:ext>
            </a:extLst>
          </p:cNvPr>
          <p:cNvSpPr txBox="1"/>
          <p:nvPr/>
        </p:nvSpPr>
        <p:spPr>
          <a:xfrm>
            <a:off x="10509109" y="2104566"/>
            <a:ext cx="5795324" cy="1092607"/>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a:t>
            </a:r>
          </a:p>
        </p:txBody>
      </p:sp>
      <p:sp>
        <p:nvSpPr>
          <p:cNvPr id="700" name="TextBox 12">
            <a:extLst>
              <a:ext uri="{FF2B5EF4-FFF2-40B4-BE49-F238E27FC236}">
                <a16:creationId xmlns:a16="http://schemas.microsoft.com/office/drawing/2014/main" id="{ACFEE6FF-F07B-4A1E-E34A-10EF4981BD58}"/>
              </a:ext>
            </a:extLst>
          </p:cNvPr>
          <p:cNvSpPr txBox="1"/>
          <p:nvPr/>
        </p:nvSpPr>
        <p:spPr>
          <a:xfrm>
            <a:off x="13068110" y="4245739"/>
            <a:ext cx="3795661" cy="1431161"/>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a:t>
            </a:r>
          </a:p>
        </p:txBody>
      </p:sp>
      <p:sp>
        <p:nvSpPr>
          <p:cNvPr id="701" name="TextBox 12">
            <a:extLst>
              <a:ext uri="{FF2B5EF4-FFF2-40B4-BE49-F238E27FC236}">
                <a16:creationId xmlns:a16="http://schemas.microsoft.com/office/drawing/2014/main" id="{46FF10D1-56B2-4F92-F9F9-69ABAFCA3D50}"/>
              </a:ext>
            </a:extLst>
          </p:cNvPr>
          <p:cNvSpPr txBox="1"/>
          <p:nvPr/>
        </p:nvSpPr>
        <p:spPr>
          <a:xfrm>
            <a:off x="12222419" y="7293739"/>
            <a:ext cx="3795661" cy="1431161"/>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a:t>
            </a:r>
          </a:p>
        </p:txBody>
      </p:sp>
      <p:sp>
        <p:nvSpPr>
          <p:cNvPr id="702" name="TextBox 12">
            <a:extLst>
              <a:ext uri="{FF2B5EF4-FFF2-40B4-BE49-F238E27FC236}">
                <a16:creationId xmlns:a16="http://schemas.microsoft.com/office/drawing/2014/main" id="{F45BDBA7-2942-D024-F535-88F18F1600CE}"/>
              </a:ext>
            </a:extLst>
          </p:cNvPr>
          <p:cNvSpPr txBox="1"/>
          <p:nvPr/>
        </p:nvSpPr>
        <p:spPr>
          <a:xfrm>
            <a:off x="2327022" y="7293739"/>
            <a:ext cx="3795661" cy="1431161"/>
          </a:xfrm>
          <a:prstGeom prst="rect">
            <a:avLst/>
          </a:prstGeom>
        </p:spPr>
        <p:txBody>
          <a:bodyPr wrap="square" lIns="0" tIns="0" rIns="0" bIns="0" rtlCol="0" anchor="t">
            <a:spAutoFit/>
          </a:bodyPr>
          <a:lstStyle/>
          <a:p>
            <a:pPr algn="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lgn="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a:t>
            </a:r>
          </a:p>
        </p:txBody>
      </p:sp>
      <p:sp>
        <p:nvSpPr>
          <p:cNvPr id="703" name="TextBox 12">
            <a:extLst>
              <a:ext uri="{FF2B5EF4-FFF2-40B4-BE49-F238E27FC236}">
                <a16:creationId xmlns:a16="http://schemas.microsoft.com/office/drawing/2014/main" id="{6342B934-2484-E083-60ED-D5FFFC6CFC95}"/>
              </a:ext>
            </a:extLst>
          </p:cNvPr>
          <p:cNvSpPr txBox="1"/>
          <p:nvPr/>
        </p:nvSpPr>
        <p:spPr>
          <a:xfrm>
            <a:off x="1194360" y="4245739"/>
            <a:ext cx="3795661" cy="1431161"/>
          </a:xfrm>
          <a:prstGeom prst="rect">
            <a:avLst/>
          </a:prstGeom>
        </p:spPr>
        <p:txBody>
          <a:bodyPr wrap="square" lIns="0" tIns="0" rIns="0" bIns="0" rtlCol="0" anchor="t">
            <a:spAutoFit/>
          </a:bodyPr>
          <a:lstStyle/>
          <a:p>
            <a:pPr algn="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lgn="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a:t>
            </a:r>
          </a:p>
        </p:txBody>
      </p:sp>
      <p:sp>
        <p:nvSpPr>
          <p:cNvPr id="2" name="Slide Number Placeholder 1">
            <a:extLst>
              <a:ext uri="{FF2B5EF4-FFF2-40B4-BE49-F238E27FC236}">
                <a16:creationId xmlns:a16="http://schemas.microsoft.com/office/drawing/2014/main" id="{2DAA805E-0499-5654-65A7-9F900DB1AC92}"/>
              </a:ext>
            </a:extLst>
          </p:cNvPr>
          <p:cNvSpPr>
            <a:spLocks noGrp="1"/>
          </p:cNvSpPr>
          <p:nvPr>
            <p:ph type="sldNum" sz="quarter" idx="12"/>
          </p:nvPr>
        </p:nvSpPr>
        <p:spPr/>
        <p:txBody>
          <a:bodyPr/>
          <a:lstStyle/>
          <a:p>
            <a:fld id="{E2D680B1-7F17-42D2-83E2-2C9AC13983BB}" type="slidenum">
              <a:rPr lang="en-US" smtClean="0"/>
              <a:t>74</a:t>
            </a:fld>
            <a:endParaRPr lang="en-US" dirty="0"/>
          </a:p>
        </p:txBody>
      </p:sp>
    </p:spTree>
    <p:extLst>
      <p:ext uri="{BB962C8B-B14F-4D97-AF65-F5344CB8AC3E}">
        <p14:creationId xmlns:p14="http://schemas.microsoft.com/office/powerpoint/2010/main" val="24363421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08CC95-9145-EDD9-5960-781F9B6CF870}"/>
              </a:ext>
            </a:extLst>
          </p:cNvPr>
          <p:cNvSpPr>
            <a:spLocks noGrp="1"/>
          </p:cNvSpPr>
          <p:nvPr>
            <p:ph type="title"/>
          </p:nvPr>
        </p:nvSpPr>
        <p:spPr/>
        <p:txBody>
          <a:bodyPr/>
          <a:lstStyle/>
          <a:p>
            <a:r>
              <a:rPr lang="en-US" dirty="0"/>
              <a:t>Process Slide – Business Workflow</a:t>
            </a:r>
            <a:endParaRPr lang="en-IN" dirty="0"/>
          </a:p>
        </p:txBody>
      </p:sp>
      <p:grpSp>
        <p:nvGrpSpPr>
          <p:cNvPr id="2" name="Group 1">
            <a:extLst>
              <a:ext uri="{FF2B5EF4-FFF2-40B4-BE49-F238E27FC236}">
                <a16:creationId xmlns:a16="http://schemas.microsoft.com/office/drawing/2014/main" id="{B2CF918E-0692-6407-426B-413BAF0C8540}"/>
              </a:ext>
            </a:extLst>
          </p:cNvPr>
          <p:cNvGrpSpPr/>
          <p:nvPr/>
        </p:nvGrpSpPr>
        <p:grpSpPr>
          <a:xfrm>
            <a:off x="1567859" y="2489476"/>
            <a:ext cx="15152282" cy="6125937"/>
            <a:chOff x="811346" y="1702700"/>
            <a:chExt cx="10548613" cy="4264713"/>
          </a:xfrm>
        </p:grpSpPr>
        <p:cxnSp>
          <p:nvCxnSpPr>
            <p:cNvPr id="5" name="Google Shape;714;p25">
              <a:extLst>
                <a:ext uri="{FF2B5EF4-FFF2-40B4-BE49-F238E27FC236}">
                  <a16:creationId xmlns:a16="http://schemas.microsoft.com/office/drawing/2014/main" id="{CF2F6FC0-9310-8545-FFC1-5E815B795315}"/>
                </a:ext>
              </a:extLst>
            </p:cNvPr>
            <p:cNvCxnSpPr>
              <a:cxnSpLocks/>
            </p:cNvCxnSpPr>
            <p:nvPr/>
          </p:nvCxnSpPr>
          <p:spPr>
            <a:xfrm rot="10800000">
              <a:off x="7772886" y="4673991"/>
              <a:ext cx="1034165" cy="0"/>
            </a:xfrm>
            <a:prstGeom prst="straightConnector1">
              <a:avLst/>
            </a:prstGeom>
            <a:noFill/>
            <a:ln w="28575" cap="flat" cmpd="sng">
              <a:solidFill>
                <a:schemeClr val="accent2"/>
              </a:solidFill>
              <a:prstDash val="solid"/>
              <a:round/>
              <a:headEnd type="oval" w="med" len="med"/>
              <a:tailEnd type="none" w="med" len="med"/>
            </a:ln>
          </p:spPr>
        </p:cxnSp>
        <p:cxnSp>
          <p:nvCxnSpPr>
            <p:cNvPr id="9" name="Google Shape;724;p25">
              <a:extLst>
                <a:ext uri="{FF2B5EF4-FFF2-40B4-BE49-F238E27FC236}">
                  <a16:creationId xmlns:a16="http://schemas.microsoft.com/office/drawing/2014/main" id="{EF0B5977-95BC-11E6-8AD0-613823D0B2F4}"/>
                </a:ext>
              </a:extLst>
            </p:cNvPr>
            <p:cNvCxnSpPr>
              <a:cxnSpLocks/>
            </p:cNvCxnSpPr>
            <p:nvPr/>
          </p:nvCxnSpPr>
          <p:spPr>
            <a:xfrm rot="10800000">
              <a:off x="7730333" y="2668917"/>
              <a:ext cx="1076718" cy="0"/>
            </a:xfrm>
            <a:prstGeom prst="straightConnector1">
              <a:avLst/>
            </a:prstGeom>
            <a:noFill/>
            <a:ln w="28575" cap="flat" cmpd="sng">
              <a:solidFill>
                <a:schemeClr val="accent1"/>
              </a:solidFill>
              <a:prstDash val="solid"/>
              <a:round/>
              <a:headEnd type="oval" w="med" len="med"/>
              <a:tailEnd type="none" w="med" len="med"/>
            </a:ln>
          </p:spPr>
        </p:cxnSp>
        <p:cxnSp>
          <p:nvCxnSpPr>
            <p:cNvPr id="14" name="Google Shape;735;p25">
              <a:extLst>
                <a:ext uri="{FF2B5EF4-FFF2-40B4-BE49-F238E27FC236}">
                  <a16:creationId xmlns:a16="http://schemas.microsoft.com/office/drawing/2014/main" id="{EDC1892E-42CE-DA28-B4F7-1A1CA8D9957E}"/>
                </a:ext>
              </a:extLst>
            </p:cNvPr>
            <p:cNvCxnSpPr>
              <a:cxnSpLocks/>
            </p:cNvCxnSpPr>
            <p:nvPr/>
          </p:nvCxnSpPr>
          <p:spPr>
            <a:xfrm>
              <a:off x="3341059" y="2668917"/>
              <a:ext cx="1044911" cy="0"/>
            </a:xfrm>
            <a:prstGeom prst="straightConnector1">
              <a:avLst/>
            </a:prstGeom>
            <a:noFill/>
            <a:ln w="28575" cap="flat" cmpd="sng">
              <a:solidFill>
                <a:schemeClr val="accent2"/>
              </a:solidFill>
              <a:prstDash val="solid"/>
              <a:round/>
              <a:headEnd type="oval" w="med" len="med"/>
              <a:tailEnd type="none" w="med" len="med"/>
            </a:ln>
          </p:spPr>
        </p:cxnSp>
        <p:cxnSp>
          <p:nvCxnSpPr>
            <p:cNvPr id="19" name="Google Shape;746;p25">
              <a:extLst>
                <a:ext uri="{FF2B5EF4-FFF2-40B4-BE49-F238E27FC236}">
                  <a16:creationId xmlns:a16="http://schemas.microsoft.com/office/drawing/2014/main" id="{BD4CE268-E5D4-4350-6254-0CEE544DAD95}"/>
                </a:ext>
              </a:extLst>
            </p:cNvPr>
            <p:cNvCxnSpPr>
              <a:cxnSpLocks/>
            </p:cNvCxnSpPr>
            <p:nvPr/>
          </p:nvCxnSpPr>
          <p:spPr>
            <a:xfrm>
              <a:off x="3359317" y="4673990"/>
              <a:ext cx="1055227" cy="0"/>
            </a:xfrm>
            <a:prstGeom prst="straightConnector1">
              <a:avLst/>
            </a:prstGeom>
            <a:noFill/>
            <a:ln w="28575" cap="flat" cmpd="sng">
              <a:solidFill>
                <a:schemeClr val="accent1"/>
              </a:solidFill>
              <a:prstDash val="solid"/>
              <a:round/>
              <a:headEnd type="oval" w="med" len="med"/>
              <a:tailEnd type="none" w="med" len="med"/>
            </a:ln>
          </p:spPr>
        </p:cxnSp>
        <p:sp>
          <p:nvSpPr>
            <p:cNvPr id="4" name="Google Shape;709;p25">
              <a:extLst>
                <a:ext uri="{FF2B5EF4-FFF2-40B4-BE49-F238E27FC236}">
                  <a16:creationId xmlns:a16="http://schemas.microsoft.com/office/drawing/2014/main" id="{32CDF886-7A47-8C24-A878-264065B7D3D4}"/>
                </a:ext>
              </a:extLst>
            </p:cNvPr>
            <p:cNvSpPr/>
            <p:nvPr/>
          </p:nvSpPr>
          <p:spPr>
            <a:xfrm>
              <a:off x="5771390" y="3950197"/>
              <a:ext cx="2440704" cy="2017216"/>
            </a:xfrm>
            <a:custGeom>
              <a:avLst/>
              <a:gdLst/>
              <a:ahLst/>
              <a:cxnLst/>
              <a:rect l="l" t="t" r="r" b="b"/>
              <a:pathLst>
                <a:path w="68140" h="56317" extrusionOk="0">
                  <a:moveTo>
                    <a:pt x="34517" y="0"/>
                  </a:moveTo>
                  <a:cubicBezTo>
                    <a:pt x="32957" y="12704"/>
                    <a:pt x="22241" y="22574"/>
                    <a:pt x="9156" y="22801"/>
                  </a:cubicBezTo>
                  <a:lnTo>
                    <a:pt x="0" y="39672"/>
                  </a:lnTo>
                  <a:lnTo>
                    <a:pt x="9132" y="56317"/>
                  </a:lnTo>
                  <a:cubicBezTo>
                    <a:pt x="40684" y="56090"/>
                    <a:pt x="66390" y="31337"/>
                    <a:pt x="68140" y="179"/>
                  </a:cubicBezTo>
                  <a:lnTo>
                    <a:pt x="68140" y="179"/>
                  </a:lnTo>
                  <a:lnTo>
                    <a:pt x="51602" y="9251"/>
                  </a:lnTo>
                  <a:lnTo>
                    <a:pt x="34517" y="0"/>
                  </a:lnTo>
                  <a:close/>
                </a:path>
              </a:pathLst>
            </a:custGeom>
            <a:solidFill>
              <a:schemeClr val="accent2"/>
            </a:solidFill>
            <a:ln>
              <a:noFill/>
            </a:ln>
          </p:spPr>
          <p:txBody>
            <a:bodyPr spcFirstLastPara="1" wrap="square" lIns="137138" tIns="137138" rIns="137138" bIns="137138" anchor="ctr" anchorCtr="0">
              <a:noAutofit/>
            </a:bodyPr>
            <a:lstStyle/>
            <a:p>
              <a:pPr>
                <a:spcAft>
                  <a:spcPts val="900"/>
                </a:spcAft>
              </a:pPr>
              <a:endParaRPr sz="2700" b="1" dirty="0">
                <a:latin typeface="Arial" panose="020B0604020202020204" pitchFamily="34" charset="0"/>
                <a:cs typeface="Arial" panose="020B0604020202020204" pitchFamily="34" charset="0"/>
              </a:endParaRPr>
            </a:p>
          </p:txBody>
        </p:sp>
        <p:sp>
          <p:nvSpPr>
            <p:cNvPr id="8" name="Google Shape;719;p25">
              <a:extLst>
                <a:ext uri="{FF2B5EF4-FFF2-40B4-BE49-F238E27FC236}">
                  <a16:creationId xmlns:a16="http://schemas.microsoft.com/office/drawing/2014/main" id="{56FB3494-0C53-EEB1-6941-8780B8EA37E1}"/>
                </a:ext>
              </a:extLst>
            </p:cNvPr>
            <p:cNvSpPr/>
            <p:nvPr/>
          </p:nvSpPr>
          <p:spPr>
            <a:xfrm>
              <a:off x="6197850" y="1706103"/>
              <a:ext cx="2017646" cy="2440704"/>
            </a:xfrm>
            <a:custGeom>
              <a:avLst/>
              <a:gdLst/>
              <a:ahLst/>
              <a:cxnLst/>
              <a:rect l="l" t="t" r="r" b="b"/>
              <a:pathLst>
                <a:path w="56329" h="68140" extrusionOk="0">
                  <a:moveTo>
                    <a:pt x="191" y="1"/>
                  </a:moveTo>
                  <a:lnTo>
                    <a:pt x="9264" y="16550"/>
                  </a:lnTo>
                  <a:lnTo>
                    <a:pt x="1" y="33624"/>
                  </a:lnTo>
                  <a:cubicBezTo>
                    <a:pt x="12716" y="35183"/>
                    <a:pt x="22587" y="45911"/>
                    <a:pt x="22813" y="58984"/>
                  </a:cubicBezTo>
                  <a:lnTo>
                    <a:pt x="39684" y="68140"/>
                  </a:lnTo>
                  <a:lnTo>
                    <a:pt x="56329" y="59008"/>
                  </a:lnTo>
                  <a:cubicBezTo>
                    <a:pt x="56103" y="27456"/>
                    <a:pt x="31350" y="1751"/>
                    <a:pt x="191" y="1"/>
                  </a:cubicBezTo>
                  <a:close/>
                </a:path>
              </a:pathLst>
            </a:custGeom>
            <a:solidFill>
              <a:schemeClr val="accent1"/>
            </a:solidFill>
            <a:ln>
              <a:noFill/>
            </a:ln>
          </p:spPr>
          <p:txBody>
            <a:bodyPr spcFirstLastPara="1" wrap="square" lIns="137138" tIns="137138" rIns="137138" bIns="137138" anchor="ctr" anchorCtr="0">
              <a:noAutofit/>
            </a:bodyPr>
            <a:lstStyle/>
            <a:p>
              <a:pPr>
                <a:spcAft>
                  <a:spcPts val="900"/>
                </a:spcAft>
              </a:pPr>
              <a:endParaRPr sz="2700" b="1" dirty="0">
                <a:latin typeface="Arial" panose="020B0604020202020204" pitchFamily="34" charset="0"/>
                <a:cs typeface="Arial" panose="020B0604020202020204" pitchFamily="34" charset="0"/>
              </a:endParaRPr>
            </a:p>
          </p:txBody>
        </p:sp>
        <p:sp>
          <p:nvSpPr>
            <p:cNvPr id="13" name="Google Shape;730;p25">
              <a:extLst>
                <a:ext uri="{FF2B5EF4-FFF2-40B4-BE49-F238E27FC236}">
                  <a16:creationId xmlns:a16="http://schemas.microsoft.com/office/drawing/2014/main" id="{F47F8674-6D2A-2FCB-C0DE-0C2745A128A3}"/>
                </a:ext>
              </a:extLst>
            </p:cNvPr>
            <p:cNvSpPr/>
            <p:nvPr/>
          </p:nvSpPr>
          <p:spPr>
            <a:xfrm>
              <a:off x="3954186" y="1702700"/>
              <a:ext cx="2440740" cy="2017646"/>
            </a:xfrm>
            <a:custGeom>
              <a:avLst/>
              <a:gdLst/>
              <a:ahLst/>
              <a:cxnLst/>
              <a:rect l="l" t="t" r="r" b="b"/>
              <a:pathLst>
                <a:path w="68141" h="56329" extrusionOk="0">
                  <a:moveTo>
                    <a:pt x="59008" y="0"/>
                  </a:moveTo>
                  <a:cubicBezTo>
                    <a:pt x="27457" y="227"/>
                    <a:pt x="1751" y="24980"/>
                    <a:pt x="1" y="56138"/>
                  </a:cubicBezTo>
                  <a:lnTo>
                    <a:pt x="16550" y="47066"/>
                  </a:lnTo>
                  <a:lnTo>
                    <a:pt x="33624" y="56329"/>
                  </a:lnTo>
                  <a:cubicBezTo>
                    <a:pt x="35184" y="43613"/>
                    <a:pt x="45911" y="33754"/>
                    <a:pt x="58984" y="33528"/>
                  </a:cubicBezTo>
                  <a:lnTo>
                    <a:pt x="68140" y="16645"/>
                  </a:lnTo>
                  <a:lnTo>
                    <a:pt x="59008" y="0"/>
                  </a:lnTo>
                  <a:close/>
                </a:path>
              </a:pathLst>
            </a:custGeom>
            <a:solidFill>
              <a:schemeClr val="accent2"/>
            </a:solidFill>
            <a:ln>
              <a:noFill/>
            </a:ln>
          </p:spPr>
          <p:txBody>
            <a:bodyPr spcFirstLastPara="1" wrap="square" lIns="137138" tIns="137138" rIns="137138" bIns="137138" anchor="ctr" anchorCtr="0">
              <a:noAutofit/>
            </a:bodyPr>
            <a:lstStyle/>
            <a:p>
              <a:pPr>
                <a:spcAft>
                  <a:spcPts val="900"/>
                </a:spcAft>
              </a:pPr>
              <a:endParaRPr sz="2700" b="1" dirty="0">
                <a:latin typeface="Arial" panose="020B0604020202020204" pitchFamily="34" charset="0"/>
                <a:cs typeface="Arial" panose="020B0604020202020204" pitchFamily="34" charset="0"/>
              </a:endParaRPr>
            </a:p>
          </p:txBody>
        </p:sp>
        <p:sp>
          <p:nvSpPr>
            <p:cNvPr id="18" name="Google Shape;741;p25">
              <a:extLst>
                <a:ext uri="{FF2B5EF4-FFF2-40B4-BE49-F238E27FC236}">
                  <a16:creationId xmlns:a16="http://schemas.microsoft.com/office/drawing/2014/main" id="{1E96D08D-3438-39DA-37C5-180BDD9AFE76}"/>
                </a:ext>
              </a:extLst>
            </p:cNvPr>
            <p:cNvSpPr/>
            <p:nvPr/>
          </p:nvSpPr>
          <p:spPr>
            <a:xfrm>
              <a:off x="3950784" y="3523270"/>
              <a:ext cx="2017646" cy="2440740"/>
            </a:xfrm>
            <a:custGeom>
              <a:avLst/>
              <a:gdLst/>
              <a:ahLst/>
              <a:cxnLst/>
              <a:rect l="l" t="t" r="r" b="b"/>
              <a:pathLst>
                <a:path w="56329" h="68141" extrusionOk="0">
                  <a:moveTo>
                    <a:pt x="16645" y="1"/>
                  </a:moveTo>
                  <a:lnTo>
                    <a:pt x="1" y="9133"/>
                  </a:lnTo>
                  <a:cubicBezTo>
                    <a:pt x="227" y="40685"/>
                    <a:pt x="24980" y="66390"/>
                    <a:pt x="56139" y="68140"/>
                  </a:cubicBezTo>
                  <a:lnTo>
                    <a:pt x="47066" y="51603"/>
                  </a:lnTo>
                  <a:lnTo>
                    <a:pt x="56329" y="34517"/>
                  </a:lnTo>
                  <a:cubicBezTo>
                    <a:pt x="43613" y="32957"/>
                    <a:pt x="33755" y="22242"/>
                    <a:pt x="33529" y="9157"/>
                  </a:cubicBezTo>
                  <a:lnTo>
                    <a:pt x="16645" y="1"/>
                  </a:lnTo>
                  <a:close/>
                </a:path>
              </a:pathLst>
            </a:custGeom>
            <a:solidFill>
              <a:schemeClr val="accent1"/>
            </a:solidFill>
            <a:ln>
              <a:noFill/>
            </a:ln>
          </p:spPr>
          <p:txBody>
            <a:bodyPr spcFirstLastPara="1" wrap="square" lIns="137138" tIns="137138" rIns="137138" bIns="137138" anchor="ctr" anchorCtr="0">
              <a:noAutofit/>
            </a:bodyPr>
            <a:lstStyle/>
            <a:p>
              <a:pPr>
                <a:spcAft>
                  <a:spcPts val="900"/>
                </a:spcAft>
              </a:pPr>
              <a:endParaRPr sz="2700" b="1"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8225482A-BA65-A8AD-5766-5DE7A3833455}"/>
                </a:ext>
              </a:extLst>
            </p:cNvPr>
            <p:cNvSpPr/>
            <p:nvPr/>
          </p:nvSpPr>
          <p:spPr>
            <a:xfrm>
              <a:off x="811346" y="2369108"/>
              <a:ext cx="2433549" cy="1301665"/>
            </a:xfrm>
            <a:prstGeom prst="rect">
              <a:avLst/>
            </a:prstGeom>
          </p:spPr>
          <p:txBody>
            <a:bodyPr wrap="square">
              <a:spAutoFit/>
            </a:bodyPr>
            <a:lstStyle/>
            <a:p>
              <a:pPr algn="r">
                <a:spcBef>
                  <a:spcPts val="300"/>
                </a:spcBef>
                <a:spcAft>
                  <a:spcPts val="300"/>
                </a:spcAft>
              </a:pPr>
              <a:r>
                <a:rPr lang="en-GB" sz="2400" b="1" dirty="0">
                  <a:solidFill>
                    <a:schemeClr val="accent1"/>
                  </a:solidFill>
                  <a:latin typeface="Arial" panose="020B0604020202020204" pitchFamily="34" charset="0"/>
                  <a:cs typeface="Arial" panose="020B0604020202020204" pitchFamily="34" charset="0"/>
                </a:rPr>
                <a:t>Lorem ipsum</a:t>
              </a:r>
            </a:p>
            <a:p>
              <a:pPr algn="r">
                <a:spcBef>
                  <a:spcPts val="300"/>
                </a:spcBef>
                <a:spcAft>
                  <a:spcPts val="300"/>
                </a:spcAft>
              </a:pPr>
              <a:r>
                <a:rPr lang="en-US" sz="2100" dirty="0">
                  <a:latin typeface="Arial" panose="020B0604020202020204" pitchFamily="34" charset="0"/>
                  <a:cs typeface="Arial" panose="020B0604020202020204" pitchFamily="34" charset="0"/>
                </a:rPr>
                <a:t>Lorem ipsum is a placeholder text commonly used to demonstrate the visual form of a document</a:t>
              </a:r>
              <a:endParaRPr lang="en-GB" sz="2100"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08FE3E60-87CD-42C3-8BB8-845610323B49}"/>
                </a:ext>
              </a:extLst>
            </p:cNvPr>
            <p:cNvSpPr/>
            <p:nvPr/>
          </p:nvSpPr>
          <p:spPr>
            <a:xfrm>
              <a:off x="811346" y="4325511"/>
              <a:ext cx="2433549" cy="1301665"/>
            </a:xfrm>
            <a:prstGeom prst="rect">
              <a:avLst/>
            </a:prstGeom>
          </p:spPr>
          <p:txBody>
            <a:bodyPr wrap="square">
              <a:spAutoFit/>
            </a:bodyPr>
            <a:lstStyle/>
            <a:p>
              <a:pPr algn="r">
                <a:spcBef>
                  <a:spcPts val="300"/>
                </a:spcBef>
                <a:spcAft>
                  <a:spcPts val="300"/>
                </a:spcAft>
              </a:pPr>
              <a:r>
                <a:rPr lang="en-GB" sz="2400" b="1" dirty="0">
                  <a:solidFill>
                    <a:schemeClr val="accent1"/>
                  </a:solidFill>
                  <a:latin typeface="Arial" panose="020B0604020202020204" pitchFamily="34" charset="0"/>
                  <a:cs typeface="Arial" panose="020B0604020202020204" pitchFamily="34" charset="0"/>
                </a:rPr>
                <a:t>Lorem ipsum</a:t>
              </a:r>
            </a:p>
            <a:p>
              <a:pPr algn="r">
                <a:spcBef>
                  <a:spcPts val="300"/>
                </a:spcBef>
                <a:spcAft>
                  <a:spcPts val="300"/>
                </a:spcAft>
              </a:pPr>
              <a:r>
                <a:rPr lang="en-US" sz="2100" dirty="0">
                  <a:latin typeface="Arial" panose="020B0604020202020204" pitchFamily="34" charset="0"/>
                  <a:cs typeface="Arial" panose="020B0604020202020204" pitchFamily="34" charset="0"/>
                </a:rPr>
                <a:t>Lorem ipsum is a placeholder text commonly used to demonstrate the visual form of a document</a:t>
              </a:r>
              <a:endParaRPr lang="en-GB" sz="2100"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9ABDC7D-47AE-A53A-4160-3D729B945704}"/>
                </a:ext>
              </a:extLst>
            </p:cNvPr>
            <p:cNvSpPr/>
            <p:nvPr/>
          </p:nvSpPr>
          <p:spPr>
            <a:xfrm>
              <a:off x="8926410" y="2369108"/>
              <a:ext cx="2433549" cy="1301665"/>
            </a:xfrm>
            <a:prstGeom prst="rect">
              <a:avLst/>
            </a:prstGeom>
          </p:spPr>
          <p:txBody>
            <a:bodyPr wrap="square">
              <a:spAutoFit/>
            </a:bodyPr>
            <a:lstStyle/>
            <a:p>
              <a:pPr>
                <a:spcBef>
                  <a:spcPts val="300"/>
                </a:spcBef>
                <a:spcAft>
                  <a:spcPts val="300"/>
                </a:spcAft>
              </a:pPr>
              <a:r>
                <a:rPr lang="en-GB" sz="2400" b="1" dirty="0">
                  <a:solidFill>
                    <a:schemeClr val="accent1"/>
                  </a:solidFill>
                  <a:latin typeface="Arial" panose="020B0604020202020204" pitchFamily="34" charset="0"/>
                  <a:cs typeface="Arial" panose="020B0604020202020204" pitchFamily="34" charset="0"/>
                </a:rPr>
                <a:t>Lorem ipsum</a:t>
              </a:r>
            </a:p>
            <a:p>
              <a:pPr>
                <a:spcBef>
                  <a:spcPts val="300"/>
                </a:spcBef>
                <a:spcAft>
                  <a:spcPts val="300"/>
                </a:spcAft>
              </a:pPr>
              <a:r>
                <a:rPr lang="en-US" sz="2100" dirty="0">
                  <a:latin typeface="Arial" panose="020B0604020202020204" pitchFamily="34" charset="0"/>
                  <a:cs typeface="Arial" panose="020B0604020202020204" pitchFamily="34" charset="0"/>
                </a:rPr>
                <a:t>Lorem ipsum is a placeholder text commonly used to demonstrate the visual form of a document</a:t>
              </a:r>
              <a:endParaRPr lang="en-GB" sz="2100"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0DC963-7F7A-7605-6E03-3F8C8A35888E}"/>
                </a:ext>
              </a:extLst>
            </p:cNvPr>
            <p:cNvSpPr/>
            <p:nvPr/>
          </p:nvSpPr>
          <p:spPr>
            <a:xfrm>
              <a:off x="8926410" y="4325511"/>
              <a:ext cx="2433549" cy="1301665"/>
            </a:xfrm>
            <a:prstGeom prst="rect">
              <a:avLst/>
            </a:prstGeom>
          </p:spPr>
          <p:txBody>
            <a:bodyPr wrap="square">
              <a:spAutoFit/>
            </a:bodyPr>
            <a:lstStyle/>
            <a:p>
              <a:pPr>
                <a:spcBef>
                  <a:spcPts val="300"/>
                </a:spcBef>
                <a:spcAft>
                  <a:spcPts val="300"/>
                </a:spcAft>
              </a:pPr>
              <a:r>
                <a:rPr lang="en-GB" sz="2400" b="1" dirty="0">
                  <a:solidFill>
                    <a:schemeClr val="accent1"/>
                  </a:solidFill>
                  <a:latin typeface="Arial" panose="020B0604020202020204" pitchFamily="34" charset="0"/>
                  <a:cs typeface="Arial" panose="020B0604020202020204" pitchFamily="34" charset="0"/>
                </a:rPr>
                <a:t>Lorem ipsum</a:t>
              </a:r>
            </a:p>
            <a:p>
              <a:pPr>
                <a:spcBef>
                  <a:spcPts val="300"/>
                </a:spcBef>
                <a:spcAft>
                  <a:spcPts val="300"/>
                </a:spcAft>
              </a:pPr>
              <a:r>
                <a:rPr lang="en-US" sz="2100" dirty="0">
                  <a:latin typeface="Arial" panose="020B0604020202020204" pitchFamily="34" charset="0"/>
                  <a:cs typeface="Arial" panose="020B0604020202020204" pitchFamily="34" charset="0"/>
                </a:rPr>
                <a:t>Lorem ipsum is a placeholder text commonly used to demonstrate the visual form of a document</a:t>
              </a:r>
              <a:endParaRPr lang="en-GB" sz="2100" dirty="0">
                <a:latin typeface="Arial" panose="020B0604020202020204" pitchFamily="34" charset="0"/>
                <a:cs typeface="Arial" panose="020B0604020202020204" pitchFamily="34" charset="0"/>
              </a:endParaRPr>
            </a:p>
          </p:txBody>
        </p:sp>
      </p:grpSp>
      <p:sp>
        <p:nvSpPr>
          <p:cNvPr id="10" name="Slide Number Placeholder 9">
            <a:extLst>
              <a:ext uri="{FF2B5EF4-FFF2-40B4-BE49-F238E27FC236}">
                <a16:creationId xmlns:a16="http://schemas.microsoft.com/office/drawing/2014/main" id="{4344D4D2-54C0-B9E1-B051-86435D2FDD1F}"/>
              </a:ext>
            </a:extLst>
          </p:cNvPr>
          <p:cNvSpPr>
            <a:spLocks noGrp="1"/>
          </p:cNvSpPr>
          <p:nvPr>
            <p:ph type="sldNum" sz="quarter" idx="12"/>
          </p:nvPr>
        </p:nvSpPr>
        <p:spPr/>
        <p:txBody>
          <a:bodyPr/>
          <a:lstStyle/>
          <a:p>
            <a:fld id="{E2D680B1-7F17-42D2-83E2-2C9AC13983BB}" type="slidenum">
              <a:rPr lang="en-US" smtClean="0"/>
              <a:t>75</a:t>
            </a:fld>
            <a:endParaRPr lang="en-US" dirty="0"/>
          </a:p>
        </p:txBody>
      </p:sp>
    </p:spTree>
    <p:extLst>
      <p:ext uri="{BB962C8B-B14F-4D97-AF65-F5344CB8AC3E}">
        <p14:creationId xmlns:p14="http://schemas.microsoft.com/office/powerpoint/2010/main" val="28018268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298A6-61D9-B040-B48D-757A4C598879}"/>
              </a:ext>
            </a:extLst>
          </p:cNvPr>
          <p:cNvSpPr>
            <a:spLocks noGrp="1"/>
          </p:cNvSpPr>
          <p:nvPr>
            <p:ph type="title"/>
          </p:nvPr>
        </p:nvSpPr>
        <p:spPr/>
        <p:txBody>
          <a:bodyPr/>
          <a:lstStyle/>
          <a:p>
            <a:r>
              <a:rPr lang="en-IN" dirty="0"/>
              <a:t>Process Slide – Business Workflow</a:t>
            </a:r>
            <a:endParaRPr lang="en-US" dirty="0"/>
          </a:p>
        </p:txBody>
      </p:sp>
      <p:grpSp>
        <p:nvGrpSpPr>
          <p:cNvPr id="14" name="Group 13">
            <a:extLst>
              <a:ext uri="{FF2B5EF4-FFF2-40B4-BE49-F238E27FC236}">
                <a16:creationId xmlns:a16="http://schemas.microsoft.com/office/drawing/2014/main" id="{20600EB7-0518-8426-3CDE-589F454458CA}"/>
              </a:ext>
            </a:extLst>
          </p:cNvPr>
          <p:cNvGrpSpPr/>
          <p:nvPr/>
        </p:nvGrpSpPr>
        <p:grpSpPr>
          <a:xfrm>
            <a:off x="2106390" y="2644257"/>
            <a:ext cx="14075220" cy="5816375"/>
            <a:chOff x="2106390" y="3009900"/>
            <a:chExt cx="14075220" cy="5816375"/>
          </a:xfrm>
        </p:grpSpPr>
        <p:sp>
          <p:nvSpPr>
            <p:cNvPr id="28" name="矩形 47">
              <a:extLst>
                <a:ext uri="{FF2B5EF4-FFF2-40B4-BE49-F238E27FC236}">
                  <a16:creationId xmlns:a16="http://schemas.microsoft.com/office/drawing/2014/main" id="{C2976ACE-68C7-89D2-7A82-57F9AC7A1C0B}"/>
                </a:ext>
              </a:extLst>
            </p:cNvPr>
            <p:cNvSpPr>
              <a:spLocks noChangeArrowheads="1"/>
            </p:cNvSpPr>
            <p:nvPr/>
          </p:nvSpPr>
          <p:spPr bwMode="auto">
            <a:xfrm>
              <a:off x="2112454" y="3009900"/>
              <a:ext cx="3149999" cy="116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spcBef>
                  <a:spcPts val="300"/>
                </a:spcBef>
                <a:spcAft>
                  <a:spcPts val="300"/>
                </a:spcAft>
                <a:buNone/>
              </a:pPr>
              <a:r>
                <a:rPr lang="en-US" altLang="zh-CN" sz="2000" b="1" dirty="0">
                  <a:solidFill>
                    <a:schemeClr val="accent1"/>
                  </a:solidFill>
                  <a:latin typeface="Arial" panose="020B0604020202020204" pitchFamily="34" charset="0"/>
                  <a:cs typeface="Arial" panose="020B0604020202020204" pitchFamily="34" charset="0"/>
                </a:rPr>
                <a:t>Add your titl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p:txBody>
        </p:sp>
        <p:sp>
          <p:nvSpPr>
            <p:cNvPr id="29" name="矩形 47">
              <a:extLst>
                <a:ext uri="{FF2B5EF4-FFF2-40B4-BE49-F238E27FC236}">
                  <a16:creationId xmlns:a16="http://schemas.microsoft.com/office/drawing/2014/main" id="{04159363-A0A0-9E86-687C-36269D12208D}"/>
                </a:ext>
              </a:extLst>
            </p:cNvPr>
            <p:cNvSpPr>
              <a:spLocks noChangeArrowheads="1"/>
            </p:cNvSpPr>
            <p:nvPr/>
          </p:nvSpPr>
          <p:spPr bwMode="auto">
            <a:xfrm>
              <a:off x="2106390" y="4611798"/>
              <a:ext cx="3149999" cy="116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spcBef>
                  <a:spcPts val="300"/>
                </a:spcBef>
                <a:spcAft>
                  <a:spcPts val="300"/>
                </a:spcAft>
                <a:buNone/>
              </a:pPr>
              <a:r>
                <a:rPr lang="en-US" altLang="zh-CN" sz="2000" b="1" dirty="0">
                  <a:solidFill>
                    <a:schemeClr val="accent1"/>
                  </a:solidFill>
                  <a:latin typeface="Arial" panose="020B0604020202020204" pitchFamily="34" charset="0"/>
                  <a:cs typeface="Arial" panose="020B0604020202020204" pitchFamily="34" charset="0"/>
                </a:rPr>
                <a:t>Add your titl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p:txBody>
        </p:sp>
        <p:sp>
          <p:nvSpPr>
            <p:cNvPr id="30" name="矩形 47">
              <a:extLst>
                <a:ext uri="{FF2B5EF4-FFF2-40B4-BE49-F238E27FC236}">
                  <a16:creationId xmlns:a16="http://schemas.microsoft.com/office/drawing/2014/main" id="{E560DB0E-293D-8363-7456-4F13FCEACD60}"/>
                </a:ext>
              </a:extLst>
            </p:cNvPr>
            <p:cNvSpPr>
              <a:spLocks noChangeArrowheads="1"/>
            </p:cNvSpPr>
            <p:nvPr/>
          </p:nvSpPr>
          <p:spPr bwMode="auto">
            <a:xfrm>
              <a:off x="2113989" y="6331089"/>
              <a:ext cx="3149999" cy="116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spcBef>
                  <a:spcPts val="300"/>
                </a:spcBef>
                <a:spcAft>
                  <a:spcPts val="300"/>
                </a:spcAft>
                <a:buNone/>
              </a:pPr>
              <a:r>
                <a:rPr lang="en-US" altLang="zh-CN" sz="2000" b="1" dirty="0">
                  <a:solidFill>
                    <a:schemeClr val="accent1"/>
                  </a:solidFill>
                  <a:latin typeface="Arial" panose="020B0604020202020204" pitchFamily="34" charset="0"/>
                  <a:cs typeface="Arial" panose="020B0604020202020204" pitchFamily="34" charset="0"/>
                </a:rPr>
                <a:t>Add your titl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p:txBody>
        </p:sp>
        <p:sp>
          <p:nvSpPr>
            <p:cNvPr id="31" name="矩形 47">
              <a:extLst>
                <a:ext uri="{FF2B5EF4-FFF2-40B4-BE49-F238E27FC236}">
                  <a16:creationId xmlns:a16="http://schemas.microsoft.com/office/drawing/2014/main" id="{16E74BC0-3D2C-666A-56F7-0359D5ED22B1}"/>
                </a:ext>
              </a:extLst>
            </p:cNvPr>
            <p:cNvSpPr>
              <a:spLocks noChangeArrowheads="1"/>
            </p:cNvSpPr>
            <p:nvPr/>
          </p:nvSpPr>
          <p:spPr bwMode="auto">
            <a:xfrm>
              <a:off x="13031611" y="3926556"/>
              <a:ext cx="3149999" cy="116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spcBef>
                  <a:spcPts val="300"/>
                </a:spcBef>
                <a:spcAft>
                  <a:spcPts val="300"/>
                </a:spcAft>
                <a:buNone/>
              </a:pPr>
              <a:r>
                <a:rPr lang="en-US" altLang="zh-CN" sz="2000" b="1" dirty="0">
                  <a:solidFill>
                    <a:schemeClr val="accent1"/>
                  </a:solidFill>
                  <a:latin typeface="Arial" panose="020B0604020202020204" pitchFamily="34" charset="0"/>
                  <a:cs typeface="Arial" panose="020B0604020202020204" pitchFamily="34" charset="0"/>
                </a:rPr>
                <a:t>Add your titl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p:txBody>
        </p:sp>
        <p:sp>
          <p:nvSpPr>
            <p:cNvPr id="32" name="矩形 40">
              <a:extLst>
                <a:ext uri="{FF2B5EF4-FFF2-40B4-BE49-F238E27FC236}">
                  <a16:creationId xmlns:a16="http://schemas.microsoft.com/office/drawing/2014/main" id="{0DB9416B-F443-321F-3C76-01045C4A9F27}"/>
                </a:ext>
              </a:extLst>
            </p:cNvPr>
            <p:cNvSpPr>
              <a:spLocks noChangeArrowheads="1"/>
            </p:cNvSpPr>
            <p:nvPr/>
          </p:nvSpPr>
          <p:spPr bwMode="auto">
            <a:xfrm>
              <a:off x="13031611" y="6183085"/>
              <a:ext cx="3149999" cy="116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spcBef>
                  <a:spcPts val="300"/>
                </a:spcBef>
                <a:spcAft>
                  <a:spcPts val="300"/>
                </a:spcAft>
                <a:buNone/>
              </a:pPr>
              <a:r>
                <a:rPr lang="en-US" altLang="zh-CN" sz="2000" b="1" dirty="0">
                  <a:solidFill>
                    <a:schemeClr val="accent1"/>
                  </a:solidFill>
                  <a:latin typeface="Arial" panose="020B0604020202020204" pitchFamily="34" charset="0"/>
                  <a:cs typeface="Arial" panose="020B0604020202020204" pitchFamily="34" charset="0"/>
                </a:rPr>
                <a:t>Add your titl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p:txBody>
        </p:sp>
        <p:sp>
          <p:nvSpPr>
            <p:cNvPr id="33" name="矩形 47">
              <a:extLst>
                <a:ext uri="{FF2B5EF4-FFF2-40B4-BE49-F238E27FC236}">
                  <a16:creationId xmlns:a16="http://schemas.microsoft.com/office/drawing/2014/main" id="{D66DF554-EE45-FEDA-BB6B-624A04DAE220}"/>
                </a:ext>
              </a:extLst>
            </p:cNvPr>
            <p:cNvSpPr>
              <a:spLocks noChangeArrowheads="1"/>
            </p:cNvSpPr>
            <p:nvPr/>
          </p:nvSpPr>
          <p:spPr bwMode="auto">
            <a:xfrm>
              <a:off x="13031611" y="7656732"/>
              <a:ext cx="3149999" cy="116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spcBef>
                  <a:spcPts val="300"/>
                </a:spcBef>
                <a:spcAft>
                  <a:spcPts val="300"/>
                </a:spcAft>
                <a:buNone/>
              </a:pPr>
              <a:r>
                <a:rPr lang="en-US" altLang="zh-CN" sz="2000" b="1" dirty="0">
                  <a:solidFill>
                    <a:schemeClr val="accent1"/>
                  </a:solidFill>
                  <a:latin typeface="Arial" panose="020B0604020202020204" pitchFamily="34" charset="0"/>
                  <a:cs typeface="Arial" panose="020B0604020202020204" pitchFamily="34" charset="0"/>
                </a:rPr>
                <a:t>Add your titl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a:p>
              <a:pPr>
                <a:spcBef>
                  <a:spcPts val="300"/>
                </a:spcBef>
                <a:spcAft>
                  <a:spcPts val="300"/>
                </a:spcAft>
                <a:buNone/>
              </a:pPr>
              <a:r>
                <a:rPr lang="en-US" altLang="zh-CN" sz="2000" dirty="0">
                  <a:solidFill>
                    <a:schemeClr val="dk1"/>
                  </a:solidFill>
                  <a:latin typeface="Arial" panose="020B0604020202020204" pitchFamily="34" charset="0"/>
                  <a:cs typeface="Arial" panose="020B0604020202020204" pitchFamily="34" charset="0"/>
                </a:rPr>
                <a:t>click to add your text here</a:t>
              </a:r>
            </a:p>
          </p:txBody>
        </p:sp>
        <p:grpSp>
          <p:nvGrpSpPr>
            <p:cNvPr id="92" name="Group 91">
              <a:extLst>
                <a:ext uri="{FF2B5EF4-FFF2-40B4-BE49-F238E27FC236}">
                  <a16:creationId xmlns:a16="http://schemas.microsoft.com/office/drawing/2014/main" id="{B46A720B-D872-5984-17E5-C7BA2C41C9D0}"/>
                </a:ext>
              </a:extLst>
            </p:cNvPr>
            <p:cNvGrpSpPr/>
            <p:nvPr/>
          </p:nvGrpSpPr>
          <p:grpSpPr>
            <a:xfrm>
              <a:off x="8844215" y="7466707"/>
              <a:ext cx="3608288" cy="961356"/>
              <a:chOff x="8844215" y="7466707"/>
              <a:chExt cx="3608288" cy="961356"/>
            </a:xfrm>
          </p:grpSpPr>
          <p:sp>
            <p:nvSpPr>
              <p:cNvPr id="7" name="任意多边形 13">
                <a:extLst>
                  <a:ext uri="{FF2B5EF4-FFF2-40B4-BE49-F238E27FC236}">
                    <a16:creationId xmlns:a16="http://schemas.microsoft.com/office/drawing/2014/main" id="{C38DDB35-E58B-798E-8B1C-E3C9E2C6BF63}"/>
                  </a:ext>
                </a:extLst>
              </p:cNvPr>
              <p:cNvSpPr/>
              <p:nvPr/>
            </p:nvSpPr>
            <p:spPr>
              <a:xfrm>
                <a:off x="9850134" y="8193747"/>
                <a:ext cx="2602369" cy="0"/>
              </a:xfrm>
              <a:custGeom>
                <a:avLst/>
                <a:gdLst>
                  <a:gd name="connsiteX0" fmla="*/ 0 w 2217420"/>
                  <a:gd name="connsiteY0" fmla="*/ 0 h 0"/>
                  <a:gd name="connsiteX1" fmla="*/ 2217420 w 2217420"/>
                  <a:gd name="connsiteY1" fmla="*/ 0 h 0"/>
                </a:gdLst>
                <a:ahLst/>
                <a:cxnLst>
                  <a:cxn ang="0">
                    <a:pos x="connsiteX0" y="connsiteY0"/>
                  </a:cxn>
                  <a:cxn ang="0">
                    <a:pos x="connsiteX1" y="connsiteY1"/>
                  </a:cxn>
                </a:cxnLst>
                <a:rect l="l" t="t" r="r" b="b"/>
                <a:pathLst>
                  <a:path w="2217420">
                    <a:moveTo>
                      <a:pt x="0" y="0"/>
                    </a:moveTo>
                    <a:lnTo>
                      <a:pt x="2217420" y="0"/>
                    </a:lnTo>
                  </a:path>
                </a:pathLst>
              </a:custGeom>
              <a:noFill/>
              <a:ln w="12700">
                <a:solidFill>
                  <a:schemeClr val="accent2"/>
                </a:solidFill>
                <a:prstDash val="dash"/>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72" name="组合 16">
                <a:extLst>
                  <a:ext uri="{FF2B5EF4-FFF2-40B4-BE49-F238E27FC236}">
                    <a16:creationId xmlns:a16="http://schemas.microsoft.com/office/drawing/2014/main" id="{BE9D4928-1DCC-AE9B-F380-B028A4955066}"/>
                  </a:ext>
                </a:extLst>
              </p:cNvPr>
              <p:cNvGrpSpPr/>
              <p:nvPr/>
            </p:nvGrpSpPr>
            <p:grpSpPr>
              <a:xfrm>
                <a:off x="8844215" y="7466707"/>
                <a:ext cx="1244546" cy="961356"/>
                <a:chOff x="6016285" y="5216439"/>
                <a:chExt cx="1060450" cy="819150"/>
              </a:xfrm>
              <a:solidFill>
                <a:schemeClr val="accent1"/>
              </a:solidFill>
            </p:grpSpPr>
            <p:sp>
              <p:nvSpPr>
                <p:cNvPr id="73" name="Freeform 6">
                  <a:extLst>
                    <a:ext uri="{FF2B5EF4-FFF2-40B4-BE49-F238E27FC236}">
                      <a16:creationId xmlns:a16="http://schemas.microsoft.com/office/drawing/2014/main" id="{5E41A31A-E93C-7D53-528C-07C3BFD62804}"/>
                    </a:ext>
                  </a:extLst>
                </p:cNvPr>
                <p:cNvSpPr>
                  <a:spLocks/>
                </p:cNvSpPr>
                <p:nvPr/>
              </p:nvSpPr>
              <p:spPr bwMode="auto">
                <a:xfrm rot="20700000">
                  <a:off x="6016285" y="5216439"/>
                  <a:ext cx="1060450" cy="819150"/>
                </a:xfrm>
                <a:custGeom>
                  <a:avLst/>
                  <a:gdLst>
                    <a:gd name="T0" fmla="*/ 24 w 392"/>
                    <a:gd name="T1" fmla="*/ 38 h 303"/>
                    <a:gd name="T2" fmla="*/ 1 w 392"/>
                    <a:gd name="T3" fmla="*/ 274 h 303"/>
                    <a:gd name="T4" fmla="*/ 18 w 392"/>
                    <a:gd name="T5" fmla="*/ 290 h 303"/>
                    <a:gd name="T6" fmla="*/ 378 w 392"/>
                    <a:gd name="T7" fmla="*/ 253 h 303"/>
                    <a:gd name="T8" fmla="*/ 387 w 392"/>
                    <a:gd name="T9" fmla="*/ 235 h 303"/>
                    <a:gd name="T10" fmla="*/ 305 w 392"/>
                    <a:gd name="T11" fmla="*/ 8 h 303"/>
                    <a:gd name="T12" fmla="*/ 292 w 392"/>
                    <a:gd name="T13" fmla="*/ 2 h 303"/>
                    <a:gd name="T14" fmla="*/ 41 w 392"/>
                    <a:gd name="T15" fmla="*/ 25 h 303"/>
                    <a:gd name="T16" fmla="*/ 24 w 392"/>
                    <a:gd name="T17" fmla="*/ 3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303">
                      <a:moveTo>
                        <a:pt x="24" y="38"/>
                      </a:moveTo>
                      <a:cubicBezTo>
                        <a:pt x="1" y="274"/>
                        <a:pt x="1" y="274"/>
                        <a:pt x="1" y="274"/>
                      </a:cubicBezTo>
                      <a:cubicBezTo>
                        <a:pt x="0" y="289"/>
                        <a:pt x="8" y="289"/>
                        <a:pt x="18" y="290"/>
                      </a:cubicBezTo>
                      <a:cubicBezTo>
                        <a:pt x="86" y="296"/>
                        <a:pt x="227" y="303"/>
                        <a:pt x="378" y="253"/>
                      </a:cubicBezTo>
                      <a:cubicBezTo>
                        <a:pt x="392" y="248"/>
                        <a:pt x="387" y="235"/>
                        <a:pt x="387" y="235"/>
                      </a:cubicBezTo>
                      <a:cubicBezTo>
                        <a:pt x="305" y="8"/>
                        <a:pt x="305" y="8"/>
                        <a:pt x="305" y="8"/>
                      </a:cubicBezTo>
                      <a:cubicBezTo>
                        <a:pt x="304" y="4"/>
                        <a:pt x="301" y="0"/>
                        <a:pt x="292" y="2"/>
                      </a:cubicBezTo>
                      <a:cubicBezTo>
                        <a:pt x="195" y="28"/>
                        <a:pt x="97" y="28"/>
                        <a:pt x="41" y="25"/>
                      </a:cubicBezTo>
                      <a:cubicBezTo>
                        <a:pt x="27" y="24"/>
                        <a:pt x="25" y="28"/>
                        <a:pt x="24" y="38"/>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cs typeface="Arial" panose="020B0604020202020204" pitchFamily="34" charset="0"/>
                  </a:endParaRPr>
                </a:p>
              </p:txBody>
            </p:sp>
            <p:sp>
              <p:nvSpPr>
                <p:cNvPr id="74" name="矩形 18">
                  <a:extLst>
                    <a:ext uri="{FF2B5EF4-FFF2-40B4-BE49-F238E27FC236}">
                      <a16:creationId xmlns:a16="http://schemas.microsoft.com/office/drawing/2014/main" id="{38CF64C9-72EE-EE35-EF7B-4F1FED889E30}"/>
                    </a:ext>
                  </a:extLst>
                </p:cNvPr>
                <p:cNvSpPr/>
                <p:nvPr/>
              </p:nvSpPr>
              <p:spPr>
                <a:xfrm>
                  <a:off x="6051460" y="5430694"/>
                  <a:ext cx="890516" cy="445824"/>
                </a:xfrm>
                <a:prstGeom prst="rect">
                  <a:avLst/>
                </a:prstGeom>
                <a:noFill/>
                <a:effectLst/>
              </p:spPr>
              <p:txBody>
                <a:bodyPr wrap="square">
                  <a:spAutoFit/>
                </a:bodyPr>
                <a:lstStyle/>
                <a:p>
                  <a:pPr algn="ctr"/>
                  <a:r>
                    <a:rPr lang="en-US" altLang="zh-CN" sz="2800" dirty="0">
                      <a:solidFill>
                        <a:schemeClr val="bg1"/>
                      </a:solidFill>
                      <a:latin typeface="Arial" panose="020B0604020202020204" pitchFamily="34" charset="0"/>
                      <a:ea typeface="微软雅黑" panose="020B0503020204020204" pitchFamily="34" charset="-122"/>
                      <a:cs typeface="Arial" panose="020B0604020202020204" pitchFamily="34" charset="0"/>
                    </a:rPr>
                    <a:t>01</a:t>
                  </a:r>
                  <a:endParaRPr lang="zh-CN" altLang="en-US" sz="28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93" name="Group 92">
              <a:extLst>
                <a:ext uri="{FF2B5EF4-FFF2-40B4-BE49-F238E27FC236}">
                  <a16:creationId xmlns:a16="http://schemas.microsoft.com/office/drawing/2014/main" id="{8361BB2C-17BA-78D0-54AA-B85415E5012C}"/>
                </a:ext>
              </a:extLst>
            </p:cNvPr>
            <p:cNvGrpSpPr/>
            <p:nvPr/>
          </p:nvGrpSpPr>
          <p:grpSpPr>
            <a:xfrm>
              <a:off x="9931131" y="6614415"/>
              <a:ext cx="2709172" cy="1186790"/>
              <a:chOff x="9931131" y="6614415"/>
              <a:chExt cx="2709172" cy="1186790"/>
            </a:xfrm>
          </p:grpSpPr>
          <p:sp>
            <p:nvSpPr>
              <p:cNvPr id="8" name="任意多边形 14">
                <a:extLst>
                  <a:ext uri="{FF2B5EF4-FFF2-40B4-BE49-F238E27FC236}">
                    <a16:creationId xmlns:a16="http://schemas.microsoft.com/office/drawing/2014/main" id="{09F09264-52EE-0E31-6711-1004D64BD765}"/>
                  </a:ext>
                </a:extLst>
              </p:cNvPr>
              <p:cNvSpPr/>
              <p:nvPr/>
            </p:nvSpPr>
            <p:spPr>
              <a:xfrm>
                <a:off x="11111076" y="6677934"/>
                <a:ext cx="1529227" cy="295114"/>
              </a:xfrm>
              <a:custGeom>
                <a:avLst/>
                <a:gdLst>
                  <a:gd name="connsiteX0" fmla="*/ 0 w 1303020"/>
                  <a:gd name="connsiteY0" fmla="*/ 251460 h 251460"/>
                  <a:gd name="connsiteX1" fmla="*/ 0 w 1303020"/>
                  <a:gd name="connsiteY1" fmla="*/ 0 h 251460"/>
                  <a:gd name="connsiteX2" fmla="*/ 1303020 w 1303020"/>
                  <a:gd name="connsiteY2" fmla="*/ 0 h 251460"/>
                </a:gdLst>
                <a:ahLst/>
                <a:cxnLst>
                  <a:cxn ang="0">
                    <a:pos x="connsiteX0" y="connsiteY0"/>
                  </a:cxn>
                  <a:cxn ang="0">
                    <a:pos x="connsiteX1" y="connsiteY1"/>
                  </a:cxn>
                  <a:cxn ang="0">
                    <a:pos x="connsiteX2" y="connsiteY2"/>
                  </a:cxn>
                </a:cxnLst>
                <a:rect l="l" t="t" r="r" b="b"/>
                <a:pathLst>
                  <a:path w="1303020" h="251460">
                    <a:moveTo>
                      <a:pt x="0" y="251460"/>
                    </a:moveTo>
                    <a:lnTo>
                      <a:pt x="0" y="0"/>
                    </a:lnTo>
                    <a:lnTo>
                      <a:pt x="1303020" y="0"/>
                    </a:lnTo>
                  </a:path>
                </a:pathLst>
              </a:custGeom>
              <a:noFill/>
              <a:ln w="12700">
                <a:solidFill>
                  <a:schemeClr val="accent4"/>
                </a:solidFill>
                <a:prstDash val="dash"/>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75" name="组合 19">
                <a:extLst>
                  <a:ext uri="{FF2B5EF4-FFF2-40B4-BE49-F238E27FC236}">
                    <a16:creationId xmlns:a16="http://schemas.microsoft.com/office/drawing/2014/main" id="{059E491E-D1DC-9476-6248-7ACFE46BDA80}"/>
                  </a:ext>
                </a:extLst>
              </p:cNvPr>
              <p:cNvGrpSpPr/>
              <p:nvPr/>
            </p:nvGrpSpPr>
            <p:grpSpPr>
              <a:xfrm>
                <a:off x="9931131" y="6614415"/>
                <a:ext cx="1272493" cy="1186790"/>
                <a:chOff x="6942422" y="4490220"/>
                <a:chExt cx="1084263" cy="1011237"/>
              </a:xfrm>
              <a:solidFill>
                <a:schemeClr val="accent4"/>
              </a:solidFill>
            </p:grpSpPr>
            <p:sp>
              <p:nvSpPr>
                <p:cNvPr id="76" name="Freeform 7">
                  <a:extLst>
                    <a:ext uri="{FF2B5EF4-FFF2-40B4-BE49-F238E27FC236}">
                      <a16:creationId xmlns:a16="http://schemas.microsoft.com/office/drawing/2014/main" id="{96A3F920-B3A8-B2CA-FDFE-FF057129B4FC}"/>
                    </a:ext>
                  </a:extLst>
                </p:cNvPr>
                <p:cNvSpPr>
                  <a:spLocks/>
                </p:cNvSpPr>
                <p:nvPr/>
              </p:nvSpPr>
              <p:spPr bwMode="auto">
                <a:xfrm rot="20700000">
                  <a:off x="6942422" y="4490220"/>
                  <a:ext cx="1084263" cy="1011237"/>
                </a:xfrm>
                <a:custGeom>
                  <a:avLst/>
                  <a:gdLst>
                    <a:gd name="T0" fmla="*/ 387 w 401"/>
                    <a:gd name="T1" fmla="*/ 147 h 374"/>
                    <a:gd name="T2" fmla="*/ 206 w 401"/>
                    <a:gd name="T3" fmla="*/ 8 h 374"/>
                    <a:gd name="T4" fmla="*/ 184 w 401"/>
                    <a:gd name="T5" fmla="*/ 10 h 374"/>
                    <a:gd name="T6" fmla="*/ 14 w 401"/>
                    <a:gd name="T7" fmla="*/ 132 h 374"/>
                    <a:gd name="T8" fmla="*/ 5 w 401"/>
                    <a:gd name="T9" fmla="*/ 157 h 374"/>
                    <a:gd name="T10" fmla="*/ 107 w 401"/>
                    <a:gd name="T11" fmla="*/ 364 h 374"/>
                    <a:gd name="T12" fmla="*/ 134 w 401"/>
                    <a:gd name="T13" fmla="*/ 369 h 374"/>
                    <a:gd name="T14" fmla="*/ 368 w 401"/>
                    <a:gd name="T15" fmla="*/ 202 h 374"/>
                    <a:gd name="T16" fmla="*/ 391 w 401"/>
                    <a:gd name="T17" fmla="*/ 178 h 374"/>
                    <a:gd name="T18" fmla="*/ 387 w 401"/>
                    <a:gd name="T19" fmla="*/ 14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1" h="374">
                      <a:moveTo>
                        <a:pt x="387" y="147"/>
                      </a:moveTo>
                      <a:cubicBezTo>
                        <a:pt x="206" y="8"/>
                        <a:pt x="206" y="8"/>
                        <a:pt x="206" y="8"/>
                      </a:cubicBezTo>
                      <a:cubicBezTo>
                        <a:pt x="200" y="4"/>
                        <a:pt x="193" y="0"/>
                        <a:pt x="184" y="10"/>
                      </a:cubicBezTo>
                      <a:cubicBezTo>
                        <a:pt x="130" y="66"/>
                        <a:pt x="74" y="102"/>
                        <a:pt x="14" y="132"/>
                      </a:cubicBezTo>
                      <a:cubicBezTo>
                        <a:pt x="0" y="140"/>
                        <a:pt x="0" y="145"/>
                        <a:pt x="5" y="157"/>
                      </a:cubicBezTo>
                      <a:cubicBezTo>
                        <a:pt x="107" y="364"/>
                        <a:pt x="107" y="364"/>
                        <a:pt x="107" y="364"/>
                      </a:cubicBezTo>
                      <a:cubicBezTo>
                        <a:pt x="110" y="371"/>
                        <a:pt x="120" y="374"/>
                        <a:pt x="134" y="369"/>
                      </a:cubicBezTo>
                      <a:cubicBezTo>
                        <a:pt x="224" y="330"/>
                        <a:pt x="301" y="270"/>
                        <a:pt x="368" y="202"/>
                      </a:cubicBezTo>
                      <a:cubicBezTo>
                        <a:pt x="376" y="194"/>
                        <a:pt x="383" y="186"/>
                        <a:pt x="391" y="178"/>
                      </a:cubicBezTo>
                      <a:cubicBezTo>
                        <a:pt x="401" y="166"/>
                        <a:pt x="398" y="156"/>
                        <a:pt x="387" y="147"/>
                      </a:cubicBezTo>
                      <a:close/>
                    </a:path>
                  </a:pathLst>
                </a:cu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cs typeface="Arial" panose="020B0604020202020204" pitchFamily="34" charset="0"/>
                  </a:endParaRPr>
                </a:p>
              </p:txBody>
            </p:sp>
            <p:sp>
              <p:nvSpPr>
                <p:cNvPr id="77" name="矩形 21">
                  <a:extLst>
                    <a:ext uri="{FF2B5EF4-FFF2-40B4-BE49-F238E27FC236}">
                      <a16:creationId xmlns:a16="http://schemas.microsoft.com/office/drawing/2014/main" id="{6A129AE9-6E9B-746A-C845-4D58E836D512}"/>
                    </a:ext>
                  </a:extLst>
                </p:cNvPr>
                <p:cNvSpPr/>
                <p:nvPr/>
              </p:nvSpPr>
              <p:spPr>
                <a:xfrm>
                  <a:off x="7011013" y="4773007"/>
                  <a:ext cx="890516" cy="445824"/>
                </a:xfrm>
                <a:prstGeom prst="rect">
                  <a:avLst/>
                </a:prstGeom>
                <a:noFill/>
                <a:ln>
                  <a:noFill/>
                </a:ln>
                <a:effectLst/>
              </p:spPr>
              <p:txBody>
                <a:bodyPr wrap="square">
                  <a:spAutoFit/>
                </a:bodyPr>
                <a:lstStyle/>
                <a:p>
                  <a:pPr algn="ctr"/>
                  <a:r>
                    <a:rPr lang="en-US" altLang="zh-CN" sz="2800" dirty="0">
                      <a:solidFill>
                        <a:schemeClr val="bg1"/>
                      </a:solidFill>
                      <a:latin typeface="Arial" panose="020B0604020202020204" pitchFamily="34" charset="0"/>
                      <a:ea typeface="微软雅黑" panose="020B0503020204020204" pitchFamily="34" charset="-122"/>
                      <a:cs typeface="Arial" panose="020B0604020202020204" pitchFamily="34" charset="0"/>
                    </a:rPr>
                    <a:t>02</a:t>
                  </a:r>
                  <a:endParaRPr lang="zh-CN" altLang="en-US" sz="28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94" name="Group 93">
              <a:extLst>
                <a:ext uri="{FF2B5EF4-FFF2-40B4-BE49-F238E27FC236}">
                  <a16:creationId xmlns:a16="http://schemas.microsoft.com/office/drawing/2014/main" id="{9CCDBE5F-89AF-CE92-3B4F-2F2A33026E3A}"/>
                </a:ext>
              </a:extLst>
            </p:cNvPr>
            <p:cNvGrpSpPr/>
            <p:nvPr/>
          </p:nvGrpSpPr>
          <p:grpSpPr>
            <a:xfrm>
              <a:off x="10165604" y="4268187"/>
              <a:ext cx="2528356" cy="2358676"/>
              <a:chOff x="10165604" y="4268187"/>
              <a:chExt cx="2528356" cy="2358676"/>
            </a:xfrm>
          </p:grpSpPr>
          <p:sp>
            <p:nvSpPr>
              <p:cNvPr id="9" name="任意多边形 15">
                <a:extLst>
                  <a:ext uri="{FF2B5EF4-FFF2-40B4-BE49-F238E27FC236}">
                    <a16:creationId xmlns:a16="http://schemas.microsoft.com/office/drawing/2014/main" id="{121307FB-CB74-C714-6DCE-8CDF1271CC16}"/>
                  </a:ext>
                </a:extLst>
              </p:cNvPr>
              <p:cNvSpPr/>
              <p:nvPr/>
            </p:nvSpPr>
            <p:spPr>
              <a:xfrm>
                <a:off x="11003762" y="4397507"/>
                <a:ext cx="1690198" cy="0"/>
              </a:xfrm>
              <a:custGeom>
                <a:avLst/>
                <a:gdLst>
                  <a:gd name="connsiteX0" fmla="*/ 0 w 1440180"/>
                  <a:gd name="connsiteY0" fmla="*/ 0 h 0"/>
                  <a:gd name="connsiteX1" fmla="*/ 1440180 w 1440180"/>
                  <a:gd name="connsiteY1" fmla="*/ 0 h 0"/>
                </a:gdLst>
                <a:ahLst/>
                <a:cxnLst>
                  <a:cxn ang="0">
                    <a:pos x="connsiteX0" y="connsiteY0"/>
                  </a:cxn>
                  <a:cxn ang="0">
                    <a:pos x="connsiteX1" y="connsiteY1"/>
                  </a:cxn>
                </a:cxnLst>
                <a:rect l="l" t="t" r="r" b="b"/>
                <a:pathLst>
                  <a:path w="1440180">
                    <a:moveTo>
                      <a:pt x="0" y="0"/>
                    </a:moveTo>
                    <a:lnTo>
                      <a:pt x="1440180" y="0"/>
                    </a:lnTo>
                  </a:path>
                </a:pathLst>
              </a:custGeom>
              <a:noFill/>
              <a:ln w="12700">
                <a:solidFill>
                  <a:schemeClr val="accent2"/>
                </a:solidFill>
                <a:prstDash val="dash"/>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78" name="组合 22">
                <a:extLst>
                  <a:ext uri="{FF2B5EF4-FFF2-40B4-BE49-F238E27FC236}">
                    <a16:creationId xmlns:a16="http://schemas.microsoft.com/office/drawing/2014/main" id="{F4A109DB-22B1-0C07-C514-AE36898EA419}"/>
                  </a:ext>
                </a:extLst>
              </p:cNvPr>
              <p:cNvGrpSpPr/>
              <p:nvPr/>
            </p:nvGrpSpPr>
            <p:grpSpPr>
              <a:xfrm>
                <a:off x="10165604" y="4268187"/>
                <a:ext cx="1611576" cy="2358676"/>
                <a:chOff x="7142211" y="2491052"/>
                <a:chExt cx="1373188" cy="2009775"/>
              </a:xfrm>
              <a:solidFill>
                <a:schemeClr val="accent1"/>
              </a:solidFill>
            </p:grpSpPr>
            <p:sp>
              <p:nvSpPr>
                <p:cNvPr id="79" name="Freeform 5">
                  <a:extLst>
                    <a:ext uri="{FF2B5EF4-FFF2-40B4-BE49-F238E27FC236}">
                      <a16:creationId xmlns:a16="http://schemas.microsoft.com/office/drawing/2014/main" id="{A01288D6-0894-B703-C34F-3281C2B4B660}"/>
                    </a:ext>
                  </a:extLst>
                </p:cNvPr>
                <p:cNvSpPr>
                  <a:spLocks/>
                </p:cNvSpPr>
                <p:nvPr/>
              </p:nvSpPr>
              <p:spPr bwMode="auto">
                <a:xfrm rot="20700000">
                  <a:off x="7142211" y="2491052"/>
                  <a:ext cx="1373188" cy="2009775"/>
                </a:xfrm>
                <a:custGeom>
                  <a:avLst/>
                  <a:gdLst>
                    <a:gd name="T0" fmla="*/ 400 w 508"/>
                    <a:gd name="T1" fmla="*/ 472 h 743"/>
                    <a:gd name="T2" fmla="*/ 489 w 508"/>
                    <a:gd name="T3" fmla="*/ 491 h 743"/>
                    <a:gd name="T4" fmla="*/ 503 w 508"/>
                    <a:gd name="T5" fmla="*/ 477 h 743"/>
                    <a:gd name="T6" fmla="*/ 430 w 508"/>
                    <a:gd name="T7" fmla="*/ 246 h 743"/>
                    <a:gd name="T8" fmla="*/ 359 w 508"/>
                    <a:gd name="T9" fmla="*/ 23 h 743"/>
                    <a:gd name="T10" fmla="*/ 330 w 508"/>
                    <a:gd name="T11" fmla="*/ 19 h 743"/>
                    <a:gd name="T12" fmla="*/ 174 w 508"/>
                    <a:gd name="T13" fmla="*/ 190 h 743"/>
                    <a:gd name="T14" fmla="*/ 13 w 508"/>
                    <a:gd name="T15" fmla="*/ 365 h 743"/>
                    <a:gd name="T16" fmla="*/ 16 w 508"/>
                    <a:gd name="T17" fmla="*/ 387 h 743"/>
                    <a:gd name="T18" fmla="*/ 125 w 508"/>
                    <a:gd name="T19" fmla="*/ 411 h 743"/>
                    <a:gd name="T20" fmla="*/ 55 w 508"/>
                    <a:gd name="T21" fmla="*/ 607 h 743"/>
                    <a:gd name="T22" fmla="*/ 62 w 508"/>
                    <a:gd name="T23" fmla="*/ 630 h 743"/>
                    <a:gd name="T24" fmla="*/ 266 w 508"/>
                    <a:gd name="T25" fmla="*/ 734 h 743"/>
                    <a:gd name="T26" fmla="*/ 294 w 508"/>
                    <a:gd name="T27" fmla="*/ 726 h 743"/>
                    <a:gd name="T28" fmla="*/ 382 w 508"/>
                    <a:gd name="T29" fmla="*/ 483 h 743"/>
                    <a:gd name="T30" fmla="*/ 385 w 508"/>
                    <a:gd name="T31" fmla="*/ 469 h 743"/>
                    <a:gd name="T32" fmla="*/ 400 w 508"/>
                    <a:gd name="T33" fmla="*/ 4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8" h="743">
                      <a:moveTo>
                        <a:pt x="400" y="472"/>
                      </a:moveTo>
                      <a:cubicBezTo>
                        <a:pt x="489" y="491"/>
                        <a:pt x="489" y="491"/>
                        <a:pt x="489" y="491"/>
                      </a:cubicBezTo>
                      <a:cubicBezTo>
                        <a:pt x="506" y="496"/>
                        <a:pt x="508" y="494"/>
                        <a:pt x="503" y="477"/>
                      </a:cubicBezTo>
                      <a:cubicBezTo>
                        <a:pt x="430" y="246"/>
                        <a:pt x="430" y="246"/>
                        <a:pt x="430" y="246"/>
                      </a:cubicBezTo>
                      <a:cubicBezTo>
                        <a:pt x="359" y="23"/>
                        <a:pt x="359" y="23"/>
                        <a:pt x="359" y="23"/>
                      </a:cubicBezTo>
                      <a:cubicBezTo>
                        <a:pt x="352" y="0"/>
                        <a:pt x="338" y="9"/>
                        <a:pt x="330" y="19"/>
                      </a:cubicBezTo>
                      <a:cubicBezTo>
                        <a:pt x="174" y="190"/>
                        <a:pt x="174" y="190"/>
                        <a:pt x="174" y="190"/>
                      </a:cubicBezTo>
                      <a:cubicBezTo>
                        <a:pt x="13" y="365"/>
                        <a:pt x="13" y="365"/>
                        <a:pt x="13" y="365"/>
                      </a:cubicBezTo>
                      <a:cubicBezTo>
                        <a:pt x="0" y="378"/>
                        <a:pt x="2" y="385"/>
                        <a:pt x="16" y="387"/>
                      </a:cubicBezTo>
                      <a:cubicBezTo>
                        <a:pt x="125" y="411"/>
                        <a:pt x="125" y="411"/>
                        <a:pt x="125" y="411"/>
                      </a:cubicBezTo>
                      <a:cubicBezTo>
                        <a:pt x="109" y="485"/>
                        <a:pt x="84" y="553"/>
                        <a:pt x="55" y="607"/>
                      </a:cubicBezTo>
                      <a:cubicBezTo>
                        <a:pt x="50" y="618"/>
                        <a:pt x="53" y="623"/>
                        <a:pt x="62" y="630"/>
                      </a:cubicBezTo>
                      <a:cubicBezTo>
                        <a:pt x="266" y="734"/>
                        <a:pt x="266" y="734"/>
                        <a:pt x="266" y="734"/>
                      </a:cubicBezTo>
                      <a:cubicBezTo>
                        <a:pt x="282" y="741"/>
                        <a:pt x="285" y="743"/>
                        <a:pt x="294" y="726"/>
                      </a:cubicBezTo>
                      <a:cubicBezTo>
                        <a:pt x="333" y="650"/>
                        <a:pt x="362" y="573"/>
                        <a:pt x="382" y="483"/>
                      </a:cubicBezTo>
                      <a:cubicBezTo>
                        <a:pt x="385" y="469"/>
                        <a:pt x="385" y="469"/>
                        <a:pt x="385" y="469"/>
                      </a:cubicBezTo>
                      <a:lnTo>
                        <a:pt x="400" y="472"/>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cs typeface="Arial" panose="020B0604020202020204" pitchFamily="34" charset="0"/>
                  </a:endParaRPr>
                </a:p>
              </p:txBody>
            </p:sp>
            <p:sp>
              <p:nvSpPr>
                <p:cNvPr id="80" name="矩形 24">
                  <a:extLst>
                    <a:ext uri="{FF2B5EF4-FFF2-40B4-BE49-F238E27FC236}">
                      <a16:creationId xmlns:a16="http://schemas.microsoft.com/office/drawing/2014/main" id="{0901FC84-421E-46FD-AE72-8798A831FEE2}"/>
                    </a:ext>
                  </a:extLst>
                </p:cNvPr>
                <p:cNvSpPr/>
                <p:nvPr/>
              </p:nvSpPr>
              <p:spPr>
                <a:xfrm>
                  <a:off x="7456271" y="3320767"/>
                  <a:ext cx="890516" cy="445824"/>
                </a:xfrm>
                <a:prstGeom prst="rect">
                  <a:avLst/>
                </a:prstGeom>
                <a:noFill/>
                <a:ln>
                  <a:noFill/>
                </a:ln>
                <a:effectLst/>
              </p:spPr>
              <p:txBody>
                <a:bodyPr wrap="square">
                  <a:spAutoFit/>
                </a:bodyPr>
                <a:lstStyle/>
                <a:p>
                  <a:pPr algn="ctr"/>
                  <a:r>
                    <a:rPr lang="en-US" altLang="zh-CN" sz="2800" dirty="0">
                      <a:solidFill>
                        <a:schemeClr val="bg1"/>
                      </a:solidFill>
                      <a:latin typeface="Arial" panose="020B0604020202020204" pitchFamily="34" charset="0"/>
                      <a:ea typeface="微软雅黑" panose="020B0503020204020204" pitchFamily="34" charset="-122"/>
                      <a:cs typeface="Arial" panose="020B0604020202020204" pitchFamily="34" charset="0"/>
                    </a:rPr>
                    <a:t>03</a:t>
                  </a:r>
                  <a:endParaRPr lang="zh-CN" altLang="en-US" sz="28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95" name="Group 94">
              <a:extLst>
                <a:ext uri="{FF2B5EF4-FFF2-40B4-BE49-F238E27FC236}">
                  <a16:creationId xmlns:a16="http://schemas.microsoft.com/office/drawing/2014/main" id="{823E6E30-4FC6-6CDA-008A-4FFA03CB11CA}"/>
                </a:ext>
              </a:extLst>
            </p:cNvPr>
            <p:cNvGrpSpPr/>
            <p:nvPr/>
          </p:nvGrpSpPr>
          <p:grpSpPr>
            <a:xfrm>
              <a:off x="5208796" y="3369581"/>
              <a:ext cx="3339081" cy="965082"/>
              <a:chOff x="5208796" y="3369581"/>
              <a:chExt cx="3339081" cy="965082"/>
            </a:xfrm>
          </p:grpSpPr>
          <p:sp>
            <p:nvSpPr>
              <p:cNvPr id="4" name="任意多边形 7">
                <a:extLst>
                  <a:ext uri="{FF2B5EF4-FFF2-40B4-BE49-F238E27FC236}">
                    <a16:creationId xmlns:a16="http://schemas.microsoft.com/office/drawing/2014/main" id="{7D80FBD9-12BC-A403-13CC-7114C40F2FD4}"/>
                  </a:ext>
                </a:extLst>
              </p:cNvPr>
              <p:cNvSpPr/>
              <p:nvPr/>
            </p:nvSpPr>
            <p:spPr>
              <a:xfrm>
                <a:off x="5208796" y="3471923"/>
                <a:ext cx="2843826" cy="0"/>
              </a:xfrm>
              <a:custGeom>
                <a:avLst/>
                <a:gdLst>
                  <a:gd name="connsiteX0" fmla="*/ 2423160 w 2423160"/>
                  <a:gd name="connsiteY0" fmla="*/ 0 h 0"/>
                  <a:gd name="connsiteX1" fmla="*/ 0 w 2423160"/>
                  <a:gd name="connsiteY1" fmla="*/ 0 h 0"/>
                </a:gdLst>
                <a:ahLst/>
                <a:cxnLst>
                  <a:cxn ang="0">
                    <a:pos x="connsiteX0" y="connsiteY0"/>
                  </a:cxn>
                  <a:cxn ang="0">
                    <a:pos x="connsiteX1" y="connsiteY1"/>
                  </a:cxn>
                </a:cxnLst>
                <a:rect l="l" t="t" r="r" b="b"/>
                <a:pathLst>
                  <a:path w="2423160">
                    <a:moveTo>
                      <a:pt x="2423160" y="0"/>
                    </a:moveTo>
                    <a:lnTo>
                      <a:pt x="0" y="0"/>
                    </a:lnTo>
                  </a:path>
                </a:pathLst>
              </a:custGeom>
              <a:noFill/>
              <a:ln w="12700">
                <a:solidFill>
                  <a:schemeClr val="accent2"/>
                </a:solidFill>
                <a:prstDash val="dash"/>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81" name="组合 25">
                <a:extLst>
                  <a:ext uri="{FF2B5EF4-FFF2-40B4-BE49-F238E27FC236}">
                    <a16:creationId xmlns:a16="http://schemas.microsoft.com/office/drawing/2014/main" id="{190AD0F5-EB40-2712-DBF0-3FCE733CDC34}"/>
                  </a:ext>
                </a:extLst>
              </p:cNvPr>
              <p:cNvGrpSpPr/>
              <p:nvPr/>
            </p:nvGrpSpPr>
            <p:grpSpPr>
              <a:xfrm>
                <a:off x="7307057" y="3369581"/>
                <a:ext cx="1240820" cy="965082"/>
                <a:chOff x="4706507" y="1725370"/>
                <a:chExt cx="1057275" cy="822325"/>
              </a:xfrm>
              <a:solidFill>
                <a:schemeClr val="accent1"/>
              </a:solidFill>
            </p:grpSpPr>
            <p:sp>
              <p:nvSpPr>
                <p:cNvPr id="82" name="Freeform 9">
                  <a:extLst>
                    <a:ext uri="{FF2B5EF4-FFF2-40B4-BE49-F238E27FC236}">
                      <a16:creationId xmlns:a16="http://schemas.microsoft.com/office/drawing/2014/main" id="{DDC4947A-C9E0-6734-7541-DB2D1371FB68}"/>
                    </a:ext>
                  </a:extLst>
                </p:cNvPr>
                <p:cNvSpPr>
                  <a:spLocks/>
                </p:cNvSpPr>
                <p:nvPr/>
              </p:nvSpPr>
              <p:spPr bwMode="auto">
                <a:xfrm rot="20700000">
                  <a:off x="4706507" y="1725370"/>
                  <a:ext cx="1057275" cy="822325"/>
                </a:xfrm>
                <a:custGeom>
                  <a:avLst/>
                  <a:gdLst>
                    <a:gd name="T0" fmla="*/ 373 w 391"/>
                    <a:gd name="T1" fmla="*/ 260 h 304"/>
                    <a:gd name="T2" fmla="*/ 390 w 391"/>
                    <a:gd name="T3" fmla="*/ 24 h 304"/>
                    <a:gd name="T4" fmla="*/ 373 w 391"/>
                    <a:gd name="T5" fmla="*/ 8 h 304"/>
                    <a:gd name="T6" fmla="*/ 14 w 391"/>
                    <a:gd name="T7" fmla="*/ 53 h 304"/>
                    <a:gd name="T8" fmla="*/ 6 w 391"/>
                    <a:gd name="T9" fmla="*/ 71 h 304"/>
                    <a:gd name="T10" fmla="*/ 92 w 391"/>
                    <a:gd name="T11" fmla="*/ 297 h 304"/>
                    <a:gd name="T12" fmla="*/ 105 w 391"/>
                    <a:gd name="T13" fmla="*/ 302 h 304"/>
                    <a:gd name="T14" fmla="*/ 357 w 391"/>
                    <a:gd name="T15" fmla="*/ 273 h 304"/>
                    <a:gd name="T16" fmla="*/ 373 w 391"/>
                    <a:gd name="T17" fmla="*/ 26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1" h="304">
                      <a:moveTo>
                        <a:pt x="373" y="260"/>
                      </a:moveTo>
                      <a:cubicBezTo>
                        <a:pt x="390" y="24"/>
                        <a:pt x="390" y="24"/>
                        <a:pt x="390" y="24"/>
                      </a:cubicBezTo>
                      <a:cubicBezTo>
                        <a:pt x="391" y="9"/>
                        <a:pt x="384" y="9"/>
                        <a:pt x="373" y="8"/>
                      </a:cubicBezTo>
                      <a:cubicBezTo>
                        <a:pt x="305" y="3"/>
                        <a:pt x="164" y="0"/>
                        <a:pt x="14" y="53"/>
                      </a:cubicBezTo>
                      <a:cubicBezTo>
                        <a:pt x="0" y="58"/>
                        <a:pt x="6" y="71"/>
                        <a:pt x="6" y="71"/>
                      </a:cubicBezTo>
                      <a:cubicBezTo>
                        <a:pt x="92" y="297"/>
                        <a:pt x="92" y="297"/>
                        <a:pt x="92" y="297"/>
                      </a:cubicBezTo>
                      <a:cubicBezTo>
                        <a:pt x="94" y="301"/>
                        <a:pt x="97" y="304"/>
                        <a:pt x="105" y="302"/>
                      </a:cubicBezTo>
                      <a:cubicBezTo>
                        <a:pt x="203" y="274"/>
                        <a:pt x="300" y="271"/>
                        <a:pt x="357" y="273"/>
                      </a:cubicBezTo>
                      <a:cubicBezTo>
                        <a:pt x="370" y="274"/>
                        <a:pt x="372" y="270"/>
                        <a:pt x="373" y="26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cs typeface="Arial" panose="020B0604020202020204" pitchFamily="34" charset="0"/>
                  </a:endParaRPr>
                </a:p>
              </p:txBody>
            </p:sp>
            <p:sp>
              <p:nvSpPr>
                <p:cNvPr id="83" name="矩形 27">
                  <a:extLst>
                    <a:ext uri="{FF2B5EF4-FFF2-40B4-BE49-F238E27FC236}">
                      <a16:creationId xmlns:a16="http://schemas.microsoft.com/office/drawing/2014/main" id="{69860F2C-4E3F-7058-25A3-786EE5122CCB}"/>
                    </a:ext>
                  </a:extLst>
                </p:cNvPr>
                <p:cNvSpPr/>
                <p:nvPr/>
              </p:nvSpPr>
              <p:spPr>
                <a:xfrm>
                  <a:off x="4844593" y="1878759"/>
                  <a:ext cx="890516" cy="445824"/>
                </a:xfrm>
                <a:prstGeom prst="rect">
                  <a:avLst/>
                </a:prstGeom>
                <a:noFill/>
                <a:ln>
                  <a:noFill/>
                </a:ln>
                <a:effectLst/>
              </p:spPr>
              <p:txBody>
                <a:bodyPr wrap="square">
                  <a:spAutoFit/>
                </a:bodyPr>
                <a:lstStyle/>
                <a:p>
                  <a:pPr algn="ctr"/>
                  <a:r>
                    <a:rPr lang="en-US" altLang="zh-CN" sz="2800" dirty="0">
                      <a:solidFill>
                        <a:schemeClr val="bg1"/>
                      </a:solidFill>
                      <a:latin typeface="Arial" panose="020B0604020202020204" pitchFamily="34" charset="0"/>
                      <a:ea typeface="微软雅黑" panose="020B0503020204020204" pitchFamily="34" charset="-122"/>
                      <a:cs typeface="Arial" panose="020B0604020202020204" pitchFamily="34" charset="0"/>
                    </a:rPr>
                    <a:t>04</a:t>
                  </a:r>
                  <a:endParaRPr lang="zh-CN" altLang="en-US" sz="28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96" name="Group 95">
              <a:extLst>
                <a:ext uri="{FF2B5EF4-FFF2-40B4-BE49-F238E27FC236}">
                  <a16:creationId xmlns:a16="http://schemas.microsoft.com/office/drawing/2014/main" id="{FAD9C143-914D-BC76-1548-157FA64CB464}"/>
                </a:ext>
              </a:extLst>
            </p:cNvPr>
            <p:cNvGrpSpPr/>
            <p:nvPr/>
          </p:nvGrpSpPr>
          <p:grpSpPr>
            <a:xfrm>
              <a:off x="5262453" y="4010415"/>
              <a:ext cx="2229375" cy="1192380"/>
              <a:chOff x="5262453" y="4010415"/>
              <a:chExt cx="2229375" cy="1192380"/>
            </a:xfrm>
          </p:grpSpPr>
          <p:sp>
            <p:nvSpPr>
              <p:cNvPr id="5" name="任意多边形 9">
                <a:extLst>
                  <a:ext uri="{FF2B5EF4-FFF2-40B4-BE49-F238E27FC236}">
                    <a16:creationId xmlns:a16="http://schemas.microsoft.com/office/drawing/2014/main" id="{B9274263-DD42-CA27-AA3F-B7A275C61765}"/>
                  </a:ext>
                </a:extLst>
              </p:cNvPr>
              <p:cNvSpPr/>
              <p:nvPr/>
            </p:nvSpPr>
            <p:spPr>
              <a:xfrm>
                <a:off x="5262453" y="4934078"/>
                <a:ext cx="1220699" cy="201214"/>
              </a:xfrm>
              <a:custGeom>
                <a:avLst/>
                <a:gdLst>
                  <a:gd name="connsiteX0" fmla="*/ 1040130 w 1040130"/>
                  <a:gd name="connsiteY0" fmla="*/ 0 h 171450"/>
                  <a:gd name="connsiteX1" fmla="*/ 1040130 w 1040130"/>
                  <a:gd name="connsiteY1" fmla="*/ 171450 h 171450"/>
                  <a:gd name="connsiteX2" fmla="*/ 0 w 1040130"/>
                  <a:gd name="connsiteY2" fmla="*/ 171450 h 171450"/>
                </a:gdLst>
                <a:ahLst/>
                <a:cxnLst>
                  <a:cxn ang="0">
                    <a:pos x="connsiteX0" y="connsiteY0"/>
                  </a:cxn>
                  <a:cxn ang="0">
                    <a:pos x="connsiteX1" y="connsiteY1"/>
                  </a:cxn>
                  <a:cxn ang="0">
                    <a:pos x="connsiteX2" y="connsiteY2"/>
                  </a:cxn>
                </a:cxnLst>
                <a:rect l="l" t="t" r="r" b="b"/>
                <a:pathLst>
                  <a:path w="1040130" h="171450">
                    <a:moveTo>
                      <a:pt x="1040130" y="0"/>
                    </a:moveTo>
                    <a:lnTo>
                      <a:pt x="1040130" y="171450"/>
                    </a:lnTo>
                    <a:lnTo>
                      <a:pt x="0" y="171450"/>
                    </a:lnTo>
                  </a:path>
                </a:pathLst>
              </a:custGeom>
              <a:noFill/>
              <a:ln w="12700">
                <a:solidFill>
                  <a:schemeClr val="accent4"/>
                </a:solidFill>
                <a:prstDash val="dash"/>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84" name="组合 28">
                <a:extLst>
                  <a:ext uri="{FF2B5EF4-FFF2-40B4-BE49-F238E27FC236}">
                    <a16:creationId xmlns:a16="http://schemas.microsoft.com/office/drawing/2014/main" id="{568AB5B4-B4DB-BE2F-E5DF-7660B3FF2EA6}"/>
                  </a:ext>
                </a:extLst>
              </p:cNvPr>
              <p:cNvGrpSpPr/>
              <p:nvPr/>
            </p:nvGrpSpPr>
            <p:grpSpPr>
              <a:xfrm>
                <a:off x="6215608" y="4010415"/>
                <a:ext cx="1276220" cy="1192380"/>
                <a:chOff x="3776508" y="2271410"/>
                <a:chExt cx="1087438" cy="1016000"/>
              </a:xfrm>
              <a:solidFill>
                <a:schemeClr val="accent4"/>
              </a:solidFill>
            </p:grpSpPr>
            <p:sp>
              <p:nvSpPr>
                <p:cNvPr id="85" name="Freeform 10">
                  <a:extLst>
                    <a:ext uri="{FF2B5EF4-FFF2-40B4-BE49-F238E27FC236}">
                      <a16:creationId xmlns:a16="http://schemas.microsoft.com/office/drawing/2014/main" id="{A53816F9-D74D-00F6-C058-0EC678BE1B02}"/>
                    </a:ext>
                  </a:extLst>
                </p:cNvPr>
                <p:cNvSpPr>
                  <a:spLocks/>
                </p:cNvSpPr>
                <p:nvPr/>
              </p:nvSpPr>
              <p:spPr bwMode="auto">
                <a:xfrm rot="20700000">
                  <a:off x="3776508" y="2271410"/>
                  <a:ext cx="1087438" cy="1016000"/>
                </a:xfrm>
                <a:custGeom>
                  <a:avLst/>
                  <a:gdLst>
                    <a:gd name="T0" fmla="*/ 14 w 402"/>
                    <a:gd name="T1" fmla="*/ 233 h 376"/>
                    <a:gd name="T2" fmla="*/ 198 w 402"/>
                    <a:gd name="T3" fmla="*/ 367 h 376"/>
                    <a:gd name="T4" fmla="*/ 221 w 402"/>
                    <a:gd name="T5" fmla="*/ 366 h 376"/>
                    <a:gd name="T6" fmla="*/ 387 w 402"/>
                    <a:gd name="T7" fmla="*/ 239 h 376"/>
                    <a:gd name="T8" fmla="*/ 396 w 402"/>
                    <a:gd name="T9" fmla="*/ 214 h 376"/>
                    <a:gd name="T10" fmla="*/ 290 w 402"/>
                    <a:gd name="T11" fmla="*/ 10 h 376"/>
                    <a:gd name="T12" fmla="*/ 263 w 402"/>
                    <a:gd name="T13" fmla="*/ 6 h 376"/>
                    <a:gd name="T14" fmla="*/ 32 w 402"/>
                    <a:gd name="T15" fmla="*/ 178 h 376"/>
                    <a:gd name="T16" fmla="*/ 10 w 402"/>
                    <a:gd name="T17" fmla="*/ 202 h 376"/>
                    <a:gd name="T18" fmla="*/ 14 w 402"/>
                    <a:gd name="T19" fmla="*/ 23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2" h="376">
                      <a:moveTo>
                        <a:pt x="14" y="233"/>
                      </a:moveTo>
                      <a:cubicBezTo>
                        <a:pt x="198" y="367"/>
                        <a:pt x="198" y="367"/>
                        <a:pt x="198" y="367"/>
                      </a:cubicBezTo>
                      <a:cubicBezTo>
                        <a:pt x="204" y="372"/>
                        <a:pt x="212" y="376"/>
                        <a:pt x="221" y="366"/>
                      </a:cubicBezTo>
                      <a:cubicBezTo>
                        <a:pt x="273" y="309"/>
                        <a:pt x="329" y="271"/>
                        <a:pt x="387" y="239"/>
                      </a:cubicBezTo>
                      <a:cubicBezTo>
                        <a:pt x="401" y="232"/>
                        <a:pt x="402" y="226"/>
                        <a:pt x="396" y="214"/>
                      </a:cubicBezTo>
                      <a:cubicBezTo>
                        <a:pt x="290" y="10"/>
                        <a:pt x="290" y="10"/>
                        <a:pt x="290" y="10"/>
                      </a:cubicBezTo>
                      <a:cubicBezTo>
                        <a:pt x="286" y="3"/>
                        <a:pt x="276" y="0"/>
                        <a:pt x="263" y="6"/>
                      </a:cubicBezTo>
                      <a:cubicBezTo>
                        <a:pt x="174" y="47"/>
                        <a:pt x="98" y="108"/>
                        <a:pt x="32" y="178"/>
                      </a:cubicBezTo>
                      <a:cubicBezTo>
                        <a:pt x="25" y="186"/>
                        <a:pt x="17" y="194"/>
                        <a:pt x="10" y="202"/>
                      </a:cubicBezTo>
                      <a:cubicBezTo>
                        <a:pt x="0" y="214"/>
                        <a:pt x="3" y="225"/>
                        <a:pt x="14" y="233"/>
                      </a:cubicBezTo>
                      <a:close/>
                    </a:path>
                  </a:pathLst>
                </a:custGeom>
                <a:solidFill>
                  <a:schemeClr val="accent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cs typeface="Arial" panose="020B0604020202020204" pitchFamily="34" charset="0"/>
                  </a:endParaRPr>
                </a:p>
              </p:txBody>
            </p:sp>
            <p:sp>
              <p:nvSpPr>
                <p:cNvPr id="86" name="矩形 30">
                  <a:extLst>
                    <a:ext uri="{FF2B5EF4-FFF2-40B4-BE49-F238E27FC236}">
                      <a16:creationId xmlns:a16="http://schemas.microsoft.com/office/drawing/2014/main" id="{E474BAD3-A836-7814-AEA7-04D886D8D255}"/>
                    </a:ext>
                  </a:extLst>
                </p:cNvPr>
                <p:cNvSpPr/>
                <p:nvPr/>
              </p:nvSpPr>
              <p:spPr>
                <a:xfrm>
                  <a:off x="3893245" y="2579028"/>
                  <a:ext cx="890516" cy="445824"/>
                </a:xfrm>
                <a:prstGeom prst="rect">
                  <a:avLst/>
                </a:prstGeom>
                <a:noFill/>
                <a:ln>
                  <a:noFill/>
                </a:ln>
                <a:effectLst/>
              </p:spPr>
              <p:txBody>
                <a:bodyPr wrap="square">
                  <a:spAutoFit/>
                </a:bodyPr>
                <a:lstStyle/>
                <a:p>
                  <a:pPr algn="ctr"/>
                  <a:r>
                    <a:rPr lang="en-US" altLang="zh-CN" sz="2800" dirty="0">
                      <a:solidFill>
                        <a:schemeClr val="bg1"/>
                      </a:solidFill>
                      <a:latin typeface="Arial" panose="020B0604020202020204" pitchFamily="34" charset="0"/>
                      <a:ea typeface="微软雅黑" panose="020B0503020204020204" pitchFamily="34" charset="-122"/>
                      <a:cs typeface="Arial" panose="020B0604020202020204" pitchFamily="34" charset="0"/>
                    </a:rPr>
                    <a:t>05</a:t>
                  </a:r>
                  <a:endParaRPr lang="zh-CN" altLang="en-US" sz="28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97" name="Group 96">
              <a:extLst>
                <a:ext uri="{FF2B5EF4-FFF2-40B4-BE49-F238E27FC236}">
                  <a16:creationId xmlns:a16="http://schemas.microsoft.com/office/drawing/2014/main" id="{0CE043DB-18CE-C5A3-E7FF-14C1BC142CED}"/>
                </a:ext>
              </a:extLst>
            </p:cNvPr>
            <p:cNvGrpSpPr/>
            <p:nvPr/>
          </p:nvGrpSpPr>
          <p:grpSpPr>
            <a:xfrm>
              <a:off x="5342938" y="5227279"/>
              <a:ext cx="2064704" cy="2366129"/>
              <a:chOff x="5342938" y="5227279"/>
              <a:chExt cx="2064704" cy="2366129"/>
            </a:xfrm>
          </p:grpSpPr>
          <p:sp>
            <p:nvSpPr>
              <p:cNvPr id="6" name="任意多边形 11">
                <a:extLst>
                  <a:ext uri="{FF2B5EF4-FFF2-40B4-BE49-F238E27FC236}">
                    <a16:creationId xmlns:a16="http://schemas.microsoft.com/office/drawing/2014/main" id="{6EB7E93E-F465-1C11-9C37-B290001EACE5}"/>
                  </a:ext>
                </a:extLst>
              </p:cNvPr>
              <p:cNvSpPr/>
              <p:nvPr/>
            </p:nvSpPr>
            <p:spPr>
              <a:xfrm>
                <a:off x="5342938" y="6905977"/>
                <a:ext cx="858513" cy="0"/>
              </a:xfrm>
              <a:custGeom>
                <a:avLst/>
                <a:gdLst>
                  <a:gd name="connsiteX0" fmla="*/ 731520 w 731520"/>
                  <a:gd name="connsiteY0" fmla="*/ 0 h 0"/>
                  <a:gd name="connsiteX1" fmla="*/ 0 w 731520"/>
                  <a:gd name="connsiteY1" fmla="*/ 0 h 0"/>
                </a:gdLst>
                <a:ahLst/>
                <a:cxnLst>
                  <a:cxn ang="0">
                    <a:pos x="connsiteX0" y="connsiteY0"/>
                  </a:cxn>
                  <a:cxn ang="0">
                    <a:pos x="connsiteX1" y="connsiteY1"/>
                  </a:cxn>
                </a:cxnLst>
                <a:rect l="l" t="t" r="r" b="b"/>
                <a:pathLst>
                  <a:path w="731520">
                    <a:moveTo>
                      <a:pt x="731520" y="0"/>
                    </a:moveTo>
                    <a:lnTo>
                      <a:pt x="0" y="0"/>
                    </a:lnTo>
                  </a:path>
                </a:pathLst>
              </a:custGeom>
              <a:noFill/>
              <a:ln w="12700">
                <a:solidFill>
                  <a:schemeClr val="accent2"/>
                </a:solidFill>
                <a:prstDash val="dash"/>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grpSp>
            <p:nvGrpSpPr>
              <p:cNvPr id="87" name="组合 31">
                <a:extLst>
                  <a:ext uri="{FF2B5EF4-FFF2-40B4-BE49-F238E27FC236}">
                    <a16:creationId xmlns:a16="http://schemas.microsoft.com/office/drawing/2014/main" id="{8A8FF501-40A7-1A57-9708-FDD9A5C7BF09}"/>
                  </a:ext>
                </a:extLst>
              </p:cNvPr>
              <p:cNvGrpSpPr/>
              <p:nvPr/>
            </p:nvGrpSpPr>
            <p:grpSpPr>
              <a:xfrm>
                <a:off x="5779298" y="5227279"/>
                <a:ext cx="1628344" cy="2366129"/>
                <a:chOff x="3404738" y="3308273"/>
                <a:chExt cx="1387475" cy="2016125"/>
              </a:xfrm>
              <a:solidFill>
                <a:schemeClr val="accent1"/>
              </a:solidFill>
            </p:grpSpPr>
            <p:sp>
              <p:nvSpPr>
                <p:cNvPr id="88" name="Freeform 11">
                  <a:extLst>
                    <a:ext uri="{FF2B5EF4-FFF2-40B4-BE49-F238E27FC236}">
                      <a16:creationId xmlns:a16="http://schemas.microsoft.com/office/drawing/2014/main" id="{D90E8199-D96B-7866-B3B9-1FC39E0A11F1}"/>
                    </a:ext>
                  </a:extLst>
                </p:cNvPr>
                <p:cNvSpPr>
                  <a:spLocks/>
                </p:cNvSpPr>
                <p:nvPr/>
              </p:nvSpPr>
              <p:spPr bwMode="auto">
                <a:xfrm rot="20700000">
                  <a:off x="3404738" y="3308273"/>
                  <a:ext cx="1387475" cy="2016125"/>
                </a:xfrm>
                <a:custGeom>
                  <a:avLst/>
                  <a:gdLst>
                    <a:gd name="T0" fmla="*/ 109 w 513"/>
                    <a:gd name="T1" fmla="*/ 277 h 745"/>
                    <a:gd name="T2" fmla="*/ 19 w 513"/>
                    <a:gd name="T3" fmla="*/ 262 h 745"/>
                    <a:gd name="T4" fmla="*/ 5 w 513"/>
                    <a:gd name="T5" fmla="*/ 277 h 745"/>
                    <a:gd name="T6" fmla="*/ 92 w 513"/>
                    <a:gd name="T7" fmla="*/ 504 h 745"/>
                    <a:gd name="T8" fmla="*/ 175 w 513"/>
                    <a:gd name="T9" fmla="*/ 722 h 745"/>
                    <a:gd name="T10" fmla="*/ 204 w 513"/>
                    <a:gd name="T11" fmla="*/ 725 h 745"/>
                    <a:gd name="T12" fmla="*/ 351 w 513"/>
                    <a:gd name="T13" fmla="*/ 546 h 745"/>
                    <a:gd name="T14" fmla="*/ 500 w 513"/>
                    <a:gd name="T15" fmla="*/ 362 h 745"/>
                    <a:gd name="T16" fmla="*/ 497 w 513"/>
                    <a:gd name="T17" fmla="*/ 339 h 745"/>
                    <a:gd name="T18" fmla="*/ 387 w 513"/>
                    <a:gd name="T19" fmla="*/ 321 h 745"/>
                    <a:gd name="T20" fmla="*/ 445 w 513"/>
                    <a:gd name="T21" fmla="*/ 122 h 745"/>
                    <a:gd name="T22" fmla="*/ 437 w 513"/>
                    <a:gd name="T23" fmla="*/ 100 h 745"/>
                    <a:gd name="T24" fmla="*/ 227 w 513"/>
                    <a:gd name="T25" fmla="*/ 8 h 745"/>
                    <a:gd name="T26" fmla="*/ 200 w 513"/>
                    <a:gd name="T27" fmla="*/ 17 h 745"/>
                    <a:gd name="T28" fmla="*/ 126 w 513"/>
                    <a:gd name="T29" fmla="*/ 264 h 745"/>
                    <a:gd name="T30" fmla="*/ 124 w 513"/>
                    <a:gd name="T31" fmla="*/ 279 h 745"/>
                    <a:gd name="T32" fmla="*/ 109 w 513"/>
                    <a:gd name="T33" fmla="*/ 27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3" h="745">
                      <a:moveTo>
                        <a:pt x="109" y="277"/>
                      </a:moveTo>
                      <a:cubicBezTo>
                        <a:pt x="19" y="262"/>
                        <a:pt x="19" y="262"/>
                        <a:pt x="19" y="262"/>
                      </a:cubicBezTo>
                      <a:cubicBezTo>
                        <a:pt x="1" y="259"/>
                        <a:pt x="0" y="261"/>
                        <a:pt x="5" y="277"/>
                      </a:cubicBezTo>
                      <a:cubicBezTo>
                        <a:pt x="92" y="504"/>
                        <a:pt x="92" y="504"/>
                        <a:pt x="92" y="504"/>
                      </a:cubicBezTo>
                      <a:cubicBezTo>
                        <a:pt x="175" y="722"/>
                        <a:pt x="175" y="722"/>
                        <a:pt x="175" y="722"/>
                      </a:cubicBezTo>
                      <a:cubicBezTo>
                        <a:pt x="184" y="745"/>
                        <a:pt x="197" y="735"/>
                        <a:pt x="204" y="725"/>
                      </a:cubicBezTo>
                      <a:cubicBezTo>
                        <a:pt x="351" y="546"/>
                        <a:pt x="351" y="546"/>
                        <a:pt x="351" y="546"/>
                      </a:cubicBezTo>
                      <a:cubicBezTo>
                        <a:pt x="500" y="362"/>
                        <a:pt x="500" y="362"/>
                        <a:pt x="500" y="362"/>
                      </a:cubicBezTo>
                      <a:cubicBezTo>
                        <a:pt x="513" y="347"/>
                        <a:pt x="511" y="341"/>
                        <a:pt x="497" y="339"/>
                      </a:cubicBezTo>
                      <a:cubicBezTo>
                        <a:pt x="387" y="321"/>
                        <a:pt x="387" y="321"/>
                        <a:pt x="387" y="321"/>
                      </a:cubicBezTo>
                      <a:cubicBezTo>
                        <a:pt x="398" y="247"/>
                        <a:pt x="420" y="178"/>
                        <a:pt x="445" y="122"/>
                      </a:cubicBezTo>
                      <a:cubicBezTo>
                        <a:pt x="450" y="111"/>
                        <a:pt x="447" y="106"/>
                        <a:pt x="437" y="100"/>
                      </a:cubicBezTo>
                      <a:cubicBezTo>
                        <a:pt x="227" y="8"/>
                        <a:pt x="227" y="8"/>
                        <a:pt x="227" y="8"/>
                      </a:cubicBezTo>
                      <a:cubicBezTo>
                        <a:pt x="211" y="1"/>
                        <a:pt x="208" y="0"/>
                        <a:pt x="200" y="17"/>
                      </a:cubicBezTo>
                      <a:cubicBezTo>
                        <a:pt x="165" y="95"/>
                        <a:pt x="141" y="174"/>
                        <a:pt x="126" y="264"/>
                      </a:cubicBezTo>
                      <a:cubicBezTo>
                        <a:pt x="124" y="279"/>
                        <a:pt x="124" y="279"/>
                        <a:pt x="124" y="279"/>
                      </a:cubicBezTo>
                      <a:lnTo>
                        <a:pt x="109" y="27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cs typeface="Arial" panose="020B0604020202020204" pitchFamily="34" charset="0"/>
                  </a:endParaRPr>
                </a:p>
              </p:txBody>
            </p:sp>
            <p:sp>
              <p:nvSpPr>
                <p:cNvPr id="89" name="矩形 33">
                  <a:extLst>
                    <a:ext uri="{FF2B5EF4-FFF2-40B4-BE49-F238E27FC236}">
                      <a16:creationId xmlns:a16="http://schemas.microsoft.com/office/drawing/2014/main" id="{6EBC824E-A7F1-C48D-BC63-1689355A9480}"/>
                    </a:ext>
                  </a:extLst>
                </p:cNvPr>
                <p:cNvSpPr/>
                <p:nvPr/>
              </p:nvSpPr>
              <p:spPr>
                <a:xfrm>
                  <a:off x="3604706" y="4140342"/>
                  <a:ext cx="890516" cy="445824"/>
                </a:xfrm>
                <a:prstGeom prst="rect">
                  <a:avLst/>
                </a:prstGeom>
                <a:noFill/>
                <a:ln>
                  <a:noFill/>
                </a:ln>
                <a:effectLst/>
              </p:spPr>
              <p:txBody>
                <a:bodyPr wrap="square">
                  <a:spAutoFit/>
                </a:bodyPr>
                <a:lstStyle/>
                <a:p>
                  <a:pPr algn="ctr"/>
                  <a:r>
                    <a:rPr lang="en-US" altLang="zh-CN" sz="2800" dirty="0">
                      <a:solidFill>
                        <a:schemeClr val="bg1"/>
                      </a:solidFill>
                      <a:latin typeface="Arial" panose="020B0604020202020204" pitchFamily="34" charset="0"/>
                      <a:ea typeface="微软雅黑" panose="020B0503020204020204" pitchFamily="34" charset="-122"/>
                      <a:cs typeface="Arial" panose="020B0604020202020204" pitchFamily="34" charset="0"/>
                    </a:rPr>
                    <a:t>06</a:t>
                  </a:r>
                  <a:endParaRPr lang="zh-CN" altLang="en-US" sz="28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91" name="Group 90">
              <a:extLst>
                <a:ext uri="{FF2B5EF4-FFF2-40B4-BE49-F238E27FC236}">
                  <a16:creationId xmlns:a16="http://schemas.microsoft.com/office/drawing/2014/main" id="{B844DD38-1CCF-CB88-7D1D-6661CBA436F1}"/>
                </a:ext>
              </a:extLst>
            </p:cNvPr>
            <p:cNvGrpSpPr/>
            <p:nvPr/>
          </p:nvGrpSpPr>
          <p:grpSpPr>
            <a:xfrm>
              <a:off x="7705483" y="4828043"/>
              <a:ext cx="2103433" cy="2103432"/>
              <a:chOff x="7705483" y="4828043"/>
              <a:chExt cx="2103433" cy="2103432"/>
            </a:xfrm>
          </p:grpSpPr>
          <p:sp>
            <p:nvSpPr>
              <p:cNvPr id="35" name="Oval 8">
                <a:extLst>
                  <a:ext uri="{FF2B5EF4-FFF2-40B4-BE49-F238E27FC236}">
                    <a16:creationId xmlns:a16="http://schemas.microsoft.com/office/drawing/2014/main" id="{48ADD02F-B529-8E41-936F-45301345C8F6}"/>
                  </a:ext>
                </a:extLst>
              </p:cNvPr>
              <p:cNvSpPr>
                <a:spLocks noChangeArrowheads="1"/>
              </p:cNvSpPr>
              <p:nvPr/>
            </p:nvSpPr>
            <p:spPr bwMode="auto">
              <a:xfrm rot="20700000">
                <a:off x="7705483" y="4828043"/>
                <a:ext cx="2103433" cy="2103432"/>
              </a:xfrm>
              <a:prstGeom prst="ellipse">
                <a:avLst/>
              </a:prstGeom>
              <a:solidFill>
                <a:schemeClr val="accent3"/>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Arial" panose="020B0604020202020204" pitchFamily="34" charset="0"/>
                  <a:cs typeface="Arial" panose="020B0604020202020204" pitchFamily="34" charset="0"/>
                </a:endParaRPr>
              </a:p>
            </p:txBody>
          </p:sp>
          <p:sp>
            <p:nvSpPr>
              <p:cNvPr id="90" name="Oval 8">
                <a:extLst>
                  <a:ext uri="{FF2B5EF4-FFF2-40B4-BE49-F238E27FC236}">
                    <a16:creationId xmlns:a16="http://schemas.microsoft.com/office/drawing/2014/main" id="{42769E76-69F8-DAC2-888D-C8785976ABBB}"/>
                  </a:ext>
                </a:extLst>
              </p:cNvPr>
              <p:cNvSpPr>
                <a:spLocks noChangeArrowheads="1"/>
              </p:cNvSpPr>
              <p:nvPr/>
            </p:nvSpPr>
            <p:spPr bwMode="auto">
              <a:xfrm rot="20700000">
                <a:off x="7963147" y="5085708"/>
                <a:ext cx="1588104" cy="1588103"/>
              </a:xfrm>
              <a:prstGeom prst="ellipse">
                <a:avLst/>
              </a:prstGeom>
              <a:solidFill>
                <a:schemeClr val="accent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Arial" panose="020B0604020202020204" pitchFamily="34" charset="0"/>
                  <a:cs typeface="Arial" panose="020B0604020202020204" pitchFamily="34" charset="0"/>
                </a:endParaRPr>
              </a:p>
            </p:txBody>
          </p:sp>
        </p:grpSp>
      </p:grpSp>
      <p:sp>
        <p:nvSpPr>
          <p:cNvPr id="11" name="Slide Number Placeholder 10">
            <a:extLst>
              <a:ext uri="{FF2B5EF4-FFF2-40B4-BE49-F238E27FC236}">
                <a16:creationId xmlns:a16="http://schemas.microsoft.com/office/drawing/2014/main" id="{54382AB9-897C-D94E-B633-AB0EFC6B7581}"/>
              </a:ext>
            </a:extLst>
          </p:cNvPr>
          <p:cNvSpPr>
            <a:spLocks noGrp="1"/>
          </p:cNvSpPr>
          <p:nvPr>
            <p:ph type="sldNum" sz="quarter" idx="12"/>
          </p:nvPr>
        </p:nvSpPr>
        <p:spPr/>
        <p:txBody>
          <a:bodyPr/>
          <a:lstStyle/>
          <a:p>
            <a:fld id="{E2D680B1-7F17-42D2-83E2-2C9AC13983BB}" type="slidenum">
              <a:rPr lang="en-US" smtClean="0"/>
              <a:t>76</a:t>
            </a:fld>
            <a:endParaRPr lang="en-US" dirty="0"/>
          </a:p>
        </p:txBody>
      </p:sp>
    </p:spTree>
    <p:extLst>
      <p:ext uri="{BB962C8B-B14F-4D97-AF65-F5344CB8AC3E}">
        <p14:creationId xmlns:p14="http://schemas.microsoft.com/office/powerpoint/2010/main" val="32279012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DB56F-825C-4EFB-61AC-65BBB32823CB}"/>
            </a:ext>
          </a:extLst>
        </p:cNvPr>
        <p:cNvGrpSpPr/>
        <p:nvPr/>
      </p:nvGrpSpPr>
      <p:grpSpPr>
        <a:xfrm>
          <a:off x="0" y="0"/>
          <a:ext cx="0" cy="0"/>
          <a:chOff x="0" y="0"/>
          <a:chExt cx="0" cy="0"/>
        </a:xfrm>
      </p:grpSpPr>
      <p:sp>
        <p:nvSpPr>
          <p:cNvPr id="43" name="Title 42">
            <a:extLst>
              <a:ext uri="{FF2B5EF4-FFF2-40B4-BE49-F238E27FC236}">
                <a16:creationId xmlns:a16="http://schemas.microsoft.com/office/drawing/2014/main" id="{C0B01F46-334B-5959-7CFB-B9EB95E1A010}"/>
              </a:ext>
            </a:extLst>
          </p:cNvPr>
          <p:cNvSpPr>
            <a:spLocks noGrp="1"/>
          </p:cNvSpPr>
          <p:nvPr>
            <p:ph type="title"/>
          </p:nvPr>
        </p:nvSpPr>
        <p:spPr/>
        <p:txBody>
          <a:bodyPr/>
          <a:lstStyle/>
          <a:p>
            <a:r>
              <a:rPr lang="en-US" dirty="0"/>
              <a:t>Process Slide – Puzzle Diagram</a:t>
            </a:r>
          </a:p>
        </p:txBody>
      </p:sp>
      <p:sp>
        <p:nvSpPr>
          <p:cNvPr id="14" name="TextBox 12">
            <a:extLst>
              <a:ext uri="{FF2B5EF4-FFF2-40B4-BE49-F238E27FC236}">
                <a16:creationId xmlns:a16="http://schemas.microsoft.com/office/drawing/2014/main" id="{EBF89EDB-39F0-E6AA-B114-DD45E03C3C07}"/>
              </a:ext>
            </a:extLst>
          </p:cNvPr>
          <p:cNvSpPr txBox="1"/>
          <p:nvPr/>
        </p:nvSpPr>
        <p:spPr>
          <a:xfrm>
            <a:off x="834146" y="3264792"/>
            <a:ext cx="4270480" cy="1769715"/>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15" name="TextBox 12">
            <a:extLst>
              <a:ext uri="{FF2B5EF4-FFF2-40B4-BE49-F238E27FC236}">
                <a16:creationId xmlns:a16="http://schemas.microsoft.com/office/drawing/2014/main" id="{585C28E3-2746-750C-9795-7B69D7F3C77B}"/>
              </a:ext>
            </a:extLst>
          </p:cNvPr>
          <p:cNvSpPr txBox="1"/>
          <p:nvPr/>
        </p:nvSpPr>
        <p:spPr>
          <a:xfrm>
            <a:off x="13347437" y="3264792"/>
            <a:ext cx="4270480" cy="1769715"/>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16" name="TextBox 12">
            <a:extLst>
              <a:ext uri="{FF2B5EF4-FFF2-40B4-BE49-F238E27FC236}">
                <a16:creationId xmlns:a16="http://schemas.microsoft.com/office/drawing/2014/main" id="{9AF08DC4-DEA2-101C-0302-A4BB288660F8}"/>
              </a:ext>
            </a:extLst>
          </p:cNvPr>
          <p:cNvSpPr txBox="1"/>
          <p:nvPr/>
        </p:nvSpPr>
        <p:spPr>
          <a:xfrm>
            <a:off x="834146" y="5967282"/>
            <a:ext cx="4270480" cy="1769715"/>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17" name="TextBox 12">
            <a:extLst>
              <a:ext uri="{FF2B5EF4-FFF2-40B4-BE49-F238E27FC236}">
                <a16:creationId xmlns:a16="http://schemas.microsoft.com/office/drawing/2014/main" id="{5EBE7C57-1622-9294-B374-D3F750A4E2A7}"/>
              </a:ext>
            </a:extLst>
          </p:cNvPr>
          <p:cNvSpPr txBox="1"/>
          <p:nvPr/>
        </p:nvSpPr>
        <p:spPr>
          <a:xfrm>
            <a:off x="13347437" y="5967282"/>
            <a:ext cx="4270480" cy="1769715"/>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grpSp>
        <p:nvGrpSpPr>
          <p:cNvPr id="619" name="Group 618">
            <a:extLst>
              <a:ext uri="{FF2B5EF4-FFF2-40B4-BE49-F238E27FC236}">
                <a16:creationId xmlns:a16="http://schemas.microsoft.com/office/drawing/2014/main" id="{E26AECF2-B130-6CA1-CB6F-DD3117865DED}"/>
              </a:ext>
            </a:extLst>
          </p:cNvPr>
          <p:cNvGrpSpPr/>
          <p:nvPr/>
        </p:nvGrpSpPr>
        <p:grpSpPr>
          <a:xfrm>
            <a:off x="5764971" y="2659447"/>
            <a:ext cx="6758058" cy="5785995"/>
            <a:chOff x="5764971" y="2659447"/>
            <a:chExt cx="6758058" cy="5785995"/>
          </a:xfrm>
        </p:grpSpPr>
        <p:grpSp>
          <p:nvGrpSpPr>
            <p:cNvPr id="615" name="Group 614">
              <a:extLst>
                <a:ext uri="{FF2B5EF4-FFF2-40B4-BE49-F238E27FC236}">
                  <a16:creationId xmlns:a16="http://schemas.microsoft.com/office/drawing/2014/main" id="{427C0F92-584B-901D-5F90-0C85DA0B90DE}"/>
                </a:ext>
              </a:extLst>
            </p:cNvPr>
            <p:cNvGrpSpPr/>
            <p:nvPr/>
          </p:nvGrpSpPr>
          <p:grpSpPr>
            <a:xfrm>
              <a:off x="5764971" y="5639851"/>
              <a:ext cx="3873124" cy="2778545"/>
              <a:chOff x="5764971" y="5639851"/>
              <a:chExt cx="3873124" cy="2778545"/>
            </a:xfrm>
          </p:grpSpPr>
          <p:sp>
            <p:nvSpPr>
              <p:cNvPr id="8" name="Freeform: Shape 7">
                <a:extLst>
                  <a:ext uri="{FF2B5EF4-FFF2-40B4-BE49-F238E27FC236}">
                    <a16:creationId xmlns:a16="http://schemas.microsoft.com/office/drawing/2014/main" id="{7D0BC5AC-17D9-FD1A-0F80-F625F5B6C908}"/>
                  </a:ext>
                </a:extLst>
              </p:cNvPr>
              <p:cNvSpPr/>
              <p:nvPr/>
            </p:nvSpPr>
            <p:spPr>
              <a:xfrm>
                <a:off x="6260563" y="5639851"/>
                <a:ext cx="3377532" cy="2778545"/>
              </a:xfrm>
              <a:custGeom>
                <a:avLst/>
                <a:gdLst>
                  <a:gd name="connsiteX0" fmla="*/ 2251688 w 2251688"/>
                  <a:gd name="connsiteY0" fmla="*/ 955647 h 1852363"/>
                  <a:gd name="connsiteX1" fmla="*/ 2029378 w 2251688"/>
                  <a:gd name="connsiteY1" fmla="*/ 1221935 h 1852363"/>
                  <a:gd name="connsiteX2" fmla="*/ 1974185 w 2251688"/>
                  <a:gd name="connsiteY2" fmla="*/ 1213799 h 1852363"/>
                  <a:gd name="connsiteX3" fmla="*/ 1852585 w 2251688"/>
                  <a:gd name="connsiteY3" fmla="*/ 1116827 h 1852363"/>
                  <a:gd name="connsiteX4" fmla="*/ 1852585 w 2251688"/>
                  <a:gd name="connsiteY4" fmla="*/ 1852364 h 1852363"/>
                  <a:gd name="connsiteX5" fmla="*/ 0 w 2251688"/>
                  <a:gd name="connsiteY5" fmla="*/ 0 h 1852363"/>
                  <a:gd name="connsiteX6" fmla="*/ 556985 w 2251688"/>
                  <a:gd name="connsiteY6" fmla="*/ 0 h 1852363"/>
                  <a:gd name="connsiteX7" fmla="*/ 551708 w 2251688"/>
                  <a:gd name="connsiteY7" fmla="*/ 45737 h 1852363"/>
                  <a:gd name="connsiteX8" fmla="*/ 873189 w 2251688"/>
                  <a:gd name="connsiteY8" fmla="*/ 301471 h 1852363"/>
                  <a:gd name="connsiteX9" fmla="*/ 1194450 w 2251688"/>
                  <a:gd name="connsiteY9" fmla="*/ 45737 h 1852363"/>
                  <a:gd name="connsiteX10" fmla="*/ 1189173 w 2251688"/>
                  <a:gd name="connsiteY10" fmla="*/ 0 h 1852363"/>
                  <a:gd name="connsiteX11" fmla="*/ 1852585 w 2251688"/>
                  <a:gd name="connsiteY11" fmla="*/ 0 h 1852363"/>
                  <a:gd name="connsiteX12" fmla="*/ 1852585 w 2251688"/>
                  <a:gd name="connsiteY12" fmla="*/ 794247 h 1852363"/>
                  <a:gd name="connsiteX13" fmla="*/ 1974185 w 2251688"/>
                  <a:gd name="connsiteY13" fmla="*/ 697275 h 1852363"/>
                  <a:gd name="connsiteX14" fmla="*/ 2029378 w 2251688"/>
                  <a:gd name="connsiteY14" fmla="*/ 689139 h 1852363"/>
                  <a:gd name="connsiteX15" fmla="*/ 2251688 w 2251688"/>
                  <a:gd name="connsiteY15" fmla="*/ 955647 h 185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51688" h="1852363">
                    <a:moveTo>
                      <a:pt x="2251688" y="955647"/>
                    </a:moveTo>
                    <a:cubicBezTo>
                      <a:pt x="2251688" y="1102754"/>
                      <a:pt x="2152077" y="1221935"/>
                      <a:pt x="2029378" y="1221935"/>
                    </a:cubicBezTo>
                    <a:cubicBezTo>
                      <a:pt x="2010467" y="1221935"/>
                      <a:pt x="1991996" y="1219077"/>
                      <a:pt x="1974185" y="1213799"/>
                    </a:cubicBezTo>
                    <a:cubicBezTo>
                      <a:pt x="1925149" y="1198627"/>
                      <a:pt x="1882491" y="1163884"/>
                      <a:pt x="1852585" y="1116827"/>
                    </a:cubicBezTo>
                    <a:lnTo>
                      <a:pt x="1852585" y="1852364"/>
                    </a:lnTo>
                    <a:cubicBezTo>
                      <a:pt x="829430" y="1852364"/>
                      <a:pt x="0" y="1022934"/>
                      <a:pt x="0" y="0"/>
                    </a:cubicBezTo>
                    <a:lnTo>
                      <a:pt x="556985" y="0"/>
                    </a:lnTo>
                    <a:cubicBezTo>
                      <a:pt x="553467" y="14733"/>
                      <a:pt x="551708" y="30125"/>
                      <a:pt x="551708" y="45737"/>
                    </a:cubicBezTo>
                    <a:cubicBezTo>
                      <a:pt x="551708" y="187127"/>
                      <a:pt x="695736" y="301471"/>
                      <a:pt x="873189" y="301471"/>
                    </a:cubicBezTo>
                    <a:cubicBezTo>
                      <a:pt x="1050641" y="301471"/>
                      <a:pt x="1194450" y="187127"/>
                      <a:pt x="1194450" y="45737"/>
                    </a:cubicBezTo>
                    <a:cubicBezTo>
                      <a:pt x="1194450" y="30125"/>
                      <a:pt x="1192691" y="14733"/>
                      <a:pt x="1189173" y="0"/>
                    </a:cubicBezTo>
                    <a:lnTo>
                      <a:pt x="1852585" y="0"/>
                    </a:lnTo>
                    <a:lnTo>
                      <a:pt x="1852585" y="794247"/>
                    </a:lnTo>
                    <a:cubicBezTo>
                      <a:pt x="1882491" y="747190"/>
                      <a:pt x="1925149" y="712448"/>
                      <a:pt x="1974185" y="697275"/>
                    </a:cubicBezTo>
                    <a:cubicBezTo>
                      <a:pt x="1991996" y="691998"/>
                      <a:pt x="2010467" y="689139"/>
                      <a:pt x="2029378" y="689139"/>
                    </a:cubicBezTo>
                    <a:cubicBezTo>
                      <a:pt x="2152077" y="689359"/>
                      <a:pt x="2251688" y="808760"/>
                      <a:pt x="2251688" y="955647"/>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700" dirty="0">
                  <a:solidFill>
                    <a:schemeClr val="tx1"/>
                  </a:solidFill>
                  <a:latin typeface="+mj-lt"/>
                </a:endParaRPr>
              </a:p>
            </p:txBody>
          </p:sp>
          <p:grpSp>
            <p:nvGrpSpPr>
              <p:cNvPr id="614" name="Group 613">
                <a:extLst>
                  <a:ext uri="{FF2B5EF4-FFF2-40B4-BE49-F238E27FC236}">
                    <a16:creationId xmlns:a16="http://schemas.microsoft.com/office/drawing/2014/main" id="{F462516E-D252-069C-F4F7-7F6CE9D85EDD}"/>
                  </a:ext>
                </a:extLst>
              </p:cNvPr>
              <p:cNvGrpSpPr/>
              <p:nvPr/>
            </p:nvGrpSpPr>
            <p:grpSpPr>
              <a:xfrm>
                <a:off x="5764971" y="6538816"/>
                <a:ext cx="1619684" cy="1620000"/>
                <a:chOff x="5764971" y="6538816"/>
                <a:chExt cx="1619684" cy="1620000"/>
              </a:xfrm>
            </p:grpSpPr>
            <p:sp>
              <p:nvSpPr>
                <p:cNvPr id="11" name="Oval 10">
                  <a:extLst>
                    <a:ext uri="{FF2B5EF4-FFF2-40B4-BE49-F238E27FC236}">
                      <a16:creationId xmlns:a16="http://schemas.microsoft.com/office/drawing/2014/main" id="{57B2D3B2-8278-ADDE-9574-003C061A6922}"/>
                    </a:ext>
                  </a:extLst>
                </p:cNvPr>
                <p:cNvSpPr/>
                <p:nvPr/>
              </p:nvSpPr>
              <p:spPr>
                <a:xfrm>
                  <a:off x="5764971" y="6538816"/>
                  <a:ext cx="1619684" cy="1620000"/>
                </a:xfrm>
                <a:prstGeom prst="ellipse">
                  <a:avLst/>
                </a:prstGeom>
                <a:solidFill>
                  <a:schemeClr val="accent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oogle Shape;14407;p84">
                  <a:extLst>
                    <a:ext uri="{FF2B5EF4-FFF2-40B4-BE49-F238E27FC236}">
                      <a16:creationId xmlns:a16="http://schemas.microsoft.com/office/drawing/2014/main" id="{571C1E1A-FA97-183C-0A17-8503DD8D2C1D}"/>
                    </a:ext>
                  </a:extLst>
                </p:cNvPr>
                <p:cNvGrpSpPr/>
                <p:nvPr/>
              </p:nvGrpSpPr>
              <p:grpSpPr>
                <a:xfrm>
                  <a:off x="6325411" y="6961928"/>
                  <a:ext cx="498804" cy="773777"/>
                  <a:chOff x="3764531" y="2890666"/>
                  <a:chExt cx="222877" cy="345735"/>
                </a:xfrm>
                <a:solidFill>
                  <a:schemeClr val="bg2"/>
                </a:solidFill>
              </p:grpSpPr>
              <p:sp>
                <p:nvSpPr>
                  <p:cNvPr id="556" name="Google Shape;14408;p84">
                    <a:extLst>
                      <a:ext uri="{FF2B5EF4-FFF2-40B4-BE49-F238E27FC236}">
                        <a16:creationId xmlns:a16="http://schemas.microsoft.com/office/drawing/2014/main" id="{A379221C-70EA-6037-7FD4-FCBE675FAE2A}"/>
                      </a:ext>
                    </a:extLst>
                  </p:cNvPr>
                  <p:cNvSpPr/>
                  <p:nvPr/>
                </p:nvSpPr>
                <p:spPr>
                  <a:xfrm>
                    <a:off x="3764531" y="2890666"/>
                    <a:ext cx="222877" cy="345735"/>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57" name="Google Shape;14409;p84">
                    <a:extLst>
                      <a:ext uri="{FF2B5EF4-FFF2-40B4-BE49-F238E27FC236}">
                        <a16:creationId xmlns:a16="http://schemas.microsoft.com/office/drawing/2014/main" id="{67397CDC-C9C5-DA59-E1F2-7D59FFD4A122}"/>
                      </a:ext>
                    </a:extLst>
                  </p:cNvPr>
                  <p:cNvSpPr/>
                  <p:nvPr/>
                </p:nvSpPr>
                <p:spPr>
                  <a:xfrm>
                    <a:off x="3913857" y="2948234"/>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58" name="Google Shape;14410;p84">
                    <a:extLst>
                      <a:ext uri="{FF2B5EF4-FFF2-40B4-BE49-F238E27FC236}">
                        <a16:creationId xmlns:a16="http://schemas.microsoft.com/office/drawing/2014/main" id="{2FB896B3-01C2-6B32-274F-41588EED1A0C}"/>
                      </a:ext>
                    </a:extLst>
                  </p:cNvPr>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grpSp>
          <p:nvGrpSpPr>
            <p:cNvPr id="616" name="Group 615">
              <a:extLst>
                <a:ext uri="{FF2B5EF4-FFF2-40B4-BE49-F238E27FC236}">
                  <a16:creationId xmlns:a16="http://schemas.microsoft.com/office/drawing/2014/main" id="{212EB3AB-E54A-2009-B0C2-DBFF5022EA6D}"/>
                </a:ext>
              </a:extLst>
            </p:cNvPr>
            <p:cNvGrpSpPr/>
            <p:nvPr/>
          </p:nvGrpSpPr>
          <p:grpSpPr>
            <a:xfrm>
              <a:off x="5765287" y="2659447"/>
              <a:ext cx="3816736" cy="3344214"/>
              <a:chOff x="5765287" y="2659447"/>
              <a:chExt cx="3816736" cy="3344214"/>
            </a:xfrm>
          </p:grpSpPr>
          <p:sp>
            <p:nvSpPr>
              <p:cNvPr id="2" name="Freeform: Shape 1">
                <a:extLst>
                  <a:ext uri="{FF2B5EF4-FFF2-40B4-BE49-F238E27FC236}">
                    <a16:creationId xmlns:a16="http://schemas.microsoft.com/office/drawing/2014/main" id="{A6C8D529-1668-7D9A-920B-09BBF9B59365}"/>
                  </a:ext>
                </a:extLst>
              </p:cNvPr>
              <p:cNvSpPr/>
              <p:nvPr/>
            </p:nvSpPr>
            <p:spPr>
              <a:xfrm>
                <a:off x="6257925" y="2659447"/>
                <a:ext cx="3324098" cy="3344214"/>
              </a:xfrm>
              <a:custGeom>
                <a:avLst/>
                <a:gdLst>
                  <a:gd name="connsiteX0" fmla="*/ 2216066 w 2216065"/>
                  <a:gd name="connsiteY0" fmla="*/ 642082 h 2229476"/>
                  <a:gd name="connsiteX1" fmla="*/ 2020362 w 2216065"/>
                  <a:gd name="connsiteY1" fmla="*/ 886821 h 2229476"/>
                  <a:gd name="connsiteX2" fmla="*/ 1974405 w 2216065"/>
                  <a:gd name="connsiteY2" fmla="*/ 880005 h 2229476"/>
                  <a:gd name="connsiteX3" fmla="*/ 1852585 w 2216065"/>
                  <a:gd name="connsiteY3" fmla="*/ 768520 h 2229476"/>
                  <a:gd name="connsiteX4" fmla="*/ 1852585 w 2216065"/>
                  <a:gd name="connsiteY4" fmla="*/ 1852583 h 2229476"/>
                  <a:gd name="connsiteX5" fmla="*/ 1055259 w 2216065"/>
                  <a:gd name="connsiteY5" fmla="*/ 1852583 h 2229476"/>
                  <a:gd name="connsiteX6" fmla="*/ 1139917 w 2216065"/>
                  <a:gd name="connsiteY6" fmla="*/ 1967806 h 2229476"/>
                  <a:gd name="connsiteX7" fmla="*/ 1146074 w 2216065"/>
                  <a:gd name="connsiteY7" fmla="*/ 2013544 h 2229476"/>
                  <a:gd name="connsiteX8" fmla="*/ 874948 w 2216065"/>
                  <a:gd name="connsiteY8" fmla="*/ 2229477 h 2229476"/>
                  <a:gd name="connsiteX9" fmla="*/ 603602 w 2216065"/>
                  <a:gd name="connsiteY9" fmla="*/ 2013544 h 2229476"/>
                  <a:gd name="connsiteX10" fmla="*/ 609759 w 2216065"/>
                  <a:gd name="connsiteY10" fmla="*/ 1967806 h 2229476"/>
                  <a:gd name="connsiteX11" fmla="*/ 694637 w 2216065"/>
                  <a:gd name="connsiteY11" fmla="*/ 1852583 h 2229476"/>
                  <a:gd name="connsiteX12" fmla="*/ 0 w 2216065"/>
                  <a:gd name="connsiteY12" fmla="*/ 1852583 h 2229476"/>
                  <a:gd name="connsiteX13" fmla="*/ 1852585 w 2216065"/>
                  <a:gd name="connsiteY13" fmla="*/ 0 h 2229476"/>
                  <a:gd name="connsiteX14" fmla="*/ 1852585 w 2216065"/>
                  <a:gd name="connsiteY14" fmla="*/ 515425 h 2229476"/>
                  <a:gd name="connsiteX15" fmla="*/ 1974405 w 2216065"/>
                  <a:gd name="connsiteY15" fmla="*/ 403940 h 2229476"/>
                  <a:gd name="connsiteX16" fmla="*/ 2020362 w 2216065"/>
                  <a:gd name="connsiteY16" fmla="*/ 397124 h 2229476"/>
                  <a:gd name="connsiteX17" fmla="*/ 2216066 w 2216065"/>
                  <a:gd name="connsiteY17" fmla="*/ 642082 h 222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16065" h="2229476">
                    <a:moveTo>
                      <a:pt x="2216066" y="642082"/>
                    </a:moveTo>
                    <a:cubicBezTo>
                      <a:pt x="2216066" y="777315"/>
                      <a:pt x="2128549" y="886821"/>
                      <a:pt x="2020362" y="886821"/>
                    </a:cubicBezTo>
                    <a:cubicBezTo>
                      <a:pt x="2004530" y="886821"/>
                      <a:pt x="1989138" y="884402"/>
                      <a:pt x="1974405" y="880005"/>
                    </a:cubicBezTo>
                    <a:cubicBezTo>
                      <a:pt x="1922951" y="864612"/>
                      <a:pt x="1879192" y="823712"/>
                      <a:pt x="1852585" y="768520"/>
                    </a:cubicBezTo>
                    <a:lnTo>
                      <a:pt x="1852585" y="1852583"/>
                    </a:lnTo>
                    <a:lnTo>
                      <a:pt x="1055259" y="1852583"/>
                    </a:lnTo>
                    <a:cubicBezTo>
                      <a:pt x="1097258" y="1882489"/>
                      <a:pt x="1127603" y="1922509"/>
                      <a:pt x="1139917" y="1967806"/>
                    </a:cubicBezTo>
                    <a:cubicBezTo>
                      <a:pt x="1143875" y="1982539"/>
                      <a:pt x="1146074" y="1997932"/>
                      <a:pt x="1146074" y="2013544"/>
                    </a:cubicBezTo>
                    <a:cubicBezTo>
                      <a:pt x="1146074" y="2132725"/>
                      <a:pt x="1024694" y="2229477"/>
                      <a:pt x="874948" y="2229477"/>
                    </a:cubicBezTo>
                    <a:cubicBezTo>
                      <a:pt x="725202" y="2229477"/>
                      <a:pt x="603602" y="2132725"/>
                      <a:pt x="603602" y="2013544"/>
                    </a:cubicBezTo>
                    <a:cubicBezTo>
                      <a:pt x="603602" y="1997932"/>
                      <a:pt x="605801" y="1982539"/>
                      <a:pt x="609759" y="1967806"/>
                    </a:cubicBezTo>
                    <a:cubicBezTo>
                      <a:pt x="622073" y="1922509"/>
                      <a:pt x="652418" y="1882489"/>
                      <a:pt x="694637" y="1852583"/>
                    </a:cubicBezTo>
                    <a:lnTo>
                      <a:pt x="0" y="1852583"/>
                    </a:lnTo>
                    <a:cubicBezTo>
                      <a:pt x="0" y="829430"/>
                      <a:pt x="829431" y="0"/>
                      <a:pt x="1852585" y="0"/>
                    </a:cubicBezTo>
                    <a:lnTo>
                      <a:pt x="1852585" y="515425"/>
                    </a:lnTo>
                    <a:cubicBezTo>
                      <a:pt x="1879192" y="460232"/>
                      <a:pt x="1922951" y="419333"/>
                      <a:pt x="1974405" y="403940"/>
                    </a:cubicBezTo>
                    <a:cubicBezTo>
                      <a:pt x="1989138" y="399542"/>
                      <a:pt x="2004530" y="397124"/>
                      <a:pt x="2020362" y="397124"/>
                    </a:cubicBezTo>
                    <a:cubicBezTo>
                      <a:pt x="2128549" y="397124"/>
                      <a:pt x="2216066" y="506849"/>
                      <a:pt x="2216066" y="642082"/>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700" dirty="0">
                  <a:solidFill>
                    <a:schemeClr val="tx1"/>
                  </a:solidFill>
                  <a:latin typeface="+mj-lt"/>
                </a:endParaRPr>
              </a:p>
            </p:txBody>
          </p:sp>
          <p:grpSp>
            <p:nvGrpSpPr>
              <p:cNvPr id="613" name="Group 612">
                <a:extLst>
                  <a:ext uri="{FF2B5EF4-FFF2-40B4-BE49-F238E27FC236}">
                    <a16:creationId xmlns:a16="http://schemas.microsoft.com/office/drawing/2014/main" id="{F275244B-F105-1CF6-320A-909024E4BF01}"/>
                  </a:ext>
                </a:extLst>
              </p:cNvPr>
              <p:cNvGrpSpPr/>
              <p:nvPr/>
            </p:nvGrpSpPr>
            <p:grpSpPr>
              <a:xfrm>
                <a:off x="5765287" y="2932223"/>
                <a:ext cx="1619684" cy="1620000"/>
                <a:chOff x="5765287" y="2932223"/>
                <a:chExt cx="1619684" cy="1620000"/>
              </a:xfrm>
            </p:grpSpPr>
            <p:sp>
              <p:nvSpPr>
                <p:cNvPr id="10" name="Oval 9">
                  <a:extLst>
                    <a:ext uri="{FF2B5EF4-FFF2-40B4-BE49-F238E27FC236}">
                      <a16:creationId xmlns:a16="http://schemas.microsoft.com/office/drawing/2014/main" id="{1A1D96A0-A459-356E-A570-45A402F8A97B}"/>
                    </a:ext>
                  </a:extLst>
                </p:cNvPr>
                <p:cNvSpPr/>
                <p:nvPr/>
              </p:nvSpPr>
              <p:spPr>
                <a:xfrm>
                  <a:off x="5765287" y="2932223"/>
                  <a:ext cx="1619684" cy="1620000"/>
                </a:xfrm>
                <a:prstGeom prst="ellipse">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6" name="Google Shape;14560;p84">
                  <a:extLst>
                    <a:ext uri="{FF2B5EF4-FFF2-40B4-BE49-F238E27FC236}">
                      <a16:creationId xmlns:a16="http://schemas.microsoft.com/office/drawing/2014/main" id="{B7111D5A-3C82-F568-5223-E45DAB2488A3}"/>
                    </a:ext>
                  </a:extLst>
                </p:cNvPr>
                <p:cNvGrpSpPr/>
                <p:nvPr/>
              </p:nvGrpSpPr>
              <p:grpSpPr>
                <a:xfrm>
                  <a:off x="6259156" y="3519957"/>
                  <a:ext cx="631946" cy="444532"/>
                  <a:chOff x="7077232" y="2512572"/>
                  <a:chExt cx="282368" cy="198627"/>
                </a:xfrm>
                <a:solidFill>
                  <a:schemeClr val="bg2"/>
                </a:solidFill>
              </p:grpSpPr>
              <p:sp>
                <p:nvSpPr>
                  <p:cNvPr id="200" name="Google Shape;14561;p84">
                    <a:extLst>
                      <a:ext uri="{FF2B5EF4-FFF2-40B4-BE49-F238E27FC236}">
                        <a16:creationId xmlns:a16="http://schemas.microsoft.com/office/drawing/2014/main" id="{A9A7C463-B904-E44A-8840-3C65B7B0C9AE}"/>
                      </a:ext>
                    </a:extLst>
                  </p:cNvPr>
                  <p:cNvSpPr/>
                  <p:nvPr/>
                </p:nvSpPr>
                <p:spPr>
                  <a:xfrm>
                    <a:off x="7304975" y="2551563"/>
                    <a:ext cx="25050" cy="19417"/>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01" name="Google Shape;14562;p84">
                    <a:extLst>
                      <a:ext uri="{FF2B5EF4-FFF2-40B4-BE49-F238E27FC236}">
                        <a16:creationId xmlns:a16="http://schemas.microsoft.com/office/drawing/2014/main" id="{A48CEDD6-EC58-E98F-ED08-29F5DFB97B1D}"/>
                      </a:ext>
                    </a:extLst>
                  </p:cNvPr>
                  <p:cNvSpPr/>
                  <p:nvPr/>
                </p:nvSpPr>
                <p:spPr>
                  <a:xfrm>
                    <a:off x="7129144" y="2512572"/>
                    <a:ext cx="164881"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02" name="Google Shape;14563;p84">
                    <a:extLst>
                      <a:ext uri="{FF2B5EF4-FFF2-40B4-BE49-F238E27FC236}">
                        <a16:creationId xmlns:a16="http://schemas.microsoft.com/office/drawing/2014/main" id="{5ECC1673-9CD9-4625-7EA6-8C09B6B4102F}"/>
                      </a:ext>
                    </a:extLst>
                  </p:cNvPr>
                  <p:cNvSpPr/>
                  <p:nvPr/>
                </p:nvSpPr>
                <p:spPr>
                  <a:xfrm>
                    <a:off x="7077232" y="2536831"/>
                    <a:ext cx="282368" cy="174368"/>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03" name="Google Shape;14564;p84">
                    <a:extLst>
                      <a:ext uri="{FF2B5EF4-FFF2-40B4-BE49-F238E27FC236}">
                        <a16:creationId xmlns:a16="http://schemas.microsoft.com/office/drawing/2014/main" id="{87A777B0-1F55-12D3-3907-868A224BD819}"/>
                      </a:ext>
                    </a:extLst>
                  </p:cNvPr>
                  <p:cNvSpPr/>
                  <p:nvPr/>
                </p:nvSpPr>
                <p:spPr>
                  <a:xfrm>
                    <a:off x="7153774" y="2560286"/>
                    <a:ext cx="129232" cy="127131"/>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04" name="Google Shape;14565;p84">
                    <a:extLst>
                      <a:ext uri="{FF2B5EF4-FFF2-40B4-BE49-F238E27FC236}">
                        <a16:creationId xmlns:a16="http://schemas.microsoft.com/office/drawing/2014/main" id="{57378008-F6EC-24A1-56BA-4BEEC468F114}"/>
                      </a:ext>
                    </a:extLst>
                  </p:cNvPr>
                  <p:cNvSpPr/>
                  <p:nvPr/>
                </p:nvSpPr>
                <p:spPr>
                  <a:xfrm>
                    <a:off x="7184091" y="2590276"/>
                    <a:ext cx="68245" cy="68245"/>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05" name="Google Shape;14566;p84">
                    <a:extLst>
                      <a:ext uri="{FF2B5EF4-FFF2-40B4-BE49-F238E27FC236}">
                        <a16:creationId xmlns:a16="http://schemas.microsoft.com/office/drawing/2014/main" id="{1CE5BB5B-CC4A-7C74-0526-E7661DB63DA7}"/>
                      </a:ext>
                    </a:extLst>
                  </p:cNvPr>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grpSp>
          <p:nvGrpSpPr>
            <p:cNvPr id="618" name="Group 617">
              <a:extLst>
                <a:ext uri="{FF2B5EF4-FFF2-40B4-BE49-F238E27FC236}">
                  <a16:creationId xmlns:a16="http://schemas.microsoft.com/office/drawing/2014/main" id="{4FE1F29F-D50B-A9D0-5C1E-5A6DD7D2B5C8}"/>
                </a:ext>
              </a:extLst>
            </p:cNvPr>
            <p:cNvGrpSpPr/>
            <p:nvPr/>
          </p:nvGrpSpPr>
          <p:grpSpPr>
            <a:xfrm>
              <a:off x="9249877" y="5107165"/>
              <a:ext cx="3272836" cy="3338277"/>
              <a:chOff x="9249877" y="5107165"/>
              <a:chExt cx="3272836" cy="3338277"/>
            </a:xfrm>
          </p:grpSpPr>
          <p:sp>
            <p:nvSpPr>
              <p:cNvPr id="9" name="Freeform: Shape 8">
                <a:extLst>
                  <a:ext uri="{FF2B5EF4-FFF2-40B4-BE49-F238E27FC236}">
                    <a16:creationId xmlns:a16="http://schemas.microsoft.com/office/drawing/2014/main" id="{E3CC0118-CF88-4208-4185-1256BE218CE6}"/>
                  </a:ext>
                </a:extLst>
              </p:cNvPr>
              <p:cNvSpPr/>
              <p:nvPr/>
            </p:nvSpPr>
            <p:spPr>
              <a:xfrm>
                <a:off x="9249877" y="5107165"/>
                <a:ext cx="2778548" cy="3338277"/>
              </a:xfrm>
              <a:custGeom>
                <a:avLst/>
                <a:gdLst>
                  <a:gd name="connsiteX0" fmla="*/ 1852365 w 1852365"/>
                  <a:gd name="connsiteY0" fmla="*/ 373155 h 2225518"/>
                  <a:gd name="connsiteX1" fmla="*/ 0 w 1852365"/>
                  <a:gd name="connsiteY1" fmla="*/ 2225519 h 2225518"/>
                  <a:gd name="connsiteX2" fmla="*/ 0 w 1852365"/>
                  <a:gd name="connsiteY2" fmla="*/ 1633792 h 2225518"/>
                  <a:gd name="connsiteX3" fmla="*/ 55193 w 1852365"/>
                  <a:gd name="connsiteY3" fmla="*/ 1640388 h 2225518"/>
                  <a:gd name="connsiteX4" fmla="*/ 330277 w 1852365"/>
                  <a:gd name="connsiteY4" fmla="*/ 1310772 h 2225518"/>
                  <a:gd name="connsiteX5" fmla="*/ 55193 w 1852365"/>
                  <a:gd name="connsiteY5" fmla="*/ 981155 h 2225518"/>
                  <a:gd name="connsiteX6" fmla="*/ 0 w 1852365"/>
                  <a:gd name="connsiteY6" fmla="*/ 987751 h 2225518"/>
                  <a:gd name="connsiteX7" fmla="*/ 0 w 1852365"/>
                  <a:gd name="connsiteY7" fmla="*/ 373155 h 2225518"/>
                  <a:gd name="connsiteX8" fmla="*/ 458474 w 1852365"/>
                  <a:gd name="connsiteY8" fmla="*/ 373155 h 2225518"/>
                  <a:gd name="connsiteX9" fmla="*/ 354025 w 1852365"/>
                  <a:gd name="connsiteY9" fmla="*/ 239901 h 2225518"/>
                  <a:gd name="connsiteX10" fmla="*/ 350507 w 1852365"/>
                  <a:gd name="connsiteY10" fmla="*/ 206918 h 2225518"/>
                  <a:gd name="connsiteX11" fmla="*/ 616796 w 1852365"/>
                  <a:gd name="connsiteY11" fmla="*/ 0 h 2225518"/>
                  <a:gd name="connsiteX12" fmla="*/ 883304 w 1852365"/>
                  <a:gd name="connsiteY12" fmla="*/ 206918 h 2225518"/>
                  <a:gd name="connsiteX13" fmla="*/ 879786 w 1852365"/>
                  <a:gd name="connsiteY13" fmla="*/ 239901 h 2225518"/>
                  <a:gd name="connsiteX14" fmla="*/ 775337 w 1852365"/>
                  <a:gd name="connsiteY14" fmla="*/ 373155 h 2225518"/>
                  <a:gd name="connsiteX15" fmla="*/ 1852365 w 1852365"/>
                  <a:gd name="connsiteY15" fmla="*/ 373155 h 222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2365" h="2225518">
                    <a:moveTo>
                      <a:pt x="1852365" y="373155"/>
                    </a:moveTo>
                    <a:cubicBezTo>
                      <a:pt x="1852365" y="1396089"/>
                      <a:pt x="1022935" y="2225519"/>
                      <a:pt x="0" y="2225519"/>
                    </a:cubicBezTo>
                    <a:lnTo>
                      <a:pt x="0" y="1633792"/>
                    </a:lnTo>
                    <a:cubicBezTo>
                      <a:pt x="17811" y="1638190"/>
                      <a:pt x="36282" y="1640388"/>
                      <a:pt x="55193" y="1640388"/>
                    </a:cubicBezTo>
                    <a:cubicBezTo>
                      <a:pt x="207138" y="1640388"/>
                      <a:pt x="330277" y="1492842"/>
                      <a:pt x="330277" y="1310772"/>
                    </a:cubicBezTo>
                    <a:cubicBezTo>
                      <a:pt x="330277" y="1128702"/>
                      <a:pt x="207138" y="981155"/>
                      <a:pt x="55193" y="981155"/>
                    </a:cubicBezTo>
                    <a:cubicBezTo>
                      <a:pt x="36282" y="981155"/>
                      <a:pt x="17811" y="983354"/>
                      <a:pt x="0" y="987751"/>
                    </a:cubicBezTo>
                    <a:lnTo>
                      <a:pt x="0" y="373155"/>
                    </a:lnTo>
                    <a:lnTo>
                      <a:pt x="458474" y="373155"/>
                    </a:lnTo>
                    <a:cubicBezTo>
                      <a:pt x="403721" y="341711"/>
                      <a:pt x="365240" y="294214"/>
                      <a:pt x="354025" y="239901"/>
                    </a:cubicBezTo>
                    <a:cubicBezTo>
                      <a:pt x="351606" y="229127"/>
                      <a:pt x="350507" y="218132"/>
                      <a:pt x="350507" y="206918"/>
                    </a:cubicBezTo>
                    <a:cubicBezTo>
                      <a:pt x="350507" y="92574"/>
                      <a:pt x="469688" y="0"/>
                      <a:pt x="616796" y="0"/>
                    </a:cubicBezTo>
                    <a:cubicBezTo>
                      <a:pt x="763903" y="0"/>
                      <a:pt x="883304" y="92574"/>
                      <a:pt x="883304" y="206918"/>
                    </a:cubicBezTo>
                    <a:cubicBezTo>
                      <a:pt x="883304" y="218132"/>
                      <a:pt x="882205" y="229127"/>
                      <a:pt x="879786" y="239901"/>
                    </a:cubicBezTo>
                    <a:cubicBezTo>
                      <a:pt x="868571" y="294214"/>
                      <a:pt x="830090" y="341711"/>
                      <a:pt x="775337" y="373155"/>
                    </a:cubicBezTo>
                    <a:lnTo>
                      <a:pt x="1852365" y="373155"/>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700" dirty="0">
                  <a:solidFill>
                    <a:schemeClr val="tx1"/>
                  </a:solidFill>
                  <a:latin typeface="+mj-lt"/>
                </a:endParaRPr>
              </a:p>
            </p:txBody>
          </p:sp>
          <p:grpSp>
            <p:nvGrpSpPr>
              <p:cNvPr id="611" name="Group 610">
                <a:extLst>
                  <a:ext uri="{FF2B5EF4-FFF2-40B4-BE49-F238E27FC236}">
                    <a16:creationId xmlns:a16="http://schemas.microsoft.com/office/drawing/2014/main" id="{57000B53-8E36-A118-B149-7846BC02D853}"/>
                  </a:ext>
                </a:extLst>
              </p:cNvPr>
              <p:cNvGrpSpPr/>
              <p:nvPr/>
            </p:nvGrpSpPr>
            <p:grpSpPr>
              <a:xfrm>
                <a:off x="10903029" y="6538816"/>
                <a:ext cx="1619684" cy="1620000"/>
                <a:chOff x="10903029" y="6538816"/>
                <a:chExt cx="1619684" cy="1620000"/>
              </a:xfrm>
            </p:grpSpPr>
            <p:sp>
              <p:nvSpPr>
                <p:cNvPr id="7" name="Oval 6">
                  <a:extLst>
                    <a:ext uri="{FF2B5EF4-FFF2-40B4-BE49-F238E27FC236}">
                      <a16:creationId xmlns:a16="http://schemas.microsoft.com/office/drawing/2014/main" id="{A4F960BC-F1DD-C1B2-2947-7F95A624DC98}"/>
                    </a:ext>
                  </a:extLst>
                </p:cNvPr>
                <p:cNvSpPr/>
                <p:nvPr/>
              </p:nvSpPr>
              <p:spPr>
                <a:xfrm>
                  <a:off x="10903029" y="6538816"/>
                  <a:ext cx="1619684" cy="1620000"/>
                </a:xfrm>
                <a:prstGeom prst="ellipse">
                  <a:avLst/>
                </a:prstGeom>
                <a:solidFill>
                  <a:schemeClr val="accent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7" name="Google Shape;14504;p84">
                  <a:extLst>
                    <a:ext uri="{FF2B5EF4-FFF2-40B4-BE49-F238E27FC236}">
                      <a16:creationId xmlns:a16="http://schemas.microsoft.com/office/drawing/2014/main" id="{BB1AEFA0-05BF-9715-A282-54A73DD24322}"/>
                    </a:ext>
                  </a:extLst>
                </p:cNvPr>
                <p:cNvGrpSpPr/>
                <p:nvPr/>
              </p:nvGrpSpPr>
              <p:grpSpPr>
                <a:xfrm>
                  <a:off x="11341341" y="6951055"/>
                  <a:ext cx="743060" cy="795523"/>
                  <a:chOff x="7055134" y="2919170"/>
                  <a:chExt cx="290321" cy="310820"/>
                </a:xfrm>
                <a:solidFill>
                  <a:schemeClr val="bg2"/>
                </a:solidFill>
              </p:grpSpPr>
              <p:sp>
                <p:nvSpPr>
                  <p:cNvPr id="186" name="Google Shape;14505;p84">
                    <a:extLst>
                      <a:ext uri="{FF2B5EF4-FFF2-40B4-BE49-F238E27FC236}">
                        <a16:creationId xmlns:a16="http://schemas.microsoft.com/office/drawing/2014/main" id="{62A0D15A-022F-7539-2D7D-725F36057050}"/>
                      </a:ext>
                    </a:extLst>
                  </p:cNvPr>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87" name="Google Shape;14506;p84">
                    <a:extLst>
                      <a:ext uri="{FF2B5EF4-FFF2-40B4-BE49-F238E27FC236}">
                        <a16:creationId xmlns:a16="http://schemas.microsoft.com/office/drawing/2014/main" id="{579FE562-1309-27EC-E967-28B78C948F14}"/>
                      </a:ext>
                    </a:extLst>
                  </p:cNvPr>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88" name="Google Shape;14507;p84">
                    <a:extLst>
                      <a:ext uri="{FF2B5EF4-FFF2-40B4-BE49-F238E27FC236}">
                        <a16:creationId xmlns:a16="http://schemas.microsoft.com/office/drawing/2014/main" id="{F5D02DD2-6F05-21BE-5E91-77FEC3571716}"/>
                      </a:ext>
                    </a:extLst>
                  </p:cNvPr>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89" name="Google Shape;14508;p84">
                    <a:extLst>
                      <a:ext uri="{FF2B5EF4-FFF2-40B4-BE49-F238E27FC236}">
                        <a16:creationId xmlns:a16="http://schemas.microsoft.com/office/drawing/2014/main" id="{AD7A8EEA-F0D6-027B-781E-DCD026830521}"/>
                      </a:ext>
                    </a:extLst>
                  </p:cNvPr>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0" name="Google Shape;14509;p84">
                    <a:extLst>
                      <a:ext uri="{FF2B5EF4-FFF2-40B4-BE49-F238E27FC236}">
                        <a16:creationId xmlns:a16="http://schemas.microsoft.com/office/drawing/2014/main" id="{FD22B9DA-0646-463C-80A2-722179EFDBD9}"/>
                      </a:ext>
                    </a:extLst>
                  </p:cNvPr>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1" name="Google Shape;14510;p84">
                    <a:extLst>
                      <a:ext uri="{FF2B5EF4-FFF2-40B4-BE49-F238E27FC236}">
                        <a16:creationId xmlns:a16="http://schemas.microsoft.com/office/drawing/2014/main" id="{D3D3E2DB-EE24-55A3-1217-5D97478C4674}"/>
                      </a:ext>
                    </a:extLst>
                  </p:cNvPr>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2" name="Google Shape;14511;p84">
                    <a:extLst>
                      <a:ext uri="{FF2B5EF4-FFF2-40B4-BE49-F238E27FC236}">
                        <a16:creationId xmlns:a16="http://schemas.microsoft.com/office/drawing/2014/main" id="{F604E50E-C124-2F0F-BDA9-061B2689E4F6}"/>
                      </a:ext>
                    </a:extLst>
                  </p:cNvPr>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3" name="Google Shape;14512;p84">
                    <a:extLst>
                      <a:ext uri="{FF2B5EF4-FFF2-40B4-BE49-F238E27FC236}">
                        <a16:creationId xmlns:a16="http://schemas.microsoft.com/office/drawing/2014/main" id="{41262A21-E7C1-94D9-3008-D5712D68A655}"/>
                      </a:ext>
                    </a:extLst>
                  </p:cNvPr>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4" name="Google Shape;14513;p84">
                    <a:extLst>
                      <a:ext uri="{FF2B5EF4-FFF2-40B4-BE49-F238E27FC236}">
                        <a16:creationId xmlns:a16="http://schemas.microsoft.com/office/drawing/2014/main" id="{9254F41E-50F1-F4A7-8435-A4E8B1F53BAA}"/>
                      </a:ext>
                    </a:extLst>
                  </p:cNvPr>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5" name="Google Shape;14514;p84">
                    <a:extLst>
                      <a:ext uri="{FF2B5EF4-FFF2-40B4-BE49-F238E27FC236}">
                        <a16:creationId xmlns:a16="http://schemas.microsoft.com/office/drawing/2014/main" id="{B228C96D-93B2-397A-68A0-7F5BF7A19B41}"/>
                      </a:ext>
                    </a:extLst>
                  </p:cNvPr>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6" name="Google Shape;14515;p84">
                    <a:extLst>
                      <a:ext uri="{FF2B5EF4-FFF2-40B4-BE49-F238E27FC236}">
                        <a16:creationId xmlns:a16="http://schemas.microsoft.com/office/drawing/2014/main" id="{0A07DF6B-57A4-A734-A129-CCDB32AB0B4F}"/>
                      </a:ext>
                    </a:extLst>
                  </p:cNvPr>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7" name="Google Shape;14516;p84">
                    <a:extLst>
                      <a:ext uri="{FF2B5EF4-FFF2-40B4-BE49-F238E27FC236}">
                        <a16:creationId xmlns:a16="http://schemas.microsoft.com/office/drawing/2014/main" id="{7C421703-DFAC-8FE2-1B3D-F8A4CAEE8522}"/>
                      </a:ext>
                    </a:extLst>
                  </p:cNvPr>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8" name="Google Shape;14517;p84">
                    <a:extLst>
                      <a:ext uri="{FF2B5EF4-FFF2-40B4-BE49-F238E27FC236}">
                        <a16:creationId xmlns:a16="http://schemas.microsoft.com/office/drawing/2014/main" id="{02B7B7A3-9EBB-DAAC-84DA-36DB16527E4F}"/>
                      </a:ext>
                    </a:extLst>
                  </p:cNvPr>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9" name="Google Shape;14518;p84">
                    <a:extLst>
                      <a:ext uri="{FF2B5EF4-FFF2-40B4-BE49-F238E27FC236}">
                        <a16:creationId xmlns:a16="http://schemas.microsoft.com/office/drawing/2014/main" id="{99473BE1-9B7B-4E65-657E-113237786793}"/>
                      </a:ext>
                    </a:extLst>
                  </p:cNvPr>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grpSp>
          <p:nvGrpSpPr>
            <p:cNvPr id="617" name="Group 616">
              <a:extLst>
                <a:ext uri="{FF2B5EF4-FFF2-40B4-BE49-F238E27FC236}">
                  <a16:creationId xmlns:a16="http://schemas.microsoft.com/office/drawing/2014/main" id="{B4C9CA35-E1F5-B4C3-4939-5208774CF6BC}"/>
                </a:ext>
              </a:extLst>
            </p:cNvPr>
            <p:cNvGrpSpPr/>
            <p:nvPr/>
          </p:nvGrpSpPr>
          <p:grpSpPr>
            <a:xfrm>
              <a:off x="9247567" y="2659447"/>
              <a:ext cx="3275462" cy="2778875"/>
              <a:chOff x="9247567" y="2659447"/>
              <a:chExt cx="3275462" cy="2778875"/>
            </a:xfrm>
          </p:grpSpPr>
          <p:sp>
            <p:nvSpPr>
              <p:cNvPr id="5" name="Freeform: Shape 4">
                <a:extLst>
                  <a:ext uri="{FF2B5EF4-FFF2-40B4-BE49-F238E27FC236}">
                    <a16:creationId xmlns:a16="http://schemas.microsoft.com/office/drawing/2014/main" id="{731CD7D9-BE1C-A2CA-DC81-CC5529011924}"/>
                  </a:ext>
                </a:extLst>
              </p:cNvPr>
              <p:cNvSpPr/>
              <p:nvPr/>
            </p:nvSpPr>
            <p:spPr>
              <a:xfrm>
                <a:off x="9247567" y="2659447"/>
                <a:ext cx="2778548" cy="2778875"/>
              </a:xfrm>
              <a:custGeom>
                <a:avLst/>
                <a:gdLst>
                  <a:gd name="connsiteX0" fmla="*/ 945093 w 1852365"/>
                  <a:gd name="connsiteY0" fmla="*/ 1852583 h 1852583"/>
                  <a:gd name="connsiteX1" fmla="*/ 947952 w 1852365"/>
                  <a:gd name="connsiteY1" fmla="*/ 1819600 h 1852583"/>
                  <a:gd name="connsiteX2" fmla="*/ 618335 w 1852365"/>
                  <a:gd name="connsiteY2" fmla="*/ 1563646 h 1852583"/>
                  <a:gd name="connsiteX3" fmla="*/ 288717 w 1852365"/>
                  <a:gd name="connsiteY3" fmla="*/ 1819600 h 1852583"/>
                  <a:gd name="connsiteX4" fmla="*/ 291576 w 1852365"/>
                  <a:gd name="connsiteY4" fmla="*/ 1852583 h 1852583"/>
                  <a:gd name="connsiteX5" fmla="*/ 0 w 1852365"/>
                  <a:gd name="connsiteY5" fmla="*/ 1852583 h 1852583"/>
                  <a:gd name="connsiteX6" fmla="*/ 0 w 1852365"/>
                  <a:gd name="connsiteY6" fmla="*/ 942674 h 1852583"/>
                  <a:gd name="connsiteX7" fmla="*/ 45957 w 1852365"/>
                  <a:gd name="connsiteY7" fmla="*/ 948171 h 1852583"/>
                  <a:gd name="connsiteX8" fmla="*/ 290697 w 1852365"/>
                  <a:gd name="connsiteY8" fmla="*/ 642082 h 1852583"/>
                  <a:gd name="connsiteX9" fmla="*/ 45957 w 1852365"/>
                  <a:gd name="connsiteY9" fmla="*/ 335994 h 1852583"/>
                  <a:gd name="connsiteX10" fmla="*/ 0 w 1852365"/>
                  <a:gd name="connsiteY10" fmla="*/ 341491 h 1852583"/>
                  <a:gd name="connsiteX11" fmla="*/ 0 w 1852365"/>
                  <a:gd name="connsiteY11" fmla="*/ 0 h 1852583"/>
                  <a:gd name="connsiteX12" fmla="*/ 1852366 w 1852365"/>
                  <a:gd name="connsiteY12" fmla="*/ 1852583 h 1852583"/>
                  <a:gd name="connsiteX13" fmla="*/ 945093 w 1852365"/>
                  <a:gd name="connsiteY13" fmla="*/ 1852583 h 185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365" h="1852583">
                    <a:moveTo>
                      <a:pt x="945093" y="1852583"/>
                    </a:moveTo>
                    <a:cubicBezTo>
                      <a:pt x="947073" y="1841809"/>
                      <a:pt x="947952" y="1830814"/>
                      <a:pt x="947952" y="1819600"/>
                    </a:cubicBezTo>
                    <a:cubicBezTo>
                      <a:pt x="947952" y="1678210"/>
                      <a:pt x="800405" y="1563646"/>
                      <a:pt x="618335" y="1563646"/>
                    </a:cubicBezTo>
                    <a:cubicBezTo>
                      <a:pt x="436265" y="1563646"/>
                      <a:pt x="288717" y="1678210"/>
                      <a:pt x="288717" y="1819600"/>
                    </a:cubicBezTo>
                    <a:cubicBezTo>
                      <a:pt x="288717" y="1830814"/>
                      <a:pt x="289597" y="1841809"/>
                      <a:pt x="291576" y="1852583"/>
                    </a:cubicBezTo>
                    <a:lnTo>
                      <a:pt x="0" y="1852583"/>
                    </a:lnTo>
                    <a:lnTo>
                      <a:pt x="0" y="942674"/>
                    </a:lnTo>
                    <a:cubicBezTo>
                      <a:pt x="14733" y="946412"/>
                      <a:pt x="30125" y="948171"/>
                      <a:pt x="45957" y="948171"/>
                    </a:cubicBezTo>
                    <a:cubicBezTo>
                      <a:pt x="181190" y="948171"/>
                      <a:pt x="290697" y="811179"/>
                      <a:pt x="290697" y="642082"/>
                    </a:cubicBezTo>
                    <a:cubicBezTo>
                      <a:pt x="290697" y="472986"/>
                      <a:pt x="181190" y="335994"/>
                      <a:pt x="45957" y="335994"/>
                    </a:cubicBezTo>
                    <a:cubicBezTo>
                      <a:pt x="30125" y="335994"/>
                      <a:pt x="14733" y="337753"/>
                      <a:pt x="0" y="341491"/>
                    </a:cubicBezTo>
                    <a:lnTo>
                      <a:pt x="0" y="0"/>
                    </a:lnTo>
                    <a:cubicBezTo>
                      <a:pt x="1022935" y="0"/>
                      <a:pt x="1852366" y="829430"/>
                      <a:pt x="1852366" y="1852583"/>
                    </a:cubicBezTo>
                    <a:lnTo>
                      <a:pt x="945093" y="1852583"/>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700" dirty="0">
                  <a:solidFill>
                    <a:schemeClr val="tx1"/>
                  </a:solidFill>
                  <a:latin typeface="+mj-lt"/>
                </a:endParaRPr>
              </a:p>
            </p:txBody>
          </p:sp>
          <p:grpSp>
            <p:nvGrpSpPr>
              <p:cNvPr id="612" name="Group 611">
                <a:extLst>
                  <a:ext uri="{FF2B5EF4-FFF2-40B4-BE49-F238E27FC236}">
                    <a16:creationId xmlns:a16="http://schemas.microsoft.com/office/drawing/2014/main" id="{A7EDF1CA-7B16-1782-8DE4-6E1B26D13E3B}"/>
                  </a:ext>
                </a:extLst>
              </p:cNvPr>
              <p:cNvGrpSpPr/>
              <p:nvPr/>
            </p:nvGrpSpPr>
            <p:grpSpPr>
              <a:xfrm>
                <a:off x="10903345" y="2932223"/>
                <a:ext cx="1619684" cy="1620000"/>
                <a:chOff x="10903345" y="2932223"/>
                <a:chExt cx="1619684" cy="1620000"/>
              </a:xfrm>
            </p:grpSpPr>
            <p:sp>
              <p:nvSpPr>
                <p:cNvPr id="6" name="Oval 5">
                  <a:extLst>
                    <a:ext uri="{FF2B5EF4-FFF2-40B4-BE49-F238E27FC236}">
                      <a16:creationId xmlns:a16="http://schemas.microsoft.com/office/drawing/2014/main" id="{171B81B6-F141-4B22-9088-8E3FBC6410C5}"/>
                    </a:ext>
                  </a:extLst>
                </p:cNvPr>
                <p:cNvSpPr/>
                <p:nvPr/>
              </p:nvSpPr>
              <p:spPr>
                <a:xfrm>
                  <a:off x="10903345" y="2932223"/>
                  <a:ext cx="1619684" cy="1620000"/>
                </a:xfrm>
                <a:prstGeom prst="ellipse">
                  <a:avLst/>
                </a:prstGeom>
                <a:solidFill>
                  <a:schemeClr val="accent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oogle Shape;14554;p84">
                  <a:extLst>
                    <a:ext uri="{FF2B5EF4-FFF2-40B4-BE49-F238E27FC236}">
                      <a16:creationId xmlns:a16="http://schemas.microsoft.com/office/drawing/2014/main" id="{68D9C384-BA2C-9E39-A38E-F6AFC279E119}"/>
                    </a:ext>
                  </a:extLst>
                </p:cNvPr>
                <p:cNvGrpSpPr/>
                <p:nvPr/>
              </p:nvGrpSpPr>
              <p:grpSpPr>
                <a:xfrm>
                  <a:off x="11346173" y="3379306"/>
                  <a:ext cx="734028" cy="725834"/>
                  <a:chOff x="7528096" y="2450054"/>
                  <a:chExt cx="327976" cy="324315"/>
                </a:xfrm>
                <a:solidFill>
                  <a:schemeClr val="bg2"/>
                </a:solidFill>
              </p:grpSpPr>
              <p:sp>
                <p:nvSpPr>
                  <p:cNvPr id="165" name="Google Shape;14555;p84">
                    <a:extLst>
                      <a:ext uri="{FF2B5EF4-FFF2-40B4-BE49-F238E27FC236}">
                        <a16:creationId xmlns:a16="http://schemas.microsoft.com/office/drawing/2014/main" id="{46838E01-92ED-575B-1D89-5CAB3010DC26}"/>
                      </a:ext>
                    </a:extLst>
                  </p:cNvPr>
                  <p:cNvSpPr/>
                  <p:nvPr/>
                </p:nvSpPr>
                <p:spPr>
                  <a:xfrm>
                    <a:off x="7569411" y="2697184"/>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66" name="Google Shape;14556;p84">
                    <a:extLst>
                      <a:ext uri="{FF2B5EF4-FFF2-40B4-BE49-F238E27FC236}">
                        <a16:creationId xmlns:a16="http://schemas.microsoft.com/office/drawing/2014/main" id="{C630B5D9-99BF-9930-5F94-5AF41DB79F47}"/>
                      </a:ext>
                    </a:extLst>
                  </p:cNvPr>
                  <p:cNvSpPr/>
                  <p:nvPr/>
                </p:nvSpPr>
                <p:spPr>
                  <a:xfrm>
                    <a:off x="7600859" y="2728664"/>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67" name="Google Shape;14557;p84">
                    <a:extLst>
                      <a:ext uri="{FF2B5EF4-FFF2-40B4-BE49-F238E27FC236}">
                        <a16:creationId xmlns:a16="http://schemas.microsoft.com/office/drawing/2014/main" id="{9A9B9854-CC4C-6D21-1562-BB5D7674DBF6}"/>
                      </a:ext>
                    </a:extLst>
                  </p:cNvPr>
                  <p:cNvSpPr/>
                  <p:nvPr/>
                </p:nvSpPr>
                <p:spPr>
                  <a:xfrm>
                    <a:off x="7585326" y="2713099"/>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68" name="Google Shape;14558;p84">
                    <a:extLst>
                      <a:ext uri="{FF2B5EF4-FFF2-40B4-BE49-F238E27FC236}">
                        <a16:creationId xmlns:a16="http://schemas.microsoft.com/office/drawing/2014/main" id="{14842C62-1FA2-07FC-47FB-228ECA85C83C}"/>
                      </a:ext>
                    </a:extLst>
                  </p:cNvPr>
                  <p:cNvSpPr/>
                  <p:nvPr/>
                </p:nvSpPr>
                <p:spPr>
                  <a:xfrm>
                    <a:off x="7528096" y="2450054"/>
                    <a:ext cx="327976" cy="324315"/>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69" name="Google Shape;14559;p84">
                    <a:extLst>
                      <a:ext uri="{FF2B5EF4-FFF2-40B4-BE49-F238E27FC236}">
                        <a16:creationId xmlns:a16="http://schemas.microsoft.com/office/drawing/2014/main" id="{FABC49BB-70C2-7024-8E90-7A7527843BFA}"/>
                      </a:ext>
                    </a:extLst>
                  </p:cNvPr>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grp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grpSp>
      <p:sp>
        <p:nvSpPr>
          <p:cNvPr id="12" name="Slide Number Placeholder 11">
            <a:extLst>
              <a:ext uri="{FF2B5EF4-FFF2-40B4-BE49-F238E27FC236}">
                <a16:creationId xmlns:a16="http://schemas.microsoft.com/office/drawing/2014/main" id="{E78CC0BD-31C2-20B5-A016-E8F7CE287BB3}"/>
              </a:ext>
            </a:extLst>
          </p:cNvPr>
          <p:cNvSpPr>
            <a:spLocks noGrp="1"/>
          </p:cNvSpPr>
          <p:nvPr>
            <p:ph type="sldNum" sz="quarter" idx="12"/>
          </p:nvPr>
        </p:nvSpPr>
        <p:spPr/>
        <p:txBody>
          <a:bodyPr/>
          <a:lstStyle/>
          <a:p>
            <a:fld id="{E2D680B1-7F17-42D2-83E2-2C9AC13983BB}" type="slidenum">
              <a:rPr lang="en-US" smtClean="0"/>
              <a:t>77</a:t>
            </a:fld>
            <a:endParaRPr lang="en-US" dirty="0"/>
          </a:p>
        </p:txBody>
      </p:sp>
    </p:spTree>
    <p:extLst>
      <p:ext uri="{BB962C8B-B14F-4D97-AF65-F5344CB8AC3E}">
        <p14:creationId xmlns:p14="http://schemas.microsoft.com/office/powerpoint/2010/main" val="16793222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63A23-74F0-43E5-7799-D4C71177BFB7}"/>
            </a:ext>
          </a:extLst>
        </p:cNvPr>
        <p:cNvGrpSpPr/>
        <p:nvPr/>
      </p:nvGrpSpPr>
      <p:grpSpPr>
        <a:xfrm>
          <a:off x="0" y="0"/>
          <a:ext cx="0" cy="0"/>
          <a:chOff x="0" y="0"/>
          <a:chExt cx="0" cy="0"/>
        </a:xfrm>
      </p:grpSpPr>
      <p:sp>
        <p:nvSpPr>
          <p:cNvPr id="43" name="Title 42">
            <a:extLst>
              <a:ext uri="{FF2B5EF4-FFF2-40B4-BE49-F238E27FC236}">
                <a16:creationId xmlns:a16="http://schemas.microsoft.com/office/drawing/2014/main" id="{C5BCFC50-00E1-0785-CC4F-0EB443C08693}"/>
              </a:ext>
            </a:extLst>
          </p:cNvPr>
          <p:cNvSpPr>
            <a:spLocks noGrp="1"/>
          </p:cNvSpPr>
          <p:nvPr>
            <p:ph type="title"/>
          </p:nvPr>
        </p:nvSpPr>
        <p:spPr>
          <a:xfrm>
            <a:off x="714375" y="317500"/>
            <a:ext cx="16859250" cy="1266827"/>
          </a:xfrm>
        </p:spPr>
        <p:txBody>
          <a:bodyPr/>
          <a:lstStyle/>
          <a:p>
            <a:r>
              <a:rPr lang="en-US" dirty="0"/>
              <a:t>Process Slide – Circular Process Diagram</a:t>
            </a:r>
          </a:p>
        </p:txBody>
      </p:sp>
      <p:grpSp>
        <p:nvGrpSpPr>
          <p:cNvPr id="47" name="Group 46">
            <a:extLst>
              <a:ext uri="{FF2B5EF4-FFF2-40B4-BE49-F238E27FC236}">
                <a16:creationId xmlns:a16="http://schemas.microsoft.com/office/drawing/2014/main" id="{6B15DDDE-124A-B639-5C4A-6D08408C064D}"/>
              </a:ext>
            </a:extLst>
          </p:cNvPr>
          <p:cNvGrpSpPr/>
          <p:nvPr/>
        </p:nvGrpSpPr>
        <p:grpSpPr>
          <a:xfrm>
            <a:off x="714375" y="2705100"/>
            <a:ext cx="16859250" cy="6064974"/>
            <a:chOff x="714375" y="2583726"/>
            <a:chExt cx="16859250" cy="6064974"/>
          </a:xfrm>
        </p:grpSpPr>
        <p:grpSp>
          <p:nvGrpSpPr>
            <p:cNvPr id="12" name="Group 11">
              <a:extLst>
                <a:ext uri="{FF2B5EF4-FFF2-40B4-BE49-F238E27FC236}">
                  <a16:creationId xmlns:a16="http://schemas.microsoft.com/office/drawing/2014/main" id="{0D168F99-F72A-AF54-78B5-DA8AA5CFF088}"/>
                </a:ext>
              </a:extLst>
            </p:cNvPr>
            <p:cNvGrpSpPr/>
            <p:nvPr/>
          </p:nvGrpSpPr>
          <p:grpSpPr>
            <a:xfrm>
              <a:off x="6111515" y="2583726"/>
              <a:ext cx="6064972" cy="6064974"/>
              <a:chOff x="6795762" y="3385602"/>
              <a:chExt cx="5885515" cy="5885516"/>
            </a:xfrm>
            <a:solidFill>
              <a:schemeClr val="accent1"/>
            </a:solidFill>
          </p:grpSpPr>
          <p:grpSp>
            <p:nvGrpSpPr>
              <p:cNvPr id="29" name="Group 28">
                <a:extLst>
                  <a:ext uri="{FF2B5EF4-FFF2-40B4-BE49-F238E27FC236}">
                    <a16:creationId xmlns:a16="http://schemas.microsoft.com/office/drawing/2014/main" id="{CAE12BE0-5E77-AD00-FDFB-4E36ADF194D8}"/>
                  </a:ext>
                </a:extLst>
              </p:cNvPr>
              <p:cNvGrpSpPr/>
              <p:nvPr/>
            </p:nvGrpSpPr>
            <p:grpSpPr>
              <a:xfrm>
                <a:off x="6795762" y="3385602"/>
                <a:ext cx="3860094" cy="2886287"/>
                <a:chOff x="4657725" y="946151"/>
                <a:chExt cx="2441575" cy="1825625"/>
              </a:xfrm>
              <a:grpFill/>
            </p:grpSpPr>
            <p:sp>
              <p:nvSpPr>
                <p:cNvPr id="40" name="Freeform 13">
                  <a:extLst>
                    <a:ext uri="{FF2B5EF4-FFF2-40B4-BE49-F238E27FC236}">
                      <a16:creationId xmlns:a16="http://schemas.microsoft.com/office/drawing/2014/main" id="{F5E819DF-558F-E27F-48F9-417B74ACA76E}"/>
                    </a:ext>
                  </a:extLst>
                </p:cNvPr>
                <p:cNvSpPr>
                  <a:spLocks/>
                </p:cNvSpPr>
                <p:nvPr/>
              </p:nvSpPr>
              <p:spPr bwMode="auto">
                <a:xfrm>
                  <a:off x="5953125" y="2046288"/>
                  <a:ext cx="1146175" cy="593725"/>
                </a:xfrm>
                <a:custGeom>
                  <a:avLst/>
                  <a:gdLst>
                    <a:gd name="T0" fmla="*/ 849 w 904"/>
                    <a:gd name="T1" fmla="*/ 0 h 468"/>
                    <a:gd name="T2" fmla="*/ 873 w 904"/>
                    <a:gd name="T3" fmla="*/ 58 h 468"/>
                    <a:gd name="T4" fmla="*/ 507 w 904"/>
                    <a:gd name="T5" fmla="*/ 436 h 468"/>
                    <a:gd name="T6" fmla="*/ 396 w 904"/>
                    <a:gd name="T7" fmla="*/ 436 h 468"/>
                    <a:gd name="T8" fmla="*/ 30 w 904"/>
                    <a:gd name="T9" fmla="*/ 58 h 468"/>
                    <a:gd name="T10" fmla="*/ 55 w 904"/>
                    <a:gd name="T11" fmla="*/ 0 h 468"/>
                    <a:gd name="T12" fmla="*/ 849 w 904"/>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904" h="468">
                      <a:moveTo>
                        <a:pt x="849" y="0"/>
                      </a:moveTo>
                      <a:cubicBezTo>
                        <a:pt x="893" y="0"/>
                        <a:pt x="904" y="26"/>
                        <a:pt x="873" y="58"/>
                      </a:cubicBezTo>
                      <a:cubicBezTo>
                        <a:pt x="507" y="436"/>
                        <a:pt x="507" y="436"/>
                        <a:pt x="507" y="436"/>
                      </a:cubicBezTo>
                      <a:cubicBezTo>
                        <a:pt x="477" y="468"/>
                        <a:pt x="427" y="468"/>
                        <a:pt x="396" y="436"/>
                      </a:cubicBezTo>
                      <a:cubicBezTo>
                        <a:pt x="30" y="58"/>
                        <a:pt x="30" y="58"/>
                        <a:pt x="30" y="58"/>
                      </a:cubicBezTo>
                      <a:cubicBezTo>
                        <a:pt x="0" y="26"/>
                        <a:pt x="11" y="0"/>
                        <a:pt x="55" y="0"/>
                      </a:cubicBezTo>
                      <a:lnTo>
                        <a:pt x="849" y="0"/>
                      </a:lnTo>
                      <a:close/>
                    </a:path>
                  </a:pathLst>
                </a:custGeom>
                <a:grp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sp>
              <p:nvSpPr>
                <p:cNvPr id="41" name="Freeform 14">
                  <a:extLst>
                    <a:ext uri="{FF2B5EF4-FFF2-40B4-BE49-F238E27FC236}">
                      <a16:creationId xmlns:a16="http://schemas.microsoft.com/office/drawing/2014/main" id="{ECA5D862-AF7B-E560-DDE0-1C0959BDCD92}"/>
                    </a:ext>
                  </a:extLst>
                </p:cNvPr>
                <p:cNvSpPr>
                  <a:spLocks/>
                </p:cNvSpPr>
                <p:nvPr/>
              </p:nvSpPr>
              <p:spPr bwMode="auto">
                <a:xfrm>
                  <a:off x="4657725" y="946151"/>
                  <a:ext cx="2151063" cy="1825625"/>
                </a:xfrm>
                <a:custGeom>
                  <a:avLst/>
                  <a:gdLst>
                    <a:gd name="T0" fmla="*/ 848 w 1696"/>
                    <a:gd name="T1" fmla="*/ 0 h 1440"/>
                    <a:gd name="T2" fmla="*/ 0 w 1696"/>
                    <a:gd name="T3" fmla="*/ 848 h 1440"/>
                    <a:gd name="T4" fmla="*/ 241 w 1696"/>
                    <a:gd name="T5" fmla="*/ 1440 h 1440"/>
                    <a:gd name="T6" fmla="*/ 718 w 1696"/>
                    <a:gd name="T7" fmla="*/ 1209 h 1440"/>
                    <a:gd name="T8" fmla="*/ 464 w 1696"/>
                    <a:gd name="T9" fmla="*/ 848 h 1440"/>
                    <a:gd name="T10" fmla="*/ 848 w 1696"/>
                    <a:gd name="T11" fmla="*/ 464 h 1440"/>
                    <a:gd name="T12" fmla="*/ 1232 w 1696"/>
                    <a:gd name="T13" fmla="*/ 848 h 1440"/>
                    <a:gd name="T14" fmla="*/ 1213 w 1696"/>
                    <a:gd name="T15" fmla="*/ 966 h 1440"/>
                    <a:gd name="T16" fmla="*/ 1293 w 1696"/>
                    <a:gd name="T17" fmla="*/ 966 h 1440"/>
                    <a:gd name="T18" fmla="*/ 1293 w 1696"/>
                    <a:gd name="T19" fmla="*/ 1062 h 1440"/>
                    <a:gd name="T20" fmla="*/ 1669 w 1696"/>
                    <a:gd name="T21" fmla="*/ 1062 h 1440"/>
                    <a:gd name="T22" fmla="*/ 1696 w 1696"/>
                    <a:gd name="T23" fmla="*/ 848 h 1440"/>
                    <a:gd name="T24" fmla="*/ 848 w 1696"/>
                    <a:gd name="T25"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6" h="1440">
                      <a:moveTo>
                        <a:pt x="848" y="0"/>
                      </a:moveTo>
                      <a:cubicBezTo>
                        <a:pt x="380" y="0"/>
                        <a:pt x="0" y="380"/>
                        <a:pt x="0" y="848"/>
                      </a:cubicBezTo>
                      <a:cubicBezTo>
                        <a:pt x="0" y="1078"/>
                        <a:pt x="92" y="1287"/>
                        <a:pt x="241" y="1440"/>
                      </a:cubicBezTo>
                      <a:cubicBezTo>
                        <a:pt x="374" y="1315"/>
                        <a:pt x="540" y="1235"/>
                        <a:pt x="718" y="1209"/>
                      </a:cubicBezTo>
                      <a:cubicBezTo>
                        <a:pt x="570" y="1156"/>
                        <a:pt x="464" y="1014"/>
                        <a:pt x="464" y="848"/>
                      </a:cubicBezTo>
                      <a:cubicBezTo>
                        <a:pt x="464" y="636"/>
                        <a:pt x="636" y="464"/>
                        <a:pt x="848" y="464"/>
                      </a:cubicBezTo>
                      <a:cubicBezTo>
                        <a:pt x="1060" y="464"/>
                        <a:pt x="1232" y="636"/>
                        <a:pt x="1232" y="848"/>
                      </a:cubicBezTo>
                      <a:cubicBezTo>
                        <a:pt x="1232" y="889"/>
                        <a:pt x="1225" y="929"/>
                        <a:pt x="1213" y="966"/>
                      </a:cubicBezTo>
                      <a:cubicBezTo>
                        <a:pt x="1293" y="966"/>
                        <a:pt x="1293" y="966"/>
                        <a:pt x="1293" y="966"/>
                      </a:cubicBezTo>
                      <a:cubicBezTo>
                        <a:pt x="1293" y="1062"/>
                        <a:pt x="1293" y="1062"/>
                        <a:pt x="1293" y="1062"/>
                      </a:cubicBezTo>
                      <a:cubicBezTo>
                        <a:pt x="1669" y="1062"/>
                        <a:pt x="1669" y="1062"/>
                        <a:pt x="1669" y="1062"/>
                      </a:cubicBezTo>
                      <a:cubicBezTo>
                        <a:pt x="1687" y="994"/>
                        <a:pt x="1696" y="922"/>
                        <a:pt x="1696" y="848"/>
                      </a:cubicBezTo>
                      <a:cubicBezTo>
                        <a:pt x="1696" y="380"/>
                        <a:pt x="1316" y="0"/>
                        <a:pt x="848" y="0"/>
                      </a:cubicBezTo>
                      <a:close/>
                    </a:path>
                  </a:pathLst>
                </a:custGeom>
                <a:solidFill>
                  <a:schemeClr val="accent1"/>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42C3E70F-4DD2-B669-7C9C-8043A505187A}"/>
                  </a:ext>
                </a:extLst>
              </p:cNvPr>
              <p:cNvGrpSpPr/>
              <p:nvPr/>
            </p:nvGrpSpPr>
            <p:grpSpPr>
              <a:xfrm>
                <a:off x="6795762" y="5458709"/>
                <a:ext cx="2886287" cy="3812409"/>
                <a:chOff x="4657725" y="2257426"/>
                <a:chExt cx="1825625" cy="2411413"/>
              </a:xfrm>
              <a:grpFill/>
            </p:grpSpPr>
            <p:sp>
              <p:nvSpPr>
                <p:cNvPr id="38" name="Freeform 11">
                  <a:extLst>
                    <a:ext uri="{FF2B5EF4-FFF2-40B4-BE49-F238E27FC236}">
                      <a16:creationId xmlns:a16="http://schemas.microsoft.com/office/drawing/2014/main" id="{BA1CCB1D-9FAB-8281-190C-8DAD75E31A48}"/>
                    </a:ext>
                  </a:extLst>
                </p:cNvPr>
                <p:cNvSpPr>
                  <a:spLocks/>
                </p:cNvSpPr>
                <p:nvPr/>
              </p:nvSpPr>
              <p:spPr bwMode="auto">
                <a:xfrm>
                  <a:off x="5753100" y="2257426"/>
                  <a:ext cx="593725" cy="1146175"/>
                </a:xfrm>
                <a:custGeom>
                  <a:avLst/>
                  <a:gdLst>
                    <a:gd name="T0" fmla="*/ 0 w 468"/>
                    <a:gd name="T1" fmla="*/ 55 h 904"/>
                    <a:gd name="T2" fmla="*/ 57 w 468"/>
                    <a:gd name="T3" fmla="*/ 30 h 904"/>
                    <a:gd name="T4" fmla="*/ 436 w 468"/>
                    <a:gd name="T5" fmla="*/ 397 h 904"/>
                    <a:gd name="T6" fmla="*/ 436 w 468"/>
                    <a:gd name="T7" fmla="*/ 508 h 904"/>
                    <a:gd name="T8" fmla="*/ 57 w 468"/>
                    <a:gd name="T9" fmla="*/ 874 h 904"/>
                    <a:gd name="T10" fmla="*/ 0 w 468"/>
                    <a:gd name="T11" fmla="*/ 849 h 904"/>
                    <a:gd name="T12" fmla="*/ 0 w 468"/>
                    <a:gd name="T13" fmla="*/ 55 h 904"/>
                  </a:gdLst>
                  <a:ahLst/>
                  <a:cxnLst>
                    <a:cxn ang="0">
                      <a:pos x="T0" y="T1"/>
                    </a:cxn>
                    <a:cxn ang="0">
                      <a:pos x="T2" y="T3"/>
                    </a:cxn>
                    <a:cxn ang="0">
                      <a:pos x="T4" y="T5"/>
                    </a:cxn>
                    <a:cxn ang="0">
                      <a:pos x="T6" y="T7"/>
                    </a:cxn>
                    <a:cxn ang="0">
                      <a:pos x="T8" y="T9"/>
                    </a:cxn>
                    <a:cxn ang="0">
                      <a:pos x="T10" y="T11"/>
                    </a:cxn>
                    <a:cxn ang="0">
                      <a:pos x="T12" y="T13"/>
                    </a:cxn>
                  </a:cxnLst>
                  <a:rect l="0" t="0" r="r" b="b"/>
                  <a:pathLst>
                    <a:path w="468" h="904">
                      <a:moveTo>
                        <a:pt x="0" y="55"/>
                      </a:moveTo>
                      <a:cubicBezTo>
                        <a:pt x="0" y="11"/>
                        <a:pt x="26" y="0"/>
                        <a:pt x="57" y="30"/>
                      </a:cubicBezTo>
                      <a:cubicBezTo>
                        <a:pt x="436" y="397"/>
                        <a:pt x="436" y="397"/>
                        <a:pt x="436" y="397"/>
                      </a:cubicBezTo>
                      <a:cubicBezTo>
                        <a:pt x="468" y="427"/>
                        <a:pt x="468" y="477"/>
                        <a:pt x="436" y="508"/>
                      </a:cubicBezTo>
                      <a:cubicBezTo>
                        <a:pt x="57" y="874"/>
                        <a:pt x="57" y="874"/>
                        <a:pt x="57" y="874"/>
                      </a:cubicBezTo>
                      <a:cubicBezTo>
                        <a:pt x="26" y="904"/>
                        <a:pt x="0" y="893"/>
                        <a:pt x="0" y="849"/>
                      </a:cubicBezTo>
                      <a:lnTo>
                        <a:pt x="0" y="55"/>
                      </a:lnTo>
                      <a:close/>
                    </a:path>
                  </a:pathLst>
                </a:custGeom>
                <a:solidFill>
                  <a:schemeClr val="accent2"/>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sp>
              <p:nvSpPr>
                <p:cNvPr id="39" name="Freeform 12">
                  <a:extLst>
                    <a:ext uri="{FF2B5EF4-FFF2-40B4-BE49-F238E27FC236}">
                      <a16:creationId xmlns:a16="http://schemas.microsoft.com/office/drawing/2014/main" id="{D95E738C-29DB-9B08-D3A8-2C9B2265E1A1}"/>
                    </a:ext>
                  </a:extLst>
                </p:cNvPr>
                <p:cNvSpPr>
                  <a:spLocks/>
                </p:cNvSpPr>
                <p:nvPr/>
              </p:nvSpPr>
              <p:spPr bwMode="auto">
                <a:xfrm>
                  <a:off x="4657725" y="2517776"/>
                  <a:ext cx="1825625" cy="2151063"/>
                </a:xfrm>
                <a:custGeom>
                  <a:avLst/>
                  <a:gdLst>
                    <a:gd name="T0" fmla="*/ 1209 w 1440"/>
                    <a:gd name="T1" fmla="*/ 978 h 1696"/>
                    <a:gd name="T2" fmla="*/ 848 w 1440"/>
                    <a:gd name="T3" fmla="*/ 1232 h 1696"/>
                    <a:gd name="T4" fmla="*/ 464 w 1440"/>
                    <a:gd name="T5" fmla="*/ 848 h 1696"/>
                    <a:gd name="T6" fmla="*/ 848 w 1440"/>
                    <a:gd name="T7" fmla="*/ 464 h 1696"/>
                    <a:gd name="T8" fmla="*/ 969 w 1440"/>
                    <a:gd name="T9" fmla="*/ 483 h 1696"/>
                    <a:gd name="T10" fmla="*/ 969 w 1440"/>
                    <a:gd name="T11" fmla="*/ 9 h 1696"/>
                    <a:gd name="T12" fmla="*/ 848 w 1440"/>
                    <a:gd name="T13" fmla="*/ 0 h 1696"/>
                    <a:gd name="T14" fmla="*/ 0 w 1440"/>
                    <a:gd name="T15" fmla="*/ 848 h 1696"/>
                    <a:gd name="T16" fmla="*/ 848 w 1440"/>
                    <a:gd name="T17" fmla="*/ 1696 h 1696"/>
                    <a:gd name="T18" fmla="*/ 1440 w 1440"/>
                    <a:gd name="T19" fmla="*/ 1455 h 1696"/>
                    <a:gd name="T20" fmla="*/ 1209 w 1440"/>
                    <a:gd name="T21" fmla="*/ 978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1696">
                      <a:moveTo>
                        <a:pt x="1209" y="978"/>
                      </a:moveTo>
                      <a:cubicBezTo>
                        <a:pt x="1156" y="1126"/>
                        <a:pt x="1014" y="1232"/>
                        <a:pt x="848" y="1232"/>
                      </a:cubicBezTo>
                      <a:cubicBezTo>
                        <a:pt x="636" y="1232"/>
                        <a:pt x="464" y="1060"/>
                        <a:pt x="464" y="848"/>
                      </a:cubicBezTo>
                      <a:cubicBezTo>
                        <a:pt x="464" y="636"/>
                        <a:pt x="636" y="464"/>
                        <a:pt x="848" y="464"/>
                      </a:cubicBezTo>
                      <a:cubicBezTo>
                        <a:pt x="890" y="464"/>
                        <a:pt x="931" y="471"/>
                        <a:pt x="969" y="483"/>
                      </a:cubicBezTo>
                      <a:cubicBezTo>
                        <a:pt x="969" y="9"/>
                        <a:pt x="969" y="9"/>
                        <a:pt x="969" y="9"/>
                      </a:cubicBezTo>
                      <a:cubicBezTo>
                        <a:pt x="929" y="3"/>
                        <a:pt x="889" y="0"/>
                        <a:pt x="848" y="0"/>
                      </a:cubicBezTo>
                      <a:cubicBezTo>
                        <a:pt x="380" y="0"/>
                        <a:pt x="0" y="380"/>
                        <a:pt x="0" y="848"/>
                      </a:cubicBezTo>
                      <a:cubicBezTo>
                        <a:pt x="0" y="1316"/>
                        <a:pt x="380" y="1696"/>
                        <a:pt x="848" y="1696"/>
                      </a:cubicBezTo>
                      <a:cubicBezTo>
                        <a:pt x="1078" y="1696"/>
                        <a:pt x="1287" y="1604"/>
                        <a:pt x="1440" y="1455"/>
                      </a:cubicBezTo>
                      <a:cubicBezTo>
                        <a:pt x="1315" y="1322"/>
                        <a:pt x="1235" y="1156"/>
                        <a:pt x="1209" y="978"/>
                      </a:cubicBezTo>
                      <a:close/>
                    </a:path>
                  </a:pathLst>
                </a:custGeom>
                <a:solidFill>
                  <a:schemeClr val="accent2"/>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1AEA84F1-5AEB-B828-AB50-C7C26F282F2A}"/>
                  </a:ext>
                </a:extLst>
              </p:cNvPr>
              <p:cNvGrpSpPr/>
              <p:nvPr/>
            </p:nvGrpSpPr>
            <p:grpSpPr>
              <a:xfrm>
                <a:off x="8843770" y="6384830"/>
                <a:ext cx="3837507" cy="2886287"/>
                <a:chOff x="5953125" y="2843213"/>
                <a:chExt cx="2427288" cy="1825625"/>
              </a:xfrm>
              <a:grpFill/>
            </p:grpSpPr>
            <p:sp>
              <p:nvSpPr>
                <p:cNvPr id="36" name="Freeform 9">
                  <a:extLst>
                    <a:ext uri="{FF2B5EF4-FFF2-40B4-BE49-F238E27FC236}">
                      <a16:creationId xmlns:a16="http://schemas.microsoft.com/office/drawing/2014/main" id="{9F4264A3-DE73-02B5-7CE0-8F0CB6083905}"/>
                    </a:ext>
                  </a:extLst>
                </p:cNvPr>
                <p:cNvSpPr>
                  <a:spLocks/>
                </p:cNvSpPr>
                <p:nvPr/>
              </p:nvSpPr>
              <p:spPr bwMode="auto">
                <a:xfrm>
                  <a:off x="5953125" y="2989263"/>
                  <a:ext cx="1146175" cy="593725"/>
                </a:xfrm>
                <a:custGeom>
                  <a:avLst/>
                  <a:gdLst>
                    <a:gd name="T0" fmla="*/ 55 w 904"/>
                    <a:gd name="T1" fmla="*/ 468 h 468"/>
                    <a:gd name="T2" fmla="*/ 30 w 904"/>
                    <a:gd name="T3" fmla="*/ 411 h 468"/>
                    <a:gd name="T4" fmla="*/ 396 w 904"/>
                    <a:gd name="T5" fmla="*/ 32 h 468"/>
                    <a:gd name="T6" fmla="*/ 507 w 904"/>
                    <a:gd name="T7" fmla="*/ 32 h 468"/>
                    <a:gd name="T8" fmla="*/ 873 w 904"/>
                    <a:gd name="T9" fmla="*/ 411 h 468"/>
                    <a:gd name="T10" fmla="*/ 849 w 904"/>
                    <a:gd name="T11" fmla="*/ 468 h 468"/>
                    <a:gd name="T12" fmla="*/ 55 w 904"/>
                    <a:gd name="T13" fmla="*/ 468 h 468"/>
                  </a:gdLst>
                  <a:ahLst/>
                  <a:cxnLst>
                    <a:cxn ang="0">
                      <a:pos x="T0" y="T1"/>
                    </a:cxn>
                    <a:cxn ang="0">
                      <a:pos x="T2" y="T3"/>
                    </a:cxn>
                    <a:cxn ang="0">
                      <a:pos x="T4" y="T5"/>
                    </a:cxn>
                    <a:cxn ang="0">
                      <a:pos x="T6" y="T7"/>
                    </a:cxn>
                    <a:cxn ang="0">
                      <a:pos x="T8" y="T9"/>
                    </a:cxn>
                    <a:cxn ang="0">
                      <a:pos x="T10" y="T11"/>
                    </a:cxn>
                    <a:cxn ang="0">
                      <a:pos x="T12" y="T13"/>
                    </a:cxn>
                  </a:cxnLst>
                  <a:rect l="0" t="0" r="r" b="b"/>
                  <a:pathLst>
                    <a:path w="904" h="468">
                      <a:moveTo>
                        <a:pt x="55" y="468"/>
                      </a:moveTo>
                      <a:cubicBezTo>
                        <a:pt x="11" y="468"/>
                        <a:pt x="0" y="442"/>
                        <a:pt x="30" y="411"/>
                      </a:cubicBezTo>
                      <a:cubicBezTo>
                        <a:pt x="396" y="32"/>
                        <a:pt x="396" y="32"/>
                        <a:pt x="396" y="32"/>
                      </a:cubicBezTo>
                      <a:cubicBezTo>
                        <a:pt x="427" y="0"/>
                        <a:pt x="477" y="0"/>
                        <a:pt x="507" y="32"/>
                      </a:cubicBezTo>
                      <a:cubicBezTo>
                        <a:pt x="873" y="411"/>
                        <a:pt x="873" y="411"/>
                        <a:pt x="873" y="411"/>
                      </a:cubicBezTo>
                      <a:cubicBezTo>
                        <a:pt x="904" y="442"/>
                        <a:pt x="893" y="468"/>
                        <a:pt x="849" y="468"/>
                      </a:cubicBezTo>
                      <a:lnTo>
                        <a:pt x="55" y="468"/>
                      </a:lnTo>
                      <a:close/>
                    </a:path>
                  </a:pathLst>
                </a:custGeom>
                <a:solidFill>
                  <a:schemeClr val="accent1"/>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sp>
              <p:nvSpPr>
                <p:cNvPr id="37" name="Freeform 10">
                  <a:extLst>
                    <a:ext uri="{FF2B5EF4-FFF2-40B4-BE49-F238E27FC236}">
                      <a16:creationId xmlns:a16="http://schemas.microsoft.com/office/drawing/2014/main" id="{45399E1A-A8D3-A7B4-0AAA-293322A6C76F}"/>
                    </a:ext>
                  </a:extLst>
                </p:cNvPr>
                <p:cNvSpPr>
                  <a:spLocks/>
                </p:cNvSpPr>
                <p:nvPr/>
              </p:nvSpPr>
              <p:spPr bwMode="auto">
                <a:xfrm>
                  <a:off x="6230938" y="2843213"/>
                  <a:ext cx="2149475" cy="1825625"/>
                </a:xfrm>
                <a:custGeom>
                  <a:avLst/>
                  <a:gdLst>
                    <a:gd name="T0" fmla="*/ 978 w 1696"/>
                    <a:gd name="T1" fmla="*/ 231 h 1440"/>
                    <a:gd name="T2" fmla="*/ 1232 w 1696"/>
                    <a:gd name="T3" fmla="*/ 592 h 1440"/>
                    <a:gd name="T4" fmla="*/ 848 w 1696"/>
                    <a:gd name="T5" fmla="*/ 976 h 1440"/>
                    <a:gd name="T6" fmla="*/ 464 w 1696"/>
                    <a:gd name="T7" fmla="*/ 592 h 1440"/>
                    <a:gd name="T8" fmla="*/ 487 w 1696"/>
                    <a:gd name="T9" fmla="*/ 462 h 1440"/>
                    <a:gd name="T10" fmla="*/ 10 w 1696"/>
                    <a:gd name="T11" fmla="*/ 462 h 1440"/>
                    <a:gd name="T12" fmla="*/ 0 w 1696"/>
                    <a:gd name="T13" fmla="*/ 592 h 1440"/>
                    <a:gd name="T14" fmla="*/ 848 w 1696"/>
                    <a:gd name="T15" fmla="*/ 1440 h 1440"/>
                    <a:gd name="T16" fmla="*/ 1696 w 1696"/>
                    <a:gd name="T17" fmla="*/ 592 h 1440"/>
                    <a:gd name="T18" fmla="*/ 1455 w 1696"/>
                    <a:gd name="T19" fmla="*/ 0 h 1440"/>
                    <a:gd name="T20" fmla="*/ 978 w 1696"/>
                    <a:gd name="T21" fmla="*/ 23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6" h="1440">
                      <a:moveTo>
                        <a:pt x="978" y="231"/>
                      </a:moveTo>
                      <a:cubicBezTo>
                        <a:pt x="1126" y="284"/>
                        <a:pt x="1232" y="426"/>
                        <a:pt x="1232" y="592"/>
                      </a:cubicBezTo>
                      <a:cubicBezTo>
                        <a:pt x="1232" y="804"/>
                        <a:pt x="1060" y="976"/>
                        <a:pt x="848" y="976"/>
                      </a:cubicBezTo>
                      <a:cubicBezTo>
                        <a:pt x="636" y="976"/>
                        <a:pt x="464" y="804"/>
                        <a:pt x="464" y="592"/>
                      </a:cubicBezTo>
                      <a:cubicBezTo>
                        <a:pt x="464" y="546"/>
                        <a:pt x="472" y="503"/>
                        <a:pt x="487" y="462"/>
                      </a:cubicBezTo>
                      <a:cubicBezTo>
                        <a:pt x="10" y="462"/>
                        <a:pt x="10" y="462"/>
                        <a:pt x="10" y="462"/>
                      </a:cubicBezTo>
                      <a:cubicBezTo>
                        <a:pt x="3" y="504"/>
                        <a:pt x="0" y="548"/>
                        <a:pt x="0" y="592"/>
                      </a:cubicBezTo>
                      <a:cubicBezTo>
                        <a:pt x="0" y="1060"/>
                        <a:pt x="380" y="1440"/>
                        <a:pt x="848" y="1440"/>
                      </a:cubicBezTo>
                      <a:cubicBezTo>
                        <a:pt x="1316" y="1440"/>
                        <a:pt x="1696" y="1060"/>
                        <a:pt x="1696" y="592"/>
                      </a:cubicBezTo>
                      <a:cubicBezTo>
                        <a:pt x="1696" y="362"/>
                        <a:pt x="1604" y="153"/>
                        <a:pt x="1455" y="0"/>
                      </a:cubicBezTo>
                      <a:cubicBezTo>
                        <a:pt x="1322" y="125"/>
                        <a:pt x="1156" y="205"/>
                        <a:pt x="978" y="231"/>
                      </a:cubicBezTo>
                      <a:close/>
                    </a:path>
                  </a:pathLst>
                </a:custGeom>
                <a:solidFill>
                  <a:schemeClr val="accent1"/>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237A90DA-9AAB-E519-D3F6-FD7626D091F7}"/>
                  </a:ext>
                </a:extLst>
              </p:cNvPr>
              <p:cNvGrpSpPr/>
              <p:nvPr/>
            </p:nvGrpSpPr>
            <p:grpSpPr>
              <a:xfrm>
                <a:off x="9794990" y="3385602"/>
                <a:ext cx="2886287" cy="3885193"/>
                <a:chOff x="6554788" y="946151"/>
                <a:chExt cx="1825625" cy="2457450"/>
              </a:xfrm>
              <a:grpFill/>
            </p:grpSpPr>
            <p:sp>
              <p:nvSpPr>
                <p:cNvPr id="34" name="Freeform 7">
                  <a:extLst>
                    <a:ext uri="{FF2B5EF4-FFF2-40B4-BE49-F238E27FC236}">
                      <a16:creationId xmlns:a16="http://schemas.microsoft.com/office/drawing/2014/main" id="{33835CF0-E98A-1815-8E4E-694F769B0C95}"/>
                    </a:ext>
                  </a:extLst>
                </p:cNvPr>
                <p:cNvSpPr>
                  <a:spLocks/>
                </p:cNvSpPr>
                <p:nvPr/>
              </p:nvSpPr>
              <p:spPr bwMode="auto">
                <a:xfrm>
                  <a:off x="6691313" y="2257426"/>
                  <a:ext cx="593725" cy="1146175"/>
                </a:xfrm>
                <a:custGeom>
                  <a:avLst/>
                  <a:gdLst>
                    <a:gd name="T0" fmla="*/ 468 w 468"/>
                    <a:gd name="T1" fmla="*/ 849 h 904"/>
                    <a:gd name="T2" fmla="*/ 410 w 468"/>
                    <a:gd name="T3" fmla="*/ 874 h 904"/>
                    <a:gd name="T4" fmla="*/ 32 w 468"/>
                    <a:gd name="T5" fmla="*/ 508 h 904"/>
                    <a:gd name="T6" fmla="*/ 32 w 468"/>
                    <a:gd name="T7" fmla="*/ 397 h 904"/>
                    <a:gd name="T8" fmla="*/ 410 w 468"/>
                    <a:gd name="T9" fmla="*/ 30 h 904"/>
                    <a:gd name="T10" fmla="*/ 468 w 468"/>
                    <a:gd name="T11" fmla="*/ 55 h 904"/>
                    <a:gd name="T12" fmla="*/ 468 w 468"/>
                    <a:gd name="T13" fmla="*/ 849 h 904"/>
                  </a:gdLst>
                  <a:ahLst/>
                  <a:cxnLst>
                    <a:cxn ang="0">
                      <a:pos x="T0" y="T1"/>
                    </a:cxn>
                    <a:cxn ang="0">
                      <a:pos x="T2" y="T3"/>
                    </a:cxn>
                    <a:cxn ang="0">
                      <a:pos x="T4" y="T5"/>
                    </a:cxn>
                    <a:cxn ang="0">
                      <a:pos x="T6" y="T7"/>
                    </a:cxn>
                    <a:cxn ang="0">
                      <a:pos x="T8" y="T9"/>
                    </a:cxn>
                    <a:cxn ang="0">
                      <a:pos x="T10" y="T11"/>
                    </a:cxn>
                    <a:cxn ang="0">
                      <a:pos x="T12" y="T13"/>
                    </a:cxn>
                  </a:cxnLst>
                  <a:rect l="0" t="0" r="r" b="b"/>
                  <a:pathLst>
                    <a:path w="468" h="904">
                      <a:moveTo>
                        <a:pt x="468" y="849"/>
                      </a:moveTo>
                      <a:cubicBezTo>
                        <a:pt x="468" y="893"/>
                        <a:pt x="442" y="904"/>
                        <a:pt x="410" y="874"/>
                      </a:cubicBezTo>
                      <a:cubicBezTo>
                        <a:pt x="32" y="508"/>
                        <a:pt x="32" y="508"/>
                        <a:pt x="32" y="508"/>
                      </a:cubicBezTo>
                      <a:cubicBezTo>
                        <a:pt x="0" y="477"/>
                        <a:pt x="0" y="427"/>
                        <a:pt x="32" y="397"/>
                      </a:cubicBezTo>
                      <a:cubicBezTo>
                        <a:pt x="410" y="30"/>
                        <a:pt x="410" y="30"/>
                        <a:pt x="410" y="30"/>
                      </a:cubicBezTo>
                      <a:cubicBezTo>
                        <a:pt x="442" y="0"/>
                        <a:pt x="468" y="11"/>
                        <a:pt x="468" y="55"/>
                      </a:cubicBezTo>
                      <a:lnTo>
                        <a:pt x="468" y="849"/>
                      </a:lnTo>
                      <a:close/>
                    </a:path>
                  </a:pathLst>
                </a:custGeom>
                <a:solidFill>
                  <a:schemeClr val="accent2"/>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sp>
              <p:nvSpPr>
                <p:cNvPr id="35" name="Freeform 8">
                  <a:extLst>
                    <a:ext uri="{FF2B5EF4-FFF2-40B4-BE49-F238E27FC236}">
                      <a16:creationId xmlns:a16="http://schemas.microsoft.com/office/drawing/2014/main" id="{CA37D953-6435-D265-F723-E1E5C0BEA94E}"/>
                    </a:ext>
                  </a:extLst>
                </p:cNvPr>
                <p:cNvSpPr>
                  <a:spLocks/>
                </p:cNvSpPr>
                <p:nvPr/>
              </p:nvSpPr>
              <p:spPr bwMode="auto">
                <a:xfrm>
                  <a:off x="6554788" y="946151"/>
                  <a:ext cx="1825625" cy="2151063"/>
                </a:xfrm>
                <a:custGeom>
                  <a:avLst/>
                  <a:gdLst>
                    <a:gd name="T0" fmla="*/ 592 w 1440"/>
                    <a:gd name="T1" fmla="*/ 0 h 1696"/>
                    <a:gd name="T2" fmla="*/ 0 w 1440"/>
                    <a:gd name="T3" fmla="*/ 241 h 1696"/>
                    <a:gd name="T4" fmla="*/ 231 w 1440"/>
                    <a:gd name="T5" fmla="*/ 718 h 1696"/>
                    <a:gd name="T6" fmla="*/ 592 w 1440"/>
                    <a:gd name="T7" fmla="*/ 464 h 1696"/>
                    <a:gd name="T8" fmla="*/ 976 w 1440"/>
                    <a:gd name="T9" fmla="*/ 848 h 1696"/>
                    <a:gd name="T10" fmla="*/ 592 w 1440"/>
                    <a:gd name="T11" fmla="*/ 1232 h 1696"/>
                    <a:gd name="T12" fmla="*/ 452 w 1440"/>
                    <a:gd name="T13" fmla="*/ 1206 h 1696"/>
                    <a:gd name="T14" fmla="*/ 452 w 1440"/>
                    <a:gd name="T15" fmla="*/ 1300 h 1696"/>
                    <a:gd name="T16" fmla="*/ 389 w 1440"/>
                    <a:gd name="T17" fmla="*/ 1300 h 1696"/>
                    <a:gd name="T18" fmla="*/ 389 w 1440"/>
                    <a:gd name="T19" fmla="*/ 1671 h 1696"/>
                    <a:gd name="T20" fmla="*/ 592 w 1440"/>
                    <a:gd name="T21" fmla="*/ 1696 h 1696"/>
                    <a:gd name="T22" fmla="*/ 1440 w 1440"/>
                    <a:gd name="T23" fmla="*/ 848 h 1696"/>
                    <a:gd name="T24" fmla="*/ 592 w 1440"/>
                    <a:gd name="T25" fmla="*/ 0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0" h="1696">
                      <a:moveTo>
                        <a:pt x="592" y="0"/>
                      </a:moveTo>
                      <a:cubicBezTo>
                        <a:pt x="362" y="0"/>
                        <a:pt x="153" y="92"/>
                        <a:pt x="0" y="241"/>
                      </a:cubicBezTo>
                      <a:cubicBezTo>
                        <a:pt x="125" y="374"/>
                        <a:pt x="205" y="540"/>
                        <a:pt x="231" y="718"/>
                      </a:cubicBezTo>
                      <a:cubicBezTo>
                        <a:pt x="284" y="570"/>
                        <a:pt x="426" y="464"/>
                        <a:pt x="592" y="464"/>
                      </a:cubicBezTo>
                      <a:cubicBezTo>
                        <a:pt x="804" y="464"/>
                        <a:pt x="976" y="636"/>
                        <a:pt x="976" y="848"/>
                      </a:cubicBezTo>
                      <a:cubicBezTo>
                        <a:pt x="976" y="1060"/>
                        <a:pt x="804" y="1232"/>
                        <a:pt x="592" y="1232"/>
                      </a:cubicBezTo>
                      <a:cubicBezTo>
                        <a:pt x="543" y="1232"/>
                        <a:pt x="495" y="1223"/>
                        <a:pt x="452" y="1206"/>
                      </a:cubicBezTo>
                      <a:cubicBezTo>
                        <a:pt x="452" y="1300"/>
                        <a:pt x="452" y="1300"/>
                        <a:pt x="452" y="1300"/>
                      </a:cubicBezTo>
                      <a:cubicBezTo>
                        <a:pt x="389" y="1300"/>
                        <a:pt x="389" y="1300"/>
                        <a:pt x="389" y="1300"/>
                      </a:cubicBezTo>
                      <a:cubicBezTo>
                        <a:pt x="389" y="1671"/>
                        <a:pt x="389" y="1671"/>
                        <a:pt x="389" y="1671"/>
                      </a:cubicBezTo>
                      <a:cubicBezTo>
                        <a:pt x="454" y="1687"/>
                        <a:pt x="522" y="1696"/>
                        <a:pt x="592" y="1696"/>
                      </a:cubicBezTo>
                      <a:cubicBezTo>
                        <a:pt x="1060" y="1696"/>
                        <a:pt x="1440" y="1316"/>
                        <a:pt x="1440" y="848"/>
                      </a:cubicBezTo>
                      <a:cubicBezTo>
                        <a:pt x="1440" y="380"/>
                        <a:pt x="1060" y="0"/>
                        <a:pt x="592" y="0"/>
                      </a:cubicBezTo>
                      <a:close/>
                    </a:path>
                  </a:pathLst>
                </a:custGeom>
                <a:solidFill>
                  <a:schemeClr val="accent2"/>
                </a:solidFill>
                <a:ln>
                  <a:noFill/>
                </a:ln>
              </p:spPr>
              <p:txBody>
                <a:bodyPr vert="horz" wrap="square" lIns="121731" tIns="60866" rIns="121731" bIns="60866" numCol="1" anchor="t" anchorCtr="0" compatLnSpc="1">
                  <a:prstTxWarp prst="textNoShape">
                    <a:avLst/>
                  </a:prstTxWarp>
                </a:bodyPr>
                <a:lstStyle/>
                <a:p>
                  <a:endParaRPr lang="en-US" sz="2400" dirty="0">
                    <a:latin typeface="Arial" panose="020B0604020202020204" pitchFamily="34" charset="0"/>
                    <a:ea typeface="Lato" panose="020F0502020204030203" pitchFamily="34" charset="0"/>
                    <a:cs typeface="Arial" panose="020B0604020202020204" pitchFamily="34" charset="0"/>
                  </a:endParaRPr>
                </a:p>
              </p:txBody>
            </p:sp>
          </p:grpSp>
        </p:grpSp>
        <p:sp>
          <p:nvSpPr>
            <p:cNvPr id="13" name="Oval 12">
              <a:extLst>
                <a:ext uri="{FF2B5EF4-FFF2-40B4-BE49-F238E27FC236}">
                  <a16:creationId xmlns:a16="http://schemas.microsoft.com/office/drawing/2014/main" id="{C7E22117-C619-DDBC-4D16-2E90E59E6DF0}"/>
                </a:ext>
              </a:extLst>
            </p:cNvPr>
            <p:cNvSpPr/>
            <p:nvPr/>
          </p:nvSpPr>
          <p:spPr>
            <a:xfrm>
              <a:off x="12565252" y="2583726"/>
              <a:ext cx="1260000" cy="1260000"/>
            </a:xfrm>
            <a:prstGeom prst="ellipse">
              <a:avLst/>
            </a:prstGeom>
            <a:solidFill>
              <a:schemeClr val="accent2"/>
            </a:solidFill>
            <a:ln w="12700" cap="flat">
              <a:noFill/>
              <a:prstDash val="solid"/>
              <a:miter/>
            </a:ln>
          </p:spPr>
          <p:txBody>
            <a:bodyPr vert="horz" lIns="36000" tIns="36000" rIns="36000" bIns="36000" rtlCol="0" anchor="ctr"/>
            <a:lstStyle/>
            <a:p>
              <a:pPr algn="ctr"/>
              <a:r>
                <a:rPr lang="en-US" sz="3600" b="1" dirty="0">
                  <a:solidFill>
                    <a:schemeClr val="bg1"/>
                  </a:solidFill>
                  <a:latin typeface="Arial" panose="020B0604020202020204" pitchFamily="34" charset="0"/>
                  <a:cs typeface="Arial" panose="020B0604020202020204" pitchFamily="34" charset="0"/>
                </a:rPr>
                <a:t>02</a:t>
              </a:r>
            </a:p>
          </p:txBody>
        </p:sp>
        <p:sp>
          <p:nvSpPr>
            <p:cNvPr id="20" name="Oval 19">
              <a:extLst>
                <a:ext uri="{FF2B5EF4-FFF2-40B4-BE49-F238E27FC236}">
                  <a16:creationId xmlns:a16="http://schemas.microsoft.com/office/drawing/2014/main" id="{28332092-196C-6B18-4A55-DAD058EAA54B}"/>
                </a:ext>
              </a:extLst>
            </p:cNvPr>
            <p:cNvSpPr/>
            <p:nvPr/>
          </p:nvSpPr>
          <p:spPr>
            <a:xfrm>
              <a:off x="12565252" y="5490943"/>
              <a:ext cx="1260000" cy="1260000"/>
            </a:xfrm>
            <a:prstGeom prst="ellipse">
              <a:avLst/>
            </a:prstGeom>
            <a:solidFill>
              <a:schemeClr val="accent1"/>
            </a:solidFill>
            <a:ln w="12700" cap="flat">
              <a:noFill/>
              <a:prstDash val="solid"/>
              <a:miter/>
            </a:ln>
          </p:spPr>
          <p:txBody>
            <a:bodyPr vert="horz" lIns="36000" tIns="36000" rIns="36000" bIns="36000" rtlCol="0" anchor="ctr"/>
            <a:lstStyle/>
            <a:p>
              <a:pPr algn="ctr"/>
              <a:r>
                <a:rPr lang="en-US" sz="3600" b="1" dirty="0">
                  <a:solidFill>
                    <a:schemeClr val="bg1"/>
                  </a:solidFill>
                  <a:latin typeface="Arial" panose="020B0604020202020204" pitchFamily="34" charset="0"/>
                  <a:cs typeface="Arial" panose="020B0604020202020204" pitchFamily="34" charset="0"/>
                </a:rPr>
                <a:t>04</a:t>
              </a:r>
            </a:p>
          </p:txBody>
        </p:sp>
        <p:sp>
          <p:nvSpPr>
            <p:cNvPr id="23" name="Oval 22">
              <a:extLst>
                <a:ext uri="{FF2B5EF4-FFF2-40B4-BE49-F238E27FC236}">
                  <a16:creationId xmlns:a16="http://schemas.microsoft.com/office/drawing/2014/main" id="{06B2334D-52D5-29A6-D6A9-CC15444E4E52}"/>
                </a:ext>
              </a:extLst>
            </p:cNvPr>
            <p:cNvSpPr/>
            <p:nvPr/>
          </p:nvSpPr>
          <p:spPr>
            <a:xfrm>
              <a:off x="4462749" y="2583726"/>
              <a:ext cx="1260000" cy="1260000"/>
            </a:xfrm>
            <a:prstGeom prst="ellipse">
              <a:avLst/>
            </a:prstGeom>
            <a:solidFill>
              <a:schemeClr val="accent1"/>
            </a:solidFill>
            <a:ln w="12700" cap="flat">
              <a:noFill/>
              <a:prstDash val="solid"/>
              <a:miter/>
            </a:ln>
          </p:spPr>
          <p:txBody>
            <a:bodyPr vert="horz" lIns="36000" tIns="36000" rIns="36000" bIns="36000" rtlCol="0" anchor="ctr"/>
            <a:lstStyle/>
            <a:p>
              <a:pPr algn="ctr"/>
              <a:r>
                <a:rPr lang="en-US" sz="3600" b="1" dirty="0">
                  <a:solidFill>
                    <a:schemeClr val="bg1"/>
                  </a:solidFill>
                  <a:latin typeface="Arial" panose="020B0604020202020204" pitchFamily="34" charset="0"/>
                  <a:cs typeface="Arial" panose="020B0604020202020204" pitchFamily="34" charset="0"/>
                </a:rPr>
                <a:t>01</a:t>
              </a:r>
            </a:p>
          </p:txBody>
        </p:sp>
        <p:sp>
          <p:nvSpPr>
            <p:cNvPr id="26" name="Oval 25">
              <a:extLst>
                <a:ext uri="{FF2B5EF4-FFF2-40B4-BE49-F238E27FC236}">
                  <a16:creationId xmlns:a16="http://schemas.microsoft.com/office/drawing/2014/main" id="{594ADAA5-436E-1F5D-9FC1-8C16290A6541}"/>
                </a:ext>
              </a:extLst>
            </p:cNvPr>
            <p:cNvSpPr/>
            <p:nvPr/>
          </p:nvSpPr>
          <p:spPr>
            <a:xfrm>
              <a:off x="4462749" y="5491039"/>
              <a:ext cx="1260000" cy="1260000"/>
            </a:xfrm>
            <a:prstGeom prst="ellipse">
              <a:avLst/>
            </a:prstGeom>
            <a:solidFill>
              <a:schemeClr val="accent2"/>
            </a:solidFill>
            <a:ln w="12700" cap="flat">
              <a:noFill/>
              <a:prstDash val="solid"/>
              <a:miter/>
            </a:ln>
          </p:spPr>
          <p:txBody>
            <a:bodyPr vert="horz" lIns="36000" tIns="36000" rIns="36000" bIns="36000" rtlCol="0" anchor="ctr"/>
            <a:lstStyle/>
            <a:p>
              <a:pPr algn="ctr"/>
              <a:r>
                <a:rPr lang="en-US" sz="3600" b="1" dirty="0">
                  <a:solidFill>
                    <a:schemeClr val="bg1"/>
                  </a:solidFill>
                  <a:latin typeface="Arial" panose="020B0604020202020204" pitchFamily="34" charset="0"/>
                  <a:cs typeface="Arial" panose="020B0604020202020204" pitchFamily="34" charset="0"/>
                </a:rPr>
                <a:t>03</a:t>
              </a:r>
            </a:p>
          </p:txBody>
        </p:sp>
        <p:sp>
          <p:nvSpPr>
            <p:cNvPr id="42" name="TextBox 12">
              <a:extLst>
                <a:ext uri="{FF2B5EF4-FFF2-40B4-BE49-F238E27FC236}">
                  <a16:creationId xmlns:a16="http://schemas.microsoft.com/office/drawing/2014/main" id="{3313B3A9-1C25-DE4D-DD87-41F4AD8B2BC1}"/>
                </a:ext>
              </a:extLst>
            </p:cNvPr>
            <p:cNvSpPr txBox="1"/>
            <p:nvPr/>
          </p:nvSpPr>
          <p:spPr>
            <a:xfrm>
              <a:off x="714375" y="3057225"/>
              <a:ext cx="3359608" cy="1615827"/>
            </a:xfrm>
            <a:prstGeom prst="rect">
              <a:avLst/>
            </a:prstGeom>
          </p:spPr>
          <p:txBody>
            <a:bodyPr wrap="square" lIns="0" tIns="0" rIns="0" bIns="0" rtlCol="0" anchor="t">
              <a:spAutoFit/>
            </a:bodyPr>
            <a:lstStyle/>
            <a:p>
              <a:pPr>
                <a:spcBef>
                  <a:spcPts val="300"/>
                </a:spcBef>
                <a:spcAft>
                  <a:spcPts val="300"/>
                </a:spcAft>
              </a:pPr>
              <a:r>
                <a:rPr lang="en-US" sz="20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0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44" name="TextBox 12">
              <a:extLst>
                <a:ext uri="{FF2B5EF4-FFF2-40B4-BE49-F238E27FC236}">
                  <a16:creationId xmlns:a16="http://schemas.microsoft.com/office/drawing/2014/main" id="{350155C9-388D-1B5B-DE69-805A29CB9BAE}"/>
                </a:ext>
              </a:extLst>
            </p:cNvPr>
            <p:cNvSpPr txBox="1"/>
            <p:nvPr/>
          </p:nvSpPr>
          <p:spPr>
            <a:xfrm>
              <a:off x="14214017" y="3057225"/>
              <a:ext cx="3359608" cy="1615827"/>
            </a:xfrm>
            <a:prstGeom prst="rect">
              <a:avLst/>
            </a:prstGeom>
          </p:spPr>
          <p:txBody>
            <a:bodyPr wrap="square" lIns="0" tIns="0" rIns="0" bIns="0" rtlCol="0" anchor="t">
              <a:spAutoFit/>
            </a:bodyPr>
            <a:lstStyle/>
            <a:p>
              <a:pPr>
                <a:spcBef>
                  <a:spcPts val="300"/>
                </a:spcBef>
                <a:spcAft>
                  <a:spcPts val="300"/>
                </a:spcAft>
              </a:pPr>
              <a:r>
                <a:rPr lang="en-US" sz="20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0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45" name="TextBox 12">
              <a:extLst>
                <a:ext uri="{FF2B5EF4-FFF2-40B4-BE49-F238E27FC236}">
                  <a16:creationId xmlns:a16="http://schemas.microsoft.com/office/drawing/2014/main" id="{E29E3EFC-64E5-147D-221C-4CE4D7D03A7A}"/>
                </a:ext>
              </a:extLst>
            </p:cNvPr>
            <p:cNvSpPr txBox="1"/>
            <p:nvPr/>
          </p:nvSpPr>
          <p:spPr>
            <a:xfrm>
              <a:off x="714375" y="5964442"/>
              <a:ext cx="3359608" cy="1615827"/>
            </a:xfrm>
            <a:prstGeom prst="rect">
              <a:avLst/>
            </a:prstGeom>
          </p:spPr>
          <p:txBody>
            <a:bodyPr wrap="square" lIns="0" tIns="0" rIns="0" bIns="0" rtlCol="0" anchor="t">
              <a:spAutoFit/>
            </a:bodyPr>
            <a:lstStyle/>
            <a:p>
              <a:pPr>
                <a:spcBef>
                  <a:spcPts val="300"/>
                </a:spcBef>
                <a:spcAft>
                  <a:spcPts val="300"/>
                </a:spcAft>
              </a:pPr>
              <a:r>
                <a:rPr lang="en-US" sz="20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0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46" name="TextBox 12">
              <a:extLst>
                <a:ext uri="{FF2B5EF4-FFF2-40B4-BE49-F238E27FC236}">
                  <a16:creationId xmlns:a16="http://schemas.microsoft.com/office/drawing/2014/main" id="{0E7D0852-9058-E362-B0DC-8BA9B83F14DD}"/>
                </a:ext>
              </a:extLst>
            </p:cNvPr>
            <p:cNvSpPr txBox="1"/>
            <p:nvPr/>
          </p:nvSpPr>
          <p:spPr>
            <a:xfrm>
              <a:off x="14214017" y="5964442"/>
              <a:ext cx="3359608" cy="1615827"/>
            </a:xfrm>
            <a:prstGeom prst="rect">
              <a:avLst/>
            </a:prstGeom>
          </p:spPr>
          <p:txBody>
            <a:bodyPr wrap="square" lIns="0" tIns="0" rIns="0" bIns="0" rtlCol="0" anchor="t">
              <a:spAutoFit/>
            </a:bodyPr>
            <a:lstStyle/>
            <a:p>
              <a:pPr>
                <a:spcBef>
                  <a:spcPts val="300"/>
                </a:spcBef>
                <a:spcAft>
                  <a:spcPts val="300"/>
                </a:spcAft>
              </a:pPr>
              <a:r>
                <a:rPr lang="en-US" sz="20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0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grpSp>
      <p:sp>
        <p:nvSpPr>
          <p:cNvPr id="4" name="Slide Number Placeholder 3">
            <a:extLst>
              <a:ext uri="{FF2B5EF4-FFF2-40B4-BE49-F238E27FC236}">
                <a16:creationId xmlns:a16="http://schemas.microsoft.com/office/drawing/2014/main" id="{FDA60F46-33C9-F0D5-7BE4-7C4EF42B363B}"/>
              </a:ext>
            </a:extLst>
          </p:cNvPr>
          <p:cNvSpPr>
            <a:spLocks noGrp="1"/>
          </p:cNvSpPr>
          <p:nvPr>
            <p:ph type="sldNum" sz="quarter" idx="12"/>
          </p:nvPr>
        </p:nvSpPr>
        <p:spPr/>
        <p:txBody>
          <a:bodyPr/>
          <a:lstStyle/>
          <a:p>
            <a:fld id="{E2D680B1-7F17-42D2-83E2-2C9AC13983BB}" type="slidenum">
              <a:rPr lang="en-US" smtClean="0"/>
              <a:t>78</a:t>
            </a:fld>
            <a:endParaRPr lang="en-US" dirty="0"/>
          </a:p>
        </p:txBody>
      </p:sp>
    </p:spTree>
    <p:extLst>
      <p:ext uri="{BB962C8B-B14F-4D97-AF65-F5344CB8AC3E}">
        <p14:creationId xmlns:p14="http://schemas.microsoft.com/office/powerpoint/2010/main" val="8268161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CE44A-D112-A355-9CDB-70207EEEC9DE}"/>
            </a:ext>
          </a:extLst>
        </p:cNvPr>
        <p:cNvGrpSpPr/>
        <p:nvPr/>
      </p:nvGrpSpPr>
      <p:grpSpPr>
        <a:xfrm>
          <a:off x="0" y="0"/>
          <a:ext cx="0" cy="0"/>
          <a:chOff x="0" y="0"/>
          <a:chExt cx="0" cy="0"/>
        </a:xfrm>
      </p:grpSpPr>
      <p:sp>
        <p:nvSpPr>
          <p:cNvPr id="43" name="Title 42">
            <a:extLst>
              <a:ext uri="{FF2B5EF4-FFF2-40B4-BE49-F238E27FC236}">
                <a16:creationId xmlns:a16="http://schemas.microsoft.com/office/drawing/2014/main" id="{38F56C0A-8998-B048-4203-8D6671B5FEF2}"/>
              </a:ext>
            </a:extLst>
          </p:cNvPr>
          <p:cNvSpPr>
            <a:spLocks noGrp="1"/>
          </p:cNvSpPr>
          <p:nvPr>
            <p:ph type="title"/>
          </p:nvPr>
        </p:nvSpPr>
        <p:spPr>
          <a:xfrm>
            <a:off x="714375" y="317500"/>
            <a:ext cx="16859250" cy="1266827"/>
          </a:xfrm>
        </p:spPr>
        <p:txBody>
          <a:bodyPr/>
          <a:lstStyle/>
          <a:p>
            <a:r>
              <a:rPr lang="en-US" dirty="0"/>
              <a:t>Timeline</a:t>
            </a:r>
          </a:p>
        </p:txBody>
      </p:sp>
      <p:grpSp>
        <p:nvGrpSpPr>
          <p:cNvPr id="9" name="Group 8">
            <a:extLst>
              <a:ext uri="{FF2B5EF4-FFF2-40B4-BE49-F238E27FC236}">
                <a16:creationId xmlns:a16="http://schemas.microsoft.com/office/drawing/2014/main" id="{49C9D092-3F81-1F72-6ACC-00D1AD97C173}"/>
              </a:ext>
            </a:extLst>
          </p:cNvPr>
          <p:cNvGrpSpPr>
            <a:grpSpLocks noChangeAspect="1"/>
          </p:cNvGrpSpPr>
          <p:nvPr/>
        </p:nvGrpSpPr>
        <p:grpSpPr>
          <a:xfrm>
            <a:off x="714375" y="2552700"/>
            <a:ext cx="16871950" cy="6131791"/>
            <a:chOff x="2168424" y="3665458"/>
            <a:chExt cx="14169171" cy="5149517"/>
          </a:xfrm>
        </p:grpSpPr>
        <p:sp>
          <p:nvSpPr>
            <p:cNvPr id="2" name="Freeform 10">
              <a:extLst>
                <a:ext uri="{FF2B5EF4-FFF2-40B4-BE49-F238E27FC236}">
                  <a16:creationId xmlns:a16="http://schemas.microsoft.com/office/drawing/2014/main" id="{E1DD9EEB-FE33-CDEA-1D8D-35F45C254CC7}"/>
                </a:ext>
              </a:extLst>
            </p:cNvPr>
            <p:cNvSpPr/>
            <p:nvPr/>
          </p:nvSpPr>
          <p:spPr>
            <a:xfrm>
              <a:off x="2243762" y="5707985"/>
              <a:ext cx="13800480" cy="688865"/>
            </a:xfrm>
            <a:custGeom>
              <a:avLst/>
              <a:gdLst>
                <a:gd name="connsiteX0" fmla="*/ 9987134 w 10241523"/>
                <a:gd name="connsiteY0" fmla="*/ 0 h 511216"/>
                <a:gd name="connsiteX1" fmla="*/ 10241523 w 10241523"/>
                <a:gd name="connsiteY1" fmla="*/ 254389 h 511216"/>
                <a:gd name="connsiteX2" fmla="*/ 9987134 w 10241523"/>
                <a:gd name="connsiteY2" fmla="*/ 508778 h 511216"/>
                <a:gd name="connsiteX3" fmla="*/ 9983882 w 10241523"/>
                <a:gd name="connsiteY3" fmla="*/ 505526 h 511216"/>
                <a:gd name="connsiteX4" fmla="*/ 8454230 w 10241523"/>
                <a:gd name="connsiteY4" fmla="*/ 505526 h 511216"/>
                <a:gd name="connsiteX5" fmla="*/ 8448540 w 10241523"/>
                <a:gd name="connsiteY5" fmla="*/ 511216 h 511216"/>
                <a:gd name="connsiteX6" fmla="*/ 8445288 w 10241523"/>
                <a:gd name="connsiteY6" fmla="*/ 507964 h 511216"/>
                <a:gd name="connsiteX7" fmla="*/ 0 w 10241523"/>
                <a:gd name="connsiteY7" fmla="*/ 507964 h 511216"/>
                <a:gd name="connsiteX8" fmla="*/ 0 w 10241523"/>
                <a:gd name="connsiteY8" fmla="*/ 495637 h 511216"/>
                <a:gd name="connsiteX9" fmla="*/ 238812 w 10241523"/>
                <a:gd name="connsiteY9" fmla="*/ 256826 h 511216"/>
                <a:gd name="connsiteX10" fmla="*/ 0 w 10241523"/>
                <a:gd name="connsiteY10" fmla="*/ 18015 h 511216"/>
                <a:gd name="connsiteX11" fmla="*/ 0 w 10241523"/>
                <a:gd name="connsiteY11" fmla="*/ 5688 h 511216"/>
                <a:gd name="connsiteX12" fmla="*/ 1538594 w 10241523"/>
                <a:gd name="connsiteY12" fmla="*/ 5688 h 511216"/>
                <a:gd name="connsiteX13" fmla="*/ 1538594 w 10241523"/>
                <a:gd name="connsiteY13" fmla="*/ 3250 h 511216"/>
                <a:gd name="connsiteX14" fmla="*/ 8447728 w 10241523"/>
                <a:gd name="connsiteY14" fmla="*/ 3250 h 511216"/>
                <a:gd name="connsiteX15" fmla="*/ 8448540 w 10241523"/>
                <a:gd name="connsiteY15" fmla="*/ 2438 h 511216"/>
                <a:gd name="connsiteX16" fmla="*/ 8449352 w 10241523"/>
                <a:gd name="connsiteY16" fmla="*/ 3250 h 511216"/>
                <a:gd name="connsiteX17" fmla="*/ 9983884 w 10241523"/>
                <a:gd name="connsiteY17" fmla="*/ 3250 h 51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1523" h="511216">
                  <a:moveTo>
                    <a:pt x="9987134" y="0"/>
                  </a:moveTo>
                  <a:lnTo>
                    <a:pt x="10241523" y="254389"/>
                  </a:lnTo>
                  <a:lnTo>
                    <a:pt x="9987134" y="508778"/>
                  </a:lnTo>
                  <a:lnTo>
                    <a:pt x="9983882" y="505526"/>
                  </a:lnTo>
                  <a:lnTo>
                    <a:pt x="8454230" y="505526"/>
                  </a:lnTo>
                  <a:lnTo>
                    <a:pt x="8448540" y="511216"/>
                  </a:lnTo>
                  <a:lnTo>
                    <a:pt x="8445288" y="507964"/>
                  </a:lnTo>
                  <a:lnTo>
                    <a:pt x="0" y="507964"/>
                  </a:lnTo>
                  <a:lnTo>
                    <a:pt x="0" y="495637"/>
                  </a:lnTo>
                  <a:lnTo>
                    <a:pt x="238812" y="256826"/>
                  </a:lnTo>
                  <a:lnTo>
                    <a:pt x="0" y="18015"/>
                  </a:lnTo>
                  <a:lnTo>
                    <a:pt x="0" y="5688"/>
                  </a:lnTo>
                  <a:lnTo>
                    <a:pt x="1538594" y="5688"/>
                  </a:lnTo>
                  <a:lnTo>
                    <a:pt x="1538594" y="3250"/>
                  </a:lnTo>
                  <a:lnTo>
                    <a:pt x="8447728" y="3250"/>
                  </a:lnTo>
                  <a:lnTo>
                    <a:pt x="8448540" y="2438"/>
                  </a:lnTo>
                  <a:lnTo>
                    <a:pt x="8449352" y="3250"/>
                  </a:lnTo>
                  <a:lnTo>
                    <a:pt x="9983884" y="32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solidFill>
                  <a:schemeClr val="tx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6E5A3479-1ED5-400C-E3B6-397A68ECA222}"/>
                </a:ext>
              </a:extLst>
            </p:cNvPr>
            <p:cNvSpPr/>
            <p:nvPr/>
          </p:nvSpPr>
          <p:spPr>
            <a:xfrm>
              <a:off x="5336090" y="5846308"/>
              <a:ext cx="1789464" cy="415499"/>
            </a:xfrm>
            <a:prstGeom prst="rect">
              <a:avLst/>
            </a:prstGeom>
          </p:spPr>
          <p:txBody>
            <a:bodyPr wrap="square" anchor="ctr">
              <a:noAutofit/>
            </a:bodyPr>
            <a:lstStyle/>
            <a:p>
              <a:pPr algn="ctr"/>
              <a:r>
                <a:rPr lang="en-US" b="1" dirty="0">
                  <a:solidFill>
                    <a:schemeClr val="bg1"/>
                  </a:solidFill>
                  <a:latin typeface="Arial" panose="020B0604020202020204" pitchFamily="34" charset="0"/>
                  <a:cs typeface="Arial" panose="020B0604020202020204" pitchFamily="34" charset="0"/>
                </a:rPr>
                <a:t>Title</a:t>
              </a:r>
              <a:endParaRPr lang="id-ID" b="1" dirty="0">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838A7091-D8EF-849D-2C05-1FCCAE530E03}"/>
                </a:ext>
              </a:extLst>
            </p:cNvPr>
            <p:cNvSpPr/>
            <p:nvPr/>
          </p:nvSpPr>
          <p:spPr>
            <a:xfrm>
              <a:off x="8072554" y="5846306"/>
              <a:ext cx="2030477" cy="415499"/>
            </a:xfrm>
            <a:prstGeom prst="rect">
              <a:avLst/>
            </a:prstGeom>
          </p:spPr>
          <p:txBody>
            <a:bodyPr wrap="square" anchor="ctr">
              <a:noAutofit/>
            </a:bodyPr>
            <a:lstStyle/>
            <a:p>
              <a:pPr algn="ctr"/>
              <a:r>
                <a:rPr lang="en-US" b="1" dirty="0">
                  <a:solidFill>
                    <a:schemeClr val="bg1"/>
                  </a:solidFill>
                  <a:latin typeface="Arial" panose="020B0604020202020204" pitchFamily="34" charset="0"/>
                  <a:cs typeface="Arial" panose="020B0604020202020204" pitchFamily="34" charset="0"/>
                </a:rPr>
                <a:t>Title</a:t>
              </a:r>
              <a:endParaRPr lang="id-ID" b="1"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E19489C-A7EB-5A3A-5173-AB9E207C3F7C}"/>
                </a:ext>
              </a:extLst>
            </p:cNvPr>
            <p:cNvSpPr/>
            <p:nvPr/>
          </p:nvSpPr>
          <p:spPr>
            <a:xfrm>
              <a:off x="11181867" y="5846306"/>
              <a:ext cx="1789464" cy="415499"/>
            </a:xfrm>
            <a:prstGeom prst="rect">
              <a:avLst/>
            </a:prstGeom>
          </p:spPr>
          <p:txBody>
            <a:bodyPr wrap="square" anchor="ctr">
              <a:noAutofit/>
            </a:bodyPr>
            <a:lstStyle/>
            <a:p>
              <a:pPr algn="ctr"/>
              <a:r>
                <a:rPr lang="en-US" b="1" dirty="0">
                  <a:solidFill>
                    <a:schemeClr val="bg1"/>
                  </a:solidFill>
                  <a:latin typeface="Arial" panose="020B0604020202020204" pitchFamily="34" charset="0"/>
                  <a:cs typeface="Arial" panose="020B0604020202020204" pitchFamily="34" charset="0"/>
                </a:rPr>
                <a:t>Title</a:t>
              </a:r>
              <a:endParaRPr lang="id-ID" b="1" dirty="0">
                <a:solidFill>
                  <a:schemeClr val="bg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1F3606DE-19F1-3294-C91D-807894ACB1DF}"/>
                </a:ext>
              </a:extLst>
            </p:cNvPr>
            <p:cNvSpPr/>
            <p:nvPr/>
          </p:nvSpPr>
          <p:spPr>
            <a:xfrm>
              <a:off x="2622956" y="5846308"/>
              <a:ext cx="1789464" cy="415499"/>
            </a:xfrm>
            <a:prstGeom prst="rect">
              <a:avLst/>
            </a:prstGeom>
          </p:spPr>
          <p:txBody>
            <a:bodyPr wrap="square" anchor="ctr">
              <a:noAutofit/>
            </a:bodyPr>
            <a:lstStyle/>
            <a:p>
              <a:pPr algn="ctr"/>
              <a:r>
                <a:rPr lang="en-US" b="1" dirty="0">
                  <a:solidFill>
                    <a:schemeClr val="bg1"/>
                  </a:solidFill>
                  <a:latin typeface="Arial" panose="020B0604020202020204" pitchFamily="34" charset="0"/>
                  <a:cs typeface="Arial" panose="020B0604020202020204" pitchFamily="34" charset="0"/>
                </a:rPr>
                <a:t>Title</a:t>
              </a:r>
              <a:endParaRPr lang="id-ID" b="1" dirty="0">
                <a:solidFill>
                  <a:schemeClr val="bg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B286910-97E5-7807-ADFB-D450410ECCC4}"/>
                </a:ext>
              </a:extLst>
            </p:cNvPr>
            <p:cNvSpPr/>
            <p:nvPr/>
          </p:nvSpPr>
          <p:spPr>
            <a:xfrm>
              <a:off x="13964426" y="5844505"/>
              <a:ext cx="1789464" cy="415499"/>
            </a:xfrm>
            <a:prstGeom prst="rect">
              <a:avLst/>
            </a:prstGeom>
          </p:spPr>
          <p:txBody>
            <a:bodyPr wrap="square" anchor="ctr">
              <a:noAutofit/>
            </a:bodyPr>
            <a:lstStyle/>
            <a:p>
              <a:pPr algn="ctr"/>
              <a:r>
                <a:rPr lang="en-US" b="1" dirty="0">
                  <a:solidFill>
                    <a:schemeClr val="bg1"/>
                  </a:solidFill>
                  <a:latin typeface="Arial" panose="020B0604020202020204" pitchFamily="34" charset="0"/>
                  <a:cs typeface="Arial" panose="020B0604020202020204" pitchFamily="34" charset="0"/>
                </a:rPr>
                <a:t>Title</a:t>
              </a:r>
              <a:endParaRPr lang="id-ID" b="1" dirty="0">
                <a:solidFill>
                  <a:schemeClr val="bg1"/>
                </a:solidFill>
                <a:latin typeface="Arial" panose="020B0604020202020204" pitchFamily="34" charset="0"/>
                <a:cs typeface="Arial" panose="020B0604020202020204" pitchFamily="34" charset="0"/>
              </a:endParaRPr>
            </a:p>
          </p:txBody>
        </p:sp>
        <p:cxnSp>
          <p:nvCxnSpPr>
            <p:cNvPr id="20" name="Straight Connector 19">
              <a:extLst>
                <a:ext uri="{FF2B5EF4-FFF2-40B4-BE49-F238E27FC236}">
                  <a16:creationId xmlns:a16="http://schemas.microsoft.com/office/drawing/2014/main" id="{3831E0AD-78AD-BE98-2D7E-CD53D2DB9BC6}"/>
                </a:ext>
              </a:extLst>
            </p:cNvPr>
            <p:cNvCxnSpPr/>
            <p:nvPr/>
          </p:nvCxnSpPr>
          <p:spPr>
            <a:xfrm flipH="1">
              <a:off x="3593206" y="6546734"/>
              <a:ext cx="2" cy="65682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26780BF-674A-3923-E850-8472923CECA5}"/>
                </a:ext>
              </a:extLst>
            </p:cNvPr>
            <p:cNvSpPr/>
            <p:nvPr/>
          </p:nvSpPr>
          <p:spPr>
            <a:xfrm>
              <a:off x="2168424" y="7568479"/>
              <a:ext cx="2771223" cy="1246496"/>
            </a:xfrm>
            <a:prstGeom prst="rect">
              <a:avLst/>
            </a:prstGeom>
          </p:spPr>
          <p:txBody>
            <a:bodyPr wrap="square" lIns="108000" tIns="108000" rIns="108000" bIns="108000">
              <a:noAutofit/>
            </a:bodyPr>
            <a:lstStyle/>
            <a:p>
              <a:pPr algn="ctr"/>
              <a:r>
                <a:rPr lang="id-ID" sz="2000" dirty="0">
                  <a:latin typeface="Arial" panose="020B0604020202020204" pitchFamily="34" charset="0"/>
                  <a:ea typeface="Open Sans Light" panose="020B0306030504020204" pitchFamily="34" charset="0"/>
                  <a:cs typeface="Arial" panose="020B0604020202020204" pitchFamily="34" charset="0"/>
                </a:rPr>
                <a:t>Lorem ipsum dolor sit amet, consectetur adipiscing elit. Sed do eiusmod tempor</a:t>
              </a:r>
              <a:endParaRPr lang="en-US" sz="2000" i="1" dirty="0">
                <a:latin typeface="Arial" panose="020B0604020202020204" pitchFamily="34" charset="0"/>
                <a:ea typeface="Open Sans Light" panose="020B0306030504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C29BF76D-3D6E-6FBF-9DB6-EED9101D14B4}"/>
                </a:ext>
              </a:extLst>
            </p:cNvPr>
            <p:cNvCxnSpPr/>
            <p:nvPr/>
          </p:nvCxnSpPr>
          <p:spPr>
            <a:xfrm flipH="1">
              <a:off x="9085261" y="6546734"/>
              <a:ext cx="2" cy="65682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30EFF28-ABEA-7E65-D5B3-AA0DDDBE4AAA}"/>
                </a:ext>
              </a:extLst>
            </p:cNvPr>
            <p:cNvCxnSpPr/>
            <p:nvPr/>
          </p:nvCxnSpPr>
          <p:spPr>
            <a:xfrm flipH="1">
              <a:off x="14879642" y="6546734"/>
              <a:ext cx="2" cy="65682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FF8DEC0-7ACE-F767-2671-EEECB7E1BDEC}"/>
                </a:ext>
              </a:extLst>
            </p:cNvPr>
            <p:cNvCxnSpPr/>
            <p:nvPr/>
          </p:nvCxnSpPr>
          <p:spPr>
            <a:xfrm rot="10800000" flipH="1">
              <a:off x="6184738" y="4899347"/>
              <a:ext cx="2" cy="65682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5334D08-C665-80A5-0706-AA049C9F7B3B}"/>
                </a:ext>
              </a:extLst>
            </p:cNvPr>
            <p:cNvCxnSpPr/>
            <p:nvPr/>
          </p:nvCxnSpPr>
          <p:spPr>
            <a:xfrm rot="10800000" flipH="1">
              <a:off x="12076814" y="4894271"/>
              <a:ext cx="2" cy="65682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6" name="Teardrop 25">
              <a:extLst>
                <a:ext uri="{FF2B5EF4-FFF2-40B4-BE49-F238E27FC236}">
                  <a16:creationId xmlns:a16="http://schemas.microsoft.com/office/drawing/2014/main" id="{D2ECA041-CD50-88F6-28B2-9BB0B8C06459}"/>
                </a:ext>
              </a:extLst>
            </p:cNvPr>
            <p:cNvSpPr/>
            <p:nvPr/>
          </p:nvSpPr>
          <p:spPr>
            <a:xfrm rot="8100000">
              <a:off x="3263518" y="4670719"/>
              <a:ext cx="659375" cy="659375"/>
            </a:xfrm>
            <a:prstGeom prst="teardrop">
              <a:avLst>
                <a:gd name="adj" fmla="val 924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bg1"/>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BEE605B0-37A8-F20A-646C-D0EAD973D2FF}"/>
                </a:ext>
              </a:extLst>
            </p:cNvPr>
            <p:cNvSpPr/>
            <p:nvPr/>
          </p:nvSpPr>
          <p:spPr>
            <a:xfrm>
              <a:off x="3146275" y="4760451"/>
              <a:ext cx="892979" cy="507831"/>
            </a:xfrm>
            <a:prstGeom prst="rect">
              <a:avLst/>
            </a:prstGeom>
          </p:spPr>
          <p:txBody>
            <a:bodyPr wrap="square" anchor="ctr">
              <a:noAutofit/>
            </a:bodyPr>
            <a:lstStyle/>
            <a:p>
              <a:pPr algn="ctr"/>
              <a:r>
                <a:rPr lang="id-ID" sz="2000" b="1" dirty="0">
                  <a:solidFill>
                    <a:schemeClr val="bg1"/>
                  </a:solidFill>
                  <a:latin typeface="Arial" panose="020B0604020202020204" pitchFamily="34" charset="0"/>
                  <a:ea typeface="Open Sans Extrabold" panose="020B0906030804020204" pitchFamily="34" charset="0"/>
                  <a:cs typeface="Arial" panose="020B0604020202020204" pitchFamily="34" charset="0"/>
                </a:rPr>
                <a:t>1</a:t>
              </a:r>
              <a:endParaRPr lang="en-US" sz="2000" b="1" i="1" dirty="0">
                <a:solidFill>
                  <a:schemeClr val="bg1"/>
                </a:solidFill>
                <a:latin typeface="Arial" panose="020B0604020202020204" pitchFamily="34" charset="0"/>
                <a:ea typeface="Open Sans Extrabold" panose="020B0906030804020204" pitchFamily="34" charset="0"/>
                <a:cs typeface="Arial" panose="020B0604020202020204" pitchFamily="34" charset="0"/>
              </a:endParaRPr>
            </a:p>
          </p:txBody>
        </p:sp>
        <p:sp>
          <p:nvSpPr>
            <p:cNvPr id="29" name="Teardrop 28">
              <a:extLst>
                <a:ext uri="{FF2B5EF4-FFF2-40B4-BE49-F238E27FC236}">
                  <a16:creationId xmlns:a16="http://schemas.microsoft.com/office/drawing/2014/main" id="{35C9061C-2DA3-1853-8F08-7921CA4FC2CC}"/>
                </a:ext>
              </a:extLst>
            </p:cNvPr>
            <p:cNvSpPr/>
            <p:nvPr/>
          </p:nvSpPr>
          <p:spPr>
            <a:xfrm rot="8100000">
              <a:off x="8755573" y="4667441"/>
              <a:ext cx="659375" cy="659375"/>
            </a:xfrm>
            <a:prstGeom prst="teardrop">
              <a:avLst>
                <a:gd name="adj" fmla="val 924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bg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29F59731-110E-7279-65CD-2D22B07F6EE7}"/>
                </a:ext>
              </a:extLst>
            </p:cNvPr>
            <p:cNvSpPr/>
            <p:nvPr/>
          </p:nvSpPr>
          <p:spPr>
            <a:xfrm>
              <a:off x="8638330" y="4757174"/>
              <a:ext cx="892979" cy="507831"/>
            </a:xfrm>
            <a:prstGeom prst="rect">
              <a:avLst/>
            </a:prstGeom>
          </p:spPr>
          <p:txBody>
            <a:bodyPr wrap="square" anchor="ctr">
              <a:noAutofit/>
            </a:bodyPr>
            <a:lstStyle/>
            <a:p>
              <a:pPr algn="ctr"/>
              <a:r>
                <a:rPr lang="id-ID" sz="2000" b="1" dirty="0">
                  <a:solidFill>
                    <a:schemeClr val="bg1"/>
                  </a:solidFill>
                  <a:latin typeface="Arial" panose="020B0604020202020204" pitchFamily="34" charset="0"/>
                  <a:ea typeface="Open Sans Extrabold" panose="020B0906030804020204" pitchFamily="34" charset="0"/>
                  <a:cs typeface="Arial" panose="020B0604020202020204" pitchFamily="34" charset="0"/>
                </a:rPr>
                <a:t>3</a:t>
              </a:r>
              <a:endParaRPr lang="en-US" sz="2000" b="1" i="1" dirty="0">
                <a:solidFill>
                  <a:schemeClr val="bg1"/>
                </a:solidFill>
                <a:latin typeface="Arial" panose="020B0604020202020204" pitchFamily="34" charset="0"/>
                <a:ea typeface="Open Sans Extrabold" panose="020B0906030804020204" pitchFamily="34" charset="0"/>
                <a:cs typeface="Arial" panose="020B0604020202020204" pitchFamily="34" charset="0"/>
              </a:endParaRPr>
            </a:p>
          </p:txBody>
        </p:sp>
        <p:sp>
          <p:nvSpPr>
            <p:cNvPr id="31" name="Teardrop 30">
              <a:extLst>
                <a:ext uri="{FF2B5EF4-FFF2-40B4-BE49-F238E27FC236}">
                  <a16:creationId xmlns:a16="http://schemas.microsoft.com/office/drawing/2014/main" id="{C30D814E-2D42-4966-CCE2-FA36B9CBEC0E}"/>
                </a:ext>
              </a:extLst>
            </p:cNvPr>
            <p:cNvSpPr/>
            <p:nvPr/>
          </p:nvSpPr>
          <p:spPr>
            <a:xfrm rot="8100000">
              <a:off x="14549953" y="4665530"/>
              <a:ext cx="659375" cy="659375"/>
            </a:xfrm>
            <a:prstGeom prst="teardrop">
              <a:avLst>
                <a:gd name="adj" fmla="val 924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bg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60C9C4CC-F96B-72CE-0420-9AF4F17DA91E}"/>
                </a:ext>
              </a:extLst>
            </p:cNvPr>
            <p:cNvSpPr/>
            <p:nvPr/>
          </p:nvSpPr>
          <p:spPr>
            <a:xfrm>
              <a:off x="14432710" y="4755263"/>
              <a:ext cx="892979" cy="507831"/>
            </a:xfrm>
            <a:prstGeom prst="rect">
              <a:avLst/>
            </a:prstGeom>
          </p:spPr>
          <p:txBody>
            <a:bodyPr wrap="square" anchor="ctr">
              <a:noAutofit/>
            </a:bodyPr>
            <a:lstStyle/>
            <a:p>
              <a:pPr algn="ctr"/>
              <a:r>
                <a:rPr lang="id-ID" sz="2000" b="1" dirty="0">
                  <a:solidFill>
                    <a:schemeClr val="bg1"/>
                  </a:solidFill>
                  <a:latin typeface="Arial" panose="020B0604020202020204" pitchFamily="34" charset="0"/>
                  <a:ea typeface="Open Sans Extrabold" panose="020B0906030804020204" pitchFamily="34" charset="0"/>
                  <a:cs typeface="Arial" panose="020B0604020202020204" pitchFamily="34" charset="0"/>
                </a:rPr>
                <a:t>5</a:t>
              </a:r>
              <a:endParaRPr lang="en-US" sz="2000" b="1" i="1" dirty="0">
                <a:solidFill>
                  <a:schemeClr val="bg1"/>
                </a:solidFill>
                <a:latin typeface="Arial" panose="020B0604020202020204" pitchFamily="34" charset="0"/>
                <a:ea typeface="Open Sans Extrabold" panose="020B0906030804020204" pitchFamily="34" charset="0"/>
                <a:cs typeface="Arial" panose="020B0604020202020204" pitchFamily="34" charset="0"/>
              </a:endParaRPr>
            </a:p>
          </p:txBody>
        </p:sp>
        <p:sp>
          <p:nvSpPr>
            <p:cNvPr id="33" name="Teardrop 32">
              <a:extLst>
                <a:ext uri="{FF2B5EF4-FFF2-40B4-BE49-F238E27FC236}">
                  <a16:creationId xmlns:a16="http://schemas.microsoft.com/office/drawing/2014/main" id="{355B8882-993E-BA2B-BA09-1C86B4FBB537}"/>
                </a:ext>
              </a:extLst>
            </p:cNvPr>
            <p:cNvSpPr/>
            <p:nvPr/>
          </p:nvSpPr>
          <p:spPr>
            <a:xfrm rot="18900000">
              <a:off x="11378477" y="6772543"/>
              <a:ext cx="659375" cy="659375"/>
            </a:xfrm>
            <a:prstGeom prst="teardrop">
              <a:avLst>
                <a:gd name="adj" fmla="val 924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bg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2C4675E-AA29-1B24-A457-6CA0039B67BC}"/>
                </a:ext>
              </a:extLst>
            </p:cNvPr>
            <p:cNvSpPr/>
            <p:nvPr/>
          </p:nvSpPr>
          <p:spPr>
            <a:xfrm rot="10800000" flipV="1">
              <a:off x="11242798" y="6834353"/>
              <a:ext cx="892979" cy="507831"/>
            </a:xfrm>
            <a:prstGeom prst="rect">
              <a:avLst/>
            </a:prstGeom>
          </p:spPr>
          <p:txBody>
            <a:bodyPr wrap="square" anchor="ctr">
              <a:noAutofit/>
            </a:bodyPr>
            <a:lstStyle/>
            <a:p>
              <a:pPr algn="ctr"/>
              <a:r>
                <a:rPr lang="id-ID" sz="2000" b="1" dirty="0">
                  <a:solidFill>
                    <a:schemeClr val="bg1"/>
                  </a:solidFill>
                  <a:latin typeface="Arial" panose="020B0604020202020204" pitchFamily="34" charset="0"/>
                  <a:ea typeface="Open Sans Extrabold" panose="020B0906030804020204" pitchFamily="34" charset="0"/>
                  <a:cs typeface="Arial" panose="020B0604020202020204" pitchFamily="34" charset="0"/>
                </a:rPr>
                <a:t>4</a:t>
              </a:r>
              <a:endParaRPr lang="en-US" sz="2000" b="1" i="1" dirty="0">
                <a:solidFill>
                  <a:schemeClr val="bg1"/>
                </a:solidFill>
                <a:latin typeface="Arial" panose="020B0604020202020204" pitchFamily="34" charset="0"/>
                <a:ea typeface="Open Sans Extrabold" panose="020B0906030804020204" pitchFamily="34" charset="0"/>
                <a:cs typeface="Arial" panose="020B0604020202020204" pitchFamily="34" charset="0"/>
              </a:endParaRPr>
            </a:p>
          </p:txBody>
        </p:sp>
        <p:sp>
          <p:nvSpPr>
            <p:cNvPr id="35" name="Teardrop 34">
              <a:extLst>
                <a:ext uri="{FF2B5EF4-FFF2-40B4-BE49-F238E27FC236}">
                  <a16:creationId xmlns:a16="http://schemas.microsoft.com/office/drawing/2014/main" id="{4B508F53-4089-AD67-C92D-1FFA56A4C8DE}"/>
                </a:ext>
              </a:extLst>
            </p:cNvPr>
            <p:cNvSpPr/>
            <p:nvPr/>
          </p:nvSpPr>
          <p:spPr>
            <a:xfrm rot="18900000">
              <a:off x="5886422" y="6775820"/>
              <a:ext cx="659375" cy="659375"/>
            </a:xfrm>
            <a:prstGeom prst="teardrop">
              <a:avLst>
                <a:gd name="adj" fmla="val 924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bg1"/>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37430036-E3A9-CA66-9CF5-B7EA4C0CFA34}"/>
                </a:ext>
              </a:extLst>
            </p:cNvPr>
            <p:cNvSpPr/>
            <p:nvPr/>
          </p:nvSpPr>
          <p:spPr>
            <a:xfrm rot="10800000" flipV="1">
              <a:off x="5770061" y="6837630"/>
              <a:ext cx="892979" cy="507831"/>
            </a:xfrm>
            <a:prstGeom prst="rect">
              <a:avLst/>
            </a:prstGeom>
          </p:spPr>
          <p:txBody>
            <a:bodyPr wrap="square" anchor="ctr">
              <a:noAutofit/>
            </a:bodyPr>
            <a:lstStyle/>
            <a:p>
              <a:pPr algn="ctr"/>
              <a:r>
                <a:rPr lang="id-ID" sz="2000" b="1" dirty="0">
                  <a:solidFill>
                    <a:schemeClr val="bg1"/>
                  </a:solidFill>
                  <a:latin typeface="Arial" panose="020B0604020202020204" pitchFamily="34" charset="0"/>
                  <a:ea typeface="Open Sans Extrabold" panose="020B0906030804020204" pitchFamily="34" charset="0"/>
                  <a:cs typeface="Arial" panose="020B0604020202020204" pitchFamily="34" charset="0"/>
                </a:rPr>
                <a:t>2</a:t>
              </a:r>
              <a:endParaRPr lang="en-US" sz="2000" b="1" i="1" dirty="0">
                <a:solidFill>
                  <a:schemeClr val="bg1"/>
                </a:solidFill>
                <a:latin typeface="Arial" panose="020B0604020202020204" pitchFamily="34" charset="0"/>
                <a:ea typeface="Open Sans Extrabold" panose="020B0906030804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82BBFBF4-BBAF-7187-6E72-D8F08A0D4268}"/>
                </a:ext>
              </a:extLst>
            </p:cNvPr>
            <p:cNvSpPr/>
            <p:nvPr/>
          </p:nvSpPr>
          <p:spPr>
            <a:xfrm>
              <a:off x="7788668" y="7568479"/>
              <a:ext cx="2771223" cy="1246496"/>
            </a:xfrm>
            <a:prstGeom prst="rect">
              <a:avLst/>
            </a:prstGeom>
          </p:spPr>
          <p:txBody>
            <a:bodyPr wrap="square" lIns="108000" tIns="108000" rIns="108000" bIns="108000">
              <a:noAutofit/>
            </a:bodyPr>
            <a:lstStyle/>
            <a:p>
              <a:pPr algn="ctr"/>
              <a:r>
                <a:rPr lang="id-ID" sz="2000" dirty="0">
                  <a:latin typeface="Arial" panose="020B0604020202020204" pitchFamily="34" charset="0"/>
                  <a:ea typeface="Open Sans Light" panose="020B0306030504020204" pitchFamily="34" charset="0"/>
                  <a:cs typeface="Arial" panose="020B0604020202020204" pitchFamily="34" charset="0"/>
                </a:rPr>
                <a:t>Lorem ipsum dolor sit amet, consectetur adipiscing elit. Sed do eiusmod tempor</a:t>
              </a:r>
              <a:endParaRPr lang="en-US" sz="2000" i="1" dirty="0">
                <a:latin typeface="Arial" panose="020B0604020202020204" pitchFamily="34" charset="0"/>
                <a:ea typeface="Open Sans Light" panose="020B0306030504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320FB59A-ABCC-31AE-211D-89A594E4D511}"/>
                </a:ext>
              </a:extLst>
            </p:cNvPr>
            <p:cNvSpPr/>
            <p:nvPr/>
          </p:nvSpPr>
          <p:spPr>
            <a:xfrm>
              <a:off x="13566372" y="7568479"/>
              <a:ext cx="2771223" cy="1246496"/>
            </a:xfrm>
            <a:prstGeom prst="rect">
              <a:avLst/>
            </a:prstGeom>
          </p:spPr>
          <p:txBody>
            <a:bodyPr wrap="square" lIns="108000" tIns="108000" rIns="108000" bIns="108000">
              <a:noAutofit/>
            </a:bodyPr>
            <a:lstStyle/>
            <a:p>
              <a:pPr algn="ctr"/>
              <a:r>
                <a:rPr lang="id-ID" sz="2000" dirty="0">
                  <a:latin typeface="Arial" panose="020B0604020202020204" pitchFamily="34" charset="0"/>
                  <a:ea typeface="Open Sans Light" panose="020B0306030504020204" pitchFamily="34" charset="0"/>
                  <a:cs typeface="Arial" panose="020B0604020202020204" pitchFamily="34" charset="0"/>
                </a:rPr>
                <a:t>Lorem ipsum dolor sit amet, consectetur adipiscing elit. Sed do eiusmod tempor</a:t>
              </a:r>
              <a:endParaRPr lang="en-US" sz="2000" i="1" dirty="0">
                <a:latin typeface="Arial" panose="020B0604020202020204" pitchFamily="34" charset="0"/>
                <a:ea typeface="Open Sans Light" panose="020B0306030504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DB9F8113-E206-3D3E-4C1C-90893911A3AB}"/>
                </a:ext>
              </a:extLst>
            </p:cNvPr>
            <p:cNvSpPr/>
            <p:nvPr/>
          </p:nvSpPr>
          <p:spPr>
            <a:xfrm>
              <a:off x="4775939" y="3665458"/>
              <a:ext cx="2771223" cy="1246496"/>
            </a:xfrm>
            <a:prstGeom prst="rect">
              <a:avLst/>
            </a:prstGeom>
          </p:spPr>
          <p:txBody>
            <a:bodyPr wrap="square" lIns="108000" tIns="108000" rIns="108000" bIns="108000">
              <a:noAutofit/>
            </a:bodyPr>
            <a:lstStyle/>
            <a:p>
              <a:pPr algn="ctr"/>
              <a:r>
                <a:rPr lang="id-ID" sz="2000" dirty="0">
                  <a:latin typeface="Arial" panose="020B0604020202020204" pitchFamily="34" charset="0"/>
                  <a:ea typeface="Open Sans Light" panose="020B0306030504020204" pitchFamily="34" charset="0"/>
                  <a:cs typeface="Arial" panose="020B0604020202020204" pitchFamily="34" charset="0"/>
                </a:rPr>
                <a:t>Lorem ipsum dolor sit amet, consectetur adipiscing elit. Sed do eiusmod tempor</a:t>
              </a:r>
              <a:endParaRPr lang="en-US" sz="2000" i="1" dirty="0">
                <a:latin typeface="Arial" panose="020B0604020202020204" pitchFamily="34" charset="0"/>
                <a:ea typeface="Open Sans Light" panose="020B0306030504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2ACFAD58-78ED-06B8-0222-E8E7C8BBC7C2}"/>
                </a:ext>
              </a:extLst>
            </p:cNvPr>
            <p:cNvSpPr/>
            <p:nvPr/>
          </p:nvSpPr>
          <p:spPr>
            <a:xfrm>
              <a:off x="10750164" y="3665458"/>
              <a:ext cx="2771223" cy="1246496"/>
            </a:xfrm>
            <a:prstGeom prst="rect">
              <a:avLst/>
            </a:prstGeom>
          </p:spPr>
          <p:txBody>
            <a:bodyPr wrap="square" lIns="108000" tIns="108000" rIns="108000" bIns="108000">
              <a:noAutofit/>
            </a:bodyPr>
            <a:lstStyle/>
            <a:p>
              <a:pPr algn="ctr"/>
              <a:r>
                <a:rPr lang="id-ID" sz="2000" dirty="0">
                  <a:latin typeface="Arial" panose="020B0604020202020204" pitchFamily="34" charset="0"/>
                  <a:ea typeface="Open Sans Light" panose="020B0306030504020204" pitchFamily="34" charset="0"/>
                  <a:cs typeface="Arial" panose="020B0604020202020204" pitchFamily="34" charset="0"/>
                </a:rPr>
                <a:t>Lorem ipsum dolor sit amet, consectetur adipiscing elit. Sed do eiusmod tempor</a:t>
              </a:r>
              <a:endParaRPr lang="en-US" sz="2000" i="1" dirty="0">
                <a:latin typeface="Arial" panose="020B0604020202020204" pitchFamily="34" charset="0"/>
                <a:ea typeface="Open Sans Light" panose="020B03060305040202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0EEEE3F3-A7D2-BE73-2F8F-98A4C83585E7}"/>
                </a:ext>
              </a:extLst>
            </p:cNvPr>
            <p:cNvGrpSpPr/>
            <p:nvPr/>
          </p:nvGrpSpPr>
          <p:grpSpPr>
            <a:xfrm>
              <a:off x="4231535" y="5573926"/>
              <a:ext cx="1156719" cy="1159139"/>
              <a:chOff x="2821023" y="3715950"/>
              <a:chExt cx="771146" cy="772759"/>
            </a:xfrm>
          </p:grpSpPr>
          <p:sp>
            <p:nvSpPr>
              <p:cNvPr id="41" name="Freeform 16">
                <a:extLst>
                  <a:ext uri="{FF2B5EF4-FFF2-40B4-BE49-F238E27FC236}">
                    <a16:creationId xmlns:a16="http://schemas.microsoft.com/office/drawing/2014/main" id="{20E8006D-D5CC-A65E-2B99-3EFEA8181F41}"/>
                  </a:ext>
                </a:extLst>
              </p:cNvPr>
              <p:cNvSpPr/>
              <p:nvPr/>
            </p:nvSpPr>
            <p:spPr>
              <a:xfrm rot="2700000">
                <a:off x="2821023" y="3715950"/>
                <a:ext cx="640175" cy="640175"/>
              </a:xfrm>
              <a:custGeom>
                <a:avLst/>
                <a:gdLst>
                  <a:gd name="connsiteX0" fmla="*/ 0 w 1080000"/>
                  <a:gd name="connsiteY0" fmla="*/ 0 h 1080000"/>
                  <a:gd name="connsiteX1" fmla="*/ 1080000 w 1080000"/>
                  <a:gd name="connsiteY1" fmla="*/ 0 h 1080000"/>
                  <a:gd name="connsiteX2" fmla="*/ 1080000 w 1080000"/>
                  <a:gd name="connsiteY2" fmla="*/ 1080000 h 1080000"/>
                  <a:gd name="connsiteX3" fmla="*/ 539998 w 1080000"/>
                  <a:gd name="connsiteY3" fmla="*/ 1080000 h 1080000"/>
                  <a:gd name="connsiteX4" fmla="*/ 539998 w 1080000"/>
                  <a:gd name="connsiteY4" fmla="*/ 540000 h 1080000"/>
                  <a:gd name="connsiteX5" fmla="*/ 0 w 1080000"/>
                  <a:gd name="connsiteY5" fmla="*/ 54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0000" h="1080000">
                    <a:moveTo>
                      <a:pt x="0" y="0"/>
                    </a:moveTo>
                    <a:lnTo>
                      <a:pt x="1080000" y="0"/>
                    </a:lnTo>
                    <a:lnTo>
                      <a:pt x="1080000" y="1080000"/>
                    </a:lnTo>
                    <a:lnTo>
                      <a:pt x="539998" y="1080000"/>
                    </a:lnTo>
                    <a:lnTo>
                      <a:pt x="539998" y="540000"/>
                    </a:lnTo>
                    <a:lnTo>
                      <a:pt x="0" y="540000"/>
                    </a:ln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tx1"/>
                  </a:solidFill>
                  <a:latin typeface="Arial" panose="020B0604020202020204" pitchFamily="34" charset="0"/>
                  <a:cs typeface="Arial" panose="020B0604020202020204" pitchFamily="34" charset="0"/>
                </a:endParaRPr>
              </a:p>
            </p:txBody>
          </p:sp>
          <p:sp>
            <p:nvSpPr>
              <p:cNvPr id="42" name="Freeform 17">
                <a:extLst>
                  <a:ext uri="{FF2B5EF4-FFF2-40B4-BE49-F238E27FC236}">
                    <a16:creationId xmlns:a16="http://schemas.microsoft.com/office/drawing/2014/main" id="{7B1BC0B3-23AF-738F-DE50-482C350B8BB9}"/>
                  </a:ext>
                </a:extLst>
              </p:cNvPr>
              <p:cNvSpPr/>
              <p:nvPr/>
            </p:nvSpPr>
            <p:spPr>
              <a:xfrm>
                <a:off x="2913161" y="4036036"/>
                <a:ext cx="679008" cy="452673"/>
              </a:xfrm>
              <a:custGeom>
                <a:avLst/>
                <a:gdLst>
                  <a:gd name="connsiteX0" fmla="*/ 251949 w 755852"/>
                  <a:gd name="connsiteY0" fmla="*/ 0 h 503902"/>
                  <a:gd name="connsiteX1" fmla="*/ 755852 w 755852"/>
                  <a:gd name="connsiteY1" fmla="*/ 0 h 503902"/>
                  <a:gd name="connsiteX2" fmla="*/ 251951 w 755852"/>
                  <a:gd name="connsiteY2" fmla="*/ 503902 h 503902"/>
                  <a:gd name="connsiteX3" fmla="*/ 0 w 755852"/>
                  <a:gd name="connsiteY3" fmla="*/ 251950 h 503902"/>
                </a:gdLst>
                <a:ahLst/>
                <a:cxnLst>
                  <a:cxn ang="0">
                    <a:pos x="connsiteX0" y="connsiteY0"/>
                  </a:cxn>
                  <a:cxn ang="0">
                    <a:pos x="connsiteX1" y="connsiteY1"/>
                  </a:cxn>
                  <a:cxn ang="0">
                    <a:pos x="connsiteX2" y="connsiteY2"/>
                  </a:cxn>
                  <a:cxn ang="0">
                    <a:pos x="connsiteX3" y="connsiteY3"/>
                  </a:cxn>
                </a:cxnLst>
                <a:rect l="l" t="t" r="r" b="b"/>
                <a:pathLst>
                  <a:path w="755852" h="503902">
                    <a:moveTo>
                      <a:pt x="251949" y="0"/>
                    </a:moveTo>
                    <a:lnTo>
                      <a:pt x="755852" y="0"/>
                    </a:lnTo>
                    <a:lnTo>
                      <a:pt x="251951" y="503902"/>
                    </a:lnTo>
                    <a:lnTo>
                      <a:pt x="0" y="251950"/>
                    </a:lnTo>
                    <a:close/>
                  </a:path>
                </a:pathLst>
              </a:cu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dirty="0">
                  <a:solidFill>
                    <a:schemeClr val="tx1"/>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3442B9E7-DC2F-AA3D-05F2-BA2A278725F5}"/>
                </a:ext>
              </a:extLst>
            </p:cNvPr>
            <p:cNvGrpSpPr/>
            <p:nvPr/>
          </p:nvGrpSpPr>
          <p:grpSpPr>
            <a:xfrm>
              <a:off x="6897280" y="5573925"/>
              <a:ext cx="1159139" cy="1151544"/>
              <a:chOff x="4598186" y="3715950"/>
              <a:chExt cx="772759" cy="767696"/>
            </a:xfrm>
          </p:grpSpPr>
          <p:sp>
            <p:nvSpPr>
              <p:cNvPr id="45" name="Freeform 19">
                <a:extLst>
                  <a:ext uri="{FF2B5EF4-FFF2-40B4-BE49-F238E27FC236}">
                    <a16:creationId xmlns:a16="http://schemas.microsoft.com/office/drawing/2014/main" id="{36BDFBA8-A6C7-5A4B-FB7B-D274C07CC2D7}"/>
                  </a:ext>
                </a:extLst>
              </p:cNvPr>
              <p:cNvSpPr/>
              <p:nvPr/>
            </p:nvSpPr>
            <p:spPr>
              <a:xfrm rot="2700000">
                <a:off x="4598186" y="3715950"/>
                <a:ext cx="640175" cy="640175"/>
              </a:xfrm>
              <a:custGeom>
                <a:avLst/>
                <a:gdLst>
                  <a:gd name="connsiteX0" fmla="*/ 0 w 1080000"/>
                  <a:gd name="connsiteY0" fmla="*/ 0 h 1080000"/>
                  <a:gd name="connsiteX1" fmla="*/ 1080000 w 1080000"/>
                  <a:gd name="connsiteY1" fmla="*/ 0 h 1080000"/>
                  <a:gd name="connsiteX2" fmla="*/ 1080000 w 1080000"/>
                  <a:gd name="connsiteY2" fmla="*/ 1080000 h 1080000"/>
                  <a:gd name="connsiteX3" fmla="*/ 539998 w 1080000"/>
                  <a:gd name="connsiteY3" fmla="*/ 1080000 h 1080000"/>
                  <a:gd name="connsiteX4" fmla="*/ 539998 w 1080000"/>
                  <a:gd name="connsiteY4" fmla="*/ 540000 h 1080000"/>
                  <a:gd name="connsiteX5" fmla="*/ 0 w 1080000"/>
                  <a:gd name="connsiteY5" fmla="*/ 54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0000" h="1080000">
                    <a:moveTo>
                      <a:pt x="0" y="0"/>
                    </a:moveTo>
                    <a:lnTo>
                      <a:pt x="1080000" y="0"/>
                    </a:lnTo>
                    <a:lnTo>
                      <a:pt x="1080000" y="1080000"/>
                    </a:lnTo>
                    <a:lnTo>
                      <a:pt x="539998" y="1080000"/>
                    </a:lnTo>
                    <a:lnTo>
                      <a:pt x="539998" y="540000"/>
                    </a:lnTo>
                    <a:lnTo>
                      <a:pt x="0" y="540000"/>
                    </a:ln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tx1"/>
                  </a:solidFill>
                  <a:latin typeface="Arial" panose="020B0604020202020204" pitchFamily="34" charset="0"/>
                  <a:cs typeface="Arial" panose="020B0604020202020204" pitchFamily="34" charset="0"/>
                </a:endParaRPr>
              </a:p>
            </p:txBody>
          </p:sp>
          <p:sp>
            <p:nvSpPr>
              <p:cNvPr id="46" name="Freeform 20">
                <a:extLst>
                  <a:ext uri="{FF2B5EF4-FFF2-40B4-BE49-F238E27FC236}">
                    <a16:creationId xmlns:a16="http://schemas.microsoft.com/office/drawing/2014/main" id="{7C1F74DF-C581-B873-A3DE-60DD2E733153}"/>
                  </a:ext>
                </a:extLst>
              </p:cNvPr>
              <p:cNvSpPr/>
              <p:nvPr/>
            </p:nvSpPr>
            <p:spPr>
              <a:xfrm>
                <a:off x="4691937" y="4030973"/>
                <a:ext cx="679008" cy="452673"/>
              </a:xfrm>
              <a:custGeom>
                <a:avLst/>
                <a:gdLst>
                  <a:gd name="connsiteX0" fmla="*/ 251949 w 755852"/>
                  <a:gd name="connsiteY0" fmla="*/ 0 h 503902"/>
                  <a:gd name="connsiteX1" fmla="*/ 755852 w 755852"/>
                  <a:gd name="connsiteY1" fmla="*/ 0 h 503902"/>
                  <a:gd name="connsiteX2" fmla="*/ 251951 w 755852"/>
                  <a:gd name="connsiteY2" fmla="*/ 503902 h 503902"/>
                  <a:gd name="connsiteX3" fmla="*/ 0 w 755852"/>
                  <a:gd name="connsiteY3" fmla="*/ 251950 h 503902"/>
                </a:gdLst>
                <a:ahLst/>
                <a:cxnLst>
                  <a:cxn ang="0">
                    <a:pos x="connsiteX0" y="connsiteY0"/>
                  </a:cxn>
                  <a:cxn ang="0">
                    <a:pos x="connsiteX1" y="connsiteY1"/>
                  </a:cxn>
                  <a:cxn ang="0">
                    <a:pos x="connsiteX2" y="connsiteY2"/>
                  </a:cxn>
                  <a:cxn ang="0">
                    <a:pos x="connsiteX3" y="connsiteY3"/>
                  </a:cxn>
                </a:cxnLst>
                <a:rect l="l" t="t" r="r" b="b"/>
                <a:pathLst>
                  <a:path w="755852" h="503902">
                    <a:moveTo>
                      <a:pt x="251949" y="0"/>
                    </a:moveTo>
                    <a:lnTo>
                      <a:pt x="755852" y="0"/>
                    </a:lnTo>
                    <a:lnTo>
                      <a:pt x="251951" y="503902"/>
                    </a:lnTo>
                    <a:lnTo>
                      <a:pt x="0" y="251950"/>
                    </a:lnTo>
                    <a:close/>
                  </a:path>
                </a:pathLst>
              </a:cu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dirty="0">
                  <a:solidFill>
                    <a:schemeClr val="tx1"/>
                  </a:solidFill>
                  <a:latin typeface="Arial" panose="020B0604020202020204" pitchFamily="34" charset="0"/>
                  <a:cs typeface="Arial" panose="020B0604020202020204" pitchFamily="34" charset="0"/>
                </a:endParaRPr>
              </a:p>
            </p:txBody>
          </p:sp>
        </p:grpSp>
        <p:grpSp>
          <p:nvGrpSpPr>
            <p:cNvPr id="52" name="Group 51">
              <a:extLst>
                <a:ext uri="{FF2B5EF4-FFF2-40B4-BE49-F238E27FC236}">
                  <a16:creationId xmlns:a16="http://schemas.microsoft.com/office/drawing/2014/main" id="{0C13EB9D-1E4A-54B0-25D7-F977C79CA272}"/>
                </a:ext>
              </a:extLst>
            </p:cNvPr>
            <p:cNvGrpSpPr/>
            <p:nvPr/>
          </p:nvGrpSpPr>
          <p:grpSpPr>
            <a:xfrm>
              <a:off x="9926370" y="5573924"/>
              <a:ext cx="1159140" cy="1162421"/>
              <a:chOff x="6617580" y="3715949"/>
              <a:chExt cx="772760" cy="774947"/>
            </a:xfrm>
          </p:grpSpPr>
          <p:sp>
            <p:nvSpPr>
              <p:cNvPr id="47" name="Freeform 22">
                <a:extLst>
                  <a:ext uri="{FF2B5EF4-FFF2-40B4-BE49-F238E27FC236}">
                    <a16:creationId xmlns:a16="http://schemas.microsoft.com/office/drawing/2014/main" id="{50695F24-4C7D-22E9-E0E9-F9A1FA715E61}"/>
                  </a:ext>
                </a:extLst>
              </p:cNvPr>
              <p:cNvSpPr/>
              <p:nvPr/>
            </p:nvSpPr>
            <p:spPr>
              <a:xfrm rot="2700000">
                <a:off x="6617580" y="3715949"/>
                <a:ext cx="640175" cy="640175"/>
              </a:xfrm>
              <a:custGeom>
                <a:avLst/>
                <a:gdLst>
                  <a:gd name="connsiteX0" fmla="*/ 0 w 1080000"/>
                  <a:gd name="connsiteY0" fmla="*/ 0 h 1080000"/>
                  <a:gd name="connsiteX1" fmla="*/ 1080000 w 1080000"/>
                  <a:gd name="connsiteY1" fmla="*/ 0 h 1080000"/>
                  <a:gd name="connsiteX2" fmla="*/ 1080000 w 1080000"/>
                  <a:gd name="connsiteY2" fmla="*/ 1080000 h 1080000"/>
                  <a:gd name="connsiteX3" fmla="*/ 539998 w 1080000"/>
                  <a:gd name="connsiteY3" fmla="*/ 1080000 h 1080000"/>
                  <a:gd name="connsiteX4" fmla="*/ 539998 w 1080000"/>
                  <a:gd name="connsiteY4" fmla="*/ 540000 h 1080000"/>
                  <a:gd name="connsiteX5" fmla="*/ 0 w 1080000"/>
                  <a:gd name="connsiteY5" fmla="*/ 54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0000" h="1080000">
                    <a:moveTo>
                      <a:pt x="0" y="0"/>
                    </a:moveTo>
                    <a:lnTo>
                      <a:pt x="1080000" y="0"/>
                    </a:lnTo>
                    <a:lnTo>
                      <a:pt x="1080000" y="1080000"/>
                    </a:lnTo>
                    <a:lnTo>
                      <a:pt x="539998" y="1080000"/>
                    </a:lnTo>
                    <a:lnTo>
                      <a:pt x="539998" y="540000"/>
                    </a:lnTo>
                    <a:lnTo>
                      <a:pt x="0" y="540000"/>
                    </a:ln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tx1"/>
                  </a:solidFill>
                  <a:latin typeface="Arial" panose="020B0604020202020204" pitchFamily="34" charset="0"/>
                  <a:cs typeface="Arial" panose="020B0604020202020204" pitchFamily="34" charset="0"/>
                </a:endParaRPr>
              </a:p>
            </p:txBody>
          </p:sp>
          <p:sp>
            <p:nvSpPr>
              <p:cNvPr id="48" name="Freeform 23">
                <a:extLst>
                  <a:ext uri="{FF2B5EF4-FFF2-40B4-BE49-F238E27FC236}">
                    <a16:creationId xmlns:a16="http://schemas.microsoft.com/office/drawing/2014/main" id="{B0B5FED0-6CD7-C2AE-9B98-D788B486A9AC}"/>
                  </a:ext>
                </a:extLst>
              </p:cNvPr>
              <p:cNvSpPr/>
              <p:nvPr/>
            </p:nvSpPr>
            <p:spPr>
              <a:xfrm>
                <a:off x="6711332" y="4038223"/>
                <a:ext cx="679008" cy="452673"/>
              </a:xfrm>
              <a:custGeom>
                <a:avLst/>
                <a:gdLst>
                  <a:gd name="connsiteX0" fmla="*/ 251949 w 755852"/>
                  <a:gd name="connsiteY0" fmla="*/ 0 h 503902"/>
                  <a:gd name="connsiteX1" fmla="*/ 755852 w 755852"/>
                  <a:gd name="connsiteY1" fmla="*/ 0 h 503902"/>
                  <a:gd name="connsiteX2" fmla="*/ 251951 w 755852"/>
                  <a:gd name="connsiteY2" fmla="*/ 503902 h 503902"/>
                  <a:gd name="connsiteX3" fmla="*/ 0 w 755852"/>
                  <a:gd name="connsiteY3" fmla="*/ 251950 h 503902"/>
                </a:gdLst>
                <a:ahLst/>
                <a:cxnLst>
                  <a:cxn ang="0">
                    <a:pos x="connsiteX0" y="connsiteY0"/>
                  </a:cxn>
                  <a:cxn ang="0">
                    <a:pos x="connsiteX1" y="connsiteY1"/>
                  </a:cxn>
                  <a:cxn ang="0">
                    <a:pos x="connsiteX2" y="connsiteY2"/>
                  </a:cxn>
                  <a:cxn ang="0">
                    <a:pos x="connsiteX3" y="connsiteY3"/>
                  </a:cxn>
                </a:cxnLst>
                <a:rect l="l" t="t" r="r" b="b"/>
                <a:pathLst>
                  <a:path w="755852" h="503902">
                    <a:moveTo>
                      <a:pt x="251949" y="0"/>
                    </a:moveTo>
                    <a:lnTo>
                      <a:pt x="755852" y="0"/>
                    </a:lnTo>
                    <a:lnTo>
                      <a:pt x="251951" y="503902"/>
                    </a:lnTo>
                    <a:lnTo>
                      <a:pt x="0" y="251950"/>
                    </a:lnTo>
                    <a:close/>
                  </a:path>
                </a:pathLst>
              </a:cu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dirty="0">
                  <a:solidFill>
                    <a:schemeClr val="tx1"/>
                  </a:solidFill>
                  <a:latin typeface="Arial" panose="020B0604020202020204" pitchFamily="34" charset="0"/>
                  <a:cs typeface="Arial" panose="020B0604020202020204" pitchFamily="34" charset="0"/>
                </a:endParaRPr>
              </a:p>
            </p:txBody>
          </p:sp>
        </p:grpSp>
        <p:grpSp>
          <p:nvGrpSpPr>
            <p:cNvPr id="51" name="Group 50">
              <a:extLst>
                <a:ext uri="{FF2B5EF4-FFF2-40B4-BE49-F238E27FC236}">
                  <a16:creationId xmlns:a16="http://schemas.microsoft.com/office/drawing/2014/main" id="{04C11234-BBB1-B00F-38B5-D7378FD693E3}"/>
                </a:ext>
              </a:extLst>
            </p:cNvPr>
            <p:cNvGrpSpPr/>
            <p:nvPr/>
          </p:nvGrpSpPr>
          <p:grpSpPr>
            <a:xfrm>
              <a:off x="12916488" y="5573924"/>
              <a:ext cx="1159140" cy="1162421"/>
              <a:chOff x="8610992" y="3715949"/>
              <a:chExt cx="772760" cy="774947"/>
            </a:xfrm>
          </p:grpSpPr>
          <p:sp>
            <p:nvSpPr>
              <p:cNvPr id="49" name="Freeform 25">
                <a:extLst>
                  <a:ext uri="{FF2B5EF4-FFF2-40B4-BE49-F238E27FC236}">
                    <a16:creationId xmlns:a16="http://schemas.microsoft.com/office/drawing/2014/main" id="{B7F7018C-0039-EE4E-5868-7EB0C932BDC4}"/>
                  </a:ext>
                </a:extLst>
              </p:cNvPr>
              <p:cNvSpPr/>
              <p:nvPr/>
            </p:nvSpPr>
            <p:spPr>
              <a:xfrm rot="2700000">
                <a:off x="8610992" y="3715949"/>
                <a:ext cx="640175" cy="640175"/>
              </a:xfrm>
              <a:custGeom>
                <a:avLst/>
                <a:gdLst>
                  <a:gd name="connsiteX0" fmla="*/ 0 w 1080000"/>
                  <a:gd name="connsiteY0" fmla="*/ 0 h 1080000"/>
                  <a:gd name="connsiteX1" fmla="*/ 1080000 w 1080000"/>
                  <a:gd name="connsiteY1" fmla="*/ 0 h 1080000"/>
                  <a:gd name="connsiteX2" fmla="*/ 1080000 w 1080000"/>
                  <a:gd name="connsiteY2" fmla="*/ 1080000 h 1080000"/>
                  <a:gd name="connsiteX3" fmla="*/ 539998 w 1080000"/>
                  <a:gd name="connsiteY3" fmla="*/ 1080000 h 1080000"/>
                  <a:gd name="connsiteX4" fmla="*/ 539998 w 1080000"/>
                  <a:gd name="connsiteY4" fmla="*/ 540000 h 1080000"/>
                  <a:gd name="connsiteX5" fmla="*/ 0 w 1080000"/>
                  <a:gd name="connsiteY5" fmla="*/ 54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0000" h="1080000">
                    <a:moveTo>
                      <a:pt x="0" y="0"/>
                    </a:moveTo>
                    <a:lnTo>
                      <a:pt x="1080000" y="0"/>
                    </a:lnTo>
                    <a:lnTo>
                      <a:pt x="1080000" y="1080000"/>
                    </a:lnTo>
                    <a:lnTo>
                      <a:pt x="539998" y="1080000"/>
                    </a:lnTo>
                    <a:lnTo>
                      <a:pt x="539998" y="540000"/>
                    </a:lnTo>
                    <a:lnTo>
                      <a:pt x="0" y="540000"/>
                    </a:ln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a:solidFill>
                    <a:schemeClr val="tx1"/>
                  </a:solidFill>
                  <a:latin typeface="Arial" panose="020B0604020202020204" pitchFamily="34" charset="0"/>
                  <a:cs typeface="Arial" panose="020B0604020202020204" pitchFamily="34" charset="0"/>
                </a:endParaRPr>
              </a:p>
            </p:txBody>
          </p:sp>
          <p:sp>
            <p:nvSpPr>
              <p:cNvPr id="50" name="Freeform 26">
                <a:extLst>
                  <a:ext uri="{FF2B5EF4-FFF2-40B4-BE49-F238E27FC236}">
                    <a16:creationId xmlns:a16="http://schemas.microsoft.com/office/drawing/2014/main" id="{98C7FEBE-9312-ACF7-3749-6F23AF52C598}"/>
                  </a:ext>
                </a:extLst>
              </p:cNvPr>
              <p:cNvSpPr/>
              <p:nvPr/>
            </p:nvSpPr>
            <p:spPr>
              <a:xfrm>
                <a:off x="8704744" y="4038223"/>
                <a:ext cx="679008" cy="452673"/>
              </a:xfrm>
              <a:custGeom>
                <a:avLst/>
                <a:gdLst>
                  <a:gd name="connsiteX0" fmla="*/ 251949 w 755852"/>
                  <a:gd name="connsiteY0" fmla="*/ 0 h 503902"/>
                  <a:gd name="connsiteX1" fmla="*/ 755852 w 755852"/>
                  <a:gd name="connsiteY1" fmla="*/ 0 h 503902"/>
                  <a:gd name="connsiteX2" fmla="*/ 251951 w 755852"/>
                  <a:gd name="connsiteY2" fmla="*/ 503902 h 503902"/>
                  <a:gd name="connsiteX3" fmla="*/ 0 w 755852"/>
                  <a:gd name="connsiteY3" fmla="*/ 251950 h 503902"/>
                </a:gdLst>
                <a:ahLst/>
                <a:cxnLst>
                  <a:cxn ang="0">
                    <a:pos x="connsiteX0" y="connsiteY0"/>
                  </a:cxn>
                  <a:cxn ang="0">
                    <a:pos x="connsiteX1" y="connsiteY1"/>
                  </a:cxn>
                  <a:cxn ang="0">
                    <a:pos x="connsiteX2" y="connsiteY2"/>
                  </a:cxn>
                  <a:cxn ang="0">
                    <a:pos x="connsiteX3" y="connsiteY3"/>
                  </a:cxn>
                </a:cxnLst>
                <a:rect l="l" t="t" r="r" b="b"/>
                <a:pathLst>
                  <a:path w="755852" h="503902">
                    <a:moveTo>
                      <a:pt x="251949" y="0"/>
                    </a:moveTo>
                    <a:lnTo>
                      <a:pt x="755852" y="0"/>
                    </a:lnTo>
                    <a:lnTo>
                      <a:pt x="251951" y="503902"/>
                    </a:lnTo>
                    <a:lnTo>
                      <a:pt x="0" y="251950"/>
                    </a:lnTo>
                    <a:close/>
                  </a:path>
                </a:pathLst>
              </a:cu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2700" dirty="0">
                  <a:solidFill>
                    <a:schemeClr val="tx1"/>
                  </a:solidFill>
                  <a:latin typeface="Arial" panose="020B0604020202020204" pitchFamily="34" charset="0"/>
                  <a:cs typeface="Arial" panose="020B0604020202020204" pitchFamily="34" charset="0"/>
                </a:endParaRPr>
              </a:p>
            </p:txBody>
          </p:sp>
        </p:grpSp>
      </p:grpSp>
      <p:sp>
        <p:nvSpPr>
          <p:cNvPr id="8" name="Slide Number Placeholder 7">
            <a:extLst>
              <a:ext uri="{FF2B5EF4-FFF2-40B4-BE49-F238E27FC236}">
                <a16:creationId xmlns:a16="http://schemas.microsoft.com/office/drawing/2014/main" id="{1153F42A-6779-D005-4B11-C64E49F92F0A}"/>
              </a:ext>
            </a:extLst>
          </p:cNvPr>
          <p:cNvSpPr>
            <a:spLocks noGrp="1"/>
          </p:cNvSpPr>
          <p:nvPr>
            <p:ph type="sldNum" sz="quarter" idx="12"/>
          </p:nvPr>
        </p:nvSpPr>
        <p:spPr/>
        <p:txBody>
          <a:bodyPr/>
          <a:lstStyle/>
          <a:p>
            <a:fld id="{E2D680B1-7F17-42D2-83E2-2C9AC13983BB}" type="slidenum">
              <a:rPr lang="en-US" smtClean="0"/>
              <a:t>79</a:t>
            </a:fld>
            <a:endParaRPr lang="en-US" dirty="0"/>
          </a:p>
        </p:txBody>
      </p:sp>
    </p:spTree>
    <p:extLst>
      <p:ext uri="{BB962C8B-B14F-4D97-AF65-F5344CB8AC3E}">
        <p14:creationId xmlns:p14="http://schemas.microsoft.com/office/powerpoint/2010/main" val="40949932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group of people sitting around a table clapping&#10;&#10;AI-generated content may be incorrect.">
            <a:extLst>
              <a:ext uri="{FF2B5EF4-FFF2-40B4-BE49-F238E27FC236}">
                <a16:creationId xmlns:a16="http://schemas.microsoft.com/office/drawing/2014/main" id="{0020A8C9-8B65-A0D2-9E12-0C70B79AE5E7}"/>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3120" r="28114"/>
          <a:stretch>
            <a:fillRect/>
          </a:stretch>
        </p:blipFill>
        <p:spPr>
          <a:xfrm>
            <a:off x="4583586" y="-385"/>
            <a:ext cx="13704414" cy="10287386"/>
          </a:xfrm>
        </p:spPr>
      </p:pic>
      <p:sp>
        <p:nvSpPr>
          <p:cNvPr id="10" name="Title 9">
            <a:extLst>
              <a:ext uri="{FF2B5EF4-FFF2-40B4-BE49-F238E27FC236}">
                <a16:creationId xmlns:a16="http://schemas.microsoft.com/office/drawing/2014/main" id="{3B9A8686-DA2E-D5EA-0ADF-2A82A6DBDE99}"/>
              </a:ext>
            </a:extLst>
          </p:cNvPr>
          <p:cNvSpPr>
            <a:spLocks noGrp="1"/>
          </p:cNvSpPr>
          <p:nvPr>
            <p:ph type="title"/>
          </p:nvPr>
        </p:nvSpPr>
        <p:spPr>
          <a:xfrm>
            <a:off x="783000" y="4323142"/>
            <a:ext cx="5841024" cy="1988345"/>
          </a:xfrm>
        </p:spPr>
        <p:txBody>
          <a:bodyPr/>
          <a:lstStyle/>
          <a:p>
            <a:r>
              <a:rPr lang="en-US" dirty="0"/>
              <a:t>Divider Slide with Image</a:t>
            </a:r>
          </a:p>
        </p:txBody>
      </p:sp>
    </p:spTree>
    <p:extLst>
      <p:ext uri="{BB962C8B-B14F-4D97-AF65-F5344CB8AC3E}">
        <p14:creationId xmlns:p14="http://schemas.microsoft.com/office/powerpoint/2010/main" val="9967316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Framework slide – Approach and Risks</a:t>
            </a:r>
          </a:p>
        </p:txBody>
      </p:sp>
      <p:sp>
        <p:nvSpPr>
          <p:cNvPr id="36" name="Rectangle 35">
            <a:extLst>
              <a:ext uri="{FF2B5EF4-FFF2-40B4-BE49-F238E27FC236}">
                <a16:creationId xmlns:a16="http://schemas.microsoft.com/office/drawing/2014/main" id="{9BAB9146-EE94-FDEA-A237-5D038FF132D9}"/>
              </a:ext>
            </a:extLst>
          </p:cNvPr>
          <p:cNvSpPr/>
          <p:nvPr/>
        </p:nvSpPr>
        <p:spPr>
          <a:xfrm>
            <a:off x="714375" y="3166323"/>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cxnSp>
        <p:nvCxnSpPr>
          <p:cNvPr id="58" name="Straight Connector 57">
            <a:extLst>
              <a:ext uri="{FF2B5EF4-FFF2-40B4-BE49-F238E27FC236}">
                <a16:creationId xmlns:a16="http://schemas.microsoft.com/office/drawing/2014/main" id="{A85D75F8-1386-F4B3-8AC7-4783D4599261}"/>
              </a:ext>
            </a:extLst>
          </p:cNvPr>
          <p:cNvCxnSpPr>
            <a:cxnSpLocks/>
          </p:cNvCxnSpPr>
          <p:nvPr/>
        </p:nvCxnSpPr>
        <p:spPr>
          <a:xfrm>
            <a:off x="714375" y="4591940"/>
            <a:ext cx="1685925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8D4871B5-50C6-0A5D-2A9D-71DCFADF8D62}"/>
              </a:ext>
            </a:extLst>
          </p:cNvPr>
          <p:cNvCxnSpPr>
            <a:cxnSpLocks/>
          </p:cNvCxnSpPr>
          <p:nvPr/>
        </p:nvCxnSpPr>
        <p:spPr>
          <a:xfrm>
            <a:off x="714375" y="6199612"/>
            <a:ext cx="1685925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1D69B097-E06A-7018-5EC1-41A6AADE5B0D}"/>
              </a:ext>
            </a:extLst>
          </p:cNvPr>
          <p:cNvCxnSpPr>
            <a:cxnSpLocks/>
          </p:cNvCxnSpPr>
          <p:nvPr/>
        </p:nvCxnSpPr>
        <p:spPr>
          <a:xfrm>
            <a:off x="714375" y="7807284"/>
            <a:ext cx="1685925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62" name="Rectangle 61">
            <a:extLst>
              <a:ext uri="{FF2B5EF4-FFF2-40B4-BE49-F238E27FC236}">
                <a16:creationId xmlns:a16="http://schemas.microsoft.com/office/drawing/2014/main" id="{01EF17AB-AFA1-5F9E-B36F-FF8B776070B8}"/>
              </a:ext>
            </a:extLst>
          </p:cNvPr>
          <p:cNvSpPr/>
          <p:nvPr/>
        </p:nvSpPr>
        <p:spPr>
          <a:xfrm>
            <a:off x="714375" y="4773995"/>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sp>
        <p:nvSpPr>
          <p:cNvPr id="63" name="Rectangle 62">
            <a:extLst>
              <a:ext uri="{FF2B5EF4-FFF2-40B4-BE49-F238E27FC236}">
                <a16:creationId xmlns:a16="http://schemas.microsoft.com/office/drawing/2014/main" id="{637CB136-060A-5851-C9A5-06C630DDC6E1}"/>
              </a:ext>
            </a:extLst>
          </p:cNvPr>
          <p:cNvSpPr/>
          <p:nvPr/>
        </p:nvSpPr>
        <p:spPr>
          <a:xfrm>
            <a:off x="714375" y="6381667"/>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sp>
        <p:nvSpPr>
          <p:cNvPr id="64" name="Rectangle 63">
            <a:extLst>
              <a:ext uri="{FF2B5EF4-FFF2-40B4-BE49-F238E27FC236}">
                <a16:creationId xmlns:a16="http://schemas.microsoft.com/office/drawing/2014/main" id="{5AC090E5-3D39-CCEE-E40A-9CA40FA5B6FF}"/>
              </a:ext>
            </a:extLst>
          </p:cNvPr>
          <p:cNvSpPr/>
          <p:nvPr/>
        </p:nvSpPr>
        <p:spPr>
          <a:xfrm>
            <a:off x="714375" y="7989338"/>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sp>
        <p:nvSpPr>
          <p:cNvPr id="65" name="Rectangle 64">
            <a:extLst>
              <a:ext uri="{FF2B5EF4-FFF2-40B4-BE49-F238E27FC236}">
                <a16:creationId xmlns:a16="http://schemas.microsoft.com/office/drawing/2014/main" id="{72A212EB-C842-E006-6900-474138F79527}"/>
              </a:ext>
            </a:extLst>
          </p:cNvPr>
          <p:cNvSpPr/>
          <p:nvPr/>
        </p:nvSpPr>
        <p:spPr>
          <a:xfrm>
            <a:off x="9679305" y="3166323"/>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sp>
        <p:nvSpPr>
          <p:cNvPr id="66" name="Rectangle 65">
            <a:extLst>
              <a:ext uri="{FF2B5EF4-FFF2-40B4-BE49-F238E27FC236}">
                <a16:creationId xmlns:a16="http://schemas.microsoft.com/office/drawing/2014/main" id="{BFFCA214-8995-5679-009A-421DECE5B064}"/>
              </a:ext>
            </a:extLst>
          </p:cNvPr>
          <p:cNvSpPr/>
          <p:nvPr/>
        </p:nvSpPr>
        <p:spPr>
          <a:xfrm>
            <a:off x="9679305" y="4773995"/>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sp>
        <p:nvSpPr>
          <p:cNvPr id="67" name="Rectangle 66">
            <a:extLst>
              <a:ext uri="{FF2B5EF4-FFF2-40B4-BE49-F238E27FC236}">
                <a16:creationId xmlns:a16="http://schemas.microsoft.com/office/drawing/2014/main" id="{CFE1415F-4546-6C81-6A6D-872871C2C6C3}"/>
              </a:ext>
            </a:extLst>
          </p:cNvPr>
          <p:cNvSpPr/>
          <p:nvPr/>
        </p:nvSpPr>
        <p:spPr>
          <a:xfrm>
            <a:off x="9679305" y="6381667"/>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sp>
        <p:nvSpPr>
          <p:cNvPr id="68" name="Rectangle 67">
            <a:extLst>
              <a:ext uri="{FF2B5EF4-FFF2-40B4-BE49-F238E27FC236}">
                <a16:creationId xmlns:a16="http://schemas.microsoft.com/office/drawing/2014/main" id="{B256327E-9237-3B8F-A82F-EF400B270B1A}"/>
              </a:ext>
            </a:extLst>
          </p:cNvPr>
          <p:cNvSpPr/>
          <p:nvPr/>
        </p:nvSpPr>
        <p:spPr>
          <a:xfrm>
            <a:off x="9679305" y="7989338"/>
            <a:ext cx="7894320" cy="124356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tIns="182880" rIns="182880" bIns="182880" rtlCol="0" anchor="ctr"/>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Nunc viverra imperdiet enim. Fusce est. Vivamus a tellus.</a:t>
            </a:r>
          </a:p>
        </p:txBody>
      </p:sp>
      <p:grpSp>
        <p:nvGrpSpPr>
          <p:cNvPr id="119" name="Group 118">
            <a:extLst>
              <a:ext uri="{FF2B5EF4-FFF2-40B4-BE49-F238E27FC236}">
                <a16:creationId xmlns:a16="http://schemas.microsoft.com/office/drawing/2014/main" id="{5761B1C0-1FEE-2DA6-6708-19AFB79AA7F3}"/>
              </a:ext>
            </a:extLst>
          </p:cNvPr>
          <p:cNvGrpSpPr/>
          <p:nvPr/>
        </p:nvGrpSpPr>
        <p:grpSpPr>
          <a:xfrm>
            <a:off x="714375" y="1889656"/>
            <a:ext cx="7894320" cy="1226820"/>
            <a:chOff x="714375" y="1889656"/>
            <a:chExt cx="7894320" cy="1226820"/>
          </a:xfrm>
        </p:grpSpPr>
        <p:grpSp>
          <p:nvGrpSpPr>
            <p:cNvPr id="29" name="Group 28">
              <a:extLst>
                <a:ext uri="{FF2B5EF4-FFF2-40B4-BE49-F238E27FC236}">
                  <a16:creationId xmlns:a16="http://schemas.microsoft.com/office/drawing/2014/main" id="{B7EA8EA4-151C-C30F-35DC-70CA7685069C}"/>
                </a:ext>
              </a:extLst>
            </p:cNvPr>
            <p:cNvGrpSpPr/>
            <p:nvPr/>
          </p:nvGrpSpPr>
          <p:grpSpPr>
            <a:xfrm>
              <a:off x="714375" y="2019300"/>
              <a:ext cx="7894320" cy="724548"/>
              <a:chOff x="714375" y="2019300"/>
              <a:chExt cx="7894320" cy="724548"/>
            </a:xfrm>
          </p:grpSpPr>
          <p:sp>
            <p:nvSpPr>
              <p:cNvPr id="3" name="Rectangle 2"/>
              <p:cNvSpPr/>
              <p:nvPr/>
            </p:nvSpPr>
            <p:spPr>
              <a:xfrm flipV="1">
                <a:off x="714375" y="2019300"/>
                <a:ext cx="7894320" cy="72454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2000" dirty="0"/>
              </a:p>
            </p:txBody>
          </p:sp>
          <p:sp>
            <p:nvSpPr>
              <p:cNvPr id="11" name="Rectangle 10"/>
              <p:cNvSpPr/>
              <p:nvPr/>
            </p:nvSpPr>
            <p:spPr>
              <a:xfrm>
                <a:off x="2534213" y="2181519"/>
                <a:ext cx="1197764" cy="400110"/>
              </a:xfrm>
              <a:prstGeom prst="rect">
                <a:avLst/>
              </a:prstGeom>
            </p:spPr>
            <p:txBody>
              <a:bodyPr wrap="none">
                <a:spAutoFit/>
              </a:bodyPr>
              <a:lstStyle/>
              <a:p>
                <a:r>
                  <a:rPr lang="en-IN" sz="2000" b="1" dirty="0">
                    <a:solidFill>
                      <a:schemeClr val="bg1"/>
                    </a:solidFill>
                  </a:rPr>
                  <a:t>Heading</a:t>
                </a:r>
              </a:p>
            </p:txBody>
          </p:sp>
        </p:grpSp>
        <p:sp>
          <p:nvSpPr>
            <p:cNvPr id="7" name="Pentagon 6"/>
            <p:cNvSpPr/>
            <p:nvPr/>
          </p:nvSpPr>
          <p:spPr>
            <a:xfrm rot="5400000">
              <a:off x="1009107" y="1855366"/>
              <a:ext cx="1226820" cy="1295400"/>
            </a:xfrm>
            <a:prstGeom prst="homePlate">
              <a:avLst>
                <a:gd name="adj" fmla="val 1072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2000" dirty="0"/>
            </a:p>
          </p:txBody>
        </p:sp>
        <p:grpSp>
          <p:nvGrpSpPr>
            <p:cNvPr id="118" name="Group 117">
              <a:extLst>
                <a:ext uri="{FF2B5EF4-FFF2-40B4-BE49-F238E27FC236}">
                  <a16:creationId xmlns:a16="http://schemas.microsoft.com/office/drawing/2014/main" id="{F28E55FE-3545-823A-1637-A3841AD9DED6}"/>
                </a:ext>
              </a:extLst>
            </p:cNvPr>
            <p:cNvGrpSpPr/>
            <p:nvPr/>
          </p:nvGrpSpPr>
          <p:grpSpPr>
            <a:xfrm>
              <a:off x="1228504" y="2109054"/>
              <a:ext cx="788027" cy="788025"/>
              <a:chOff x="2921918" y="2732639"/>
              <a:chExt cx="788027" cy="788025"/>
            </a:xfrm>
          </p:grpSpPr>
          <p:sp>
            <p:nvSpPr>
              <p:cNvPr id="114" name="Google Shape;14803;p84">
                <a:extLst>
                  <a:ext uri="{FF2B5EF4-FFF2-40B4-BE49-F238E27FC236}">
                    <a16:creationId xmlns:a16="http://schemas.microsoft.com/office/drawing/2014/main" id="{411AF352-2AC8-609D-6850-96B5ED6679D9}"/>
                  </a:ext>
                </a:extLst>
              </p:cNvPr>
              <p:cNvSpPr/>
              <p:nvPr/>
            </p:nvSpPr>
            <p:spPr>
              <a:xfrm>
                <a:off x="2921918" y="2732639"/>
                <a:ext cx="788027" cy="788025"/>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15" name="Google Shape;14804;p84">
                <a:extLst>
                  <a:ext uri="{FF2B5EF4-FFF2-40B4-BE49-F238E27FC236}">
                    <a16:creationId xmlns:a16="http://schemas.microsoft.com/office/drawing/2014/main" id="{0FF284B1-66D3-D8C8-834D-A9D335309122}"/>
                  </a:ext>
                </a:extLst>
              </p:cNvPr>
              <p:cNvSpPr/>
              <p:nvPr/>
            </p:nvSpPr>
            <p:spPr>
              <a:xfrm>
                <a:off x="3068664" y="2881525"/>
                <a:ext cx="408047" cy="404199"/>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16" name="Google Shape;14805;p84">
                <a:extLst>
                  <a:ext uri="{FF2B5EF4-FFF2-40B4-BE49-F238E27FC236}">
                    <a16:creationId xmlns:a16="http://schemas.microsoft.com/office/drawing/2014/main" id="{45F45A0B-C758-9651-66BE-F127E729CA38}"/>
                  </a:ext>
                </a:extLst>
              </p:cNvPr>
              <p:cNvSpPr/>
              <p:nvPr/>
            </p:nvSpPr>
            <p:spPr>
              <a:xfrm>
                <a:off x="3155212" y="2953119"/>
                <a:ext cx="409683" cy="41823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17" name="Google Shape;14806;p84">
                <a:extLst>
                  <a:ext uri="{FF2B5EF4-FFF2-40B4-BE49-F238E27FC236}">
                    <a16:creationId xmlns:a16="http://schemas.microsoft.com/office/drawing/2014/main" id="{DF37DC5E-BB06-824E-E6D6-1D6FCEA99A89}"/>
                  </a:ext>
                </a:extLst>
              </p:cNvPr>
              <p:cNvSpPr/>
              <p:nvPr/>
            </p:nvSpPr>
            <p:spPr>
              <a:xfrm>
                <a:off x="3267971" y="3016713"/>
                <a:ext cx="98449" cy="3490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grpSp>
        <p:nvGrpSpPr>
          <p:cNvPr id="120" name="Group 119">
            <a:extLst>
              <a:ext uri="{FF2B5EF4-FFF2-40B4-BE49-F238E27FC236}">
                <a16:creationId xmlns:a16="http://schemas.microsoft.com/office/drawing/2014/main" id="{C4F68D1D-4E9F-BF3E-00F8-7CFD909FB131}"/>
              </a:ext>
            </a:extLst>
          </p:cNvPr>
          <p:cNvGrpSpPr/>
          <p:nvPr/>
        </p:nvGrpSpPr>
        <p:grpSpPr>
          <a:xfrm>
            <a:off x="9679305" y="1889656"/>
            <a:ext cx="7894320" cy="1226820"/>
            <a:chOff x="714375" y="1889656"/>
            <a:chExt cx="7894320" cy="1226820"/>
          </a:xfrm>
        </p:grpSpPr>
        <p:grpSp>
          <p:nvGrpSpPr>
            <p:cNvPr id="121" name="Group 120">
              <a:extLst>
                <a:ext uri="{FF2B5EF4-FFF2-40B4-BE49-F238E27FC236}">
                  <a16:creationId xmlns:a16="http://schemas.microsoft.com/office/drawing/2014/main" id="{2B8BF231-1E35-E115-29C7-46AACCC4D01A}"/>
                </a:ext>
              </a:extLst>
            </p:cNvPr>
            <p:cNvGrpSpPr/>
            <p:nvPr/>
          </p:nvGrpSpPr>
          <p:grpSpPr>
            <a:xfrm>
              <a:off x="714375" y="2019300"/>
              <a:ext cx="7894320" cy="724548"/>
              <a:chOff x="714375" y="2019300"/>
              <a:chExt cx="7894320" cy="724548"/>
            </a:xfrm>
          </p:grpSpPr>
          <p:sp>
            <p:nvSpPr>
              <p:cNvPr id="128" name="Rectangle 127">
                <a:extLst>
                  <a:ext uri="{FF2B5EF4-FFF2-40B4-BE49-F238E27FC236}">
                    <a16:creationId xmlns:a16="http://schemas.microsoft.com/office/drawing/2014/main" id="{ED7457DF-F326-098A-1281-D9F0EC1A750F}"/>
                  </a:ext>
                </a:extLst>
              </p:cNvPr>
              <p:cNvSpPr/>
              <p:nvPr/>
            </p:nvSpPr>
            <p:spPr>
              <a:xfrm flipV="1">
                <a:off x="714375" y="2019300"/>
                <a:ext cx="7894320" cy="72454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2000" dirty="0"/>
              </a:p>
            </p:txBody>
          </p:sp>
          <p:sp>
            <p:nvSpPr>
              <p:cNvPr id="129" name="Rectangle 128">
                <a:extLst>
                  <a:ext uri="{FF2B5EF4-FFF2-40B4-BE49-F238E27FC236}">
                    <a16:creationId xmlns:a16="http://schemas.microsoft.com/office/drawing/2014/main" id="{19361503-B09A-ED9A-1773-64EEBF64B548}"/>
                  </a:ext>
                </a:extLst>
              </p:cNvPr>
              <p:cNvSpPr/>
              <p:nvPr/>
            </p:nvSpPr>
            <p:spPr>
              <a:xfrm>
                <a:off x="2534213" y="2181519"/>
                <a:ext cx="1197764" cy="400110"/>
              </a:xfrm>
              <a:prstGeom prst="rect">
                <a:avLst/>
              </a:prstGeom>
            </p:spPr>
            <p:txBody>
              <a:bodyPr wrap="none">
                <a:spAutoFit/>
              </a:bodyPr>
              <a:lstStyle/>
              <a:p>
                <a:r>
                  <a:rPr lang="en-IN" sz="2000" b="1" dirty="0">
                    <a:solidFill>
                      <a:schemeClr val="bg1"/>
                    </a:solidFill>
                  </a:rPr>
                  <a:t>Heading</a:t>
                </a:r>
              </a:p>
            </p:txBody>
          </p:sp>
        </p:grpSp>
        <p:sp>
          <p:nvSpPr>
            <p:cNvPr id="122" name="Pentagon 6">
              <a:extLst>
                <a:ext uri="{FF2B5EF4-FFF2-40B4-BE49-F238E27FC236}">
                  <a16:creationId xmlns:a16="http://schemas.microsoft.com/office/drawing/2014/main" id="{1493B87A-86C9-6DE4-8732-D0D31B64EFCE}"/>
                </a:ext>
              </a:extLst>
            </p:cNvPr>
            <p:cNvSpPr/>
            <p:nvPr/>
          </p:nvSpPr>
          <p:spPr>
            <a:xfrm rot="5400000">
              <a:off x="1009107" y="1855366"/>
              <a:ext cx="1226820" cy="1295400"/>
            </a:xfrm>
            <a:prstGeom prst="homePlate">
              <a:avLst>
                <a:gd name="adj" fmla="val 1072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2000" dirty="0"/>
            </a:p>
          </p:txBody>
        </p:sp>
        <p:grpSp>
          <p:nvGrpSpPr>
            <p:cNvPr id="123" name="Group 122">
              <a:extLst>
                <a:ext uri="{FF2B5EF4-FFF2-40B4-BE49-F238E27FC236}">
                  <a16:creationId xmlns:a16="http://schemas.microsoft.com/office/drawing/2014/main" id="{E435F6E7-5C21-53C4-F634-9903772C24B5}"/>
                </a:ext>
              </a:extLst>
            </p:cNvPr>
            <p:cNvGrpSpPr/>
            <p:nvPr/>
          </p:nvGrpSpPr>
          <p:grpSpPr>
            <a:xfrm>
              <a:off x="1228504" y="2109054"/>
              <a:ext cx="788027" cy="788025"/>
              <a:chOff x="2921918" y="2732639"/>
              <a:chExt cx="788027" cy="788025"/>
            </a:xfrm>
          </p:grpSpPr>
          <p:sp>
            <p:nvSpPr>
              <p:cNvPr id="124" name="Google Shape;14803;p84">
                <a:extLst>
                  <a:ext uri="{FF2B5EF4-FFF2-40B4-BE49-F238E27FC236}">
                    <a16:creationId xmlns:a16="http://schemas.microsoft.com/office/drawing/2014/main" id="{1594F597-097D-AA19-0BDF-34CD77288772}"/>
                  </a:ext>
                </a:extLst>
              </p:cNvPr>
              <p:cNvSpPr/>
              <p:nvPr/>
            </p:nvSpPr>
            <p:spPr>
              <a:xfrm>
                <a:off x="2921918" y="2732639"/>
                <a:ext cx="788027" cy="788025"/>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25" name="Google Shape;14804;p84">
                <a:extLst>
                  <a:ext uri="{FF2B5EF4-FFF2-40B4-BE49-F238E27FC236}">
                    <a16:creationId xmlns:a16="http://schemas.microsoft.com/office/drawing/2014/main" id="{ED763231-5E86-39D9-BDAB-0566B73F91B2}"/>
                  </a:ext>
                </a:extLst>
              </p:cNvPr>
              <p:cNvSpPr/>
              <p:nvPr/>
            </p:nvSpPr>
            <p:spPr>
              <a:xfrm>
                <a:off x="3068664" y="2881525"/>
                <a:ext cx="408047" cy="404199"/>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26" name="Google Shape;14805;p84">
                <a:extLst>
                  <a:ext uri="{FF2B5EF4-FFF2-40B4-BE49-F238E27FC236}">
                    <a16:creationId xmlns:a16="http://schemas.microsoft.com/office/drawing/2014/main" id="{ECE8C6E9-021D-2514-65BB-B908E64872B0}"/>
                  </a:ext>
                </a:extLst>
              </p:cNvPr>
              <p:cNvSpPr/>
              <p:nvPr/>
            </p:nvSpPr>
            <p:spPr>
              <a:xfrm>
                <a:off x="3155212" y="2953119"/>
                <a:ext cx="409683" cy="41823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27" name="Google Shape;14806;p84">
                <a:extLst>
                  <a:ext uri="{FF2B5EF4-FFF2-40B4-BE49-F238E27FC236}">
                    <a16:creationId xmlns:a16="http://schemas.microsoft.com/office/drawing/2014/main" id="{87C25D7C-87BB-166A-DF7C-2659543BB028}"/>
                  </a:ext>
                </a:extLst>
              </p:cNvPr>
              <p:cNvSpPr/>
              <p:nvPr/>
            </p:nvSpPr>
            <p:spPr>
              <a:xfrm>
                <a:off x="3267971" y="3016713"/>
                <a:ext cx="98449" cy="3490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chemeClr val="bg2"/>
              </a:solidFill>
              <a:ln>
                <a:no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sp>
        <p:nvSpPr>
          <p:cNvPr id="5" name="Slide Number Placeholder 4">
            <a:extLst>
              <a:ext uri="{FF2B5EF4-FFF2-40B4-BE49-F238E27FC236}">
                <a16:creationId xmlns:a16="http://schemas.microsoft.com/office/drawing/2014/main" id="{3C483A8D-4883-8719-02CB-1AFEA3EE794B}"/>
              </a:ext>
            </a:extLst>
          </p:cNvPr>
          <p:cNvSpPr>
            <a:spLocks noGrp="1"/>
          </p:cNvSpPr>
          <p:nvPr>
            <p:ph type="sldNum" sz="quarter" idx="12"/>
          </p:nvPr>
        </p:nvSpPr>
        <p:spPr/>
        <p:txBody>
          <a:bodyPr/>
          <a:lstStyle/>
          <a:p>
            <a:fld id="{E2D680B1-7F17-42D2-83E2-2C9AC13983BB}" type="slidenum">
              <a:rPr lang="en-US" smtClean="0"/>
              <a:t>80</a:t>
            </a:fld>
            <a:endParaRPr lang="en-US" dirty="0"/>
          </a:p>
        </p:txBody>
      </p:sp>
    </p:spTree>
    <p:extLst>
      <p:ext uri="{BB962C8B-B14F-4D97-AF65-F5344CB8AC3E}">
        <p14:creationId xmlns:p14="http://schemas.microsoft.com/office/powerpoint/2010/main" val="406763342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4531546-0423-2320-2477-9E6264E37E35}"/>
              </a:ext>
            </a:extLst>
          </p:cNvPr>
          <p:cNvGrpSpPr/>
          <p:nvPr/>
        </p:nvGrpSpPr>
        <p:grpSpPr>
          <a:xfrm>
            <a:off x="714376" y="3751385"/>
            <a:ext cx="4936147" cy="5486843"/>
            <a:chOff x="714376" y="3751385"/>
            <a:chExt cx="5057516" cy="5486843"/>
          </a:xfrm>
        </p:grpSpPr>
        <p:sp>
          <p:nvSpPr>
            <p:cNvPr id="20" name="Rectangle 19"/>
            <p:cNvSpPr/>
            <p:nvPr/>
          </p:nvSpPr>
          <p:spPr>
            <a:xfrm>
              <a:off x="714376" y="4517069"/>
              <a:ext cx="5048812" cy="472115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22" name="Rectangle 21"/>
            <p:cNvSpPr/>
            <p:nvPr/>
          </p:nvSpPr>
          <p:spPr>
            <a:xfrm>
              <a:off x="714376" y="3751385"/>
              <a:ext cx="5057516" cy="69969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r>
                <a:rPr lang="en-IN" sz="2000" b="1" dirty="0">
                  <a:solidFill>
                    <a:schemeClr val="bg1"/>
                  </a:solidFill>
                </a:rPr>
                <a:t>Heading</a:t>
              </a:r>
              <a:endParaRPr lang="en-US" sz="2000" b="1" dirty="0">
                <a:solidFill>
                  <a:schemeClr val="bg1"/>
                </a:solidFill>
              </a:endParaRPr>
            </a:p>
          </p:txBody>
        </p:sp>
      </p:grpSp>
      <p:grpSp>
        <p:nvGrpSpPr>
          <p:cNvPr id="37" name="Group 36"/>
          <p:cNvGrpSpPr/>
          <p:nvPr/>
        </p:nvGrpSpPr>
        <p:grpSpPr>
          <a:xfrm rot="19800000">
            <a:off x="6001229" y="3344520"/>
            <a:ext cx="6285543" cy="6396732"/>
            <a:chOff x="2837543" y="2009461"/>
            <a:chExt cx="3468915" cy="3530278"/>
          </a:xfrm>
        </p:grpSpPr>
        <p:grpSp>
          <p:nvGrpSpPr>
            <p:cNvPr id="13" name="Group 12"/>
            <p:cNvGrpSpPr/>
            <p:nvPr/>
          </p:nvGrpSpPr>
          <p:grpSpPr>
            <a:xfrm>
              <a:off x="2837543" y="2009461"/>
              <a:ext cx="3468915" cy="3530278"/>
              <a:chOff x="2429114" y="1617368"/>
              <a:chExt cx="4239470" cy="4314464"/>
            </a:xfrm>
          </p:grpSpPr>
          <p:sp>
            <p:nvSpPr>
              <p:cNvPr id="14" name="Block Arc 5"/>
              <p:cNvSpPr/>
              <p:nvPr/>
            </p:nvSpPr>
            <p:spPr>
              <a:xfrm rot="7200000" flipH="1">
                <a:off x="3968792" y="3232040"/>
                <a:ext cx="3159890" cy="2239694"/>
              </a:xfrm>
              <a:custGeom>
                <a:avLst/>
                <a:gdLst/>
                <a:ahLst/>
                <a:cxnLst/>
                <a:rect l="l" t="t" r="r" b="b"/>
                <a:pathLst>
                  <a:path w="3159890" h="2239694">
                    <a:moveTo>
                      <a:pt x="3159890" y="2239694"/>
                    </a:moveTo>
                    <a:cubicBezTo>
                      <a:pt x="3159890" y="1438819"/>
                      <a:pt x="2564005" y="777122"/>
                      <a:pt x="1791183" y="675491"/>
                    </a:cubicBezTo>
                    <a:lnTo>
                      <a:pt x="1791183" y="422476"/>
                    </a:lnTo>
                    <a:lnTo>
                      <a:pt x="2002421" y="422476"/>
                    </a:lnTo>
                    <a:lnTo>
                      <a:pt x="1579945" y="0"/>
                    </a:lnTo>
                    <a:lnTo>
                      <a:pt x="1157469" y="422476"/>
                    </a:lnTo>
                    <a:lnTo>
                      <a:pt x="1368707" y="422476"/>
                    </a:lnTo>
                    <a:lnTo>
                      <a:pt x="1368707" y="675491"/>
                    </a:lnTo>
                    <a:cubicBezTo>
                      <a:pt x="595885" y="777122"/>
                      <a:pt x="0" y="1438819"/>
                      <a:pt x="0" y="2239694"/>
                    </a:cubicBezTo>
                    <a:lnTo>
                      <a:pt x="789973" y="2239694"/>
                    </a:lnTo>
                    <a:cubicBezTo>
                      <a:pt x="789973" y="1803405"/>
                      <a:pt x="1143656" y="1449722"/>
                      <a:pt x="1579945" y="1449722"/>
                    </a:cubicBezTo>
                    <a:cubicBezTo>
                      <a:pt x="2016234" y="1449722"/>
                      <a:pt x="2369917" y="1803405"/>
                      <a:pt x="2369917" y="2239694"/>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b="1" dirty="0">
                  <a:solidFill>
                    <a:schemeClr val="tx1"/>
                  </a:solidFill>
                </a:endParaRPr>
              </a:p>
            </p:txBody>
          </p:sp>
          <p:sp>
            <p:nvSpPr>
              <p:cNvPr id="15" name="Right Arrow 8"/>
              <p:cNvSpPr/>
              <p:nvPr/>
            </p:nvSpPr>
            <p:spPr>
              <a:xfrm rot="1800000" flipH="1">
                <a:off x="2429114" y="1617368"/>
                <a:ext cx="2239694" cy="3159890"/>
              </a:xfrm>
              <a:custGeom>
                <a:avLst/>
                <a:gdLst/>
                <a:ahLst/>
                <a:cxnLst/>
                <a:rect l="l" t="t" r="r" b="b"/>
                <a:pathLst>
                  <a:path w="2239694" h="3159890">
                    <a:moveTo>
                      <a:pt x="0" y="0"/>
                    </a:moveTo>
                    <a:lnTo>
                      <a:pt x="0" y="789973"/>
                    </a:lnTo>
                    <a:cubicBezTo>
                      <a:pt x="436289" y="789973"/>
                      <a:pt x="789972" y="1143656"/>
                      <a:pt x="789972" y="1579945"/>
                    </a:cubicBezTo>
                    <a:cubicBezTo>
                      <a:pt x="789972" y="2016234"/>
                      <a:pt x="436289" y="2369917"/>
                      <a:pt x="0" y="2369917"/>
                    </a:cubicBezTo>
                    <a:lnTo>
                      <a:pt x="0" y="3159890"/>
                    </a:lnTo>
                    <a:cubicBezTo>
                      <a:pt x="800875" y="3159890"/>
                      <a:pt x="1462572" y="2564006"/>
                      <a:pt x="1564203" y="1791184"/>
                    </a:cubicBezTo>
                    <a:lnTo>
                      <a:pt x="1817218" y="1791184"/>
                    </a:lnTo>
                    <a:lnTo>
                      <a:pt x="1817218" y="2002422"/>
                    </a:lnTo>
                    <a:lnTo>
                      <a:pt x="2239694" y="1579946"/>
                    </a:lnTo>
                    <a:lnTo>
                      <a:pt x="1817218" y="1157470"/>
                    </a:lnTo>
                    <a:lnTo>
                      <a:pt x="1817218" y="1368708"/>
                    </a:lnTo>
                    <a:lnTo>
                      <a:pt x="1564203" y="1368708"/>
                    </a:lnTo>
                    <a:cubicBezTo>
                      <a:pt x="1462573" y="595886"/>
                      <a:pt x="800875" y="0"/>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b="1" dirty="0">
                  <a:solidFill>
                    <a:schemeClr val="tx1"/>
                  </a:solidFill>
                </a:endParaRPr>
              </a:p>
            </p:txBody>
          </p:sp>
        </p:grpSp>
        <p:sp>
          <p:nvSpPr>
            <p:cNvPr id="17" name="Rectangle 16"/>
            <p:cNvSpPr/>
            <p:nvPr/>
          </p:nvSpPr>
          <p:spPr>
            <a:xfrm rot="1800000">
              <a:off x="3281960" y="3050572"/>
              <a:ext cx="451914" cy="177479"/>
            </a:xfrm>
            <a:prstGeom prst="rect">
              <a:avLst/>
            </a:prstGeom>
          </p:spPr>
          <p:txBody>
            <a:bodyPr wrap="none" lIns="0" tIns="0" rIns="0" bIns="0" anchor="ctr">
              <a:spAutoFit/>
            </a:bodyPr>
            <a:lstStyle/>
            <a:p>
              <a:pPr algn="ctr"/>
              <a:r>
                <a:rPr lang="da-DK" b="1" dirty="0">
                  <a:solidFill>
                    <a:schemeClr val="bg1"/>
                  </a:solidFill>
                </a:rPr>
                <a:t>Lorem</a:t>
              </a:r>
            </a:p>
          </p:txBody>
        </p:sp>
        <p:sp>
          <p:nvSpPr>
            <p:cNvPr id="18" name="Rectangle 17"/>
            <p:cNvSpPr/>
            <p:nvPr/>
          </p:nvSpPr>
          <p:spPr>
            <a:xfrm rot="1800000">
              <a:off x="5427361" y="4293932"/>
              <a:ext cx="389258" cy="152872"/>
            </a:xfrm>
            <a:prstGeom prst="rect">
              <a:avLst/>
            </a:prstGeom>
          </p:spPr>
          <p:txBody>
            <a:bodyPr wrap="none" lIns="0" tIns="0" rIns="0" bIns="0" anchor="ctr">
              <a:spAutoFit/>
            </a:bodyPr>
            <a:lstStyle/>
            <a:p>
              <a:pPr algn="ctr"/>
              <a:r>
                <a:rPr lang="da-DK" b="1" dirty="0">
                  <a:solidFill>
                    <a:schemeClr val="bg1"/>
                  </a:solidFill>
                </a:rPr>
                <a:t>Lorem</a:t>
              </a:r>
            </a:p>
          </p:txBody>
        </p:sp>
      </p:grpSp>
      <p:sp>
        <p:nvSpPr>
          <p:cNvPr id="26" name="Flowchart: Process 25"/>
          <p:cNvSpPr/>
          <p:nvPr/>
        </p:nvSpPr>
        <p:spPr>
          <a:xfrm>
            <a:off x="714375" y="1892299"/>
            <a:ext cx="16859250" cy="1528331"/>
          </a:xfrm>
          <a:prstGeom prst="flowChartProcess">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nchorCtr="0"/>
          <a:lstStyle/>
          <a:p>
            <a:pPr marL="0" indent="0">
              <a:spcBef>
                <a:spcPts val="0"/>
              </a:spcBef>
              <a:spcAft>
                <a:spcPts val="900"/>
              </a:spcAft>
              <a:buNone/>
            </a:pPr>
            <a:r>
              <a:rPr lang="en-IN" sz="2400" dirty="0">
                <a:solidFill>
                  <a:schemeClr val="tx1"/>
                </a:solidFill>
              </a:rPr>
              <a:t>Lorem ipsum dolor sit amet, diam eloquentiam neglegentur no eos, ne usu omittam copiosae insolens. His an nihil verear verterem, volutpat scriptorem est ea, in quem malis maiestatis vel. Illud suscipiantur his id, elit consul patrioque vis ad. Persius delicata sea ut. </a:t>
            </a:r>
          </a:p>
        </p:txBody>
      </p:sp>
      <p:sp>
        <p:nvSpPr>
          <p:cNvPr id="4" name="Title 3"/>
          <p:cNvSpPr>
            <a:spLocks noGrp="1"/>
          </p:cNvSpPr>
          <p:nvPr>
            <p:ph type="title"/>
          </p:nvPr>
        </p:nvSpPr>
        <p:spPr>
          <a:xfrm>
            <a:off x="714375" y="317500"/>
            <a:ext cx="16859250" cy="1266827"/>
          </a:xfrm>
        </p:spPr>
        <p:txBody>
          <a:bodyPr/>
          <a:lstStyle/>
          <a:p>
            <a:r>
              <a:rPr lang="en-IN" dirty="0"/>
              <a:t>Framework slide</a:t>
            </a:r>
            <a:endParaRPr lang="en-US" dirty="0"/>
          </a:p>
        </p:txBody>
      </p:sp>
      <p:grpSp>
        <p:nvGrpSpPr>
          <p:cNvPr id="10" name="Group 9">
            <a:extLst>
              <a:ext uri="{FF2B5EF4-FFF2-40B4-BE49-F238E27FC236}">
                <a16:creationId xmlns:a16="http://schemas.microsoft.com/office/drawing/2014/main" id="{00D81A59-079E-6EA6-4771-41946C1F6558}"/>
              </a:ext>
            </a:extLst>
          </p:cNvPr>
          <p:cNvGrpSpPr/>
          <p:nvPr/>
        </p:nvGrpSpPr>
        <p:grpSpPr>
          <a:xfrm>
            <a:off x="12637478" y="3751385"/>
            <a:ext cx="4936147" cy="5486843"/>
            <a:chOff x="714376" y="3751385"/>
            <a:chExt cx="5057516" cy="5486843"/>
          </a:xfrm>
        </p:grpSpPr>
        <p:sp>
          <p:nvSpPr>
            <p:cNvPr id="11" name="Rectangle 10">
              <a:extLst>
                <a:ext uri="{FF2B5EF4-FFF2-40B4-BE49-F238E27FC236}">
                  <a16:creationId xmlns:a16="http://schemas.microsoft.com/office/drawing/2014/main" id="{D55C583F-E9C5-E280-0FD0-C9E209D5DEF3}"/>
                </a:ext>
              </a:extLst>
            </p:cNvPr>
            <p:cNvSpPr/>
            <p:nvPr/>
          </p:nvSpPr>
          <p:spPr>
            <a:xfrm>
              <a:off x="714376" y="4517069"/>
              <a:ext cx="5048812" cy="472115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18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12" name="Rectangle 11">
              <a:extLst>
                <a:ext uri="{FF2B5EF4-FFF2-40B4-BE49-F238E27FC236}">
                  <a16:creationId xmlns:a16="http://schemas.microsoft.com/office/drawing/2014/main" id="{7461FA7B-4E16-2837-9044-E8F72A239819}"/>
                </a:ext>
              </a:extLst>
            </p:cNvPr>
            <p:cNvSpPr/>
            <p:nvPr/>
          </p:nvSpPr>
          <p:spPr>
            <a:xfrm>
              <a:off x="714376" y="3751385"/>
              <a:ext cx="5057516" cy="69969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r>
                <a:rPr lang="en-IN" sz="2000" b="1" dirty="0">
                  <a:solidFill>
                    <a:schemeClr val="bg1"/>
                  </a:solidFill>
                </a:rPr>
                <a:t>Heading</a:t>
              </a:r>
              <a:endParaRPr lang="en-US" sz="2000" b="1" dirty="0">
                <a:solidFill>
                  <a:schemeClr val="bg1"/>
                </a:solidFill>
              </a:endParaRPr>
            </a:p>
          </p:txBody>
        </p:sp>
      </p:grpSp>
      <p:sp>
        <p:nvSpPr>
          <p:cNvPr id="3" name="Slide Number Placeholder 2">
            <a:extLst>
              <a:ext uri="{FF2B5EF4-FFF2-40B4-BE49-F238E27FC236}">
                <a16:creationId xmlns:a16="http://schemas.microsoft.com/office/drawing/2014/main" id="{B53EF3E4-048B-E6B0-B93D-082DFC57035E}"/>
              </a:ext>
            </a:extLst>
          </p:cNvPr>
          <p:cNvSpPr>
            <a:spLocks noGrp="1"/>
          </p:cNvSpPr>
          <p:nvPr>
            <p:ph type="sldNum" sz="quarter" idx="12"/>
          </p:nvPr>
        </p:nvSpPr>
        <p:spPr/>
        <p:txBody>
          <a:bodyPr/>
          <a:lstStyle/>
          <a:p>
            <a:fld id="{E2D680B1-7F17-42D2-83E2-2C9AC13983BB}" type="slidenum">
              <a:rPr lang="en-US" smtClean="0"/>
              <a:t>81</a:t>
            </a:fld>
            <a:endParaRPr lang="en-US" dirty="0"/>
          </a:p>
        </p:txBody>
      </p:sp>
    </p:spTree>
    <p:extLst>
      <p:ext uri="{BB962C8B-B14F-4D97-AF65-F5344CB8AC3E}">
        <p14:creationId xmlns:p14="http://schemas.microsoft.com/office/powerpoint/2010/main" val="373085492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08FEC92-9E16-4032-ABE1-C50B597D52C3}"/>
              </a:ext>
            </a:extLst>
          </p:cNvPr>
          <p:cNvGraphicFramePr>
            <a:graphicFrameLocks noChangeAspect="1"/>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A08FEC92-9E16-4032-ABE1-C50B597D52C3}"/>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8ECC488-428F-CEFD-9855-53EAC73A6FDB}"/>
              </a:ext>
            </a:extLst>
          </p:cNvPr>
          <p:cNvSpPr>
            <a:spLocks noGrp="1"/>
          </p:cNvSpPr>
          <p:nvPr>
            <p:ph type="title"/>
          </p:nvPr>
        </p:nvSpPr>
        <p:spPr>
          <a:xfrm>
            <a:off x="714375" y="317500"/>
            <a:ext cx="16859250" cy="1266827"/>
          </a:xfrm>
        </p:spPr>
        <p:txBody>
          <a:bodyPr/>
          <a:lstStyle/>
          <a:p>
            <a:r>
              <a:rPr lang="en-IN" dirty="0"/>
              <a:t>Framework slide – Objectives</a:t>
            </a:r>
            <a:endParaRPr lang="en-US" dirty="0"/>
          </a:p>
        </p:txBody>
      </p:sp>
      <p:grpSp>
        <p:nvGrpSpPr>
          <p:cNvPr id="21" name="Group 20">
            <a:extLst>
              <a:ext uri="{FF2B5EF4-FFF2-40B4-BE49-F238E27FC236}">
                <a16:creationId xmlns:a16="http://schemas.microsoft.com/office/drawing/2014/main" id="{3A577FAE-F131-517E-9553-E1AEDCD1FD26}"/>
              </a:ext>
            </a:extLst>
          </p:cNvPr>
          <p:cNvGrpSpPr/>
          <p:nvPr/>
        </p:nvGrpSpPr>
        <p:grpSpPr>
          <a:xfrm>
            <a:off x="767582" y="1889194"/>
            <a:ext cx="16806042" cy="7369106"/>
            <a:chOff x="767582" y="1889194"/>
            <a:chExt cx="16806042" cy="7369106"/>
          </a:xfrm>
        </p:grpSpPr>
        <p:sp>
          <p:nvSpPr>
            <p:cNvPr id="49" name="Content Placeholder 2">
              <a:extLst>
                <a:ext uri="{FF2B5EF4-FFF2-40B4-BE49-F238E27FC236}">
                  <a16:creationId xmlns:a16="http://schemas.microsoft.com/office/drawing/2014/main" id="{2A1E986C-833B-4AD4-A2D7-1ECA6AF5BC3A}"/>
                </a:ext>
              </a:extLst>
            </p:cNvPr>
            <p:cNvSpPr txBox="1">
              <a:spLocks/>
            </p:cNvSpPr>
            <p:nvPr/>
          </p:nvSpPr>
          <p:spPr>
            <a:xfrm>
              <a:off x="11568919" y="2579448"/>
              <a:ext cx="5398730" cy="2031325"/>
            </a:xfrm>
            <a:prstGeom prst="rect">
              <a:avLst/>
            </a:prstGeom>
          </p:spPr>
          <p:txBody>
            <a:bodyPr wrap="square" lIns="0" tIns="0" rIns="0" bIns="0">
              <a:spAutoFit/>
            </a:bodyPr>
            <a:lstStyle>
              <a:lvl1pPr marL="0" indent="0" algn="l" defTabSz="1632753" rtl="0" eaLnBrk="1" latinLnBrk="0" hangingPunct="1">
                <a:spcBef>
                  <a:spcPct val="20000"/>
                </a:spcBef>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1pPr>
              <a:lvl2pPr marL="1326612" indent="-510235"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2040941"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3pPr>
              <a:lvl4pPr marL="2857317"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3673693"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4490070"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6pPr>
              <a:lvl7pPr marL="5306446"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7pPr>
              <a:lvl8pPr marL="6122822"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8pPr>
              <a:lvl9pPr marL="6939199"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9pPr>
            </a:lstStyle>
            <a:p>
              <a:pPr marL="360000" indent="-360000">
                <a:spcBef>
                  <a:spcPts val="300"/>
                </a:spcBef>
                <a:spcAft>
                  <a:spcPts val="300"/>
                </a:spcAft>
                <a:buClr>
                  <a:schemeClr val="accent1"/>
                </a:buClr>
                <a:buSzPct val="100000"/>
                <a:buFont typeface="Symbol" panose="05050102010706020507" pitchFamily="18" charset="2"/>
                <a:buChar char=""/>
              </a:pPr>
              <a:r>
                <a:rPr lang="en-US" sz="2200" dirty="0">
                  <a:ea typeface="Calibri" panose="020F0502020204030204" pitchFamily="34" charset="0"/>
                </a:rPr>
                <a:t>Lorem ipsum dolor sit amet, consectetuer adipiscing elit. Maecenas porttitor congue massa. Fusce posuere, magna sed pulvinar Nunc viverra imperdiet enim. Fusce est. Vivamus a tellus.</a:t>
              </a:r>
            </a:p>
          </p:txBody>
        </p:sp>
        <p:sp>
          <p:nvSpPr>
            <p:cNvPr id="50" name="Content Placeholder 2">
              <a:extLst>
                <a:ext uri="{FF2B5EF4-FFF2-40B4-BE49-F238E27FC236}">
                  <a16:creationId xmlns:a16="http://schemas.microsoft.com/office/drawing/2014/main" id="{2BF50DFF-FE82-49CA-BAEF-7B3C76937785}"/>
                </a:ext>
              </a:extLst>
            </p:cNvPr>
            <p:cNvSpPr txBox="1">
              <a:spLocks/>
            </p:cNvSpPr>
            <p:nvPr/>
          </p:nvSpPr>
          <p:spPr>
            <a:xfrm>
              <a:off x="11568919" y="6365965"/>
              <a:ext cx="5398730" cy="2031325"/>
            </a:xfrm>
            <a:prstGeom prst="rect">
              <a:avLst/>
            </a:prstGeom>
          </p:spPr>
          <p:txBody>
            <a:bodyPr wrap="square" lIns="0" tIns="0" rIns="0" bIns="0">
              <a:spAutoFit/>
            </a:bodyPr>
            <a:lstStyle>
              <a:lvl1pPr marL="0" indent="0" algn="l" defTabSz="1632753" rtl="0" eaLnBrk="1" latinLnBrk="0" hangingPunct="1">
                <a:spcBef>
                  <a:spcPct val="20000"/>
                </a:spcBef>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1pPr>
              <a:lvl2pPr marL="1326612" indent="-510235"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2040941"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3pPr>
              <a:lvl4pPr marL="2857317"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3673693"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4490070"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6pPr>
              <a:lvl7pPr marL="5306446"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7pPr>
              <a:lvl8pPr marL="6122822"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8pPr>
              <a:lvl9pPr marL="6939199"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9pPr>
            </a:lstStyle>
            <a:p>
              <a:pPr marL="360000" indent="-360000">
                <a:spcBef>
                  <a:spcPts val="300"/>
                </a:spcBef>
                <a:spcAft>
                  <a:spcPts val="300"/>
                </a:spcAft>
                <a:buClr>
                  <a:schemeClr val="accent1"/>
                </a:buClr>
                <a:buSzPct val="100000"/>
                <a:buFont typeface="Symbol" panose="05050102010706020507" pitchFamily="18" charset="2"/>
                <a:buChar char=""/>
              </a:pPr>
              <a:r>
                <a:rPr lang="en-US" sz="2200" dirty="0">
                  <a:ea typeface="Calibri" panose="020F0502020204030204" pitchFamily="34" charset="0"/>
                </a:rPr>
                <a:t>Lorem ipsum dolor sit amet, consectetuer adipiscing elit. Maecenas porttitor congue massa. Fusce posuere, magna sed pulvinar Nunc viverra imperdiet enim. Fusce est. Vivamus a tellus.</a:t>
              </a:r>
            </a:p>
          </p:txBody>
        </p:sp>
        <p:sp>
          <p:nvSpPr>
            <p:cNvPr id="51" name="Content Placeholder 2">
              <a:extLst>
                <a:ext uri="{FF2B5EF4-FFF2-40B4-BE49-F238E27FC236}">
                  <a16:creationId xmlns:a16="http://schemas.microsoft.com/office/drawing/2014/main" id="{4701E2E9-0F87-4D40-AF4A-7724562F2519}"/>
                </a:ext>
              </a:extLst>
            </p:cNvPr>
            <p:cNvSpPr txBox="1">
              <a:spLocks/>
            </p:cNvSpPr>
            <p:nvPr/>
          </p:nvSpPr>
          <p:spPr>
            <a:xfrm>
              <a:off x="1246315" y="6387273"/>
              <a:ext cx="4960722" cy="2010017"/>
            </a:xfrm>
            <a:prstGeom prst="rect">
              <a:avLst/>
            </a:prstGeom>
          </p:spPr>
          <p:txBody>
            <a:bodyPr wrap="square" lIns="0" tIns="0" rIns="0" bIns="0">
              <a:spAutoFit/>
            </a:bodyPr>
            <a:lstStyle>
              <a:lvl1pPr marL="0" indent="0" algn="l" defTabSz="1632753" rtl="0" eaLnBrk="1" latinLnBrk="0" hangingPunct="1">
                <a:spcBef>
                  <a:spcPct val="20000"/>
                </a:spcBef>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1pPr>
              <a:lvl2pPr marL="1326612" indent="-510235"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2040941"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3pPr>
              <a:lvl4pPr marL="2857317"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3673693" indent="-408188" algn="l" defTabSz="163275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4490070"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6pPr>
              <a:lvl7pPr marL="5306446"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7pPr>
              <a:lvl8pPr marL="6122822"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8pPr>
              <a:lvl9pPr marL="6939199" indent="-408188" algn="l" defTabSz="1632753"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9pPr>
            </a:lstStyle>
            <a:p>
              <a:pPr marL="360000" indent="-360000">
                <a:spcBef>
                  <a:spcPts val="300"/>
                </a:spcBef>
                <a:spcAft>
                  <a:spcPts val="300"/>
                </a:spcAft>
                <a:buClr>
                  <a:schemeClr val="accent1"/>
                </a:buClr>
                <a:buSzPct val="100000"/>
                <a:buFont typeface="Symbol" panose="05050102010706020507" pitchFamily="18" charset="2"/>
                <a:buChar char=""/>
              </a:pPr>
              <a:r>
                <a:rPr lang="en-US" sz="2200" dirty="0">
                  <a:ea typeface="Calibri" panose="020F0502020204030204" pitchFamily="34" charset="0"/>
                </a:rPr>
                <a:t>Lorem ipsum dolor sit amet, consectetuer adipiscing elit. Maecenas porttitor congue massa. Fusce posuere, magna sed pulvinar Nunc viverra imperdiet enim. Fusce est. Vivamus a tellus.</a:t>
              </a:r>
            </a:p>
          </p:txBody>
        </p:sp>
        <p:grpSp>
          <p:nvGrpSpPr>
            <p:cNvPr id="10" name="Group 9">
              <a:extLst>
                <a:ext uri="{FF2B5EF4-FFF2-40B4-BE49-F238E27FC236}">
                  <a16:creationId xmlns:a16="http://schemas.microsoft.com/office/drawing/2014/main" id="{8B9C3BF7-79A6-4A5E-B05B-AD02BCF0F5BF}"/>
                </a:ext>
              </a:extLst>
            </p:cNvPr>
            <p:cNvGrpSpPr/>
            <p:nvPr/>
          </p:nvGrpSpPr>
          <p:grpSpPr>
            <a:xfrm>
              <a:off x="4723794" y="1889194"/>
              <a:ext cx="6744272" cy="7369106"/>
              <a:chOff x="4866394" y="1889194"/>
              <a:chExt cx="6988722" cy="7447226"/>
            </a:xfrm>
          </p:grpSpPr>
          <p:sp>
            <p:nvSpPr>
              <p:cNvPr id="33" name="Freeform 6">
                <a:extLst>
                  <a:ext uri="{FF2B5EF4-FFF2-40B4-BE49-F238E27FC236}">
                    <a16:creationId xmlns:a16="http://schemas.microsoft.com/office/drawing/2014/main" id="{1130D72E-1C03-4BDA-8549-3B998FF6E350}"/>
                  </a:ext>
                </a:extLst>
              </p:cNvPr>
              <p:cNvSpPr>
                <a:spLocks/>
              </p:cNvSpPr>
              <p:nvPr/>
            </p:nvSpPr>
            <p:spPr bwMode="auto">
              <a:xfrm>
                <a:off x="9516278" y="1889194"/>
                <a:ext cx="1444984" cy="2019273"/>
              </a:xfrm>
              <a:custGeom>
                <a:avLst/>
                <a:gdLst>
                  <a:gd name="T0" fmla="*/ 256 w 256"/>
                  <a:gd name="T1" fmla="*/ 0 h 359"/>
                  <a:gd name="T2" fmla="*/ 219 w 256"/>
                  <a:gd name="T3" fmla="*/ 74 h 359"/>
                  <a:gd name="T4" fmla="*/ 141 w 256"/>
                  <a:gd name="T5" fmla="*/ 216 h 359"/>
                  <a:gd name="T6" fmla="*/ 69 w 256"/>
                  <a:gd name="T7" fmla="*/ 350 h 359"/>
                  <a:gd name="T8" fmla="*/ 61 w 256"/>
                  <a:gd name="T9" fmla="*/ 359 h 359"/>
                  <a:gd name="T10" fmla="*/ 4 w 256"/>
                  <a:gd name="T11" fmla="*/ 301 h 359"/>
                  <a:gd name="T12" fmla="*/ 1 w 256"/>
                  <a:gd name="T13" fmla="*/ 287 h 359"/>
                  <a:gd name="T14" fmla="*/ 82 w 256"/>
                  <a:gd name="T15" fmla="*/ 3 h 359"/>
                  <a:gd name="T16" fmla="*/ 83 w 256"/>
                  <a:gd name="T17" fmla="*/ 0 h 359"/>
                  <a:gd name="T18" fmla="*/ 256 w 256"/>
                  <a:gd name="T19"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359">
                    <a:moveTo>
                      <a:pt x="256" y="0"/>
                    </a:moveTo>
                    <a:cubicBezTo>
                      <a:pt x="244" y="25"/>
                      <a:pt x="232" y="50"/>
                      <a:pt x="219" y="74"/>
                    </a:cubicBezTo>
                    <a:cubicBezTo>
                      <a:pt x="194" y="122"/>
                      <a:pt x="167" y="169"/>
                      <a:pt x="141" y="216"/>
                    </a:cubicBezTo>
                    <a:cubicBezTo>
                      <a:pt x="117" y="261"/>
                      <a:pt x="93" y="305"/>
                      <a:pt x="69" y="350"/>
                    </a:cubicBezTo>
                    <a:cubicBezTo>
                      <a:pt x="67" y="353"/>
                      <a:pt x="65" y="355"/>
                      <a:pt x="61" y="359"/>
                    </a:cubicBezTo>
                    <a:cubicBezTo>
                      <a:pt x="48" y="333"/>
                      <a:pt x="31" y="312"/>
                      <a:pt x="4" y="301"/>
                    </a:cubicBezTo>
                    <a:cubicBezTo>
                      <a:pt x="2" y="300"/>
                      <a:pt x="0" y="291"/>
                      <a:pt x="1" y="287"/>
                    </a:cubicBezTo>
                    <a:cubicBezTo>
                      <a:pt x="28" y="192"/>
                      <a:pt x="55" y="98"/>
                      <a:pt x="82" y="3"/>
                    </a:cubicBezTo>
                    <a:cubicBezTo>
                      <a:pt x="82" y="2"/>
                      <a:pt x="83" y="1"/>
                      <a:pt x="83" y="0"/>
                    </a:cubicBezTo>
                    <a:cubicBezTo>
                      <a:pt x="141" y="0"/>
                      <a:pt x="199" y="0"/>
                      <a:pt x="25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Freeform 7">
                <a:extLst>
                  <a:ext uri="{FF2B5EF4-FFF2-40B4-BE49-F238E27FC236}">
                    <a16:creationId xmlns:a16="http://schemas.microsoft.com/office/drawing/2014/main" id="{B219BE86-AB8D-4BAC-B0F8-C90C31FA3655}"/>
                  </a:ext>
                </a:extLst>
              </p:cNvPr>
              <p:cNvSpPr>
                <a:spLocks noEditPoints="1"/>
              </p:cNvSpPr>
              <p:nvPr/>
            </p:nvSpPr>
            <p:spPr bwMode="auto">
              <a:xfrm>
                <a:off x="4866394" y="3607427"/>
                <a:ext cx="4923136" cy="3862554"/>
              </a:xfrm>
              <a:custGeom>
                <a:avLst/>
                <a:gdLst>
                  <a:gd name="T0" fmla="*/ 540 w 872"/>
                  <a:gd name="T1" fmla="*/ 527 h 687"/>
                  <a:gd name="T2" fmla="*/ 368 w 872"/>
                  <a:gd name="T3" fmla="*/ 561 h 687"/>
                  <a:gd name="T4" fmla="*/ 287 w 872"/>
                  <a:gd name="T5" fmla="*/ 576 h 687"/>
                  <a:gd name="T6" fmla="*/ 261 w 872"/>
                  <a:gd name="T7" fmla="*/ 558 h 687"/>
                  <a:gd name="T8" fmla="*/ 379 w 872"/>
                  <a:gd name="T9" fmla="*/ 411 h 687"/>
                  <a:gd name="T10" fmla="*/ 316 w 872"/>
                  <a:gd name="T11" fmla="*/ 400 h 687"/>
                  <a:gd name="T12" fmla="*/ 162 w 872"/>
                  <a:gd name="T13" fmla="*/ 375 h 687"/>
                  <a:gd name="T14" fmla="*/ 14 w 872"/>
                  <a:gd name="T15" fmla="*/ 352 h 687"/>
                  <a:gd name="T16" fmla="*/ 3 w 872"/>
                  <a:gd name="T17" fmla="*/ 338 h 687"/>
                  <a:gd name="T18" fmla="*/ 45 w 872"/>
                  <a:gd name="T19" fmla="*/ 175 h 687"/>
                  <a:gd name="T20" fmla="*/ 74 w 872"/>
                  <a:gd name="T21" fmla="*/ 64 h 687"/>
                  <a:gd name="T22" fmla="*/ 435 w 872"/>
                  <a:gd name="T23" fmla="*/ 194 h 687"/>
                  <a:gd name="T24" fmla="*/ 422 w 872"/>
                  <a:gd name="T25" fmla="*/ 112 h 687"/>
                  <a:gd name="T26" fmla="*/ 405 w 872"/>
                  <a:gd name="T27" fmla="*/ 21 h 687"/>
                  <a:gd name="T28" fmla="*/ 417 w 872"/>
                  <a:gd name="T29" fmla="*/ 2 h 687"/>
                  <a:gd name="T30" fmla="*/ 434 w 872"/>
                  <a:gd name="T31" fmla="*/ 4 h 687"/>
                  <a:gd name="T32" fmla="*/ 570 w 872"/>
                  <a:gd name="T33" fmla="*/ 117 h 687"/>
                  <a:gd name="T34" fmla="*/ 638 w 872"/>
                  <a:gd name="T35" fmla="*/ 174 h 687"/>
                  <a:gd name="T36" fmla="*/ 694 w 872"/>
                  <a:gd name="T37" fmla="*/ 112 h 687"/>
                  <a:gd name="T38" fmla="*/ 740 w 872"/>
                  <a:gd name="T39" fmla="*/ 81 h 687"/>
                  <a:gd name="T40" fmla="*/ 852 w 872"/>
                  <a:gd name="T41" fmla="*/ 137 h 687"/>
                  <a:gd name="T42" fmla="*/ 863 w 872"/>
                  <a:gd name="T43" fmla="*/ 306 h 687"/>
                  <a:gd name="T44" fmla="*/ 795 w 872"/>
                  <a:gd name="T45" fmla="*/ 522 h 687"/>
                  <a:gd name="T46" fmla="*/ 682 w 872"/>
                  <a:gd name="T47" fmla="*/ 655 h 687"/>
                  <a:gd name="T48" fmla="*/ 560 w 872"/>
                  <a:gd name="T49" fmla="*/ 617 h 687"/>
                  <a:gd name="T50" fmla="*/ 546 w 872"/>
                  <a:gd name="T51" fmla="*/ 573 h 687"/>
                  <a:gd name="T52" fmla="*/ 540 w 872"/>
                  <a:gd name="T53" fmla="*/ 527 h 687"/>
                  <a:gd name="T54" fmla="*/ 733 w 872"/>
                  <a:gd name="T55" fmla="*/ 297 h 687"/>
                  <a:gd name="T56" fmla="*/ 446 w 872"/>
                  <a:gd name="T57" fmla="*/ 58 h 687"/>
                  <a:gd name="T58" fmla="*/ 479 w 872"/>
                  <a:gd name="T59" fmla="*/ 245 h 687"/>
                  <a:gd name="T60" fmla="*/ 97 w 872"/>
                  <a:gd name="T61" fmla="*/ 108 h 687"/>
                  <a:gd name="T62" fmla="*/ 42 w 872"/>
                  <a:gd name="T63" fmla="*/ 322 h 687"/>
                  <a:gd name="T64" fmla="*/ 443 w 872"/>
                  <a:gd name="T65" fmla="*/ 386 h 687"/>
                  <a:gd name="T66" fmla="*/ 324 w 872"/>
                  <a:gd name="T67" fmla="*/ 533 h 687"/>
                  <a:gd name="T68" fmla="*/ 408 w 872"/>
                  <a:gd name="T69" fmla="*/ 518 h 687"/>
                  <a:gd name="T70" fmla="*/ 651 w 872"/>
                  <a:gd name="T71" fmla="*/ 471 h 687"/>
                  <a:gd name="T72" fmla="*/ 684 w 872"/>
                  <a:gd name="T73" fmla="*/ 441 h 687"/>
                  <a:gd name="T74" fmla="*/ 733 w 872"/>
                  <a:gd name="T75" fmla="*/ 29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2" h="687">
                    <a:moveTo>
                      <a:pt x="540" y="527"/>
                    </a:moveTo>
                    <a:cubicBezTo>
                      <a:pt x="481" y="538"/>
                      <a:pt x="424" y="550"/>
                      <a:pt x="368" y="561"/>
                    </a:cubicBezTo>
                    <a:cubicBezTo>
                      <a:pt x="341" y="566"/>
                      <a:pt x="314" y="573"/>
                      <a:pt x="287" y="576"/>
                    </a:cubicBezTo>
                    <a:cubicBezTo>
                      <a:pt x="279" y="576"/>
                      <a:pt x="270" y="564"/>
                      <a:pt x="261" y="558"/>
                    </a:cubicBezTo>
                    <a:cubicBezTo>
                      <a:pt x="301" y="507"/>
                      <a:pt x="339" y="460"/>
                      <a:pt x="379" y="411"/>
                    </a:cubicBezTo>
                    <a:cubicBezTo>
                      <a:pt x="357" y="407"/>
                      <a:pt x="337" y="403"/>
                      <a:pt x="316" y="400"/>
                    </a:cubicBezTo>
                    <a:cubicBezTo>
                      <a:pt x="265" y="391"/>
                      <a:pt x="213" y="383"/>
                      <a:pt x="162" y="375"/>
                    </a:cubicBezTo>
                    <a:cubicBezTo>
                      <a:pt x="112" y="368"/>
                      <a:pt x="63" y="360"/>
                      <a:pt x="14" y="352"/>
                    </a:cubicBezTo>
                    <a:cubicBezTo>
                      <a:pt x="4" y="351"/>
                      <a:pt x="0" y="350"/>
                      <a:pt x="3" y="338"/>
                    </a:cubicBezTo>
                    <a:cubicBezTo>
                      <a:pt x="18" y="284"/>
                      <a:pt x="32" y="229"/>
                      <a:pt x="45" y="175"/>
                    </a:cubicBezTo>
                    <a:cubicBezTo>
                      <a:pt x="55" y="139"/>
                      <a:pt x="64" y="103"/>
                      <a:pt x="74" y="64"/>
                    </a:cubicBezTo>
                    <a:cubicBezTo>
                      <a:pt x="194" y="108"/>
                      <a:pt x="313" y="150"/>
                      <a:pt x="435" y="194"/>
                    </a:cubicBezTo>
                    <a:cubicBezTo>
                      <a:pt x="430" y="165"/>
                      <a:pt x="427" y="138"/>
                      <a:pt x="422" y="112"/>
                    </a:cubicBezTo>
                    <a:cubicBezTo>
                      <a:pt x="416" y="81"/>
                      <a:pt x="410" y="51"/>
                      <a:pt x="405" y="21"/>
                    </a:cubicBezTo>
                    <a:cubicBezTo>
                      <a:pt x="405" y="15"/>
                      <a:pt x="412" y="7"/>
                      <a:pt x="417" y="2"/>
                    </a:cubicBezTo>
                    <a:cubicBezTo>
                      <a:pt x="421" y="0"/>
                      <a:pt x="430" y="1"/>
                      <a:pt x="434" y="4"/>
                    </a:cubicBezTo>
                    <a:cubicBezTo>
                      <a:pt x="480" y="41"/>
                      <a:pt x="524" y="80"/>
                      <a:pt x="570" y="117"/>
                    </a:cubicBezTo>
                    <a:cubicBezTo>
                      <a:pt x="592" y="136"/>
                      <a:pt x="615" y="155"/>
                      <a:pt x="638" y="174"/>
                    </a:cubicBezTo>
                    <a:cubicBezTo>
                      <a:pt x="656" y="153"/>
                      <a:pt x="674" y="131"/>
                      <a:pt x="694" y="112"/>
                    </a:cubicBezTo>
                    <a:cubicBezTo>
                      <a:pt x="707" y="99"/>
                      <a:pt x="723" y="88"/>
                      <a:pt x="740" y="81"/>
                    </a:cubicBezTo>
                    <a:cubicBezTo>
                      <a:pt x="799" y="56"/>
                      <a:pt x="835" y="93"/>
                      <a:pt x="852" y="137"/>
                    </a:cubicBezTo>
                    <a:cubicBezTo>
                      <a:pt x="872" y="192"/>
                      <a:pt x="869" y="249"/>
                      <a:pt x="863" y="306"/>
                    </a:cubicBezTo>
                    <a:cubicBezTo>
                      <a:pt x="855" y="383"/>
                      <a:pt x="833" y="456"/>
                      <a:pt x="795" y="522"/>
                    </a:cubicBezTo>
                    <a:cubicBezTo>
                      <a:pt x="766" y="573"/>
                      <a:pt x="734" y="623"/>
                      <a:pt x="682" y="655"/>
                    </a:cubicBezTo>
                    <a:cubicBezTo>
                      <a:pt x="631" y="687"/>
                      <a:pt x="582" y="671"/>
                      <a:pt x="560" y="617"/>
                    </a:cubicBezTo>
                    <a:cubicBezTo>
                      <a:pt x="554" y="603"/>
                      <a:pt x="549" y="588"/>
                      <a:pt x="546" y="573"/>
                    </a:cubicBezTo>
                    <a:cubicBezTo>
                      <a:pt x="542" y="559"/>
                      <a:pt x="542" y="544"/>
                      <a:pt x="540" y="527"/>
                    </a:cubicBezTo>
                    <a:close/>
                    <a:moveTo>
                      <a:pt x="733" y="297"/>
                    </a:moveTo>
                    <a:cubicBezTo>
                      <a:pt x="638" y="218"/>
                      <a:pt x="544" y="139"/>
                      <a:pt x="446" y="58"/>
                    </a:cubicBezTo>
                    <a:cubicBezTo>
                      <a:pt x="458" y="122"/>
                      <a:pt x="468" y="182"/>
                      <a:pt x="479" y="245"/>
                    </a:cubicBezTo>
                    <a:cubicBezTo>
                      <a:pt x="350" y="199"/>
                      <a:pt x="224" y="154"/>
                      <a:pt x="97" y="108"/>
                    </a:cubicBezTo>
                    <a:cubicBezTo>
                      <a:pt x="78" y="181"/>
                      <a:pt x="60" y="251"/>
                      <a:pt x="42" y="322"/>
                    </a:cubicBezTo>
                    <a:cubicBezTo>
                      <a:pt x="177" y="344"/>
                      <a:pt x="309" y="364"/>
                      <a:pt x="443" y="386"/>
                    </a:cubicBezTo>
                    <a:cubicBezTo>
                      <a:pt x="403" y="436"/>
                      <a:pt x="365" y="483"/>
                      <a:pt x="324" y="533"/>
                    </a:cubicBezTo>
                    <a:cubicBezTo>
                      <a:pt x="355" y="528"/>
                      <a:pt x="381" y="523"/>
                      <a:pt x="408" y="518"/>
                    </a:cubicBezTo>
                    <a:cubicBezTo>
                      <a:pt x="489" y="503"/>
                      <a:pt x="569" y="487"/>
                      <a:pt x="651" y="471"/>
                    </a:cubicBezTo>
                    <a:cubicBezTo>
                      <a:pt x="669" y="468"/>
                      <a:pt x="678" y="460"/>
                      <a:pt x="684" y="441"/>
                    </a:cubicBezTo>
                    <a:cubicBezTo>
                      <a:pt x="698" y="393"/>
                      <a:pt x="716" y="346"/>
                      <a:pt x="733" y="2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8">
                <a:extLst>
                  <a:ext uri="{FF2B5EF4-FFF2-40B4-BE49-F238E27FC236}">
                    <a16:creationId xmlns:a16="http://schemas.microsoft.com/office/drawing/2014/main" id="{EFBB356D-8086-4EFC-805B-769091C9161D}"/>
                  </a:ext>
                </a:extLst>
              </p:cNvPr>
              <p:cNvSpPr>
                <a:spLocks/>
              </p:cNvSpPr>
              <p:nvPr/>
            </p:nvSpPr>
            <p:spPr bwMode="auto">
              <a:xfrm>
                <a:off x="9502386" y="5626700"/>
                <a:ext cx="2352730" cy="3459627"/>
              </a:xfrm>
              <a:custGeom>
                <a:avLst/>
                <a:gdLst>
                  <a:gd name="T0" fmla="*/ 416 w 416"/>
                  <a:gd name="T1" fmla="*/ 0 h 615"/>
                  <a:gd name="T2" fmla="*/ 217 w 416"/>
                  <a:gd name="T3" fmla="*/ 615 h 615"/>
                  <a:gd name="T4" fmla="*/ 193 w 416"/>
                  <a:gd name="T5" fmla="*/ 575 h 615"/>
                  <a:gd name="T6" fmla="*/ 95 w 416"/>
                  <a:gd name="T7" fmla="*/ 392 h 615"/>
                  <a:gd name="T8" fmla="*/ 4 w 416"/>
                  <a:gd name="T9" fmla="*/ 224 h 615"/>
                  <a:gd name="T10" fmla="*/ 4 w 416"/>
                  <a:gd name="T11" fmla="*/ 196 h 615"/>
                  <a:gd name="T12" fmla="*/ 67 w 416"/>
                  <a:gd name="T13" fmla="*/ 22 h 615"/>
                  <a:gd name="T14" fmla="*/ 92 w 416"/>
                  <a:gd name="T15" fmla="*/ 3 h 615"/>
                  <a:gd name="T16" fmla="*/ 279 w 416"/>
                  <a:gd name="T17" fmla="*/ 0 h 615"/>
                  <a:gd name="T18" fmla="*/ 416 w 416"/>
                  <a:gd name="T19"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615">
                    <a:moveTo>
                      <a:pt x="416" y="0"/>
                    </a:moveTo>
                    <a:cubicBezTo>
                      <a:pt x="350" y="203"/>
                      <a:pt x="285" y="407"/>
                      <a:pt x="217" y="615"/>
                    </a:cubicBezTo>
                    <a:cubicBezTo>
                      <a:pt x="208" y="599"/>
                      <a:pt x="200" y="588"/>
                      <a:pt x="193" y="575"/>
                    </a:cubicBezTo>
                    <a:cubicBezTo>
                      <a:pt x="160" y="514"/>
                      <a:pt x="128" y="453"/>
                      <a:pt x="95" y="392"/>
                    </a:cubicBezTo>
                    <a:cubicBezTo>
                      <a:pt x="65" y="336"/>
                      <a:pt x="34" y="281"/>
                      <a:pt x="4" y="224"/>
                    </a:cubicBezTo>
                    <a:cubicBezTo>
                      <a:pt x="0" y="217"/>
                      <a:pt x="1" y="204"/>
                      <a:pt x="4" y="196"/>
                    </a:cubicBezTo>
                    <a:cubicBezTo>
                      <a:pt x="31" y="140"/>
                      <a:pt x="53" y="83"/>
                      <a:pt x="67" y="22"/>
                    </a:cubicBezTo>
                    <a:cubicBezTo>
                      <a:pt x="70" y="9"/>
                      <a:pt x="76" y="3"/>
                      <a:pt x="92" y="3"/>
                    </a:cubicBezTo>
                    <a:cubicBezTo>
                      <a:pt x="154" y="3"/>
                      <a:pt x="216" y="1"/>
                      <a:pt x="279" y="0"/>
                    </a:cubicBezTo>
                    <a:cubicBezTo>
                      <a:pt x="324" y="0"/>
                      <a:pt x="368" y="0"/>
                      <a:pt x="41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9">
                <a:extLst>
                  <a:ext uri="{FF2B5EF4-FFF2-40B4-BE49-F238E27FC236}">
                    <a16:creationId xmlns:a16="http://schemas.microsoft.com/office/drawing/2014/main" id="{8EC8C556-2A83-42CB-AD1C-2C11BD772F0F}"/>
                  </a:ext>
                </a:extLst>
              </p:cNvPr>
              <p:cNvSpPr>
                <a:spLocks/>
              </p:cNvSpPr>
              <p:nvPr/>
            </p:nvSpPr>
            <p:spPr bwMode="auto">
              <a:xfrm>
                <a:off x="6894929" y="7618184"/>
                <a:ext cx="1287518" cy="1718236"/>
              </a:xfrm>
              <a:custGeom>
                <a:avLst/>
                <a:gdLst>
                  <a:gd name="T0" fmla="*/ 169 w 228"/>
                  <a:gd name="T1" fmla="*/ 0 h 306"/>
                  <a:gd name="T2" fmla="*/ 225 w 228"/>
                  <a:gd name="T3" fmla="*/ 39 h 306"/>
                  <a:gd name="T4" fmla="*/ 227 w 228"/>
                  <a:gd name="T5" fmla="*/ 52 h 306"/>
                  <a:gd name="T6" fmla="*/ 158 w 228"/>
                  <a:gd name="T7" fmla="*/ 286 h 306"/>
                  <a:gd name="T8" fmla="*/ 132 w 228"/>
                  <a:gd name="T9" fmla="*/ 305 h 306"/>
                  <a:gd name="T10" fmla="*/ 0 w 228"/>
                  <a:gd name="T11" fmla="*/ 305 h 306"/>
                  <a:gd name="T12" fmla="*/ 169 w 228"/>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228" h="306">
                    <a:moveTo>
                      <a:pt x="169" y="0"/>
                    </a:moveTo>
                    <a:cubicBezTo>
                      <a:pt x="189" y="14"/>
                      <a:pt x="207" y="26"/>
                      <a:pt x="225" y="39"/>
                    </a:cubicBezTo>
                    <a:cubicBezTo>
                      <a:pt x="228" y="41"/>
                      <a:pt x="228" y="48"/>
                      <a:pt x="227" y="52"/>
                    </a:cubicBezTo>
                    <a:cubicBezTo>
                      <a:pt x="204" y="130"/>
                      <a:pt x="180" y="208"/>
                      <a:pt x="158" y="286"/>
                    </a:cubicBezTo>
                    <a:cubicBezTo>
                      <a:pt x="153" y="301"/>
                      <a:pt x="147" y="306"/>
                      <a:pt x="132" y="305"/>
                    </a:cubicBezTo>
                    <a:cubicBezTo>
                      <a:pt x="89" y="304"/>
                      <a:pt x="46" y="305"/>
                      <a:pt x="0" y="305"/>
                    </a:cubicBezTo>
                    <a:cubicBezTo>
                      <a:pt x="58" y="201"/>
                      <a:pt x="114" y="99"/>
                      <a:pt x="16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10">
                <a:extLst>
                  <a:ext uri="{FF2B5EF4-FFF2-40B4-BE49-F238E27FC236}">
                    <a16:creationId xmlns:a16="http://schemas.microsoft.com/office/drawing/2014/main" id="{045DAA7F-6FD7-4742-929A-0E9F3211C381}"/>
                  </a:ext>
                </a:extLst>
              </p:cNvPr>
              <p:cNvSpPr>
                <a:spLocks/>
              </p:cNvSpPr>
              <p:nvPr/>
            </p:nvSpPr>
            <p:spPr bwMode="auto">
              <a:xfrm>
                <a:off x="9942363" y="3135028"/>
                <a:ext cx="1491298" cy="1454247"/>
              </a:xfrm>
              <a:custGeom>
                <a:avLst/>
                <a:gdLst>
                  <a:gd name="T0" fmla="*/ 264 w 264"/>
                  <a:gd name="T1" fmla="*/ 3 h 258"/>
                  <a:gd name="T2" fmla="*/ 15 w 264"/>
                  <a:gd name="T3" fmla="*/ 258 h 258"/>
                  <a:gd name="T4" fmla="*/ 37 w 264"/>
                  <a:gd name="T5" fmla="*/ 181 h 258"/>
                  <a:gd name="T6" fmla="*/ 140 w 264"/>
                  <a:gd name="T7" fmla="*/ 58 h 258"/>
                  <a:gd name="T8" fmla="*/ 200 w 264"/>
                  <a:gd name="T9" fmla="*/ 25 h 258"/>
                  <a:gd name="T10" fmla="*/ 262 w 264"/>
                  <a:gd name="T11" fmla="*/ 0 h 258"/>
                  <a:gd name="T12" fmla="*/ 264 w 264"/>
                  <a:gd name="T13" fmla="*/ 3 h 258"/>
                </a:gdLst>
                <a:ahLst/>
                <a:cxnLst>
                  <a:cxn ang="0">
                    <a:pos x="T0" y="T1"/>
                  </a:cxn>
                  <a:cxn ang="0">
                    <a:pos x="T2" y="T3"/>
                  </a:cxn>
                  <a:cxn ang="0">
                    <a:pos x="T4" y="T5"/>
                  </a:cxn>
                  <a:cxn ang="0">
                    <a:pos x="T6" y="T7"/>
                  </a:cxn>
                  <a:cxn ang="0">
                    <a:pos x="T8" y="T9"/>
                  </a:cxn>
                  <a:cxn ang="0">
                    <a:pos x="T10" y="T11"/>
                  </a:cxn>
                  <a:cxn ang="0">
                    <a:pos x="T12" y="T13"/>
                  </a:cxn>
                </a:cxnLst>
                <a:rect l="0" t="0" r="r" b="b"/>
                <a:pathLst>
                  <a:path w="264" h="258">
                    <a:moveTo>
                      <a:pt x="264" y="3"/>
                    </a:moveTo>
                    <a:cubicBezTo>
                      <a:pt x="181" y="88"/>
                      <a:pt x="99" y="172"/>
                      <a:pt x="15" y="258"/>
                    </a:cubicBezTo>
                    <a:cubicBezTo>
                      <a:pt x="0" y="223"/>
                      <a:pt x="19" y="202"/>
                      <a:pt x="37" y="181"/>
                    </a:cubicBezTo>
                    <a:cubicBezTo>
                      <a:pt x="71" y="140"/>
                      <a:pt x="106" y="100"/>
                      <a:pt x="140" y="58"/>
                    </a:cubicBezTo>
                    <a:cubicBezTo>
                      <a:pt x="156" y="39"/>
                      <a:pt x="179" y="34"/>
                      <a:pt x="200" y="25"/>
                    </a:cubicBezTo>
                    <a:cubicBezTo>
                      <a:pt x="220" y="15"/>
                      <a:pt x="241" y="8"/>
                      <a:pt x="262" y="0"/>
                    </a:cubicBezTo>
                    <a:cubicBezTo>
                      <a:pt x="262" y="1"/>
                      <a:pt x="263" y="2"/>
                      <a:pt x="264"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11">
                <a:extLst>
                  <a:ext uri="{FF2B5EF4-FFF2-40B4-BE49-F238E27FC236}">
                    <a16:creationId xmlns:a16="http://schemas.microsoft.com/office/drawing/2014/main" id="{DA8EF51E-203F-47A9-AEA3-138ECA65CD00}"/>
                  </a:ext>
                </a:extLst>
              </p:cNvPr>
              <p:cNvSpPr>
                <a:spLocks/>
              </p:cNvSpPr>
              <p:nvPr/>
            </p:nvSpPr>
            <p:spPr bwMode="auto">
              <a:xfrm>
                <a:off x="8057402" y="2764519"/>
                <a:ext cx="504820" cy="1472772"/>
              </a:xfrm>
              <a:custGeom>
                <a:avLst/>
                <a:gdLst>
                  <a:gd name="T0" fmla="*/ 63 w 89"/>
                  <a:gd name="T1" fmla="*/ 262 h 262"/>
                  <a:gd name="T2" fmla="*/ 2 w 89"/>
                  <a:gd name="T3" fmla="*/ 98 h 262"/>
                  <a:gd name="T4" fmla="*/ 4 w 89"/>
                  <a:gd name="T5" fmla="*/ 76 h 262"/>
                  <a:gd name="T6" fmla="*/ 48 w 89"/>
                  <a:gd name="T7" fmla="*/ 0 h 262"/>
                  <a:gd name="T8" fmla="*/ 67 w 89"/>
                  <a:gd name="T9" fmla="*/ 106 h 262"/>
                  <a:gd name="T10" fmla="*/ 88 w 89"/>
                  <a:gd name="T11" fmla="*/ 218 h 262"/>
                  <a:gd name="T12" fmla="*/ 84 w 89"/>
                  <a:gd name="T13" fmla="*/ 236 h 262"/>
                  <a:gd name="T14" fmla="*/ 63 w 89"/>
                  <a:gd name="T15" fmla="*/ 262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262">
                    <a:moveTo>
                      <a:pt x="63" y="262"/>
                    </a:moveTo>
                    <a:cubicBezTo>
                      <a:pt x="42" y="205"/>
                      <a:pt x="22" y="151"/>
                      <a:pt x="2" y="98"/>
                    </a:cubicBezTo>
                    <a:cubicBezTo>
                      <a:pt x="0" y="91"/>
                      <a:pt x="1" y="82"/>
                      <a:pt x="4" y="76"/>
                    </a:cubicBezTo>
                    <a:cubicBezTo>
                      <a:pt x="16" y="50"/>
                      <a:pt x="30" y="25"/>
                      <a:pt x="48" y="0"/>
                    </a:cubicBezTo>
                    <a:cubicBezTo>
                      <a:pt x="54" y="35"/>
                      <a:pt x="61" y="71"/>
                      <a:pt x="67" y="106"/>
                    </a:cubicBezTo>
                    <a:cubicBezTo>
                      <a:pt x="74" y="144"/>
                      <a:pt x="81" y="181"/>
                      <a:pt x="88" y="218"/>
                    </a:cubicBezTo>
                    <a:cubicBezTo>
                      <a:pt x="89" y="224"/>
                      <a:pt x="87" y="231"/>
                      <a:pt x="84" y="236"/>
                    </a:cubicBezTo>
                    <a:cubicBezTo>
                      <a:pt x="79" y="245"/>
                      <a:pt x="71" y="252"/>
                      <a:pt x="63" y="26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2">
                <a:extLst>
                  <a:ext uri="{FF2B5EF4-FFF2-40B4-BE49-F238E27FC236}">
                    <a16:creationId xmlns:a16="http://schemas.microsoft.com/office/drawing/2014/main" id="{DD008AF4-27ED-4266-8620-3ADE0C147EFF}"/>
                  </a:ext>
                </a:extLst>
              </p:cNvPr>
              <p:cNvSpPr>
                <a:spLocks/>
              </p:cNvSpPr>
              <p:nvPr/>
            </p:nvSpPr>
            <p:spPr bwMode="auto">
              <a:xfrm>
                <a:off x="9067038" y="7229150"/>
                <a:ext cx="569659" cy="1338464"/>
              </a:xfrm>
              <a:custGeom>
                <a:avLst/>
                <a:gdLst>
                  <a:gd name="T0" fmla="*/ 97 w 101"/>
                  <a:gd name="T1" fmla="*/ 238 h 238"/>
                  <a:gd name="T2" fmla="*/ 65 w 101"/>
                  <a:gd name="T3" fmla="*/ 220 h 238"/>
                  <a:gd name="T4" fmla="*/ 64 w 101"/>
                  <a:gd name="T5" fmla="*/ 219 h 238"/>
                  <a:gd name="T6" fmla="*/ 18 w 101"/>
                  <a:gd name="T7" fmla="*/ 147 h 238"/>
                  <a:gd name="T8" fmla="*/ 3 w 101"/>
                  <a:gd name="T9" fmla="*/ 52 h 238"/>
                  <a:gd name="T10" fmla="*/ 27 w 101"/>
                  <a:gd name="T11" fmla="*/ 0 h 238"/>
                  <a:gd name="T12" fmla="*/ 101 w 101"/>
                  <a:gd name="T13" fmla="*/ 234 h 238"/>
                  <a:gd name="T14" fmla="*/ 97 w 101"/>
                  <a:gd name="T15" fmla="*/ 23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38">
                    <a:moveTo>
                      <a:pt x="97" y="238"/>
                    </a:moveTo>
                    <a:cubicBezTo>
                      <a:pt x="87" y="232"/>
                      <a:pt x="76" y="226"/>
                      <a:pt x="65" y="220"/>
                    </a:cubicBezTo>
                    <a:cubicBezTo>
                      <a:pt x="65" y="220"/>
                      <a:pt x="64" y="219"/>
                      <a:pt x="64" y="219"/>
                    </a:cubicBezTo>
                    <a:cubicBezTo>
                      <a:pt x="27" y="209"/>
                      <a:pt x="23" y="178"/>
                      <a:pt x="18" y="147"/>
                    </a:cubicBezTo>
                    <a:cubicBezTo>
                      <a:pt x="14" y="115"/>
                      <a:pt x="8" y="84"/>
                      <a:pt x="3" y="52"/>
                    </a:cubicBezTo>
                    <a:cubicBezTo>
                      <a:pt x="0" y="26"/>
                      <a:pt x="2" y="22"/>
                      <a:pt x="27" y="0"/>
                    </a:cubicBezTo>
                    <a:cubicBezTo>
                      <a:pt x="52" y="79"/>
                      <a:pt x="77" y="157"/>
                      <a:pt x="101" y="234"/>
                    </a:cubicBezTo>
                    <a:cubicBezTo>
                      <a:pt x="100" y="235"/>
                      <a:pt x="99" y="237"/>
                      <a:pt x="97" y="23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13">
                <a:extLst>
                  <a:ext uri="{FF2B5EF4-FFF2-40B4-BE49-F238E27FC236}">
                    <a16:creationId xmlns:a16="http://schemas.microsoft.com/office/drawing/2014/main" id="{BEADC39E-91F3-4E0F-AE0E-5E338461CE8D}"/>
                  </a:ext>
                </a:extLst>
              </p:cNvPr>
              <p:cNvSpPr>
                <a:spLocks/>
              </p:cNvSpPr>
              <p:nvPr/>
            </p:nvSpPr>
            <p:spPr bwMode="auto">
              <a:xfrm>
                <a:off x="8418648" y="7696919"/>
                <a:ext cx="351983" cy="1556137"/>
              </a:xfrm>
              <a:custGeom>
                <a:avLst/>
                <a:gdLst>
                  <a:gd name="T0" fmla="*/ 62 w 62"/>
                  <a:gd name="T1" fmla="*/ 4 h 277"/>
                  <a:gd name="T2" fmla="*/ 52 w 62"/>
                  <a:gd name="T3" fmla="*/ 277 h 277"/>
                  <a:gd name="T4" fmla="*/ 17 w 62"/>
                  <a:gd name="T5" fmla="*/ 241 h 277"/>
                  <a:gd name="T6" fmla="*/ 8 w 62"/>
                  <a:gd name="T7" fmla="*/ 191 h 277"/>
                  <a:gd name="T8" fmla="*/ 21 w 62"/>
                  <a:gd name="T9" fmla="*/ 98 h 277"/>
                  <a:gd name="T10" fmla="*/ 33 w 62"/>
                  <a:gd name="T11" fmla="*/ 21 h 277"/>
                  <a:gd name="T12" fmla="*/ 56 w 62"/>
                  <a:gd name="T13" fmla="*/ 0 h 277"/>
                  <a:gd name="T14" fmla="*/ 62 w 62"/>
                  <a:gd name="T15" fmla="*/ 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77">
                    <a:moveTo>
                      <a:pt x="62" y="4"/>
                    </a:moveTo>
                    <a:cubicBezTo>
                      <a:pt x="59" y="93"/>
                      <a:pt x="56" y="182"/>
                      <a:pt x="52" y="277"/>
                    </a:cubicBezTo>
                    <a:cubicBezTo>
                      <a:pt x="39" y="263"/>
                      <a:pt x="29" y="251"/>
                      <a:pt x="17" y="241"/>
                    </a:cubicBezTo>
                    <a:cubicBezTo>
                      <a:pt x="0" y="226"/>
                      <a:pt x="5" y="209"/>
                      <a:pt x="8" y="191"/>
                    </a:cubicBezTo>
                    <a:cubicBezTo>
                      <a:pt x="12" y="160"/>
                      <a:pt x="17" y="129"/>
                      <a:pt x="21" y="98"/>
                    </a:cubicBezTo>
                    <a:cubicBezTo>
                      <a:pt x="25" y="73"/>
                      <a:pt x="27" y="47"/>
                      <a:pt x="33" y="21"/>
                    </a:cubicBezTo>
                    <a:cubicBezTo>
                      <a:pt x="35" y="13"/>
                      <a:pt x="48" y="7"/>
                      <a:pt x="56" y="0"/>
                    </a:cubicBezTo>
                    <a:cubicBezTo>
                      <a:pt x="58" y="1"/>
                      <a:pt x="60" y="2"/>
                      <a:pt x="62"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14">
                <a:extLst>
                  <a:ext uri="{FF2B5EF4-FFF2-40B4-BE49-F238E27FC236}">
                    <a16:creationId xmlns:a16="http://schemas.microsoft.com/office/drawing/2014/main" id="{0F1065EA-D022-48F4-92E8-7961C76576D4}"/>
                  </a:ext>
                </a:extLst>
              </p:cNvPr>
              <p:cNvSpPr>
                <a:spLocks/>
              </p:cNvSpPr>
              <p:nvPr/>
            </p:nvSpPr>
            <p:spPr bwMode="auto">
              <a:xfrm>
                <a:off x="8803049" y="2532952"/>
                <a:ext cx="314932" cy="1208786"/>
              </a:xfrm>
              <a:custGeom>
                <a:avLst/>
                <a:gdLst>
                  <a:gd name="T0" fmla="*/ 9 w 56"/>
                  <a:gd name="T1" fmla="*/ 215 h 215"/>
                  <a:gd name="T2" fmla="*/ 7 w 56"/>
                  <a:gd name="T3" fmla="*/ 207 h 215"/>
                  <a:gd name="T4" fmla="*/ 3 w 56"/>
                  <a:gd name="T5" fmla="*/ 106 h 215"/>
                  <a:gd name="T6" fmla="*/ 29 w 56"/>
                  <a:gd name="T7" fmla="*/ 31 h 215"/>
                  <a:gd name="T8" fmla="*/ 52 w 56"/>
                  <a:gd name="T9" fmla="*/ 0 h 215"/>
                  <a:gd name="T10" fmla="*/ 56 w 56"/>
                  <a:gd name="T11" fmla="*/ 1 h 215"/>
                  <a:gd name="T12" fmla="*/ 43 w 56"/>
                  <a:gd name="T13" fmla="*/ 188 h 215"/>
                  <a:gd name="T14" fmla="*/ 9 w 56"/>
                  <a:gd name="T15" fmla="*/ 215 h 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15">
                    <a:moveTo>
                      <a:pt x="9" y="215"/>
                    </a:moveTo>
                    <a:cubicBezTo>
                      <a:pt x="8" y="211"/>
                      <a:pt x="7" y="209"/>
                      <a:pt x="7" y="207"/>
                    </a:cubicBezTo>
                    <a:cubicBezTo>
                      <a:pt x="6" y="173"/>
                      <a:pt x="7" y="139"/>
                      <a:pt x="3" y="106"/>
                    </a:cubicBezTo>
                    <a:cubicBezTo>
                      <a:pt x="0" y="75"/>
                      <a:pt x="13" y="53"/>
                      <a:pt x="29" y="31"/>
                    </a:cubicBezTo>
                    <a:cubicBezTo>
                      <a:pt x="37" y="20"/>
                      <a:pt x="44" y="10"/>
                      <a:pt x="52" y="0"/>
                    </a:cubicBezTo>
                    <a:cubicBezTo>
                      <a:pt x="53" y="0"/>
                      <a:pt x="55" y="1"/>
                      <a:pt x="56" y="1"/>
                    </a:cubicBezTo>
                    <a:cubicBezTo>
                      <a:pt x="52" y="63"/>
                      <a:pt x="48" y="126"/>
                      <a:pt x="43" y="188"/>
                    </a:cubicBezTo>
                    <a:cubicBezTo>
                      <a:pt x="41" y="205"/>
                      <a:pt x="23" y="207"/>
                      <a:pt x="9" y="2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15">
                <a:extLst>
                  <a:ext uri="{FF2B5EF4-FFF2-40B4-BE49-F238E27FC236}">
                    <a16:creationId xmlns:a16="http://schemas.microsoft.com/office/drawing/2014/main" id="{5AA1DD24-C0FA-4B45-BF26-AF2D6C1DBDF4}"/>
                  </a:ext>
                </a:extLst>
              </p:cNvPr>
              <p:cNvSpPr>
                <a:spLocks/>
              </p:cNvSpPr>
              <p:nvPr/>
            </p:nvSpPr>
            <p:spPr bwMode="auto">
              <a:xfrm>
                <a:off x="7200599" y="6942006"/>
                <a:ext cx="537238" cy="940167"/>
              </a:xfrm>
              <a:custGeom>
                <a:avLst/>
                <a:gdLst>
                  <a:gd name="T0" fmla="*/ 0 w 95"/>
                  <a:gd name="T1" fmla="*/ 165 h 167"/>
                  <a:gd name="T2" fmla="*/ 20 w 95"/>
                  <a:gd name="T3" fmla="*/ 66 h 167"/>
                  <a:gd name="T4" fmla="*/ 33 w 95"/>
                  <a:gd name="T5" fmla="*/ 45 h 167"/>
                  <a:gd name="T6" fmla="*/ 82 w 95"/>
                  <a:gd name="T7" fmla="*/ 0 h 167"/>
                  <a:gd name="T8" fmla="*/ 72 w 95"/>
                  <a:gd name="T9" fmla="*/ 77 h 167"/>
                  <a:gd name="T10" fmla="*/ 4 w 95"/>
                  <a:gd name="T11" fmla="*/ 167 h 167"/>
                  <a:gd name="T12" fmla="*/ 0 w 95"/>
                  <a:gd name="T13" fmla="*/ 165 h 167"/>
                </a:gdLst>
                <a:ahLst/>
                <a:cxnLst>
                  <a:cxn ang="0">
                    <a:pos x="T0" y="T1"/>
                  </a:cxn>
                  <a:cxn ang="0">
                    <a:pos x="T2" y="T3"/>
                  </a:cxn>
                  <a:cxn ang="0">
                    <a:pos x="T4" y="T5"/>
                  </a:cxn>
                  <a:cxn ang="0">
                    <a:pos x="T6" y="T7"/>
                  </a:cxn>
                  <a:cxn ang="0">
                    <a:pos x="T8" y="T9"/>
                  </a:cxn>
                  <a:cxn ang="0">
                    <a:pos x="T10" y="T11"/>
                  </a:cxn>
                  <a:cxn ang="0">
                    <a:pos x="T12" y="T13"/>
                  </a:cxn>
                </a:cxnLst>
                <a:rect l="0" t="0" r="r" b="b"/>
                <a:pathLst>
                  <a:path w="95" h="167">
                    <a:moveTo>
                      <a:pt x="0" y="165"/>
                    </a:moveTo>
                    <a:cubicBezTo>
                      <a:pt x="7" y="132"/>
                      <a:pt x="13" y="99"/>
                      <a:pt x="20" y="66"/>
                    </a:cubicBezTo>
                    <a:cubicBezTo>
                      <a:pt x="22" y="58"/>
                      <a:pt x="28" y="51"/>
                      <a:pt x="33" y="45"/>
                    </a:cubicBezTo>
                    <a:cubicBezTo>
                      <a:pt x="49" y="30"/>
                      <a:pt x="65" y="16"/>
                      <a:pt x="82" y="0"/>
                    </a:cubicBezTo>
                    <a:cubicBezTo>
                      <a:pt x="91" y="29"/>
                      <a:pt x="95" y="53"/>
                      <a:pt x="72" y="77"/>
                    </a:cubicBezTo>
                    <a:cubicBezTo>
                      <a:pt x="47" y="104"/>
                      <a:pt x="27" y="137"/>
                      <a:pt x="4" y="167"/>
                    </a:cubicBezTo>
                    <a:cubicBezTo>
                      <a:pt x="3" y="166"/>
                      <a:pt x="1" y="166"/>
                      <a:pt x="0" y="16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 name="Freeform 16">
                <a:extLst>
                  <a:ext uri="{FF2B5EF4-FFF2-40B4-BE49-F238E27FC236}">
                    <a16:creationId xmlns:a16="http://schemas.microsoft.com/office/drawing/2014/main" id="{923187A3-4184-4791-AD01-6A5D3AB9045A}"/>
                  </a:ext>
                </a:extLst>
              </p:cNvPr>
              <p:cNvSpPr>
                <a:spLocks/>
              </p:cNvSpPr>
              <p:nvPr/>
            </p:nvSpPr>
            <p:spPr bwMode="auto">
              <a:xfrm>
                <a:off x="9979414" y="4473493"/>
                <a:ext cx="666916" cy="699337"/>
              </a:xfrm>
              <a:custGeom>
                <a:avLst/>
                <a:gdLst>
                  <a:gd name="T0" fmla="*/ 118 w 118"/>
                  <a:gd name="T1" fmla="*/ 3 h 124"/>
                  <a:gd name="T2" fmla="*/ 96 w 118"/>
                  <a:gd name="T3" fmla="*/ 72 h 124"/>
                  <a:gd name="T4" fmla="*/ 79 w 118"/>
                  <a:gd name="T5" fmla="*/ 86 h 124"/>
                  <a:gd name="T6" fmla="*/ 7 w 118"/>
                  <a:gd name="T7" fmla="*/ 124 h 124"/>
                  <a:gd name="T8" fmla="*/ 32 w 118"/>
                  <a:gd name="T9" fmla="*/ 60 h 124"/>
                  <a:gd name="T10" fmla="*/ 114 w 118"/>
                  <a:gd name="T11" fmla="*/ 0 h 124"/>
                  <a:gd name="T12" fmla="*/ 118 w 118"/>
                  <a:gd name="T13" fmla="*/ 3 h 124"/>
                </a:gdLst>
                <a:ahLst/>
                <a:cxnLst>
                  <a:cxn ang="0">
                    <a:pos x="T0" y="T1"/>
                  </a:cxn>
                  <a:cxn ang="0">
                    <a:pos x="T2" y="T3"/>
                  </a:cxn>
                  <a:cxn ang="0">
                    <a:pos x="T4" y="T5"/>
                  </a:cxn>
                  <a:cxn ang="0">
                    <a:pos x="T6" y="T7"/>
                  </a:cxn>
                  <a:cxn ang="0">
                    <a:pos x="T8" y="T9"/>
                  </a:cxn>
                  <a:cxn ang="0">
                    <a:pos x="T10" y="T11"/>
                  </a:cxn>
                  <a:cxn ang="0">
                    <a:pos x="T12" y="T13"/>
                  </a:cxn>
                </a:cxnLst>
                <a:rect l="0" t="0" r="r" b="b"/>
                <a:pathLst>
                  <a:path w="118" h="124">
                    <a:moveTo>
                      <a:pt x="118" y="3"/>
                    </a:moveTo>
                    <a:cubicBezTo>
                      <a:pt x="111" y="26"/>
                      <a:pt x="105" y="49"/>
                      <a:pt x="96" y="72"/>
                    </a:cubicBezTo>
                    <a:cubicBezTo>
                      <a:pt x="94" y="78"/>
                      <a:pt x="85" y="82"/>
                      <a:pt x="79" y="86"/>
                    </a:cubicBezTo>
                    <a:cubicBezTo>
                      <a:pt x="55" y="99"/>
                      <a:pt x="31" y="111"/>
                      <a:pt x="7" y="124"/>
                    </a:cubicBezTo>
                    <a:cubicBezTo>
                      <a:pt x="0" y="96"/>
                      <a:pt x="6" y="75"/>
                      <a:pt x="32" y="60"/>
                    </a:cubicBezTo>
                    <a:cubicBezTo>
                      <a:pt x="61" y="42"/>
                      <a:pt x="87" y="20"/>
                      <a:pt x="114" y="0"/>
                    </a:cubicBezTo>
                    <a:cubicBezTo>
                      <a:pt x="115" y="1"/>
                      <a:pt x="117" y="2"/>
                      <a:pt x="11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Oval 43">
                <a:extLst>
                  <a:ext uri="{FF2B5EF4-FFF2-40B4-BE49-F238E27FC236}">
                    <a16:creationId xmlns:a16="http://schemas.microsoft.com/office/drawing/2014/main" id="{AA61466B-5E56-44FF-B2A3-576DBCF885D3}"/>
                  </a:ext>
                </a:extLst>
              </p:cNvPr>
              <p:cNvSpPr/>
              <p:nvPr/>
            </p:nvSpPr>
            <p:spPr>
              <a:xfrm rot="993707">
                <a:off x="7957927" y="3906063"/>
                <a:ext cx="1762612" cy="3586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a:extLst>
                  <a:ext uri="{FF2B5EF4-FFF2-40B4-BE49-F238E27FC236}">
                    <a16:creationId xmlns:a16="http://schemas.microsoft.com/office/drawing/2014/main" id="{FE23237C-D459-4498-A06D-C7CBC9F768C4}"/>
                  </a:ext>
                </a:extLst>
              </p:cNvPr>
              <p:cNvSpPr/>
              <p:nvPr/>
            </p:nvSpPr>
            <p:spPr>
              <a:xfrm rot="17602382">
                <a:off x="9916433" y="2517226"/>
                <a:ext cx="461665" cy="276999"/>
              </a:xfrm>
              <a:prstGeom prst="rect">
                <a:avLst/>
              </a:prstGeom>
            </p:spPr>
            <p:txBody>
              <a:bodyPr wrap="none" lIns="0" tIns="0" rIns="0" bIns="0">
                <a:spAutoFit/>
              </a:bodyPr>
              <a:lstStyle/>
              <a:p>
                <a:r>
                  <a:rPr lang="en-US" b="1" dirty="0">
                    <a:solidFill>
                      <a:schemeClr val="bg1"/>
                    </a:solidFill>
                  </a:rPr>
                  <a:t>Feel</a:t>
                </a:r>
              </a:p>
            </p:txBody>
          </p:sp>
          <p:sp>
            <p:nvSpPr>
              <p:cNvPr id="47" name="Rectangle 46">
                <a:extLst>
                  <a:ext uri="{FF2B5EF4-FFF2-40B4-BE49-F238E27FC236}">
                    <a16:creationId xmlns:a16="http://schemas.microsoft.com/office/drawing/2014/main" id="{255826CA-3A06-487B-863B-DC3233C7C294}"/>
                  </a:ext>
                </a:extLst>
              </p:cNvPr>
              <p:cNvSpPr/>
              <p:nvPr/>
            </p:nvSpPr>
            <p:spPr>
              <a:xfrm rot="17514337">
                <a:off x="10177293" y="6610419"/>
                <a:ext cx="628377" cy="276999"/>
              </a:xfrm>
              <a:prstGeom prst="rect">
                <a:avLst/>
              </a:prstGeom>
            </p:spPr>
            <p:txBody>
              <a:bodyPr wrap="none" lIns="0" tIns="0" rIns="0" bIns="0">
                <a:spAutoFit/>
              </a:bodyPr>
              <a:lstStyle/>
              <a:p>
                <a:r>
                  <a:rPr lang="en-US" b="1" dirty="0">
                    <a:solidFill>
                      <a:schemeClr val="bg1"/>
                    </a:solidFill>
                  </a:rPr>
                  <a:t>Know</a:t>
                </a:r>
              </a:p>
            </p:txBody>
          </p:sp>
          <p:sp>
            <p:nvSpPr>
              <p:cNvPr id="48" name="Rectangle 47">
                <a:extLst>
                  <a:ext uri="{FF2B5EF4-FFF2-40B4-BE49-F238E27FC236}">
                    <a16:creationId xmlns:a16="http://schemas.microsoft.com/office/drawing/2014/main" id="{13B1AB5A-4285-445D-820E-FECD5A7E6F02}"/>
                  </a:ext>
                </a:extLst>
              </p:cNvPr>
              <p:cNvSpPr/>
              <p:nvPr/>
            </p:nvSpPr>
            <p:spPr>
              <a:xfrm rot="17514337">
                <a:off x="7510444" y="8387420"/>
                <a:ext cx="307777" cy="276999"/>
              </a:xfrm>
              <a:prstGeom prst="rect">
                <a:avLst/>
              </a:prstGeom>
            </p:spPr>
            <p:txBody>
              <a:bodyPr wrap="none" lIns="0" tIns="0" rIns="0" bIns="0">
                <a:spAutoFit/>
              </a:bodyPr>
              <a:lstStyle/>
              <a:p>
                <a:r>
                  <a:rPr lang="en-US" b="1" dirty="0">
                    <a:solidFill>
                      <a:schemeClr val="bg1"/>
                    </a:solidFill>
                  </a:rPr>
                  <a:t>Do</a:t>
                </a:r>
              </a:p>
            </p:txBody>
          </p:sp>
          <p:sp>
            <p:nvSpPr>
              <p:cNvPr id="52" name="Oval 51">
                <a:extLst>
                  <a:ext uri="{FF2B5EF4-FFF2-40B4-BE49-F238E27FC236}">
                    <a16:creationId xmlns:a16="http://schemas.microsoft.com/office/drawing/2014/main" id="{3A206535-E32E-42CF-8B6C-1079E949EBC6}"/>
                  </a:ext>
                </a:extLst>
              </p:cNvPr>
              <p:cNvSpPr/>
              <p:nvPr/>
            </p:nvSpPr>
            <p:spPr>
              <a:xfrm rot="993707">
                <a:off x="8104157" y="4203569"/>
                <a:ext cx="1470152" cy="2991030"/>
              </a:xfrm>
              <a:prstGeom prst="ellipse">
                <a:avLst/>
              </a:prstGeom>
              <a:solidFill>
                <a:schemeClr val="accent2"/>
              </a:solidFill>
              <a:ln w="857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Oval 52">
                <a:extLst>
                  <a:ext uri="{FF2B5EF4-FFF2-40B4-BE49-F238E27FC236}">
                    <a16:creationId xmlns:a16="http://schemas.microsoft.com/office/drawing/2014/main" id="{F4EBAB23-4FA5-42CB-94C6-5E55F715DA10}"/>
                  </a:ext>
                </a:extLst>
              </p:cNvPr>
              <p:cNvSpPr/>
              <p:nvPr/>
            </p:nvSpPr>
            <p:spPr>
              <a:xfrm rot="993707">
                <a:off x="8379283" y="4793172"/>
                <a:ext cx="878148" cy="1786596"/>
              </a:xfrm>
              <a:prstGeom prst="ellipse">
                <a:avLst/>
              </a:prstGeom>
              <a:solidFill>
                <a:schemeClr val="accent2"/>
              </a:solidFill>
              <a:ln w="857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Freeform 17">
                <a:extLst>
                  <a:ext uri="{FF2B5EF4-FFF2-40B4-BE49-F238E27FC236}">
                    <a16:creationId xmlns:a16="http://schemas.microsoft.com/office/drawing/2014/main" id="{2698086A-C5CC-4BB1-98AE-5AA87AB3923A}"/>
                  </a:ext>
                </a:extLst>
              </p:cNvPr>
              <p:cNvSpPr>
                <a:spLocks/>
              </p:cNvSpPr>
              <p:nvPr/>
            </p:nvSpPr>
            <p:spPr bwMode="auto">
              <a:xfrm>
                <a:off x="5102595" y="3936255"/>
                <a:ext cx="3904237" cy="2667663"/>
              </a:xfrm>
              <a:custGeom>
                <a:avLst/>
                <a:gdLst>
                  <a:gd name="T0" fmla="*/ 691 w 691"/>
                  <a:gd name="T1" fmla="*/ 239 h 475"/>
                  <a:gd name="T2" fmla="*/ 642 w 691"/>
                  <a:gd name="T3" fmla="*/ 383 h 475"/>
                  <a:gd name="T4" fmla="*/ 609 w 691"/>
                  <a:gd name="T5" fmla="*/ 413 h 475"/>
                  <a:gd name="T6" fmla="*/ 366 w 691"/>
                  <a:gd name="T7" fmla="*/ 460 h 475"/>
                  <a:gd name="T8" fmla="*/ 282 w 691"/>
                  <a:gd name="T9" fmla="*/ 475 h 475"/>
                  <a:gd name="T10" fmla="*/ 401 w 691"/>
                  <a:gd name="T11" fmla="*/ 328 h 475"/>
                  <a:gd name="T12" fmla="*/ 0 w 691"/>
                  <a:gd name="T13" fmla="*/ 264 h 475"/>
                  <a:gd name="T14" fmla="*/ 55 w 691"/>
                  <a:gd name="T15" fmla="*/ 50 h 475"/>
                  <a:gd name="T16" fmla="*/ 437 w 691"/>
                  <a:gd name="T17" fmla="*/ 187 h 475"/>
                  <a:gd name="T18" fmla="*/ 404 w 691"/>
                  <a:gd name="T19" fmla="*/ 0 h 475"/>
                  <a:gd name="T20" fmla="*/ 691 w 691"/>
                  <a:gd name="T21" fmla="*/ 239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1" h="475">
                    <a:moveTo>
                      <a:pt x="691" y="239"/>
                    </a:moveTo>
                    <a:cubicBezTo>
                      <a:pt x="674" y="288"/>
                      <a:pt x="656" y="335"/>
                      <a:pt x="642" y="383"/>
                    </a:cubicBezTo>
                    <a:cubicBezTo>
                      <a:pt x="636" y="402"/>
                      <a:pt x="627" y="410"/>
                      <a:pt x="609" y="413"/>
                    </a:cubicBezTo>
                    <a:cubicBezTo>
                      <a:pt x="527" y="429"/>
                      <a:pt x="447" y="445"/>
                      <a:pt x="366" y="460"/>
                    </a:cubicBezTo>
                    <a:cubicBezTo>
                      <a:pt x="339" y="465"/>
                      <a:pt x="313" y="470"/>
                      <a:pt x="282" y="475"/>
                    </a:cubicBezTo>
                    <a:cubicBezTo>
                      <a:pt x="323" y="425"/>
                      <a:pt x="361" y="378"/>
                      <a:pt x="401" y="328"/>
                    </a:cubicBezTo>
                    <a:cubicBezTo>
                      <a:pt x="267" y="306"/>
                      <a:pt x="135" y="286"/>
                      <a:pt x="0" y="264"/>
                    </a:cubicBezTo>
                    <a:cubicBezTo>
                      <a:pt x="18" y="193"/>
                      <a:pt x="36" y="123"/>
                      <a:pt x="55" y="50"/>
                    </a:cubicBezTo>
                    <a:cubicBezTo>
                      <a:pt x="182" y="96"/>
                      <a:pt x="308" y="141"/>
                      <a:pt x="437" y="187"/>
                    </a:cubicBezTo>
                    <a:cubicBezTo>
                      <a:pt x="426" y="124"/>
                      <a:pt x="416" y="64"/>
                      <a:pt x="404" y="0"/>
                    </a:cubicBezTo>
                    <a:cubicBezTo>
                      <a:pt x="502" y="81"/>
                      <a:pt x="596" y="160"/>
                      <a:pt x="691" y="23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 name="Rectangle 11">
                <a:extLst>
                  <a:ext uri="{FF2B5EF4-FFF2-40B4-BE49-F238E27FC236}">
                    <a16:creationId xmlns:a16="http://schemas.microsoft.com/office/drawing/2014/main" id="{4CE9DDB4-B059-4D92-A8E2-C9ABFFD77687}"/>
                  </a:ext>
                </a:extLst>
              </p:cNvPr>
              <p:cNvSpPr/>
              <p:nvPr/>
            </p:nvSpPr>
            <p:spPr>
              <a:xfrm rot="819930">
                <a:off x="5676158" y="4933338"/>
                <a:ext cx="2595262" cy="615553"/>
              </a:xfrm>
              <a:prstGeom prst="rect">
                <a:avLst/>
              </a:prstGeom>
            </p:spPr>
            <p:txBody>
              <a:bodyPr wrap="none" lIns="0" tIns="0" rIns="0" bIns="0" anchor="ctr" anchorCtr="0">
                <a:spAutoFit/>
              </a:bodyPr>
              <a:lstStyle/>
              <a:p>
                <a:pPr algn="ctr"/>
                <a:r>
                  <a:rPr lang="en-IN" sz="4000" b="1" dirty="0">
                    <a:solidFill>
                      <a:schemeClr val="tx2"/>
                    </a:solidFill>
                  </a:rPr>
                  <a:t>Objectives</a:t>
                </a:r>
                <a:endParaRPr lang="en-GB" sz="4000" b="1" dirty="0">
                  <a:solidFill>
                    <a:schemeClr val="tx2"/>
                  </a:solidFill>
                </a:endParaRPr>
              </a:p>
            </p:txBody>
          </p:sp>
        </p:grpSp>
        <p:grpSp>
          <p:nvGrpSpPr>
            <p:cNvPr id="18" name="Group 17">
              <a:extLst>
                <a:ext uri="{FF2B5EF4-FFF2-40B4-BE49-F238E27FC236}">
                  <a16:creationId xmlns:a16="http://schemas.microsoft.com/office/drawing/2014/main" id="{A667AB7B-898B-406F-96D6-8DB218B00CF9}"/>
                </a:ext>
              </a:extLst>
            </p:cNvPr>
            <p:cNvGrpSpPr/>
            <p:nvPr/>
          </p:nvGrpSpPr>
          <p:grpSpPr>
            <a:xfrm>
              <a:off x="10605478" y="2331978"/>
              <a:ext cx="6968145" cy="1627758"/>
              <a:chOff x="10961262" y="2336672"/>
              <a:chExt cx="6702739" cy="1645014"/>
            </a:xfrm>
            <a:solidFill>
              <a:schemeClr val="accent1"/>
            </a:solidFill>
          </p:grpSpPr>
          <p:cxnSp>
            <p:nvCxnSpPr>
              <p:cNvPr id="6" name="Straight Connector 5">
                <a:extLst>
                  <a:ext uri="{FF2B5EF4-FFF2-40B4-BE49-F238E27FC236}">
                    <a16:creationId xmlns:a16="http://schemas.microsoft.com/office/drawing/2014/main" id="{D9D4104A-CE79-40CE-BABC-63F15A9C2D9A}"/>
                  </a:ext>
                </a:extLst>
              </p:cNvPr>
              <p:cNvCxnSpPr>
                <a:cxnSpLocks/>
              </p:cNvCxnSpPr>
              <p:nvPr/>
            </p:nvCxnSpPr>
            <p:spPr>
              <a:xfrm>
                <a:off x="10961262" y="2336672"/>
                <a:ext cx="6558360" cy="0"/>
              </a:xfrm>
              <a:prstGeom prst="line">
                <a:avLst/>
              </a:prstGeom>
              <a:grpFill/>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8AFF2DB-65C2-486D-9A6C-25B2F1C6B06B}"/>
                  </a:ext>
                </a:extLst>
              </p:cNvPr>
              <p:cNvCxnSpPr>
                <a:cxnSpLocks/>
              </p:cNvCxnSpPr>
              <p:nvPr/>
            </p:nvCxnSpPr>
            <p:spPr>
              <a:xfrm>
                <a:off x="17519622" y="2336672"/>
                <a:ext cx="0" cy="1378607"/>
              </a:xfrm>
              <a:prstGeom prst="line">
                <a:avLst/>
              </a:prstGeom>
              <a:grpFill/>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78215A9-BA49-439F-9B90-D657AD83922B}"/>
                  </a:ext>
                </a:extLst>
              </p:cNvPr>
              <p:cNvGrpSpPr/>
              <p:nvPr/>
            </p:nvGrpSpPr>
            <p:grpSpPr>
              <a:xfrm>
                <a:off x="17375243" y="3692928"/>
                <a:ext cx="288758" cy="288758"/>
                <a:chOff x="17375243" y="3692928"/>
                <a:chExt cx="288758" cy="288758"/>
              </a:xfrm>
              <a:grpFill/>
            </p:grpSpPr>
            <p:sp>
              <p:nvSpPr>
                <p:cNvPr id="13" name="Oval 12">
                  <a:extLst>
                    <a:ext uri="{FF2B5EF4-FFF2-40B4-BE49-F238E27FC236}">
                      <a16:creationId xmlns:a16="http://schemas.microsoft.com/office/drawing/2014/main" id="{9EF5C471-79A7-413B-916A-7AE6F49EF820}"/>
                    </a:ext>
                  </a:extLst>
                </p:cNvPr>
                <p:cNvSpPr/>
                <p:nvPr/>
              </p:nvSpPr>
              <p:spPr>
                <a:xfrm>
                  <a:off x="17375243" y="3692928"/>
                  <a:ext cx="288758" cy="288758"/>
                </a:xfrm>
                <a:prstGeom prst="ellipse">
                  <a:avLst/>
                </a:prstGeom>
                <a:grp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GB" dirty="0"/>
                </a:p>
              </p:txBody>
            </p:sp>
            <p:sp>
              <p:nvSpPr>
                <p:cNvPr id="69" name="Oval 68">
                  <a:extLst>
                    <a:ext uri="{FF2B5EF4-FFF2-40B4-BE49-F238E27FC236}">
                      <a16:creationId xmlns:a16="http://schemas.microsoft.com/office/drawing/2014/main" id="{0869FF0C-5183-4522-B5AF-EAE486594CB0}"/>
                    </a:ext>
                  </a:extLst>
                </p:cNvPr>
                <p:cNvSpPr/>
                <p:nvPr/>
              </p:nvSpPr>
              <p:spPr>
                <a:xfrm>
                  <a:off x="17452284" y="3769969"/>
                  <a:ext cx="134676" cy="134676"/>
                </a:xfrm>
                <a:prstGeom prst="ellipse">
                  <a:avLst/>
                </a:prstGeom>
                <a:grp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GB" dirty="0"/>
                </a:p>
              </p:txBody>
            </p:sp>
          </p:grpSp>
        </p:grpSp>
        <p:grpSp>
          <p:nvGrpSpPr>
            <p:cNvPr id="17" name="Group 16">
              <a:extLst>
                <a:ext uri="{FF2B5EF4-FFF2-40B4-BE49-F238E27FC236}">
                  <a16:creationId xmlns:a16="http://schemas.microsoft.com/office/drawing/2014/main" id="{63D763F6-C842-432B-97EE-9C9DA64DA016}"/>
                </a:ext>
              </a:extLst>
            </p:cNvPr>
            <p:cNvGrpSpPr/>
            <p:nvPr/>
          </p:nvGrpSpPr>
          <p:grpSpPr>
            <a:xfrm>
              <a:off x="10605477" y="7044894"/>
              <a:ext cx="6968147" cy="1622580"/>
              <a:chOff x="10961262" y="7099549"/>
              <a:chExt cx="6702739" cy="1639781"/>
            </a:xfrm>
            <a:solidFill>
              <a:schemeClr val="accent1"/>
            </a:solidFill>
          </p:grpSpPr>
          <p:grpSp>
            <p:nvGrpSpPr>
              <p:cNvPr id="11" name="Group 10">
                <a:extLst>
                  <a:ext uri="{FF2B5EF4-FFF2-40B4-BE49-F238E27FC236}">
                    <a16:creationId xmlns:a16="http://schemas.microsoft.com/office/drawing/2014/main" id="{16EDA653-1CFF-442E-8D5E-4A0A7675016D}"/>
                  </a:ext>
                </a:extLst>
              </p:cNvPr>
              <p:cNvGrpSpPr/>
              <p:nvPr/>
            </p:nvGrpSpPr>
            <p:grpSpPr>
              <a:xfrm flipV="1">
                <a:off x="10961262" y="7360723"/>
                <a:ext cx="6558360" cy="1378607"/>
                <a:chOff x="10961262" y="9070418"/>
                <a:chExt cx="6558360" cy="1378607"/>
              </a:xfrm>
              <a:grpFill/>
            </p:grpSpPr>
            <p:cxnSp>
              <p:nvCxnSpPr>
                <p:cNvPr id="60" name="Straight Connector 59">
                  <a:extLst>
                    <a:ext uri="{FF2B5EF4-FFF2-40B4-BE49-F238E27FC236}">
                      <a16:creationId xmlns:a16="http://schemas.microsoft.com/office/drawing/2014/main" id="{5B2FA0E1-6A91-44EF-85C0-D0915319140A}"/>
                    </a:ext>
                  </a:extLst>
                </p:cNvPr>
                <p:cNvCxnSpPr>
                  <a:cxnSpLocks/>
                </p:cNvCxnSpPr>
                <p:nvPr/>
              </p:nvCxnSpPr>
              <p:spPr>
                <a:xfrm>
                  <a:off x="10961262" y="9070418"/>
                  <a:ext cx="6558360" cy="0"/>
                </a:xfrm>
                <a:prstGeom prst="line">
                  <a:avLst/>
                </a:prstGeom>
                <a:grpFill/>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3429A1A-368E-49A2-9191-470D71E03D0C}"/>
                    </a:ext>
                  </a:extLst>
                </p:cNvPr>
                <p:cNvCxnSpPr>
                  <a:cxnSpLocks/>
                </p:cNvCxnSpPr>
                <p:nvPr/>
              </p:nvCxnSpPr>
              <p:spPr>
                <a:xfrm>
                  <a:off x="17519622" y="9070418"/>
                  <a:ext cx="0" cy="1378607"/>
                </a:xfrm>
                <a:prstGeom prst="line">
                  <a:avLst/>
                </a:prstGeom>
                <a:grpFill/>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91D32F7B-FB75-4A16-BBD3-C43224BE84FE}"/>
                  </a:ext>
                </a:extLst>
              </p:cNvPr>
              <p:cNvGrpSpPr/>
              <p:nvPr/>
            </p:nvGrpSpPr>
            <p:grpSpPr>
              <a:xfrm>
                <a:off x="17375243" y="7099549"/>
                <a:ext cx="288758" cy="288758"/>
                <a:chOff x="17375243" y="3692928"/>
                <a:chExt cx="288758" cy="288758"/>
              </a:xfrm>
              <a:grpFill/>
            </p:grpSpPr>
            <p:sp>
              <p:nvSpPr>
                <p:cNvPr id="72" name="Oval 71">
                  <a:extLst>
                    <a:ext uri="{FF2B5EF4-FFF2-40B4-BE49-F238E27FC236}">
                      <a16:creationId xmlns:a16="http://schemas.microsoft.com/office/drawing/2014/main" id="{77575232-293C-4B6F-B316-C2483DCF0A9C}"/>
                    </a:ext>
                  </a:extLst>
                </p:cNvPr>
                <p:cNvSpPr/>
                <p:nvPr/>
              </p:nvSpPr>
              <p:spPr>
                <a:xfrm>
                  <a:off x="17375243" y="3692928"/>
                  <a:ext cx="288758" cy="288758"/>
                </a:xfrm>
                <a:prstGeom prst="ellipse">
                  <a:avLst/>
                </a:prstGeom>
                <a:grp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GB" dirty="0"/>
                </a:p>
              </p:txBody>
            </p:sp>
            <p:sp>
              <p:nvSpPr>
                <p:cNvPr id="73" name="Oval 72">
                  <a:extLst>
                    <a:ext uri="{FF2B5EF4-FFF2-40B4-BE49-F238E27FC236}">
                      <a16:creationId xmlns:a16="http://schemas.microsoft.com/office/drawing/2014/main" id="{CCC983D7-5E9B-4347-A63F-A71EB0DF6D62}"/>
                    </a:ext>
                  </a:extLst>
                </p:cNvPr>
                <p:cNvSpPr/>
                <p:nvPr/>
              </p:nvSpPr>
              <p:spPr>
                <a:xfrm>
                  <a:off x="17452284" y="3769969"/>
                  <a:ext cx="134676" cy="134676"/>
                </a:xfrm>
                <a:prstGeom prst="ellipse">
                  <a:avLst/>
                </a:prstGeom>
                <a:grp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GB" dirty="0"/>
                </a:p>
              </p:txBody>
            </p:sp>
          </p:grpSp>
        </p:grpSp>
        <p:grpSp>
          <p:nvGrpSpPr>
            <p:cNvPr id="16" name="Group 15">
              <a:extLst>
                <a:ext uri="{FF2B5EF4-FFF2-40B4-BE49-F238E27FC236}">
                  <a16:creationId xmlns:a16="http://schemas.microsoft.com/office/drawing/2014/main" id="{A9C1F1E3-1A15-4135-BEFD-2215C360D39E}"/>
                </a:ext>
              </a:extLst>
            </p:cNvPr>
            <p:cNvGrpSpPr/>
            <p:nvPr/>
          </p:nvGrpSpPr>
          <p:grpSpPr>
            <a:xfrm>
              <a:off x="767582" y="7044894"/>
              <a:ext cx="6095390" cy="1622580"/>
              <a:chOff x="385969" y="7099549"/>
              <a:chExt cx="6697140" cy="1639781"/>
            </a:xfrm>
            <a:solidFill>
              <a:schemeClr val="accent1"/>
            </a:solidFill>
          </p:grpSpPr>
          <p:grpSp>
            <p:nvGrpSpPr>
              <p:cNvPr id="63" name="Group 62">
                <a:extLst>
                  <a:ext uri="{FF2B5EF4-FFF2-40B4-BE49-F238E27FC236}">
                    <a16:creationId xmlns:a16="http://schemas.microsoft.com/office/drawing/2014/main" id="{399AD6A2-496C-4A20-B6C6-CEBC26CF3DB1}"/>
                  </a:ext>
                </a:extLst>
              </p:cNvPr>
              <p:cNvGrpSpPr/>
              <p:nvPr/>
            </p:nvGrpSpPr>
            <p:grpSpPr>
              <a:xfrm flipH="1" flipV="1">
                <a:off x="524749" y="7360723"/>
                <a:ext cx="6558360" cy="1378607"/>
                <a:chOff x="10961262" y="9070418"/>
                <a:chExt cx="6558360" cy="1378607"/>
              </a:xfrm>
              <a:grpFill/>
            </p:grpSpPr>
            <p:cxnSp>
              <p:nvCxnSpPr>
                <p:cNvPr id="64" name="Straight Connector 63">
                  <a:extLst>
                    <a:ext uri="{FF2B5EF4-FFF2-40B4-BE49-F238E27FC236}">
                      <a16:creationId xmlns:a16="http://schemas.microsoft.com/office/drawing/2014/main" id="{C87A50F5-711B-4D07-B733-80866B1BCA0A}"/>
                    </a:ext>
                  </a:extLst>
                </p:cNvPr>
                <p:cNvCxnSpPr>
                  <a:cxnSpLocks/>
                </p:cNvCxnSpPr>
                <p:nvPr/>
              </p:nvCxnSpPr>
              <p:spPr>
                <a:xfrm>
                  <a:off x="10961262" y="9070418"/>
                  <a:ext cx="6558360" cy="0"/>
                </a:xfrm>
                <a:prstGeom prst="line">
                  <a:avLst/>
                </a:prstGeom>
                <a:grpFill/>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950554E-337A-4A28-8D6F-DEEF09BF8933}"/>
                    </a:ext>
                  </a:extLst>
                </p:cNvPr>
                <p:cNvCxnSpPr>
                  <a:cxnSpLocks/>
                </p:cNvCxnSpPr>
                <p:nvPr/>
              </p:nvCxnSpPr>
              <p:spPr>
                <a:xfrm>
                  <a:off x="17519622" y="9070418"/>
                  <a:ext cx="0" cy="1378607"/>
                </a:xfrm>
                <a:prstGeom prst="line">
                  <a:avLst/>
                </a:prstGeom>
                <a:grpFill/>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2E1AC685-EAC6-458F-B1A9-7ABE0C8E6A9A}"/>
                  </a:ext>
                </a:extLst>
              </p:cNvPr>
              <p:cNvGrpSpPr/>
              <p:nvPr/>
            </p:nvGrpSpPr>
            <p:grpSpPr>
              <a:xfrm>
                <a:off x="385969" y="7099549"/>
                <a:ext cx="288758" cy="288758"/>
                <a:chOff x="17375243" y="3692928"/>
                <a:chExt cx="288758" cy="288758"/>
              </a:xfrm>
              <a:grpFill/>
            </p:grpSpPr>
            <p:sp>
              <p:nvSpPr>
                <p:cNvPr id="75" name="Oval 74">
                  <a:extLst>
                    <a:ext uri="{FF2B5EF4-FFF2-40B4-BE49-F238E27FC236}">
                      <a16:creationId xmlns:a16="http://schemas.microsoft.com/office/drawing/2014/main" id="{42C9C001-E6E5-48CA-8DEB-E8741AFA5DA8}"/>
                    </a:ext>
                  </a:extLst>
                </p:cNvPr>
                <p:cNvSpPr/>
                <p:nvPr/>
              </p:nvSpPr>
              <p:spPr>
                <a:xfrm>
                  <a:off x="17375243" y="3692928"/>
                  <a:ext cx="288758" cy="288758"/>
                </a:xfrm>
                <a:prstGeom prst="ellipse">
                  <a:avLst/>
                </a:prstGeom>
                <a:grp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GB" dirty="0"/>
                </a:p>
              </p:txBody>
            </p:sp>
            <p:sp>
              <p:nvSpPr>
                <p:cNvPr id="76" name="Oval 75">
                  <a:extLst>
                    <a:ext uri="{FF2B5EF4-FFF2-40B4-BE49-F238E27FC236}">
                      <a16:creationId xmlns:a16="http://schemas.microsoft.com/office/drawing/2014/main" id="{E576D688-FDEC-42B3-822D-184AB0E0BFAE}"/>
                    </a:ext>
                  </a:extLst>
                </p:cNvPr>
                <p:cNvSpPr/>
                <p:nvPr/>
              </p:nvSpPr>
              <p:spPr>
                <a:xfrm>
                  <a:off x="17452284" y="3769969"/>
                  <a:ext cx="134676" cy="134676"/>
                </a:xfrm>
                <a:prstGeom prst="ellipse">
                  <a:avLst/>
                </a:prstGeom>
                <a:grp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GB" dirty="0"/>
                </a:p>
              </p:txBody>
            </p:sp>
          </p:grpSp>
        </p:grpSp>
      </p:grpSp>
      <p:sp>
        <p:nvSpPr>
          <p:cNvPr id="4" name="Slide Number Placeholder 3">
            <a:extLst>
              <a:ext uri="{FF2B5EF4-FFF2-40B4-BE49-F238E27FC236}">
                <a16:creationId xmlns:a16="http://schemas.microsoft.com/office/drawing/2014/main" id="{CD843E55-2B5B-5594-8634-5613A750B2A0}"/>
              </a:ext>
            </a:extLst>
          </p:cNvPr>
          <p:cNvSpPr>
            <a:spLocks noGrp="1"/>
          </p:cNvSpPr>
          <p:nvPr>
            <p:ph type="sldNum" sz="quarter" idx="12"/>
          </p:nvPr>
        </p:nvSpPr>
        <p:spPr/>
        <p:txBody>
          <a:bodyPr/>
          <a:lstStyle/>
          <a:p>
            <a:fld id="{E2D680B1-7F17-42D2-83E2-2C9AC13983BB}" type="slidenum">
              <a:rPr lang="en-US" smtClean="0"/>
              <a:t>82</a:t>
            </a:fld>
            <a:endParaRPr lang="en-US" dirty="0"/>
          </a:p>
        </p:txBody>
      </p:sp>
    </p:spTree>
    <p:extLst>
      <p:ext uri="{BB962C8B-B14F-4D97-AF65-F5344CB8AC3E}">
        <p14:creationId xmlns:p14="http://schemas.microsoft.com/office/powerpoint/2010/main" val="1445043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0">
        <p159:morph option="byObject"/>
      </p:transition>
    </mc:Choice>
    <mc:Fallback xmlns="">
      <p:transition spd="slow" advTm="10000">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F5581C48-DD92-418F-B72E-8610E8BD8A3E}"/>
              </a:ext>
            </a:extLst>
          </p:cNvPr>
          <p:cNvGraphicFramePr>
            <a:graphicFrameLocks noChangeAspect="1"/>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Object 13" hidden="1">
                        <a:extLst>
                          <a:ext uri="{FF2B5EF4-FFF2-40B4-BE49-F238E27FC236}">
                            <a16:creationId xmlns:a16="http://schemas.microsoft.com/office/drawing/2014/main" id="{F5581C48-DD92-418F-B72E-8610E8BD8A3E}"/>
                          </a:ext>
                        </a:extLst>
                      </p:cNvPr>
                      <p:cNvPicPr/>
                      <p:nvPr/>
                    </p:nvPicPr>
                    <p:blipFill>
                      <a:blip r:embed="rId4"/>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5F8F6F-AD1F-82EC-E307-49182DC02412}"/>
              </a:ext>
            </a:extLst>
          </p:cNvPr>
          <p:cNvSpPr>
            <a:spLocks noGrp="1"/>
          </p:cNvSpPr>
          <p:nvPr>
            <p:ph type="title"/>
          </p:nvPr>
        </p:nvSpPr>
        <p:spPr/>
        <p:txBody>
          <a:bodyPr/>
          <a:lstStyle/>
          <a:p>
            <a:r>
              <a:rPr lang="en-IN" dirty="0"/>
              <a:t>Framework slide – Weighing Scale Layout</a:t>
            </a:r>
            <a:endParaRPr lang="en-US" dirty="0"/>
          </a:p>
        </p:txBody>
      </p:sp>
      <p:grpSp>
        <p:nvGrpSpPr>
          <p:cNvPr id="52" name="Group 51">
            <a:extLst>
              <a:ext uri="{FF2B5EF4-FFF2-40B4-BE49-F238E27FC236}">
                <a16:creationId xmlns:a16="http://schemas.microsoft.com/office/drawing/2014/main" id="{299A3668-7E7D-4031-855A-8DD0D422E69A}"/>
              </a:ext>
            </a:extLst>
          </p:cNvPr>
          <p:cNvGrpSpPr/>
          <p:nvPr/>
        </p:nvGrpSpPr>
        <p:grpSpPr>
          <a:xfrm>
            <a:off x="5015013" y="6068980"/>
            <a:ext cx="8798034" cy="3227421"/>
            <a:chOff x="5014219" y="6068979"/>
            <a:chExt cx="8798034" cy="3227421"/>
          </a:xfrm>
          <a:solidFill>
            <a:schemeClr val="accent1"/>
          </a:solidFill>
        </p:grpSpPr>
        <p:sp>
          <p:nvSpPr>
            <p:cNvPr id="9" name="Freeform 6">
              <a:extLst>
                <a:ext uri="{FF2B5EF4-FFF2-40B4-BE49-F238E27FC236}">
                  <a16:creationId xmlns:a16="http://schemas.microsoft.com/office/drawing/2014/main" id="{67598798-A3F7-47E6-B5AD-744509B45B02}"/>
                </a:ext>
              </a:extLst>
            </p:cNvPr>
            <p:cNvSpPr>
              <a:spLocks noEditPoints="1"/>
            </p:cNvSpPr>
            <p:nvPr/>
          </p:nvSpPr>
          <p:spPr bwMode="auto">
            <a:xfrm>
              <a:off x="5115906" y="7709216"/>
              <a:ext cx="3735850" cy="1038964"/>
            </a:xfrm>
            <a:custGeom>
              <a:avLst/>
              <a:gdLst>
                <a:gd name="T0" fmla="*/ 550 w 693"/>
                <a:gd name="T1" fmla="*/ 0 h 194"/>
                <a:gd name="T2" fmla="*/ 441 w 693"/>
                <a:gd name="T3" fmla="*/ 83 h 194"/>
                <a:gd name="T4" fmla="*/ 321 w 693"/>
                <a:gd name="T5" fmla="*/ 83 h 194"/>
                <a:gd name="T6" fmla="*/ 298 w 693"/>
                <a:gd name="T7" fmla="*/ 83 h 194"/>
                <a:gd name="T8" fmla="*/ 298 w 693"/>
                <a:gd name="T9" fmla="*/ 138 h 194"/>
                <a:gd name="T10" fmla="*/ 693 w 693"/>
                <a:gd name="T11" fmla="*/ 37 h 194"/>
                <a:gd name="T12" fmla="*/ 693 w 693"/>
                <a:gd name="T13" fmla="*/ 106 h 194"/>
                <a:gd name="T14" fmla="*/ 406 w 693"/>
                <a:gd name="T15" fmla="*/ 160 h 194"/>
                <a:gd name="T16" fmla="*/ 314 w 693"/>
                <a:gd name="T17" fmla="*/ 177 h 194"/>
                <a:gd name="T18" fmla="*/ 289 w 693"/>
                <a:gd name="T19" fmla="*/ 188 h 194"/>
                <a:gd name="T20" fmla="*/ 235 w 693"/>
                <a:gd name="T21" fmla="*/ 183 h 194"/>
                <a:gd name="T22" fmla="*/ 240 w 693"/>
                <a:gd name="T23" fmla="*/ 154 h 194"/>
                <a:gd name="T24" fmla="*/ 253 w 693"/>
                <a:gd name="T25" fmla="*/ 131 h 194"/>
                <a:gd name="T26" fmla="*/ 252 w 693"/>
                <a:gd name="T27" fmla="*/ 89 h 194"/>
                <a:gd name="T28" fmla="*/ 249 w 693"/>
                <a:gd name="T29" fmla="*/ 83 h 194"/>
                <a:gd name="T30" fmla="*/ 195 w 693"/>
                <a:gd name="T31" fmla="*/ 83 h 194"/>
                <a:gd name="T32" fmla="*/ 105 w 693"/>
                <a:gd name="T33" fmla="*/ 83 h 194"/>
                <a:gd name="T34" fmla="*/ 0 w 693"/>
                <a:gd name="T35" fmla="*/ 0 h 194"/>
                <a:gd name="T36" fmla="*/ 550 w 693"/>
                <a:gd name="T37" fmla="*/ 0 h 194"/>
                <a:gd name="T38" fmla="*/ 292 w 693"/>
                <a:gd name="T39" fmla="*/ 164 h 194"/>
                <a:gd name="T40" fmla="*/ 273 w 693"/>
                <a:gd name="T41" fmla="*/ 153 h 194"/>
                <a:gd name="T42" fmla="*/ 263 w 693"/>
                <a:gd name="T43" fmla="*/ 166 h 194"/>
                <a:gd name="T44" fmla="*/ 274 w 693"/>
                <a:gd name="T45" fmla="*/ 176 h 194"/>
                <a:gd name="T46" fmla="*/ 292 w 693"/>
                <a:gd name="T47" fmla="*/ 16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3" h="194">
                  <a:moveTo>
                    <a:pt x="550" y="0"/>
                  </a:moveTo>
                  <a:cubicBezTo>
                    <a:pt x="539" y="49"/>
                    <a:pt x="495" y="82"/>
                    <a:pt x="441" y="83"/>
                  </a:cubicBezTo>
                  <a:cubicBezTo>
                    <a:pt x="401" y="84"/>
                    <a:pt x="361" y="83"/>
                    <a:pt x="321" y="83"/>
                  </a:cubicBezTo>
                  <a:cubicBezTo>
                    <a:pt x="313" y="83"/>
                    <a:pt x="306" y="83"/>
                    <a:pt x="298" y="83"/>
                  </a:cubicBezTo>
                  <a:cubicBezTo>
                    <a:pt x="298" y="102"/>
                    <a:pt x="298" y="118"/>
                    <a:pt x="298" y="138"/>
                  </a:cubicBezTo>
                  <a:cubicBezTo>
                    <a:pt x="430" y="104"/>
                    <a:pt x="560" y="71"/>
                    <a:pt x="693" y="37"/>
                  </a:cubicBezTo>
                  <a:cubicBezTo>
                    <a:pt x="693" y="61"/>
                    <a:pt x="693" y="83"/>
                    <a:pt x="693" y="106"/>
                  </a:cubicBezTo>
                  <a:cubicBezTo>
                    <a:pt x="597" y="124"/>
                    <a:pt x="501" y="142"/>
                    <a:pt x="406" y="160"/>
                  </a:cubicBezTo>
                  <a:cubicBezTo>
                    <a:pt x="375" y="166"/>
                    <a:pt x="344" y="171"/>
                    <a:pt x="314" y="177"/>
                  </a:cubicBezTo>
                  <a:cubicBezTo>
                    <a:pt x="305" y="179"/>
                    <a:pt x="297" y="184"/>
                    <a:pt x="289" y="188"/>
                  </a:cubicBezTo>
                  <a:cubicBezTo>
                    <a:pt x="279" y="194"/>
                    <a:pt x="242" y="192"/>
                    <a:pt x="235" y="183"/>
                  </a:cubicBezTo>
                  <a:cubicBezTo>
                    <a:pt x="226" y="172"/>
                    <a:pt x="227" y="159"/>
                    <a:pt x="240" y="154"/>
                  </a:cubicBezTo>
                  <a:cubicBezTo>
                    <a:pt x="252" y="149"/>
                    <a:pt x="253" y="142"/>
                    <a:pt x="253" y="131"/>
                  </a:cubicBezTo>
                  <a:cubicBezTo>
                    <a:pt x="252" y="117"/>
                    <a:pt x="252" y="103"/>
                    <a:pt x="252" y="89"/>
                  </a:cubicBezTo>
                  <a:cubicBezTo>
                    <a:pt x="252" y="88"/>
                    <a:pt x="251" y="87"/>
                    <a:pt x="249" y="83"/>
                  </a:cubicBezTo>
                  <a:cubicBezTo>
                    <a:pt x="232" y="83"/>
                    <a:pt x="214" y="83"/>
                    <a:pt x="195" y="83"/>
                  </a:cubicBezTo>
                  <a:cubicBezTo>
                    <a:pt x="165" y="83"/>
                    <a:pt x="135" y="83"/>
                    <a:pt x="105" y="83"/>
                  </a:cubicBezTo>
                  <a:cubicBezTo>
                    <a:pt x="61" y="83"/>
                    <a:pt x="8" y="51"/>
                    <a:pt x="0" y="0"/>
                  </a:cubicBezTo>
                  <a:cubicBezTo>
                    <a:pt x="183" y="0"/>
                    <a:pt x="366" y="0"/>
                    <a:pt x="550" y="0"/>
                  </a:cubicBezTo>
                  <a:close/>
                  <a:moveTo>
                    <a:pt x="292" y="164"/>
                  </a:moveTo>
                  <a:cubicBezTo>
                    <a:pt x="283" y="158"/>
                    <a:pt x="277" y="152"/>
                    <a:pt x="273" y="153"/>
                  </a:cubicBezTo>
                  <a:cubicBezTo>
                    <a:pt x="269" y="154"/>
                    <a:pt x="264" y="161"/>
                    <a:pt x="263" y="166"/>
                  </a:cubicBezTo>
                  <a:cubicBezTo>
                    <a:pt x="262" y="169"/>
                    <a:pt x="270" y="176"/>
                    <a:pt x="274" y="176"/>
                  </a:cubicBezTo>
                  <a:cubicBezTo>
                    <a:pt x="279" y="176"/>
                    <a:pt x="283" y="170"/>
                    <a:pt x="292" y="1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7">
              <a:extLst>
                <a:ext uri="{FF2B5EF4-FFF2-40B4-BE49-F238E27FC236}">
                  <a16:creationId xmlns:a16="http://schemas.microsoft.com/office/drawing/2014/main" id="{A6C4343B-138B-41FC-9161-EAC62D69CE98}"/>
                </a:ext>
              </a:extLst>
            </p:cNvPr>
            <p:cNvSpPr>
              <a:spLocks noEditPoints="1"/>
            </p:cNvSpPr>
            <p:nvPr/>
          </p:nvSpPr>
          <p:spPr bwMode="auto">
            <a:xfrm>
              <a:off x="9917245" y="6272351"/>
              <a:ext cx="3793323" cy="1706553"/>
            </a:xfrm>
            <a:custGeom>
              <a:avLst/>
              <a:gdLst>
                <a:gd name="T0" fmla="*/ 23 w 704"/>
                <a:gd name="T1" fmla="*/ 318 h 318"/>
                <a:gd name="T2" fmla="*/ 0 w 704"/>
                <a:gd name="T3" fmla="*/ 254 h 318"/>
                <a:gd name="T4" fmla="*/ 409 w 704"/>
                <a:gd name="T5" fmla="*/ 150 h 318"/>
                <a:gd name="T6" fmla="*/ 408 w 704"/>
                <a:gd name="T7" fmla="*/ 92 h 318"/>
                <a:gd name="T8" fmla="*/ 392 w 704"/>
                <a:gd name="T9" fmla="*/ 82 h 318"/>
                <a:gd name="T10" fmla="*/ 260 w 704"/>
                <a:gd name="T11" fmla="*/ 81 h 318"/>
                <a:gd name="T12" fmla="*/ 155 w 704"/>
                <a:gd name="T13" fmla="*/ 0 h 318"/>
                <a:gd name="T14" fmla="*/ 704 w 704"/>
                <a:gd name="T15" fmla="*/ 0 h 318"/>
                <a:gd name="T16" fmla="*/ 606 w 704"/>
                <a:gd name="T17" fmla="*/ 80 h 318"/>
                <a:gd name="T18" fmla="*/ 470 w 704"/>
                <a:gd name="T19" fmla="*/ 81 h 318"/>
                <a:gd name="T20" fmla="*/ 451 w 704"/>
                <a:gd name="T21" fmla="*/ 100 h 318"/>
                <a:gd name="T22" fmla="*/ 452 w 704"/>
                <a:gd name="T23" fmla="*/ 122 h 318"/>
                <a:gd name="T24" fmla="*/ 462 w 704"/>
                <a:gd name="T25" fmla="*/ 139 h 318"/>
                <a:gd name="T26" fmla="*/ 473 w 704"/>
                <a:gd name="T27" fmla="*/ 158 h 318"/>
                <a:gd name="T28" fmla="*/ 462 w 704"/>
                <a:gd name="T29" fmla="*/ 175 h 318"/>
                <a:gd name="T30" fmla="*/ 378 w 704"/>
                <a:gd name="T31" fmla="*/ 202 h 318"/>
                <a:gd name="T32" fmla="*/ 105 w 704"/>
                <a:gd name="T33" fmla="*/ 291 h 318"/>
                <a:gd name="T34" fmla="*/ 32 w 704"/>
                <a:gd name="T35" fmla="*/ 317 h 318"/>
                <a:gd name="T36" fmla="*/ 23 w 704"/>
                <a:gd name="T37" fmla="*/ 318 h 318"/>
                <a:gd name="T38" fmla="*/ 447 w 704"/>
                <a:gd name="T39" fmla="*/ 163 h 318"/>
                <a:gd name="T40" fmla="*/ 431 w 704"/>
                <a:gd name="T41" fmla="*/ 152 h 318"/>
                <a:gd name="T42" fmla="*/ 419 w 704"/>
                <a:gd name="T43" fmla="*/ 164 h 318"/>
                <a:gd name="T44" fmla="*/ 429 w 704"/>
                <a:gd name="T45" fmla="*/ 174 h 318"/>
                <a:gd name="T46" fmla="*/ 447 w 704"/>
                <a:gd name="T47" fmla="*/ 16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4" h="318">
                  <a:moveTo>
                    <a:pt x="23" y="318"/>
                  </a:moveTo>
                  <a:cubicBezTo>
                    <a:pt x="15" y="297"/>
                    <a:pt x="8" y="277"/>
                    <a:pt x="0" y="254"/>
                  </a:cubicBezTo>
                  <a:cubicBezTo>
                    <a:pt x="134" y="220"/>
                    <a:pt x="270" y="185"/>
                    <a:pt x="409" y="150"/>
                  </a:cubicBezTo>
                  <a:cubicBezTo>
                    <a:pt x="409" y="130"/>
                    <a:pt x="410" y="111"/>
                    <a:pt x="408" y="92"/>
                  </a:cubicBezTo>
                  <a:cubicBezTo>
                    <a:pt x="407" y="88"/>
                    <a:pt x="397" y="82"/>
                    <a:pt x="392" y="82"/>
                  </a:cubicBezTo>
                  <a:cubicBezTo>
                    <a:pt x="348" y="81"/>
                    <a:pt x="304" y="82"/>
                    <a:pt x="260" y="81"/>
                  </a:cubicBezTo>
                  <a:cubicBezTo>
                    <a:pt x="209" y="80"/>
                    <a:pt x="168" y="48"/>
                    <a:pt x="155" y="0"/>
                  </a:cubicBezTo>
                  <a:cubicBezTo>
                    <a:pt x="338" y="0"/>
                    <a:pt x="521" y="0"/>
                    <a:pt x="704" y="0"/>
                  </a:cubicBezTo>
                  <a:cubicBezTo>
                    <a:pt x="700" y="40"/>
                    <a:pt x="655" y="78"/>
                    <a:pt x="606" y="80"/>
                  </a:cubicBezTo>
                  <a:cubicBezTo>
                    <a:pt x="561" y="82"/>
                    <a:pt x="516" y="81"/>
                    <a:pt x="470" y="81"/>
                  </a:cubicBezTo>
                  <a:cubicBezTo>
                    <a:pt x="455" y="81"/>
                    <a:pt x="449" y="85"/>
                    <a:pt x="451" y="100"/>
                  </a:cubicBezTo>
                  <a:cubicBezTo>
                    <a:pt x="452" y="107"/>
                    <a:pt x="450" y="115"/>
                    <a:pt x="452" y="122"/>
                  </a:cubicBezTo>
                  <a:cubicBezTo>
                    <a:pt x="453" y="128"/>
                    <a:pt x="458" y="134"/>
                    <a:pt x="462" y="139"/>
                  </a:cubicBezTo>
                  <a:cubicBezTo>
                    <a:pt x="466" y="146"/>
                    <a:pt x="473" y="152"/>
                    <a:pt x="473" y="158"/>
                  </a:cubicBezTo>
                  <a:cubicBezTo>
                    <a:pt x="474" y="163"/>
                    <a:pt x="467" y="170"/>
                    <a:pt x="462" y="175"/>
                  </a:cubicBezTo>
                  <a:cubicBezTo>
                    <a:pt x="439" y="198"/>
                    <a:pt x="406" y="192"/>
                    <a:pt x="378" y="202"/>
                  </a:cubicBezTo>
                  <a:cubicBezTo>
                    <a:pt x="288" y="233"/>
                    <a:pt x="196" y="262"/>
                    <a:pt x="105" y="291"/>
                  </a:cubicBezTo>
                  <a:cubicBezTo>
                    <a:pt x="81" y="300"/>
                    <a:pt x="56" y="309"/>
                    <a:pt x="32" y="317"/>
                  </a:cubicBezTo>
                  <a:cubicBezTo>
                    <a:pt x="28" y="318"/>
                    <a:pt x="24" y="318"/>
                    <a:pt x="23" y="318"/>
                  </a:cubicBezTo>
                  <a:close/>
                  <a:moveTo>
                    <a:pt x="447" y="163"/>
                  </a:moveTo>
                  <a:cubicBezTo>
                    <a:pt x="439" y="158"/>
                    <a:pt x="434" y="151"/>
                    <a:pt x="431" y="152"/>
                  </a:cubicBezTo>
                  <a:cubicBezTo>
                    <a:pt x="426" y="153"/>
                    <a:pt x="420" y="159"/>
                    <a:pt x="419" y="164"/>
                  </a:cubicBezTo>
                  <a:cubicBezTo>
                    <a:pt x="418" y="166"/>
                    <a:pt x="425" y="174"/>
                    <a:pt x="429" y="174"/>
                  </a:cubicBezTo>
                  <a:cubicBezTo>
                    <a:pt x="434" y="174"/>
                    <a:pt x="439" y="169"/>
                    <a:pt x="447" y="1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reeform 8">
              <a:extLst>
                <a:ext uri="{FF2B5EF4-FFF2-40B4-BE49-F238E27FC236}">
                  <a16:creationId xmlns:a16="http://schemas.microsoft.com/office/drawing/2014/main" id="{CD0275B6-0890-40B2-B163-8D324D67DD4E}"/>
                </a:ext>
              </a:extLst>
            </p:cNvPr>
            <p:cNvSpPr>
              <a:spLocks noEditPoints="1"/>
            </p:cNvSpPr>
            <p:nvPr/>
          </p:nvSpPr>
          <p:spPr bwMode="auto">
            <a:xfrm>
              <a:off x="8467117" y="7505845"/>
              <a:ext cx="1936452" cy="1542973"/>
            </a:xfrm>
            <a:custGeom>
              <a:avLst/>
              <a:gdLst>
                <a:gd name="T0" fmla="*/ 1 w 359"/>
                <a:gd name="T1" fmla="*/ 288 h 288"/>
                <a:gd name="T2" fmla="*/ 54 w 359"/>
                <a:gd name="T3" fmla="*/ 213 h 288"/>
                <a:gd name="T4" fmla="*/ 94 w 359"/>
                <a:gd name="T5" fmla="*/ 154 h 288"/>
                <a:gd name="T6" fmla="*/ 94 w 359"/>
                <a:gd name="T7" fmla="*/ 86 h 288"/>
                <a:gd name="T8" fmla="*/ 144 w 359"/>
                <a:gd name="T9" fmla="*/ 13 h 288"/>
                <a:gd name="T10" fmla="*/ 232 w 359"/>
                <a:gd name="T11" fmla="*/ 23 h 288"/>
                <a:gd name="T12" fmla="*/ 266 w 359"/>
                <a:gd name="T13" fmla="*/ 105 h 288"/>
                <a:gd name="T14" fmla="*/ 266 w 359"/>
                <a:gd name="T15" fmla="*/ 141 h 288"/>
                <a:gd name="T16" fmla="*/ 319 w 359"/>
                <a:gd name="T17" fmla="*/ 217 h 288"/>
                <a:gd name="T18" fmla="*/ 359 w 359"/>
                <a:gd name="T19" fmla="*/ 288 h 288"/>
                <a:gd name="T20" fmla="*/ 1 w 359"/>
                <a:gd name="T21" fmla="*/ 288 h 288"/>
                <a:gd name="T22" fmla="*/ 177 w 359"/>
                <a:gd name="T23" fmla="*/ 57 h 288"/>
                <a:gd name="T24" fmla="*/ 154 w 359"/>
                <a:gd name="T25" fmla="*/ 86 h 288"/>
                <a:gd name="T26" fmla="*/ 181 w 359"/>
                <a:gd name="T27" fmla="*/ 113 h 288"/>
                <a:gd name="T28" fmla="*/ 208 w 359"/>
                <a:gd name="T29" fmla="*/ 84 h 288"/>
                <a:gd name="T30" fmla="*/ 177 w 359"/>
                <a:gd name="T31" fmla="*/ 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9" h="288">
                  <a:moveTo>
                    <a:pt x="1" y="288"/>
                  </a:moveTo>
                  <a:cubicBezTo>
                    <a:pt x="0" y="249"/>
                    <a:pt x="16" y="224"/>
                    <a:pt x="54" y="213"/>
                  </a:cubicBezTo>
                  <a:cubicBezTo>
                    <a:pt x="80" y="204"/>
                    <a:pt x="94" y="182"/>
                    <a:pt x="94" y="154"/>
                  </a:cubicBezTo>
                  <a:cubicBezTo>
                    <a:pt x="95" y="131"/>
                    <a:pt x="94" y="109"/>
                    <a:pt x="94" y="86"/>
                  </a:cubicBezTo>
                  <a:cubicBezTo>
                    <a:pt x="94" y="51"/>
                    <a:pt x="115" y="26"/>
                    <a:pt x="144" y="13"/>
                  </a:cubicBezTo>
                  <a:cubicBezTo>
                    <a:pt x="173" y="0"/>
                    <a:pt x="204" y="0"/>
                    <a:pt x="232" y="23"/>
                  </a:cubicBezTo>
                  <a:cubicBezTo>
                    <a:pt x="260" y="45"/>
                    <a:pt x="266" y="73"/>
                    <a:pt x="266" y="105"/>
                  </a:cubicBezTo>
                  <a:cubicBezTo>
                    <a:pt x="265" y="117"/>
                    <a:pt x="266" y="129"/>
                    <a:pt x="266" y="141"/>
                  </a:cubicBezTo>
                  <a:cubicBezTo>
                    <a:pt x="266" y="185"/>
                    <a:pt x="278" y="202"/>
                    <a:pt x="319" y="217"/>
                  </a:cubicBezTo>
                  <a:cubicBezTo>
                    <a:pt x="352" y="229"/>
                    <a:pt x="359" y="256"/>
                    <a:pt x="359" y="288"/>
                  </a:cubicBezTo>
                  <a:cubicBezTo>
                    <a:pt x="240" y="288"/>
                    <a:pt x="121" y="288"/>
                    <a:pt x="1" y="288"/>
                  </a:cubicBezTo>
                  <a:close/>
                  <a:moveTo>
                    <a:pt x="177" y="57"/>
                  </a:moveTo>
                  <a:cubicBezTo>
                    <a:pt x="162" y="57"/>
                    <a:pt x="153" y="69"/>
                    <a:pt x="154" y="86"/>
                  </a:cubicBezTo>
                  <a:cubicBezTo>
                    <a:pt x="154" y="102"/>
                    <a:pt x="166" y="114"/>
                    <a:pt x="181" y="113"/>
                  </a:cubicBezTo>
                  <a:cubicBezTo>
                    <a:pt x="197" y="112"/>
                    <a:pt x="208" y="100"/>
                    <a:pt x="208" y="84"/>
                  </a:cubicBezTo>
                  <a:cubicBezTo>
                    <a:pt x="208" y="70"/>
                    <a:pt x="191" y="56"/>
                    <a:pt x="177" y="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9">
              <a:extLst>
                <a:ext uri="{FF2B5EF4-FFF2-40B4-BE49-F238E27FC236}">
                  <a16:creationId xmlns:a16="http://schemas.microsoft.com/office/drawing/2014/main" id="{BDCA755C-4D67-4C6D-B56B-097219A37258}"/>
                </a:ext>
              </a:extLst>
            </p:cNvPr>
            <p:cNvSpPr>
              <a:spLocks/>
            </p:cNvSpPr>
            <p:nvPr/>
          </p:nvSpPr>
          <p:spPr bwMode="auto">
            <a:xfrm>
              <a:off x="8383114" y="9115133"/>
              <a:ext cx="2104454" cy="181267"/>
            </a:xfrm>
            <a:custGeom>
              <a:avLst/>
              <a:gdLst>
                <a:gd name="T0" fmla="*/ 390 w 391"/>
                <a:gd name="T1" fmla="*/ 0 h 34"/>
                <a:gd name="T2" fmla="*/ 364 w 391"/>
                <a:gd name="T3" fmla="*/ 34 h 34"/>
                <a:gd name="T4" fmla="*/ 28 w 391"/>
                <a:gd name="T5" fmla="*/ 34 h 34"/>
                <a:gd name="T6" fmla="*/ 4 w 391"/>
                <a:gd name="T7" fmla="*/ 0 h 34"/>
                <a:gd name="T8" fmla="*/ 390 w 391"/>
                <a:gd name="T9" fmla="*/ 0 h 34"/>
              </a:gdLst>
              <a:ahLst/>
              <a:cxnLst>
                <a:cxn ang="0">
                  <a:pos x="T0" y="T1"/>
                </a:cxn>
                <a:cxn ang="0">
                  <a:pos x="T2" y="T3"/>
                </a:cxn>
                <a:cxn ang="0">
                  <a:pos x="T4" y="T5"/>
                </a:cxn>
                <a:cxn ang="0">
                  <a:pos x="T6" y="T7"/>
                </a:cxn>
                <a:cxn ang="0">
                  <a:pos x="T8" y="T9"/>
                </a:cxn>
              </a:cxnLst>
              <a:rect l="0" t="0" r="r" b="b"/>
              <a:pathLst>
                <a:path w="391" h="34">
                  <a:moveTo>
                    <a:pt x="390" y="0"/>
                  </a:moveTo>
                  <a:cubicBezTo>
                    <a:pt x="391" y="24"/>
                    <a:pt x="384" y="34"/>
                    <a:pt x="364" y="34"/>
                  </a:cubicBezTo>
                  <a:cubicBezTo>
                    <a:pt x="252" y="34"/>
                    <a:pt x="140" y="34"/>
                    <a:pt x="28" y="34"/>
                  </a:cubicBezTo>
                  <a:cubicBezTo>
                    <a:pt x="7" y="34"/>
                    <a:pt x="0" y="23"/>
                    <a:pt x="4" y="0"/>
                  </a:cubicBezTo>
                  <a:cubicBezTo>
                    <a:pt x="132" y="0"/>
                    <a:pt x="260" y="0"/>
                    <a:pt x="39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7" name="Freeform 10">
              <a:extLst>
                <a:ext uri="{FF2B5EF4-FFF2-40B4-BE49-F238E27FC236}">
                  <a16:creationId xmlns:a16="http://schemas.microsoft.com/office/drawing/2014/main" id="{988B3ED4-D7A2-4FDC-B9B5-96BE876BF3B6}"/>
                </a:ext>
              </a:extLst>
            </p:cNvPr>
            <p:cNvSpPr>
              <a:spLocks/>
            </p:cNvSpPr>
            <p:nvPr/>
          </p:nvSpPr>
          <p:spPr bwMode="auto">
            <a:xfrm>
              <a:off x="10655572" y="6068979"/>
              <a:ext cx="3156681" cy="137056"/>
            </a:xfrm>
            <a:custGeom>
              <a:avLst/>
              <a:gdLst>
                <a:gd name="T0" fmla="*/ 295 w 586"/>
                <a:gd name="T1" fmla="*/ 6 h 26"/>
                <a:gd name="T2" fmla="*/ 561 w 586"/>
                <a:gd name="T3" fmla="*/ 6 h 26"/>
                <a:gd name="T4" fmla="*/ 579 w 586"/>
                <a:gd name="T5" fmla="*/ 7 h 26"/>
                <a:gd name="T6" fmla="*/ 586 w 586"/>
                <a:gd name="T7" fmla="*/ 15 h 26"/>
                <a:gd name="T8" fmla="*/ 578 w 586"/>
                <a:gd name="T9" fmla="*/ 24 h 26"/>
                <a:gd name="T10" fmla="*/ 559 w 586"/>
                <a:gd name="T11" fmla="*/ 25 h 26"/>
                <a:gd name="T12" fmla="*/ 25 w 586"/>
                <a:gd name="T13" fmla="*/ 25 h 26"/>
                <a:gd name="T14" fmla="*/ 1 w 586"/>
                <a:gd name="T15" fmla="*/ 17 h 26"/>
                <a:gd name="T16" fmla="*/ 25 w 586"/>
                <a:gd name="T17" fmla="*/ 6 h 26"/>
                <a:gd name="T18" fmla="*/ 295 w 586"/>
                <a:gd name="T1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26">
                  <a:moveTo>
                    <a:pt x="295" y="6"/>
                  </a:moveTo>
                  <a:cubicBezTo>
                    <a:pt x="384" y="6"/>
                    <a:pt x="472" y="6"/>
                    <a:pt x="561" y="6"/>
                  </a:cubicBezTo>
                  <a:cubicBezTo>
                    <a:pt x="567" y="6"/>
                    <a:pt x="573" y="6"/>
                    <a:pt x="579" y="7"/>
                  </a:cubicBezTo>
                  <a:cubicBezTo>
                    <a:pt x="582" y="8"/>
                    <a:pt x="586" y="13"/>
                    <a:pt x="586" y="15"/>
                  </a:cubicBezTo>
                  <a:cubicBezTo>
                    <a:pt x="585" y="18"/>
                    <a:pt x="582" y="23"/>
                    <a:pt x="578" y="24"/>
                  </a:cubicBezTo>
                  <a:cubicBezTo>
                    <a:pt x="572" y="26"/>
                    <a:pt x="565" y="25"/>
                    <a:pt x="559" y="25"/>
                  </a:cubicBezTo>
                  <a:cubicBezTo>
                    <a:pt x="381" y="25"/>
                    <a:pt x="203" y="25"/>
                    <a:pt x="25" y="25"/>
                  </a:cubicBezTo>
                  <a:cubicBezTo>
                    <a:pt x="16" y="25"/>
                    <a:pt x="0" y="19"/>
                    <a:pt x="1" y="17"/>
                  </a:cubicBezTo>
                  <a:cubicBezTo>
                    <a:pt x="1" y="0"/>
                    <a:pt x="16" y="6"/>
                    <a:pt x="25" y="6"/>
                  </a:cubicBezTo>
                  <a:cubicBezTo>
                    <a:pt x="115" y="6"/>
                    <a:pt x="205" y="6"/>
                    <a:pt x="295"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11">
              <a:extLst>
                <a:ext uri="{FF2B5EF4-FFF2-40B4-BE49-F238E27FC236}">
                  <a16:creationId xmlns:a16="http://schemas.microsoft.com/office/drawing/2014/main" id="{C5A3E67C-F7B2-45D8-A04C-BBDA598716F6}"/>
                </a:ext>
              </a:extLst>
            </p:cNvPr>
            <p:cNvSpPr>
              <a:spLocks/>
            </p:cNvSpPr>
            <p:nvPr/>
          </p:nvSpPr>
          <p:spPr bwMode="auto">
            <a:xfrm>
              <a:off x="5014219" y="7536791"/>
              <a:ext cx="3169946" cy="119372"/>
            </a:xfrm>
            <a:custGeom>
              <a:avLst/>
              <a:gdLst>
                <a:gd name="T0" fmla="*/ 292 w 588"/>
                <a:gd name="T1" fmla="*/ 20 h 22"/>
                <a:gd name="T2" fmla="*/ 21 w 588"/>
                <a:gd name="T3" fmla="*/ 20 h 22"/>
                <a:gd name="T4" fmla="*/ 9 w 588"/>
                <a:gd name="T5" fmla="*/ 20 h 22"/>
                <a:gd name="T6" fmla="*/ 0 w 588"/>
                <a:gd name="T7" fmla="*/ 11 h 22"/>
                <a:gd name="T8" fmla="*/ 8 w 588"/>
                <a:gd name="T9" fmla="*/ 3 h 22"/>
                <a:gd name="T10" fmla="*/ 24 w 588"/>
                <a:gd name="T11" fmla="*/ 2 h 22"/>
                <a:gd name="T12" fmla="*/ 324 w 588"/>
                <a:gd name="T13" fmla="*/ 2 h 22"/>
                <a:gd name="T14" fmla="*/ 517 w 588"/>
                <a:gd name="T15" fmla="*/ 0 h 22"/>
                <a:gd name="T16" fmla="*/ 572 w 588"/>
                <a:gd name="T17" fmla="*/ 1 h 22"/>
                <a:gd name="T18" fmla="*/ 588 w 588"/>
                <a:gd name="T19" fmla="*/ 12 h 22"/>
                <a:gd name="T20" fmla="*/ 571 w 588"/>
                <a:gd name="T21" fmla="*/ 21 h 22"/>
                <a:gd name="T22" fmla="*/ 292 w 588"/>
                <a:gd name="T23" fmla="*/ 22 h 22"/>
                <a:gd name="T24" fmla="*/ 292 w 588"/>
                <a:gd name="T2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22">
                  <a:moveTo>
                    <a:pt x="292" y="20"/>
                  </a:moveTo>
                  <a:cubicBezTo>
                    <a:pt x="202" y="20"/>
                    <a:pt x="111" y="20"/>
                    <a:pt x="21" y="20"/>
                  </a:cubicBezTo>
                  <a:cubicBezTo>
                    <a:pt x="17" y="20"/>
                    <a:pt x="12" y="21"/>
                    <a:pt x="9" y="20"/>
                  </a:cubicBezTo>
                  <a:cubicBezTo>
                    <a:pt x="5" y="18"/>
                    <a:pt x="1" y="15"/>
                    <a:pt x="0" y="11"/>
                  </a:cubicBezTo>
                  <a:cubicBezTo>
                    <a:pt x="0" y="9"/>
                    <a:pt x="5" y="4"/>
                    <a:pt x="8" y="3"/>
                  </a:cubicBezTo>
                  <a:cubicBezTo>
                    <a:pt x="13" y="1"/>
                    <a:pt x="19" y="2"/>
                    <a:pt x="24" y="2"/>
                  </a:cubicBezTo>
                  <a:cubicBezTo>
                    <a:pt x="124" y="2"/>
                    <a:pt x="224" y="2"/>
                    <a:pt x="324" y="2"/>
                  </a:cubicBezTo>
                  <a:cubicBezTo>
                    <a:pt x="388" y="2"/>
                    <a:pt x="452" y="1"/>
                    <a:pt x="517" y="0"/>
                  </a:cubicBezTo>
                  <a:cubicBezTo>
                    <a:pt x="535" y="0"/>
                    <a:pt x="554" y="0"/>
                    <a:pt x="572" y="1"/>
                  </a:cubicBezTo>
                  <a:cubicBezTo>
                    <a:pt x="578" y="1"/>
                    <a:pt x="583" y="8"/>
                    <a:pt x="588" y="12"/>
                  </a:cubicBezTo>
                  <a:cubicBezTo>
                    <a:pt x="582" y="15"/>
                    <a:pt x="577" y="21"/>
                    <a:pt x="571" y="21"/>
                  </a:cubicBezTo>
                  <a:cubicBezTo>
                    <a:pt x="478" y="22"/>
                    <a:pt x="385" y="22"/>
                    <a:pt x="292" y="22"/>
                  </a:cubicBezTo>
                  <a:cubicBezTo>
                    <a:pt x="292" y="21"/>
                    <a:pt x="292" y="21"/>
                    <a:pt x="292"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42" name="Freeform 6">
            <a:extLst>
              <a:ext uri="{FF2B5EF4-FFF2-40B4-BE49-F238E27FC236}">
                <a16:creationId xmlns:a16="http://schemas.microsoft.com/office/drawing/2014/main" id="{A51906A0-9527-4612-A3D2-56683D408DE6}"/>
              </a:ext>
            </a:extLst>
          </p:cNvPr>
          <p:cNvSpPr>
            <a:spLocks noChangeAspect="1" noEditPoints="1"/>
          </p:cNvSpPr>
          <p:nvPr/>
        </p:nvSpPr>
        <p:spPr bwMode="auto">
          <a:xfrm>
            <a:off x="11383760" y="4391004"/>
            <a:ext cx="1714981" cy="1707650"/>
          </a:xfrm>
          <a:custGeom>
            <a:avLst/>
            <a:gdLst>
              <a:gd name="T0" fmla="*/ 1344 w 1344"/>
              <a:gd name="T1" fmla="*/ 675 h 1345"/>
              <a:gd name="T2" fmla="*/ 1344 w 1344"/>
              <a:gd name="T3" fmla="*/ 1099 h 1345"/>
              <a:gd name="T4" fmla="*/ 1177 w 1344"/>
              <a:gd name="T5" fmla="*/ 1330 h 1345"/>
              <a:gd name="T6" fmla="*/ 1099 w 1344"/>
              <a:gd name="T7" fmla="*/ 1344 h 1345"/>
              <a:gd name="T8" fmla="*/ 245 w 1344"/>
              <a:gd name="T9" fmla="*/ 1344 h 1345"/>
              <a:gd name="T10" fmla="*/ 4 w 1344"/>
              <a:gd name="T11" fmla="*/ 1134 h 1345"/>
              <a:gd name="T12" fmla="*/ 0 w 1344"/>
              <a:gd name="T13" fmla="*/ 1097 h 1345"/>
              <a:gd name="T14" fmla="*/ 0 w 1344"/>
              <a:gd name="T15" fmla="*/ 249 h 1345"/>
              <a:gd name="T16" fmla="*/ 169 w 1344"/>
              <a:gd name="T17" fmla="*/ 14 h 1345"/>
              <a:gd name="T18" fmla="*/ 245 w 1344"/>
              <a:gd name="T19" fmla="*/ 1 h 1345"/>
              <a:gd name="T20" fmla="*/ 1099 w 1344"/>
              <a:gd name="T21" fmla="*/ 1 h 1345"/>
              <a:gd name="T22" fmla="*/ 1340 w 1344"/>
              <a:gd name="T23" fmla="*/ 211 h 1345"/>
              <a:gd name="T24" fmla="*/ 1344 w 1344"/>
              <a:gd name="T25" fmla="*/ 259 h 1345"/>
              <a:gd name="T26" fmla="*/ 1344 w 1344"/>
              <a:gd name="T27" fmla="*/ 675 h 1345"/>
              <a:gd name="T28" fmla="*/ 784 w 1344"/>
              <a:gd name="T29" fmla="*/ 785 h 1345"/>
              <a:gd name="T30" fmla="*/ 807 w 1344"/>
              <a:gd name="T31" fmla="*/ 785 h 1345"/>
              <a:gd name="T32" fmla="*/ 1051 w 1344"/>
              <a:gd name="T33" fmla="*/ 785 h 1345"/>
              <a:gd name="T34" fmla="*/ 1120 w 1344"/>
              <a:gd name="T35" fmla="*/ 717 h 1345"/>
              <a:gd name="T36" fmla="*/ 1120 w 1344"/>
              <a:gd name="T37" fmla="*/ 627 h 1345"/>
              <a:gd name="T38" fmla="*/ 1054 w 1344"/>
              <a:gd name="T39" fmla="*/ 561 h 1345"/>
              <a:gd name="T40" fmla="*/ 806 w 1344"/>
              <a:gd name="T41" fmla="*/ 561 h 1345"/>
              <a:gd name="T42" fmla="*/ 784 w 1344"/>
              <a:gd name="T43" fmla="*/ 561 h 1345"/>
              <a:gd name="T44" fmla="*/ 784 w 1344"/>
              <a:gd name="T45" fmla="*/ 536 h 1345"/>
              <a:gd name="T46" fmla="*/ 784 w 1344"/>
              <a:gd name="T47" fmla="*/ 292 h 1345"/>
              <a:gd name="T48" fmla="*/ 717 w 1344"/>
              <a:gd name="T49" fmla="*/ 225 h 1345"/>
              <a:gd name="T50" fmla="*/ 625 w 1344"/>
              <a:gd name="T51" fmla="*/ 225 h 1345"/>
              <a:gd name="T52" fmla="*/ 560 w 1344"/>
              <a:gd name="T53" fmla="*/ 289 h 1345"/>
              <a:gd name="T54" fmla="*/ 560 w 1344"/>
              <a:gd name="T55" fmla="*/ 537 h 1345"/>
              <a:gd name="T56" fmla="*/ 560 w 1344"/>
              <a:gd name="T57" fmla="*/ 561 h 1345"/>
              <a:gd name="T58" fmla="*/ 537 w 1344"/>
              <a:gd name="T59" fmla="*/ 561 h 1345"/>
              <a:gd name="T60" fmla="*/ 295 w 1344"/>
              <a:gd name="T61" fmla="*/ 561 h 1345"/>
              <a:gd name="T62" fmla="*/ 224 w 1344"/>
              <a:gd name="T63" fmla="*/ 632 h 1345"/>
              <a:gd name="T64" fmla="*/ 224 w 1344"/>
              <a:gd name="T65" fmla="*/ 718 h 1345"/>
              <a:gd name="T66" fmla="*/ 290 w 1344"/>
              <a:gd name="T67" fmla="*/ 785 h 1345"/>
              <a:gd name="T68" fmla="*/ 538 w 1344"/>
              <a:gd name="T69" fmla="*/ 785 h 1345"/>
              <a:gd name="T70" fmla="*/ 560 w 1344"/>
              <a:gd name="T71" fmla="*/ 785 h 1345"/>
              <a:gd name="T72" fmla="*/ 560 w 1344"/>
              <a:gd name="T73" fmla="*/ 809 h 1345"/>
              <a:gd name="T74" fmla="*/ 560 w 1344"/>
              <a:gd name="T75" fmla="*/ 1049 h 1345"/>
              <a:gd name="T76" fmla="*/ 633 w 1344"/>
              <a:gd name="T77" fmla="*/ 1121 h 1345"/>
              <a:gd name="T78" fmla="*/ 717 w 1344"/>
              <a:gd name="T79" fmla="*/ 1121 h 1345"/>
              <a:gd name="T80" fmla="*/ 784 w 1344"/>
              <a:gd name="T81" fmla="*/ 1054 h 1345"/>
              <a:gd name="T82" fmla="*/ 784 w 1344"/>
              <a:gd name="T83" fmla="*/ 78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4" h="1345">
                <a:moveTo>
                  <a:pt x="1344" y="675"/>
                </a:moveTo>
                <a:cubicBezTo>
                  <a:pt x="1344" y="816"/>
                  <a:pt x="1344" y="957"/>
                  <a:pt x="1344" y="1099"/>
                </a:cubicBezTo>
                <a:cubicBezTo>
                  <a:pt x="1344" y="1212"/>
                  <a:pt x="1263" y="1299"/>
                  <a:pt x="1177" y="1330"/>
                </a:cubicBezTo>
                <a:cubicBezTo>
                  <a:pt x="1152" y="1339"/>
                  <a:pt x="1125" y="1344"/>
                  <a:pt x="1099" y="1344"/>
                </a:cubicBezTo>
                <a:cubicBezTo>
                  <a:pt x="814" y="1345"/>
                  <a:pt x="530" y="1345"/>
                  <a:pt x="245" y="1344"/>
                </a:cubicBezTo>
                <a:cubicBezTo>
                  <a:pt x="127" y="1344"/>
                  <a:pt x="22" y="1251"/>
                  <a:pt x="4" y="1134"/>
                </a:cubicBezTo>
                <a:cubicBezTo>
                  <a:pt x="2" y="1122"/>
                  <a:pt x="0" y="1109"/>
                  <a:pt x="0" y="1097"/>
                </a:cubicBezTo>
                <a:cubicBezTo>
                  <a:pt x="0" y="814"/>
                  <a:pt x="0" y="531"/>
                  <a:pt x="0" y="249"/>
                </a:cubicBezTo>
                <a:cubicBezTo>
                  <a:pt x="0" y="132"/>
                  <a:pt x="83" y="44"/>
                  <a:pt x="169" y="14"/>
                </a:cubicBezTo>
                <a:cubicBezTo>
                  <a:pt x="193" y="6"/>
                  <a:pt x="220" y="1"/>
                  <a:pt x="245" y="1"/>
                </a:cubicBezTo>
                <a:cubicBezTo>
                  <a:pt x="530" y="0"/>
                  <a:pt x="814" y="0"/>
                  <a:pt x="1099" y="1"/>
                </a:cubicBezTo>
                <a:cubicBezTo>
                  <a:pt x="1217" y="1"/>
                  <a:pt x="1323" y="94"/>
                  <a:pt x="1340" y="211"/>
                </a:cubicBezTo>
                <a:cubicBezTo>
                  <a:pt x="1342" y="227"/>
                  <a:pt x="1344" y="243"/>
                  <a:pt x="1344" y="259"/>
                </a:cubicBezTo>
                <a:cubicBezTo>
                  <a:pt x="1344" y="397"/>
                  <a:pt x="1344" y="536"/>
                  <a:pt x="1344" y="675"/>
                </a:cubicBezTo>
                <a:close/>
                <a:moveTo>
                  <a:pt x="784" y="785"/>
                </a:moveTo>
                <a:cubicBezTo>
                  <a:pt x="793" y="785"/>
                  <a:pt x="800" y="785"/>
                  <a:pt x="807" y="785"/>
                </a:cubicBezTo>
                <a:cubicBezTo>
                  <a:pt x="889" y="785"/>
                  <a:pt x="970" y="785"/>
                  <a:pt x="1051" y="785"/>
                </a:cubicBezTo>
                <a:cubicBezTo>
                  <a:pt x="1099" y="785"/>
                  <a:pt x="1120" y="764"/>
                  <a:pt x="1120" y="717"/>
                </a:cubicBezTo>
                <a:cubicBezTo>
                  <a:pt x="1120" y="687"/>
                  <a:pt x="1120" y="657"/>
                  <a:pt x="1120" y="627"/>
                </a:cubicBezTo>
                <a:cubicBezTo>
                  <a:pt x="1120" y="582"/>
                  <a:pt x="1099" y="561"/>
                  <a:pt x="1054" y="561"/>
                </a:cubicBezTo>
                <a:cubicBezTo>
                  <a:pt x="971" y="561"/>
                  <a:pt x="889" y="561"/>
                  <a:pt x="806" y="561"/>
                </a:cubicBezTo>
                <a:cubicBezTo>
                  <a:pt x="799" y="561"/>
                  <a:pt x="792" y="561"/>
                  <a:pt x="784" y="561"/>
                </a:cubicBezTo>
                <a:cubicBezTo>
                  <a:pt x="784" y="551"/>
                  <a:pt x="784" y="543"/>
                  <a:pt x="784" y="536"/>
                </a:cubicBezTo>
                <a:cubicBezTo>
                  <a:pt x="784" y="455"/>
                  <a:pt x="784" y="374"/>
                  <a:pt x="784" y="292"/>
                </a:cubicBezTo>
                <a:cubicBezTo>
                  <a:pt x="784" y="246"/>
                  <a:pt x="763" y="225"/>
                  <a:pt x="717" y="225"/>
                </a:cubicBezTo>
                <a:cubicBezTo>
                  <a:pt x="687" y="225"/>
                  <a:pt x="656" y="224"/>
                  <a:pt x="625" y="225"/>
                </a:cubicBezTo>
                <a:cubicBezTo>
                  <a:pt x="582" y="225"/>
                  <a:pt x="560" y="246"/>
                  <a:pt x="560" y="289"/>
                </a:cubicBezTo>
                <a:cubicBezTo>
                  <a:pt x="560" y="372"/>
                  <a:pt x="560" y="455"/>
                  <a:pt x="560" y="537"/>
                </a:cubicBezTo>
                <a:cubicBezTo>
                  <a:pt x="560" y="544"/>
                  <a:pt x="560" y="552"/>
                  <a:pt x="560" y="561"/>
                </a:cubicBezTo>
                <a:cubicBezTo>
                  <a:pt x="551" y="561"/>
                  <a:pt x="544" y="561"/>
                  <a:pt x="537" y="561"/>
                </a:cubicBezTo>
                <a:cubicBezTo>
                  <a:pt x="456" y="561"/>
                  <a:pt x="375" y="561"/>
                  <a:pt x="295" y="561"/>
                </a:cubicBezTo>
                <a:cubicBezTo>
                  <a:pt x="243" y="561"/>
                  <a:pt x="224" y="580"/>
                  <a:pt x="224" y="632"/>
                </a:cubicBezTo>
                <a:cubicBezTo>
                  <a:pt x="224" y="661"/>
                  <a:pt x="224" y="689"/>
                  <a:pt x="224" y="718"/>
                </a:cubicBezTo>
                <a:cubicBezTo>
                  <a:pt x="224" y="763"/>
                  <a:pt x="245" y="784"/>
                  <a:pt x="290" y="785"/>
                </a:cubicBezTo>
                <a:cubicBezTo>
                  <a:pt x="373" y="785"/>
                  <a:pt x="455" y="785"/>
                  <a:pt x="538" y="785"/>
                </a:cubicBezTo>
                <a:cubicBezTo>
                  <a:pt x="545" y="785"/>
                  <a:pt x="552" y="785"/>
                  <a:pt x="560" y="785"/>
                </a:cubicBezTo>
                <a:cubicBezTo>
                  <a:pt x="560" y="795"/>
                  <a:pt x="560" y="802"/>
                  <a:pt x="560" y="809"/>
                </a:cubicBezTo>
                <a:cubicBezTo>
                  <a:pt x="560" y="889"/>
                  <a:pt x="560" y="969"/>
                  <a:pt x="560" y="1049"/>
                </a:cubicBezTo>
                <a:cubicBezTo>
                  <a:pt x="560" y="1102"/>
                  <a:pt x="579" y="1121"/>
                  <a:pt x="633" y="1121"/>
                </a:cubicBezTo>
                <a:cubicBezTo>
                  <a:pt x="661" y="1121"/>
                  <a:pt x="689" y="1121"/>
                  <a:pt x="717" y="1121"/>
                </a:cubicBezTo>
                <a:cubicBezTo>
                  <a:pt x="763" y="1120"/>
                  <a:pt x="784" y="1100"/>
                  <a:pt x="784" y="1054"/>
                </a:cubicBezTo>
                <a:cubicBezTo>
                  <a:pt x="784" y="965"/>
                  <a:pt x="784" y="876"/>
                  <a:pt x="784" y="785"/>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Freeform 19">
            <a:extLst>
              <a:ext uri="{FF2B5EF4-FFF2-40B4-BE49-F238E27FC236}">
                <a16:creationId xmlns:a16="http://schemas.microsoft.com/office/drawing/2014/main" id="{39AABF84-E39C-464A-B78E-B4955CE12DC9}"/>
              </a:ext>
            </a:extLst>
          </p:cNvPr>
          <p:cNvSpPr>
            <a:spLocks noChangeAspect="1" noEditPoints="1"/>
          </p:cNvSpPr>
          <p:nvPr/>
        </p:nvSpPr>
        <p:spPr bwMode="auto">
          <a:xfrm>
            <a:off x="5669544" y="5845873"/>
            <a:ext cx="1714984" cy="1707650"/>
          </a:xfrm>
          <a:custGeom>
            <a:avLst/>
            <a:gdLst>
              <a:gd name="T0" fmla="*/ 1344 w 1344"/>
              <a:gd name="T1" fmla="*/ 675 h 1345"/>
              <a:gd name="T2" fmla="*/ 1344 w 1344"/>
              <a:gd name="T3" fmla="*/ 1099 h 1345"/>
              <a:gd name="T4" fmla="*/ 1177 w 1344"/>
              <a:gd name="T5" fmla="*/ 1330 h 1345"/>
              <a:gd name="T6" fmla="*/ 1099 w 1344"/>
              <a:gd name="T7" fmla="*/ 1344 h 1345"/>
              <a:gd name="T8" fmla="*/ 245 w 1344"/>
              <a:gd name="T9" fmla="*/ 1344 h 1345"/>
              <a:gd name="T10" fmla="*/ 4 w 1344"/>
              <a:gd name="T11" fmla="*/ 1134 h 1345"/>
              <a:gd name="T12" fmla="*/ 0 w 1344"/>
              <a:gd name="T13" fmla="*/ 1096 h 1345"/>
              <a:gd name="T14" fmla="*/ 0 w 1344"/>
              <a:gd name="T15" fmla="*/ 249 h 1345"/>
              <a:gd name="T16" fmla="*/ 169 w 1344"/>
              <a:gd name="T17" fmla="*/ 14 h 1345"/>
              <a:gd name="T18" fmla="*/ 245 w 1344"/>
              <a:gd name="T19" fmla="*/ 1 h 1345"/>
              <a:gd name="T20" fmla="*/ 1099 w 1344"/>
              <a:gd name="T21" fmla="*/ 1 h 1345"/>
              <a:gd name="T22" fmla="*/ 1340 w 1344"/>
              <a:gd name="T23" fmla="*/ 211 h 1345"/>
              <a:gd name="T24" fmla="*/ 1344 w 1344"/>
              <a:gd name="T25" fmla="*/ 259 h 1345"/>
              <a:gd name="T26" fmla="*/ 1344 w 1344"/>
              <a:gd name="T27" fmla="*/ 675 h 1345"/>
              <a:gd name="T28" fmla="*/ 674 w 1344"/>
              <a:gd name="T29" fmla="*/ 561 h 1345"/>
              <a:gd name="T30" fmla="*/ 286 w 1344"/>
              <a:gd name="T31" fmla="*/ 561 h 1345"/>
              <a:gd name="T32" fmla="*/ 224 w 1344"/>
              <a:gd name="T33" fmla="*/ 623 h 1345"/>
              <a:gd name="T34" fmla="*/ 224 w 1344"/>
              <a:gd name="T35" fmla="*/ 725 h 1345"/>
              <a:gd name="T36" fmla="*/ 284 w 1344"/>
              <a:gd name="T37" fmla="*/ 784 h 1345"/>
              <a:gd name="T38" fmla="*/ 1060 w 1344"/>
              <a:gd name="T39" fmla="*/ 784 h 1345"/>
              <a:gd name="T40" fmla="*/ 1120 w 1344"/>
              <a:gd name="T41" fmla="*/ 724 h 1345"/>
              <a:gd name="T42" fmla="*/ 1120 w 1344"/>
              <a:gd name="T43" fmla="*/ 626 h 1345"/>
              <a:gd name="T44" fmla="*/ 1054 w 1344"/>
              <a:gd name="T45" fmla="*/ 561 h 1345"/>
              <a:gd name="T46" fmla="*/ 674 w 1344"/>
              <a:gd name="T47" fmla="*/ 561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4" h="1345">
                <a:moveTo>
                  <a:pt x="1344" y="675"/>
                </a:moveTo>
                <a:cubicBezTo>
                  <a:pt x="1344" y="816"/>
                  <a:pt x="1344" y="957"/>
                  <a:pt x="1344" y="1099"/>
                </a:cubicBezTo>
                <a:cubicBezTo>
                  <a:pt x="1344" y="1212"/>
                  <a:pt x="1263" y="1299"/>
                  <a:pt x="1177" y="1330"/>
                </a:cubicBezTo>
                <a:cubicBezTo>
                  <a:pt x="1152" y="1339"/>
                  <a:pt x="1125" y="1344"/>
                  <a:pt x="1099" y="1344"/>
                </a:cubicBezTo>
                <a:cubicBezTo>
                  <a:pt x="814" y="1345"/>
                  <a:pt x="530" y="1345"/>
                  <a:pt x="245" y="1344"/>
                </a:cubicBezTo>
                <a:cubicBezTo>
                  <a:pt x="127" y="1344"/>
                  <a:pt x="22" y="1251"/>
                  <a:pt x="4" y="1134"/>
                </a:cubicBezTo>
                <a:cubicBezTo>
                  <a:pt x="2" y="1122"/>
                  <a:pt x="0" y="1109"/>
                  <a:pt x="0" y="1096"/>
                </a:cubicBezTo>
                <a:cubicBezTo>
                  <a:pt x="0" y="814"/>
                  <a:pt x="0" y="531"/>
                  <a:pt x="0" y="249"/>
                </a:cubicBezTo>
                <a:cubicBezTo>
                  <a:pt x="0" y="132"/>
                  <a:pt x="83" y="44"/>
                  <a:pt x="169" y="14"/>
                </a:cubicBezTo>
                <a:cubicBezTo>
                  <a:pt x="193" y="6"/>
                  <a:pt x="220" y="1"/>
                  <a:pt x="245" y="1"/>
                </a:cubicBezTo>
                <a:cubicBezTo>
                  <a:pt x="530" y="0"/>
                  <a:pt x="814" y="0"/>
                  <a:pt x="1099" y="1"/>
                </a:cubicBezTo>
                <a:cubicBezTo>
                  <a:pt x="1217" y="1"/>
                  <a:pt x="1323" y="94"/>
                  <a:pt x="1340" y="211"/>
                </a:cubicBezTo>
                <a:cubicBezTo>
                  <a:pt x="1343" y="227"/>
                  <a:pt x="1344" y="243"/>
                  <a:pt x="1344" y="259"/>
                </a:cubicBezTo>
                <a:cubicBezTo>
                  <a:pt x="1344" y="397"/>
                  <a:pt x="1344" y="536"/>
                  <a:pt x="1344" y="675"/>
                </a:cubicBezTo>
                <a:close/>
                <a:moveTo>
                  <a:pt x="674" y="561"/>
                </a:moveTo>
                <a:cubicBezTo>
                  <a:pt x="545" y="561"/>
                  <a:pt x="415" y="560"/>
                  <a:pt x="286" y="561"/>
                </a:cubicBezTo>
                <a:cubicBezTo>
                  <a:pt x="247" y="561"/>
                  <a:pt x="224" y="583"/>
                  <a:pt x="224" y="623"/>
                </a:cubicBezTo>
                <a:cubicBezTo>
                  <a:pt x="224" y="657"/>
                  <a:pt x="224" y="691"/>
                  <a:pt x="224" y="725"/>
                </a:cubicBezTo>
                <a:cubicBezTo>
                  <a:pt x="225" y="762"/>
                  <a:pt x="247" y="784"/>
                  <a:pt x="284" y="784"/>
                </a:cubicBezTo>
                <a:cubicBezTo>
                  <a:pt x="543" y="785"/>
                  <a:pt x="801" y="785"/>
                  <a:pt x="1060" y="784"/>
                </a:cubicBezTo>
                <a:cubicBezTo>
                  <a:pt x="1097" y="784"/>
                  <a:pt x="1120" y="761"/>
                  <a:pt x="1120" y="724"/>
                </a:cubicBezTo>
                <a:cubicBezTo>
                  <a:pt x="1120" y="692"/>
                  <a:pt x="1120" y="659"/>
                  <a:pt x="1120" y="626"/>
                </a:cubicBezTo>
                <a:cubicBezTo>
                  <a:pt x="1120" y="582"/>
                  <a:pt x="1099" y="561"/>
                  <a:pt x="1054" y="561"/>
                </a:cubicBezTo>
                <a:cubicBezTo>
                  <a:pt x="927" y="561"/>
                  <a:pt x="800" y="561"/>
                  <a:pt x="674" y="561"/>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6" name="Oval 45">
            <a:extLst>
              <a:ext uri="{FF2B5EF4-FFF2-40B4-BE49-F238E27FC236}">
                <a16:creationId xmlns:a16="http://schemas.microsoft.com/office/drawing/2014/main" id="{7B808BEB-8700-41A7-B465-1F3EE76C0A7B}"/>
              </a:ext>
            </a:extLst>
          </p:cNvPr>
          <p:cNvSpPr>
            <a:spLocks/>
          </p:cNvSpPr>
          <p:nvPr/>
        </p:nvSpPr>
        <p:spPr>
          <a:xfrm>
            <a:off x="8713569" y="3766350"/>
            <a:ext cx="2305672" cy="2301690"/>
          </a:xfrm>
          <a:prstGeom prst="ellipse">
            <a:avLst/>
          </a:prstGeom>
          <a:solidFill>
            <a:srgbClr val="00B050">
              <a:alpha val="50000"/>
            </a:srgbClr>
          </a:solidFill>
        </p:spPr>
        <p:txBody>
          <a:bodyPr wrap="square" lIns="36000" tIns="36000" rIns="36000" bIns="36000" anchor="ctr" anchorCtr="0">
            <a:noAutofit/>
          </a:bodyPr>
          <a:lstStyle/>
          <a:p>
            <a:pPr algn="ctr"/>
            <a:r>
              <a:rPr lang="en-IN" sz="2000" dirty="0">
                <a:solidFill>
                  <a:srgbClr val="000000"/>
                </a:solidFill>
              </a:rPr>
              <a:t>Lorem ipsum dolor sit amet, consectetuer</a:t>
            </a:r>
          </a:p>
        </p:txBody>
      </p:sp>
      <p:sp>
        <p:nvSpPr>
          <p:cNvPr id="47" name="Oval 46">
            <a:extLst>
              <a:ext uri="{FF2B5EF4-FFF2-40B4-BE49-F238E27FC236}">
                <a16:creationId xmlns:a16="http://schemas.microsoft.com/office/drawing/2014/main" id="{B760621D-87DF-41E9-A10D-D6C83C6A2BA1}"/>
              </a:ext>
            </a:extLst>
          </p:cNvPr>
          <p:cNvSpPr>
            <a:spLocks/>
          </p:cNvSpPr>
          <p:nvPr/>
        </p:nvSpPr>
        <p:spPr>
          <a:xfrm>
            <a:off x="11301824" y="1971461"/>
            <a:ext cx="2305672" cy="2301690"/>
          </a:xfrm>
          <a:prstGeom prst="ellipse">
            <a:avLst/>
          </a:prstGeom>
          <a:solidFill>
            <a:srgbClr val="00B050">
              <a:alpha val="50000"/>
            </a:srgbClr>
          </a:solidFill>
        </p:spPr>
        <p:txBody>
          <a:bodyPr wrap="square" lIns="36000" tIns="36000" rIns="36000" bIns="36000" anchor="ctr" anchorCtr="0">
            <a:noAutofit/>
          </a:bodyPr>
          <a:lstStyle/>
          <a:p>
            <a:pPr algn="ctr"/>
            <a:r>
              <a:rPr lang="en-IN" sz="2000" dirty="0">
                <a:solidFill>
                  <a:srgbClr val="000000"/>
                </a:solidFill>
              </a:rPr>
              <a:t>Lorem ipsum dolor sit amet, consectetuer</a:t>
            </a:r>
          </a:p>
        </p:txBody>
      </p:sp>
      <p:sp>
        <p:nvSpPr>
          <p:cNvPr id="48" name="Oval 47">
            <a:extLst>
              <a:ext uri="{FF2B5EF4-FFF2-40B4-BE49-F238E27FC236}">
                <a16:creationId xmlns:a16="http://schemas.microsoft.com/office/drawing/2014/main" id="{82CB95A3-B04D-4583-8363-26ED9FD90B46}"/>
              </a:ext>
            </a:extLst>
          </p:cNvPr>
          <p:cNvSpPr>
            <a:spLocks/>
          </p:cNvSpPr>
          <p:nvPr/>
        </p:nvSpPr>
        <p:spPr>
          <a:xfrm>
            <a:off x="13813047" y="3962223"/>
            <a:ext cx="2305672" cy="2301690"/>
          </a:xfrm>
          <a:prstGeom prst="ellipse">
            <a:avLst/>
          </a:prstGeom>
          <a:solidFill>
            <a:srgbClr val="00B050">
              <a:alpha val="50000"/>
            </a:srgbClr>
          </a:solidFill>
        </p:spPr>
        <p:txBody>
          <a:bodyPr wrap="square" lIns="36000" tIns="36000" rIns="36000" bIns="36000" anchor="ctr" anchorCtr="0">
            <a:noAutofit/>
          </a:bodyPr>
          <a:lstStyle/>
          <a:p>
            <a:pPr algn="ctr"/>
            <a:r>
              <a:rPr lang="en-IN" sz="2000" dirty="0">
                <a:solidFill>
                  <a:srgbClr val="000000"/>
                </a:solidFill>
              </a:rPr>
              <a:t>Lorem ipsum dolor sit amet, consectetuer</a:t>
            </a:r>
          </a:p>
        </p:txBody>
      </p:sp>
      <p:sp>
        <p:nvSpPr>
          <p:cNvPr id="49" name="Oval 48">
            <a:extLst>
              <a:ext uri="{FF2B5EF4-FFF2-40B4-BE49-F238E27FC236}">
                <a16:creationId xmlns:a16="http://schemas.microsoft.com/office/drawing/2014/main" id="{6EBD3870-C460-4CA3-AA3F-6AE0FD63F525}"/>
              </a:ext>
            </a:extLst>
          </p:cNvPr>
          <p:cNvSpPr>
            <a:spLocks/>
          </p:cNvSpPr>
          <p:nvPr/>
        </p:nvSpPr>
        <p:spPr>
          <a:xfrm>
            <a:off x="2880216" y="4986662"/>
            <a:ext cx="2305672" cy="2301690"/>
          </a:xfrm>
          <a:prstGeom prst="ellipse">
            <a:avLst/>
          </a:prstGeom>
          <a:solidFill>
            <a:srgbClr val="FF0000">
              <a:alpha val="50000"/>
            </a:srgbClr>
          </a:solidFill>
        </p:spPr>
        <p:txBody>
          <a:bodyPr wrap="square" lIns="36000" tIns="36000" rIns="36000" bIns="36000" anchor="ctr" anchorCtr="0">
            <a:noAutofit/>
          </a:bodyPr>
          <a:lstStyle/>
          <a:p>
            <a:pPr algn="ctr"/>
            <a:r>
              <a:rPr lang="en-IN" sz="2000" dirty="0">
                <a:solidFill>
                  <a:srgbClr val="000000"/>
                </a:solidFill>
              </a:rPr>
              <a:t>Lorem ipsum dolor sit amet, consectetuer</a:t>
            </a:r>
          </a:p>
        </p:txBody>
      </p:sp>
      <p:sp>
        <p:nvSpPr>
          <p:cNvPr id="50" name="Oval 49">
            <a:extLst>
              <a:ext uri="{FF2B5EF4-FFF2-40B4-BE49-F238E27FC236}">
                <a16:creationId xmlns:a16="http://schemas.microsoft.com/office/drawing/2014/main" id="{F163A867-05DC-4B2F-A115-E0EA80033B98}"/>
              </a:ext>
            </a:extLst>
          </p:cNvPr>
          <p:cNvSpPr>
            <a:spLocks/>
          </p:cNvSpPr>
          <p:nvPr/>
        </p:nvSpPr>
        <p:spPr>
          <a:xfrm>
            <a:off x="5185888" y="3175291"/>
            <a:ext cx="2305672" cy="2301690"/>
          </a:xfrm>
          <a:prstGeom prst="ellipse">
            <a:avLst/>
          </a:prstGeom>
          <a:solidFill>
            <a:srgbClr val="FF0000">
              <a:alpha val="50000"/>
            </a:srgbClr>
          </a:solidFill>
        </p:spPr>
        <p:txBody>
          <a:bodyPr wrap="square" lIns="36000" tIns="36000" rIns="36000" bIns="36000" anchor="ctr" anchorCtr="0">
            <a:noAutofit/>
          </a:bodyPr>
          <a:lstStyle/>
          <a:p>
            <a:pPr algn="ctr"/>
            <a:r>
              <a:rPr lang="en-IN" sz="2000" dirty="0">
                <a:solidFill>
                  <a:srgbClr val="000000"/>
                </a:solidFill>
              </a:rPr>
              <a:t>Lorem ipsum dolor sit amet, consectetuer</a:t>
            </a:r>
          </a:p>
        </p:txBody>
      </p:sp>
      <p:sp>
        <p:nvSpPr>
          <p:cNvPr id="3" name="Slide Number Placeholder 2">
            <a:extLst>
              <a:ext uri="{FF2B5EF4-FFF2-40B4-BE49-F238E27FC236}">
                <a16:creationId xmlns:a16="http://schemas.microsoft.com/office/drawing/2014/main" id="{EAAA5F92-500E-5419-718B-BFE99C819249}"/>
              </a:ext>
            </a:extLst>
          </p:cNvPr>
          <p:cNvSpPr>
            <a:spLocks noGrp="1"/>
          </p:cNvSpPr>
          <p:nvPr>
            <p:ph type="sldNum" sz="quarter" idx="12"/>
          </p:nvPr>
        </p:nvSpPr>
        <p:spPr/>
        <p:txBody>
          <a:bodyPr/>
          <a:lstStyle/>
          <a:p>
            <a:fld id="{E2D680B1-7F17-42D2-83E2-2C9AC13983BB}" type="slidenum">
              <a:rPr lang="en-US" smtClean="0"/>
              <a:t>83</a:t>
            </a:fld>
            <a:endParaRPr lang="en-US" dirty="0"/>
          </a:p>
        </p:txBody>
      </p:sp>
    </p:spTree>
    <p:extLst>
      <p:ext uri="{BB962C8B-B14F-4D97-AF65-F5344CB8AC3E}">
        <p14:creationId xmlns:p14="http://schemas.microsoft.com/office/powerpoint/2010/main" val="10084908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36F14DD-A49C-8114-8219-E6550E8A9964}"/>
              </a:ext>
            </a:extLst>
          </p:cNvPr>
          <p:cNvSpPr>
            <a:spLocks noGrp="1"/>
          </p:cNvSpPr>
          <p:nvPr>
            <p:ph type="title"/>
          </p:nvPr>
        </p:nvSpPr>
        <p:spPr/>
        <p:txBody>
          <a:bodyPr/>
          <a:lstStyle/>
          <a:p>
            <a:r>
              <a:rPr lang="en-IN" dirty="0"/>
              <a:t>Step-by-Step Approach</a:t>
            </a:r>
            <a:endParaRPr lang="en-US" dirty="0"/>
          </a:p>
        </p:txBody>
      </p:sp>
      <p:grpSp>
        <p:nvGrpSpPr>
          <p:cNvPr id="5" name="Group 4">
            <a:extLst>
              <a:ext uri="{FF2B5EF4-FFF2-40B4-BE49-F238E27FC236}">
                <a16:creationId xmlns:a16="http://schemas.microsoft.com/office/drawing/2014/main" id="{7CCAB29A-2902-756C-DA5C-F1FAC53D71DD}"/>
              </a:ext>
            </a:extLst>
          </p:cNvPr>
          <p:cNvGrpSpPr/>
          <p:nvPr/>
        </p:nvGrpSpPr>
        <p:grpSpPr>
          <a:xfrm>
            <a:off x="1155047" y="2496507"/>
            <a:ext cx="17132953" cy="6111875"/>
            <a:chOff x="1155047" y="2819400"/>
            <a:chExt cx="17132953" cy="6111875"/>
          </a:xfrm>
        </p:grpSpPr>
        <p:sp>
          <p:nvSpPr>
            <p:cNvPr id="11" name="TextBox 28">
              <a:extLst>
                <a:ext uri="{FF2B5EF4-FFF2-40B4-BE49-F238E27FC236}">
                  <a16:creationId xmlns:a16="http://schemas.microsoft.com/office/drawing/2014/main" id="{5B51947B-4E75-5C0E-512C-08B22DF2A981}"/>
                </a:ext>
              </a:extLst>
            </p:cNvPr>
            <p:cNvSpPr txBox="1"/>
            <p:nvPr/>
          </p:nvSpPr>
          <p:spPr>
            <a:xfrm>
              <a:off x="1155047" y="7275157"/>
              <a:ext cx="5510983" cy="1015663"/>
            </a:xfrm>
            <a:prstGeom prst="rect">
              <a:avLst/>
            </a:prstGeom>
          </p:spPr>
          <p:txBody>
            <a:bodyPr lIns="0" tIns="0" rIns="0" bIns="0" rtlCol="0" anchor="t">
              <a:spAutoFit/>
            </a:bodyPr>
            <a:lstStyle/>
            <a:p>
              <a:pPr algn="r">
                <a:spcBef>
                  <a:spcPts val="300"/>
                </a:spcBef>
                <a:spcAft>
                  <a:spcPts val="300"/>
                </a:spcAft>
                <a:buClr>
                  <a:schemeClr val="accent1"/>
                </a:buClr>
                <a:buSzPct val="100000"/>
                <a:defRPr/>
              </a:pPr>
              <a:r>
                <a:rPr lang="en-US" sz="2200" dirty="0">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p:txBody>
        </p:sp>
        <p:sp>
          <p:nvSpPr>
            <p:cNvPr id="13" name="Freeform 4">
              <a:extLst>
                <a:ext uri="{FF2B5EF4-FFF2-40B4-BE49-F238E27FC236}">
                  <a16:creationId xmlns:a16="http://schemas.microsoft.com/office/drawing/2014/main" id="{6C529322-5CD1-52C4-FA01-3A95DB6B7798}"/>
                </a:ext>
              </a:extLst>
            </p:cNvPr>
            <p:cNvSpPr/>
            <p:nvPr/>
          </p:nvSpPr>
          <p:spPr>
            <a:xfrm>
              <a:off x="7800612" y="2819400"/>
              <a:ext cx="10487388" cy="6111875"/>
            </a:xfrm>
            <a:custGeom>
              <a:avLst/>
              <a:gdLst/>
              <a:ahLst/>
              <a:cxnLst/>
              <a:rect l="l" t="t" r="r" b="b"/>
              <a:pathLst>
                <a:path w="1680318" h="2709333">
                  <a:moveTo>
                    <a:pt x="0" y="0"/>
                  </a:moveTo>
                  <a:lnTo>
                    <a:pt x="1680318" y="0"/>
                  </a:lnTo>
                  <a:lnTo>
                    <a:pt x="1680318" y="2709333"/>
                  </a:lnTo>
                  <a:lnTo>
                    <a:pt x="0" y="2709333"/>
                  </a:lnTo>
                  <a:close/>
                </a:path>
              </a:pathLst>
            </a:custGeom>
            <a:solidFill>
              <a:schemeClr val="accent1"/>
            </a:solidFill>
            <a:ln>
              <a:noFill/>
            </a:ln>
          </p:spPr>
          <p:txBody>
            <a:bodyPr/>
            <a:lstStyle/>
            <a:p>
              <a:endParaRPr lang="en-US" dirty="0"/>
            </a:p>
          </p:txBody>
        </p:sp>
        <p:sp>
          <p:nvSpPr>
            <p:cNvPr id="9" name="TextBox 26">
              <a:extLst>
                <a:ext uri="{FF2B5EF4-FFF2-40B4-BE49-F238E27FC236}">
                  <a16:creationId xmlns:a16="http://schemas.microsoft.com/office/drawing/2014/main" id="{DF9A9517-9628-4E5D-4EC9-59F74A227485}"/>
                </a:ext>
              </a:extLst>
            </p:cNvPr>
            <p:cNvSpPr txBox="1"/>
            <p:nvPr/>
          </p:nvSpPr>
          <p:spPr>
            <a:xfrm>
              <a:off x="1155047" y="3459855"/>
              <a:ext cx="5510983" cy="1015663"/>
            </a:xfrm>
            <a:prstGeom prst="rect">
              <a:avLst/>
            </a:prstGeom>
          </p:spPr>
          <p:txBody>
            <a:bodyPr lIns="0" tIns="0" rIns="0" bIns="0" rtlCol="0" anchor="t">
              <a:spAutoFit/>
            </a:bodyPr>
            <a:lstStyle/>
            <a:p>
              <a:pPr algn="r">
                <a:spcBef>
                  <a:spcPts val="300"/>
                </a:spcBef>
                <a:spcAft>
                  <a:spcPts val="300"/>
                </a:spcAft>
                <a:buClr>
                  <a:schemeClr val="accent1"/>
                </a:buClr>
                <a:buSzPct val="100000"/>
                <a:defRPr/>
              </a:pPr>
              <a:r>
                <a:rPr lang="en-US" sz="2200" dirty="0">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p:txBody>
        </p:sp>
        <p:sp>
          <p:nvSpPr>
            <p:cNvPr id="16" name="Freeform 7">
              <a:extLst>
                <a:ext uri="{FF2B5EF4-FFF2-40B4-BE49-F238E27FC236}">
                  <a16:creationId xmlns:a16="http://schemas.microsoft.com/office/drawing/2014/main" id="{AEE569FE-6884-F3FA-F23B-83760275AC5B}"/>
                </a:ext>
              </a:extLst>
            </p:cNvPr>
            <p:cNvSpPr/>
            <p:nvPr/>
          </p:nvSpPr>
          <p:spPr>
            <a:xfrm>
              <a:off x="7044224" y="3211299"/>
              <a:ext cx="1512775" cy="151277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2"/>
            </a:solidFill>
            <a:ln>
              <a:solidFill>
                <a:schemeClr val="accent3"/>
              </a:solidFill>
            </a:ln>
          </p:spPr>
          <p:txBody>
            <a:bodyPr lIns="72000" tIns="72000" rIns="72000" bIns="72000" anchor="ctr">
              <a:noAutofit/>
            </a:bodyPr>
            <a:lstStyle/>
            <a:p>
              <a:pPr algn="ctr"/>
              <a:r>
                <a:rPr lang="en-US" sz="4800" b="1" dirty="0">
                  <a:solidFill>
                    <a:schemeClr val="bg1"/>
                  </a:solidFill>
                  <a:latin typeface="Arial" panose="020B0604020202020204" pitchFamily="34" charset="0"/>
                  <a:cs typeface="Arial" panose="020B0604020202020204" pitchFamily="34" charset="0"/>
                </a:rPr>
                <a:t>1</a:t>
              </a:r>
            </a:p>
          </p:txBody>
        </p:sp>
        <p:sp>
          <p:nvSpPr>
            <p:cNvPr id="10" name="TextBox 27">
              <a:extLst>
                <a:ext uri="{FF2B5EF4-FFF2-40B4-BE49-F238E27FC236}">
                  <a16:creationId xmlns:a16="http://schemas.microsoft.com/office/drawing/2014/main" id="{E1F30AF8-4D85-1609-A0C0-3920ACA10B15}"/>
                </a:ext>
              </a:extLst>
            </p:cNvPr>
            <p:cNvSpPr txBox="1"/>
            <p:nvPr/>
          </p:nvSpPr>
          <p:spPr>
            <a:xfrm>
              <a:off x="1155047" y="5367506"/>
              <a:ext cx="5510983" cy="1015663"/>
            </a:xfrm>
            <a:prstGeom prst="rect">
              <a:avLst/>
            </a:prstGeom>
          </p:spPr>
          <p:txBody>
            <a:bodyPr lIns="0" tIns="0" rIns="0" bIns="0" rtlCol="0" anchor="t">
              <a:spAutoFit/>
            </a:bodyPr>
            <a:lstStyle/>
            <a:p>
              <a:pPr algn="r">
                <a:spcBef>
                  <a:spcPts val="300"/>
                </a:spcBef>
                <a:spcAft>
                  <a:spcPts val="300"/>
                </a:spcAft>
                <a:buClr>
                  <a:schemeClr val="accent1"/>
                </a:buClr>
                <a:buSzPct val="100000"/>
                <a:defRPr/>
              </a:pPr>
              <a:r>
                <a:rPr lang="en-US" sz="2200" dirty="0">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p:txBody>
        </p:sp>
        <p:sp>
          <p:nvSpPr>
            <p:cNvPr id="17" name="Freeform 7">
              <a:extLst>
                <a:ext uri="{FF2B5EF4-FFF2-40B4-BE49-F238E27FC236}">
                  <a16:creationId xmlns:a16="http://schemas.microsoft.com/office/drawing/2014/main" id="{A0C39D57-433B-F685-65B9-296CDAEC0A24}"/>
                </a:ext>
              </a:extLst>
            </p:cNvPr>
            <p:cNvSpPr/>
            <p:nvPr/>
          </p:nvSpPr>
          <p:spPr>
            <a:xfrm>
              <a:off x="7044224" y="5118950"/>
              <a:ext cx="1512775" cy="151277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2"/>
            </a:solidFill>
            <a:ln>
              <a:solidFill>
                <a:schemeClr val="accent3"/>
              </a:solidFill>
            </a:ln>
          </p:spPr>
          <p:txBody>
            <a:bodyPr lIns="72000" tIns="72000" rIns="72000" bIns="72000" anchor="ctr">
              <a:noAutofit/>
            </a:bodyPr>
            <a:lstStyle/>
            <a:p>
              <a:pPr algn="ctr"/>
              <a:r>
                <a:rPr lang="en-US" sz="4800" b="1" dirty="0">
                  <a:solidFill>
                    <a:schemeClr val="bg1"/>
                  </a:solidFill>
                  <a:latin typeface="Arial" panose="020B0604020202020204" pitchFamily="34" charset="0"/>
                  <a:cs typeface="Arial" panose="020B0604020202020204" pitchFamily="34" charset="0"/>
                </a:rPr>
                <a:t>2</a:t>
              </a:r>
            </a:p>
          </p:txBody>
        </p:sp>
        <p:sp>
          <p:nvSpPr>
            <p:cNvPr id="19" name="Freeform 7">
              <a:extLst>
                <a:ext uri="{FF2B5EF4-FFF2-40B4-BE49-F238E27FC236}">
                  <a16:creationId xmlns:a16="http://schemas.microsoft.com/office/drawing/2014/main" id="{2EE0592E-4893-8767-CE4C-D689655F27BF}"/>
                </a:ext>
              </a:extLst>
            </p:cNvPr>
            <p:cNvSpPr/>
            <p:nvPr/>
          </p:nvSpPr>
          <p:spPr>
            <a:xfrm>
              <a:off x="7044224" y="7026601"/>
              <a:ext cx="1512775" cy="151277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2"/>
            </a:solidFill>
            <a:ln>
              <a:solidFill>
                <a:schemeClr val="accent3"/>
              </a:solidFill>
            </a:ln>
          </p:spPr>
          <p:txBody>
            <a:bodyPr lIns="72000" tIns="72000" rIns="72000" bIns="72000" anchor="ctr">
              <a:noAutofit/>
            </a:bodyPr>
            <a:lstStyle/>
            <a:p>
              <a:pPr algn="ctr"/>
              <a:r>
                <a:rPr lang="en-US" sz="4800" b="1" dirty="0">
                  <a:solidFill>
                    <a:schemeClr val="bg1"/>
                  </a:solidFill>
                  <a:latin typeface="Arial" panose="020B0604020202020204" pitchFamily="34" charset="0"/>
                  <a:cs typeface="Arial" panose="020B0604020202020204" pitchFamily="34" charset="0"/>
                </a:rPr>
                <a:t>3</a:t>
              </a:r>
            </a:p>
          </p:txBody>
        </p:sp>
        <p:sp>
          <p:nvSpPr>
            <p:cNvPr id="24" name="TextBox 9">
              <a:extLst>
                <a:ext uri="{FF2B5EF4-FFF2-40B4-BE49-F238E27FC236}">
                  <a16:creationId xmlns:a16="http://schemas.microsoft.com/office/drawing/2014/main" id="{0B7B4053-3956-7CC5-061F-B0F41EF6E2CE}"/>
                </a:ext>
              </a:extLst>
            </p:cNvPr>
            <p:cNvSpPr txBox="1"/>
            <p:nvPr/>
          </p:nvSpPr>
          <p:spPr>
            <a:xfrm>
              <a:off x="9077516" y="3651652"/>
              <a:ext cx="8238934" cy="4447371"/>
            </a:xfrm>
            <a:prstGeom prst="rect">
              <a:avLst/>
            </a:prstGeom>
          </p:spPr>
          <p:txBody>
            <a:bodyPr wrap="square" lIns="0" tIns="0" rIns="0" bIns="0" rtlCol="0" anchor="t">
              <a:spAutoFit/>
            </a:bodyPr>
            <a:lstStyle/>
            <a:p>
              <a:pPr marL="228600" indent="-228600">
                <a:spcBef>
                  <a:spcPts val="300"/>
                </a:spcBef>
                <a:spcAft>
                  <a:spcPts val="300"/>
                </a:spcAft>
                <a:buClr>
                  <a:schemeClr val="bg1"/>
                </a:buClr>
                <a:buSzPct val="100000"/>
                <a:buFont typeface="Symbol" panose="05050102010706020507" pitchFamily="18" charset="2"/>
                <a:buChar char=""/>
              </a:pPr>
              <a:r>
                <a:rPr lang="en-US" sz="2200" dirty="0">
                  <a:solidFill>
                    <a:schemeClr val="bg1"/>
                  </a:solidFill>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a:p>
              <a:pPr marL="228600" indent="-228600">
                <a:spcBef>
                  <a:spcPts val="300"/>
                </a:spcBef>
                <a:spcAft>
                  <a:spcPts val="300"/>
                </a:spcAft>
                <a:buClr>
                  <a:schemeClr val="bg1"/>
                </a:buClr>
                <a:buSzPct val="100000"/>
                <a:buFont typeface="Symbol" panose="05050102010706020507" pitchFamily="18" charset="2"/>
                <a:buChar char=""/>
              </a:pPr>
              <a:r>
                <a:rPr lang="en-US" sz="2200" dirty="0">
                  <a:solidFill>
                    <a:schemeClr val="bg1"/>
                  </a:solidFill>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a:p>
              <a:pPr marL="228600" indent="-228600">
                <a:spcBef>
                  <a:spcPts val="300"/>
                </a:spcBef>
                <a:spcAft>
                  <a:spcPts val="300"/>
                </a:spcAft>
                <a:buClr>
                  <a:schemeClr val="bg1"/>
                </a:buClr>
                <a:buSzPct val="100000"/>
                <a:buFont typeface="Symbol" panose="05050102010706020507" pitchFamily="18" charset="2"/>
                <a:buChar char=""/>
              </a:pPr>
              <a:r>
                <a:rPr lang="en-US" sz="2200" dirty="0">
                  <a:solidFill>
                    <a:schemeClr val="bg1"/>
                  </a:solidFill>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a:p>
              <a:pPr marL="228600" indent="-228600">
                <a:spcBef>
                  <a:spcPts val="300"/>
                </a:spcBef>
                <a:spcAft>
                  <a:spcPts val="300"/>
                </a:spcAft>
                <a:buClr>
                  <a:schemeClr val="bg1"/>
                </a:buClr>
                <a:buSzPct val="100000"/>
                <a:buFont typeface="Symbol" panose="05050102010706020507" pitchFamily="18" charset="2"/>
                <a:buChar char=""/>
              </a:pPr>
              <a:r>
                <a:rPr lang="en-US" sz="2200" dirty="0">
                  <a:solidFill>
                    <a:schemeClr val="bg1"/>
                  </a:solidFill>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a:p>
              <a:pPr marL="228600" indent="-228600">
                <a:spcBef>
                  <a:spcPts val="300"/>
                </a:spcBef>
                <a:spcAft>
                  <a:spcPts val="300"/>
                </a:spcAft>
                <a:buClr>
                  <a:schemeClr val="bg1"/>
                </a:buClr>
                <a:buSzPct val="100000"/>
                <a:buFont typeface="Symbol" panose="05050102010706020507" pitchFamily="18" charset="2"/>
                <a:buChar char=""/>
              </a:pPr>
              <a:r>
                <a:rPr lang="en-US" sz="2200" dirty="0">
                  <a:solidFill>
                    <a:schemeClr val="bg1"/>
                  </a:solidFill>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 </a:t>
              </a:r>
            </a:p>
            <a:p>
              <a:pPr marL="228600" indent="-228600">
                <a:spcBef>
                  <a:spcPts val="300"/>
                </a:spcBef>
                <a:spcAft>
                  <a:spcPts val="300"/>
                </a:spcAft>
                <a:buClr>
                  <a:schemeClr val="bg1"/>
                </a:buClr>
                <a:buSzPct val="100000"/>
                <a:buFont typeface="Symbol" panose="05050102010706020507" pitchFamily="18" charset="2"/>
                <a:buChar char=""/>
              </a:pPr>
              <a:r>
                <a:rPr lang="en-US" sz="2200" dirty="0">
                  <a:solidFill>
                    <a:schemeClr val="bg1"/>
                  </a:solidFill>
                  <a:latin typeface="Arial" panose="020B0604020202020204" pitchFamily="34" charset="0"/>
                  <a:ea typeface="Calibri" panose="020F0502020204030204" pitchFamily="34" charset="0"/>
                  <a:cs typeface="Arial" panose="020B0604020202020204" pitchFamily="34" charset="0"/>
                  <a:sym typeface="Poppins"/>
                </a:rPr>
                <a:t>Lorem ipsum dolor sit amet, consectetur adipiscing elit, sed do eiusmod tempor incididunt ut labore et dolore</a:t>
              </a:r>
            </a:p>
          </p:txBody>
        </p:sp>
      </p:grpSp>
      <p:sp>
        <p:nvSpPr>
          <p:cNvPr id="4" name="Slide Number Placeholder 3">
            <a:extLst>
              <a:ext uri="{FF2B5EF4-FFF2-40B4-BE49-F238E27FC236}">
                <a16:creationId xmlns:a16="http://schemas.microsoft.com/office/drawing/2014/main" id="{7F61BCBC-E1FC-6B08-58FF-247996B97892}"/>
              </a:ext>
            </a:extLst>
          </p:cNvPr>
          <p:cNvSpPr>
            <a:spLocks noGrp="1"/>
          </p:cNvSpPr>
          <p:nvPr>
            <p:ph type="sldNum" sz="quarter" idx="12"/>
          </p:nvPr>
        </p:nvSpPr>
        <p:spPr/>
        <p:txBody>
          <a:bodyPr/>
          <a:lstStyle/>
          <a:p>
            <a:fld id="{E2D680B1-7F17-42D2-83E2-2C9AC13983BB}" type="slidenum">
              <a:rPr lang="en-US" smtClean="0"/>
              <a:t>84</a:t>
            </a:fld>
            <a:endParaRPr lang="en-US" dirty="0"/>
          </a:p>
        </p:txBody>
      </p:sp>
    </p:spTree>
    <p:extLst>
      <p:ext uri="{BB962C8B-B14F-4D97-AF65-F5344CB8AC3E}">
        <p14:creationId xmlns:p14="http://schemas.microsoft.com/office/powerpoint/2010/main" val="3013014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68ECE-A6ED-5509-B376-928932C043CC}"/>
              </a:ext>
            </a:extLst>
          </p:cNvPr>
          <p:cNvSpPr>
            <a:spLocks noGrp="1"/>
          </p:cNvSpPr>
          <p:nvPr>
            <p:ph type="title"/>
          </p:nvPr>
        </p:nvSpPr>
        <p:spPr/>
        <p:txBody>
          <a:bodyPr/>
          <a:lstStyle/>
          <a:p>
            <a:r>
              <a:rPr lang="en-IN" dirty="0"/>
              <a:t>Metric-Based Overview</a:t>
            </a:r>
            <a:endParaRPr lang="en-US" dirty="0"/>
          </a:p>
        </p:txBody>
      </p:sp>
      <p:grpSp>
        <p:nvGrpSpPr>
          <p:cNvPr id="11" name="Group 10">
            <a:extLst>
              <a:ext uri="{FF2B5EF4-FFF2-40B4-BE49-F238E27FC236}">
                <a16:creationId xmlns:a16="http://schemas.microsoft.com/office/drawing/2014/main" id="{F042A8D7-30A6-54F0-7DD6-0CE47214451F}"/>
              </a:ext>
            </a:extLst>
          </p:cNvPr>
          <p:cNvGrpSpPr/>
          <p:nvPr/>
        </p:nvGrpSpPr>
        <p:grpSpPr>
          <a:xfrm>
            <a:off x="0" y="2585612"/>
            <a:ext cx="18288001" cy="5115777"/>
            <a:chOff x="-1" y="3286940"/>
            <a:chExt cx="18288001" cy="5115777"/>
          </a:xfrm>
        </p:grpSpPr>
        <p:sp>
          <p:nvSpPr>
            <p:cNvPr id="5" name="Freeform 4">
              <a:extLst>
                <a:ext uri="{FF2B5EF4-FFF2-40B4-BE49-F238E27FC236}">
                  <a16:creationId xmlns:a16="http://schemas.microsoft.com/office/drawing/2014/main" id="{ADACF48B-72E6-04E6-0E4B-0B0EB3056A8B}"/>
                </a:ext>
              </a:extLst>
            </p:cNvPr>
            <p:cNvSpPr/>
            <p:nvPr/>
          </p:nvSpPr>
          <p:spPr>
            <a:xfrm>
              <a:off x="-1" y="4696532"/>
              <a:ext cx="18288001" cy="2006600"/>
            </a:xfrm>
            <a:prstGeom prst="rect">
              <a:avLst/>
            </a:prstGeom>
            <a:solidFill>
              <a:schemeClr val="accent1"/>
            </a:solidFill>
          </p:spPr>
          <p:txBody>
            <a:bodyPr/>
            <a:lstStyle/>
            <a:p>
              <a:endParaRPr lang="en-US" dirty="0"/>
            </a:p>
          </p:txBody>
        </p:sp>
        <p:sp>
          <p:nvSpPr>
            <p:cNvPr id="7" name="TextBox 8">
              <a:extLst>
                <a:ext uri="{FF2B5EF4-FFF2-40B4-BE49-F238E27FC236}">
                  <a16:creationId xmlns:a16="http://schemas.microsoft.com/office/drawing/2014/main" id="{89A24482-18F7-D9B5-2B44-F7F8E4109F12}"/>
                </a:ext>
              </a:extLst>
            </p:cNvPr>
            <p:cNvSpPr txBox="1"/>
            <p:nvPr/>
          </p:nvSpPr>
          <p:spPr>
            <a:xfrm>
              <a:off x="5071086" y="3286940"/>
              <a:ext cx="8145827" cy="738664"/>
            </a:xfrm>
            <a:prstGeom prst="rect">
              <a:avLst/>
            </a:prstGeom>
          </p:spPr>
          <p:txBody>
            <a:bodyPr lIns="0" tIns="0" rIns="0" bIns="0" rtlCol="0" anchor="t">
              <a:spAutoFit/>
            </a:bodyPr>
            <a:lstStyle/>
            <a:p>
              <a:pPr algn="ctr">
                <a:spcBef>
                  <a:spcPts val="300"/>
                </a:spcBef>
                <a:spcAft>
                  <a:spcPts val="300"/>
                </a:spcAft>
              </a:pPr>
              <a:r>
                <a:rPr lang="en-US" sz="24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8" name="TextBox 12">
              <a:extLst>
                <a:ext uri="{FF2B5EF4-FFF2-40B4-BE49-F238E27FC236}">
                  <a16:creationId xmlns:a16="http://schemas.microsoft.com/office/drawing/2014/main" id="{CE732F95-F346-4DE3-2DA4-139FA84C68E9}"/>
                </a:ext>
              </a:extLst>
            </p:cNvPr>
            <p:cNvSpPr txBox="1"/>
            <p:nvPr/>
          </p:nvSpPr>
          <p:spPr>
            <a:xfrm>
              <a:off x="1536288" y="7048500"/>
              <a:ext cx="4247608" cy="1354217"/>
            </a:xfrm>
            <a:prstGeom prst="rect">
              <a:avLst/>
            </a:prstGeom>
          </p:spPr>
          <p:txBody>
            <a:bodyPr lIns="0" tIns="0" rIns="0" bIns="0" rtlCol="0" anchor="t">
              <a:spAutoFit/>
            </a:bodyPr>
            <a:lstStyle/>
            <a:p>
              <a:pPr algn="ct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9" name="TextBox 13">
              <a:extLst>
                <a:ext uri="{FF2B5EF4-FFF2-40B4-BE49-F238E27FC236}">
                  <a16:creationId xmlns:a16="http://schemas.microsoft.com/office/drawing/2014/main" id="{422CA4E4-169D-979E-AE7C-FCF928F100A3}"/>
                </a:ext>
              </a:extLst>
            </p:cNvPr>
            <p:cNvSpPr txBox="1"/>
            <p:nvPr/>
          </p:nvSpPr>
          <p:spPr>
            <a:xfrm>
              <a:off x="7020195" y="7048500"/>
              <a:ext cx="4247608" cy="1354217"/>
            </a:xfrm>
            <a:prstGeom prst="rect">
              <a:avLst/>
            </a:prstGeom>
          </p:spPr>
          <p:txBody>
            <a:bodyPr lIns="0" tIns="0" rIns="0" bIns="0" rtlCol="0" anchor="t">
              <a:spAutoFit/>
            </a:bodyPr>
            <a:lstStyle/>
            <a:p>
              <a:pPr algn="ct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10" name="TextBox 14">
              <a:extLst>
                <a:ext uri="{FF2B5EF4-FFF2-40B4-BE49-F238E27FC236}">
                  <a16:creationId xmlns:a16="http://schemas.microsoft.com/office/drawing/2014/main" id="{85B846B5-399C-D200-5151-FAB72040E5A8}"/>
                </a:ext>
              </a:extLst>
            </p:cNvPr>
            <p:cNvSpPr txBox="1"/>
            <p:nvPr/>
          </p:nvSpPr>
          <p:spPr>
            <a:xfrm>
              <a:off x="12504102" y="7048500"/>
              <a:ext cx="4247608" cy="1354217"/>
            </a:xfrm>
            <a:prstGeom prst="rect">
              <a:avLst/>
            </a:prstGeom>
          </p:spPr>
          <p:txBody>
            <a:bodyPr lIns="0" tIns="0" rIns="0" bIns="0" rtlCol="0" anchor="t">
              <a:spAutoFit/>
            </a:bodyPr>
            <a:lstStyle/>
            <a:p>
              <a:pPr algn="ct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15" name="TextBox 12">
              <a:extLst>
                <a:ext uri="{FF2B5EF4-FFF2-40B4-BE49-F238E27FC236}">
                  <a16:creationId xmlns:a16="http://schemas.microsoft.com/office/drawing/2014/main" id="{79925C35-43C0-ACAF-6F8D-FFDE03199F96}"/>
                </a:ext>
              </a:extLst>
            </p:cNvPr>
            <p:cNvSpPr txBox="1"/>
            <p:nvPr/>
          </p:nvSpPr>
          <p:spPr>
            <a:xfrm>
              <a:off x="2804890" y="5238167"/>
              <a:ext cx="1710405" cy="923330"/>
            </a:xfrm>
            <a:prstGeom prst="rect">
              <a:avLst/>
            </a:prstGeom>
          </p:spPr>
          <p:txBody>
            <a:bodyPr wrap="none" lIns="0" tIns="0" rIns="0" bIns="0" rtlCol="0" anchor="t">
              <a:spAutoFit/>
            </a:bodyPr>
            <a:lstStyle/>
            <a:p>
              <a:pPr algn="ctr">
                <a:spcBef>
                  <a:spcPts val="300"/>
                </a:spcBef>
                <a:spcAft>
                  <a:spcPts val="300"/>
                </a:spcAft>
              </a:pPr>
              <a:r>
                <a:rPr lang="en-US" sz="6000" b="1" dirty="0">
                  <a:solidFill>
                    <a:schemeClr val="accent3"/>
                  </a:solidFill>
                  <a:latin typeface="Arial" panose="020B0604020202020204" pitchFamily="34" charset="0"/>
                  <a:ea typeface="Poppins"/>
                  <a:cs typeface="Arial" panose="020B0604020202020204" pitchFamily="34" charset="0"/>
                  <a:sym typeface="Poppins"/>
                </a:rPr>
                <a:t>XX%</a:t>
              </a:r>
            </a:p>
          </p:txBody>
        </p:sp>
        <p:sp>
          <p:nvSpPr>
            <p:cNvPr id="20" name="TextBox 12">
              <a:extLst>
                <a:ext uri="{FF2B5EF4-FFF2-40B4-BE49-F238E27FC236}">
                  <a16:creationId xmlns:a16="http://schemas.microsoft.com/office/drawing/2014/main" id="{C2E48794-34EA-A593-2EBF-1EE05FC756CA}"/>
                </a:ext>
              </a:extLst>
            </p:cNvPr>
            <p:cNvSpPr txBox="1"/>
            <p:nvPr/>
          </p:nvSpPr>
          <p:spPr>
            <a:xfrm>
              <a:off x="8288797" y="5238167"/>
              <a:ext cx="1710405" cy="923330"/>
            </a:xfrm>
            <a:prstGeom prst="rect">
              <a:avLst/>
            </a:prstGeom>
          </p:spPr>
          <p:txBody>
            <a:bodyPr wrap="none" lIns="0" tIns="0" rIns="0" bIns="0" rtlCol="0" anchor="t">
              <a:spAutoFit/>
            </a:bodyPr>
            <a:lstStyle/>
            <a:p>
              <a:pPr algn="ctr">
                <a:spcBef>
                  <a:spcPts val="300"/>
                </a:spcBef>
                <a:spcAft>
                  <a:spcPts val="300"/>
                </a:spcAft>
              </a:pPr>
              <a:r>
                <a:rPr lang="en-US" sz="6000" b="1" dirty="0">
                  <a:solidFill>
                    <a:schemeClr val="accent3"/>
                  </a:solidFill>
                  <a:latin typeface="Arial" panose="020B0604020202020204" pitchFamily="34" charset="0"/>
                  <a:ea typeface="Poppins"/>
                  <a:cs typeface="Arial" panose="020B0604020202020204" pitchFamily="34" charset="0"/>
                  <a:sym typeface="Poppins"/>
                </a:rPr>
                <a:t>XX%</a:t>
              </a:r>
            </a:p>
          </p:txBody>
        </p:sp>
        <p:sp>
          <p:nvSpPr>
            <p:cNvPr id="21" name="TextBox 12">
              <a:extLst>
                <a:ext uri="{FF2B5EF4-FFF2-40B4-BE49-F238E27FC236}">
                  <a16:creationId xmlns:a16="http://schemas.microsoft.com/office/drawing/2014/main" id="{D27A5ABC-473E-F2CC-7B65-0E58958D95B7}"/>
                </a:ext>
              </a:extLst>
            </p:cNvPr>
            <p:cNvSpPr txBox="1"/>
            <p:nvPr/>
          </p:nvSpPr>
          <p:spPr>
            <a:xfrm>
              <a:off x="13772704" y="5238167"/>
              <a:ext cx="1710405" cy="923330"/>
            </a:xfrm>
            <a:prstGeom prst="rect">
              <a:avLst/>
            </a:prstGeom>
          </p:spPr>
          <p:txBody>
            <a:bodyPr wrap="none" lIns="0" tIns="0" rIns="0" bIns="0" rtlCol="0" anchor="t">
              <a:spAutoFit/>
            </a:bodyPr>
            <a:lstStyle/>
            <a:p>
              <a:pPr algn="ctr">
                <a:spcBef>
                  <a:spcPts val="300"/>
                </a:spcBef>
                <a:spcAft>
                  <a:spcPts val="300"/>
                </a:spcAft>
              </a:pPr>
              <a:r>
                <a:rPr lang="en-US" sz="6000" b="1" dirty="0">
                  <a:solidFill>
                    <a:schemeClr val="accent3"/>
                  </a:solidFill>
                  <a:latin typeface="Arial" panose="020B0604020202020204" pitchFamily="34" charset="0"/>
                  <a:ea typeface="Poppins"/>
                  <a:cs typeface="Arial" panose="020B0604020202020204" pitchFamily="34" charset="0"/>
                  <a:sym typeface="Poppins"/>
                </a:rPr>
                <a:t>XX%</a:t>
              </a:r>
            </a:p>
          </p:txBody>
        </p:sp>
      </p:grpSp>
      <p:sp>
        <p:nvSpPr>
          <p:cNvPr id="6" name="Slide Number Placeholder 5">
            <a:extLst>
              <a:ext uri="{FF2B5EF4-FFF2-40B4-BE49-F238E27FC236}">
                <a16:creationId xmlns:a16="http://schemas.microsoft.com/office/drawing/2014/main" id="{A23CCEA0-E7E5-E582-0E25-9FF291E7F743}"/>
              </a:ext>
            </a:extLst>
          </p:cNvPr>
          <p:cNvSpPr>
            <a:spLocks noGrp="1"/>
          </p:cNvSpPr>
          <p:nvPr>
            <p:ph type="sldNum" sz="quarter" idx="12"/>
          </p:nvPr>
        </p:nvSpPr>
        <p:spPr/>
        <p:txBody>
          <a:bodyPr/>
          <a:lstStyle/>
          <a:p>
            <a:fld id="{E2D680B1-7F17-42D2-83E2-2C9AC13983BB}" type="slidenum">
              <a:rPr lang="en-US" smtClean="0"/>
              <a:t>85</a:t>
            </a:fld>
            <a:endParaRPr lang="en-US" dirty="0"/>
          </a:p>
        </p:txBody>
      </p:sp>
    </p:spTree>
    <p:extLst>
      <p:ext uri="{BB962C8B-B14F-4D97-AF65-F5344CB8AC3E}">
        <p14:creationId xmlns:p14="http://schemas.microsoft.com/office/powerpoint/2010/main" val="32886788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7DEE7-4E16-0423-7DF2-811486B1E214}"/>
              </a:ext>
            </a:extLst>
          </p:cNvPr>
          <p:cNvSpPr>
            <a:spLocks noGrp="1"/>
          </p:cNvSpPr>
          <p:nvPr>
            <p:ph type="title"/>
          </p:nvPr>
        </p:nvSpPr>
        <p:spPr/>
        <p:txBody>
          <a:bodyPr/>
          <a:lstStyle/>
          <a:p>
            <a:r>
              <a:rPr lang="en-US" dirty="0"/>
              <a:t>Year-on-Year Growth</a:t>
            </a:r>
          </a:p>
        </p:txBody>
      </p:sp>
      <p:grpSp>
        <p:nvGrpSpPr>
          <p:cNvPr id="6" name="Group 5">
            <a:extLst>
              <a:ext uri="{FF2B5EF4-FFF2-40B4-BE49-F238E27FC236}">
                <a16:creationId xmlns:a16="http://schemas.microsoft.com/office/drawing/2014/main" id="{F180E70F-F495-763B-7D2E-FDCABC899BD2}"/>
              </a:ext>
            </a:extLst>
          </p:cNvPr>
          <p:cNvGrpSpPr/>
          <p:nvPr/>
        </p:nvGrpSpPr>
        <p:grpSpPr>
          <a:xfrm>
            <a:off x="997893" y="2482328"/>
            <a:ext cx="16292214" cy="6140233"/>
            <a:chOff x="1051224" y="2795313"/>
            <a:chExt cx="16292214" cy="6140233"/>
          </a:xfrm>
        </p:grpSpPr>
        <p:grpSp>
          <p:nvGrpSpPr>
            <p:cNvPr id="25" name="Group 24">
              <a:extLst>
                <a:ext uri="{FF2B5EF4-FFF2-40B4-BE49-F238E27FC236}">
                  <a16:creationId xmlns:a16="http://schemas.microsoft.com/office/drawing/2014/main" id="{BAC7EA53-8DAE-4FD1-FF8C-7344C489D697}"/>
                </a:ext>
              </a:extLst>
            </p:cNvPr>
            <p:cNvGrpSpPr/>
            <p:nvPr/>
          </p:nvGrpSpPr>
          <p:grpSpPr>
            <a:xfrm>
              <a:off x="9747496" y="3035040"/>
              <a:ext cx="2555678" cy="2555678"/>
              <a:chOff x="9747496" y="3035040"/>
              <a:chExt cx="2555678" cy="2555678"/>
            </a:xfrm>
          </p:grpSpPr>
          <p:sp>
            <p:nvSpPr>
              <p:cNvPr id="9" name="Freeform 10">
                <a:extLst>
                  <a:ext uri="{FF2B5EF4-FFF2-40B4-BE49-F238E27FC236}">
                    <a16:creationId xmlns:a16="http://schemas.microsoft.com/office/drawing/2014/main" id="{FFD0AAF1-9FC6-1739-ADEB-667AC75CFEAB}"/>
                  </a:ext>
                </a:extLst>
              </p:cNvPr>
              <p:cNvSpPr/>
              <p:nvPr/>
            </p:nvSpPr>
            <p:spPr>
              <a:xfrm>
                <a:off x="9747496" y="3035040"/>
                <a:ext cx="2555678" cy="2555678"/>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3"/>
              </a:solidFill>
            </p:spPr>
            <p:txBody>
              <a:bodyPr/>
              <a:lstStyle/>
              <a:p>
                <a:endParaRPr lang="en-US" dirty="0">
                  <a:latin typeface="Arial" panose="020B0604020202020204" pitchFamily="34" charset="0"/>
                  <a:cs typeface="Arial" panose="020B0604020202020204" pitchFamily="34" charset="0"/>
                </a:endParaRPr>
              </a:p>
            </p:txBody>
          </p:sp>
          <p:sp>
            <p:nvSpPr>
              <p:cNvPr id="24" name="TextBox 25">
                <a:extLst>
                  <a:ext uri="{FF2B5EF4-FFF2-40B4-BE49-F238E27FC236}">
                    <a16:creationId xmlns:a16="http://schemas.microsoft.com/office/drawing/2014/main" id="{9C2B0F9B-8445-2285-0B3B-918499A00A0B}"/>
                  </a:ext>
                </a:extLst>
              </p:cNvPr>
              <p:cNvSpPr txBox="1"/>
              <p:nvPr/>
            </p:nvSpPr>
            <p:spPr>
              <a:xfrm>
                <a:off x="10314004" y="3941752"/>
                <a:ext cx="1422662" cy="742254"/>
              </a:xfrm>
              <a:prstGeom prst="rect">
                <a:avLst/>
              </a:prstGeom>
            </p:spPr>
            <p:txBody>
              <a:bodyPr wrap="square" lIns="0" tIns="0" rIns="0" bIns="0" rtlCol="0" anchor="t">
                <a:spAutoFit/>
              </a:bodyPr>
              <a:lstStyle/>
              <a:p>
                <a:pPr algn="ctr">
                  <a:lnSpc>
                    <a:spcPts val="6187"/>
                  </a:lnSpc>
                </a:pPr>
                <a:r>
                  <a:rPr lang="en-US" sz="5000" b="1" dirty="0">
                    <a:latin typeface="Arial" panose="020B0604020202020204" pitchFamily="34" charset="0"/>
                    <a:ea typeface="Droid Serif Bold"/>
                    <a:cs typeface="Arial" panose="020B0604020202020204" pitchFamily="34" charset="0"/>
                    <a:sym typeface="Droid Serif Bold"/>
                  </a:rPr>
                  <a:t>XX%</a:t>
                </a:r>
              </a:p>
            </p:txBody>
          </p:sp>
        </p:grpSp>
        <p:cxnSp>
          <p:nvCxnSpPr>
            <p:cNvPr id="27" name="Straight Connector 26">
              <a:extLst>
                <a:ext uri="{FF2B5EF4-FFF2-40B4-BE49-F238E27FC236}">
                  <a16:creationId xmlns:a16="http://schemas.microsoft.com/office/drawing/2014/main" id="{39FE9EFD-C563-BF34-5425-9FD5A3B688EC}"/>
                </a:ext>
              </a:extLst>
            </p:cNvPr>
            <p:cNvCxnSpPr>
              <a:cxnSpLocks/>
            </p:cNvCxnSpPr>
            <p:nvPr/>
          </p:nvCxnSpPr>
          <p:spPr>
            <a:xfrm>
              <a:off x="12303174" y="4312879"/>
              <a:ext cx="1512000"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15" name="Freeform 16">
              <a:extLst>
                <a:ext uri="{FF2B5EF4-FFF2-40B4-BE49-F238E27FC236}">
                  <a16:creationId xmlns:a16="http://schemas.microsoft.com/office/drawing/2014/main" id="{0283E58D-E097-5DB5-D950-5AA3E7A2BF1D}"/>
                </a:ext>
              </a:extLst>
            </p:cNvPr>
            <p:cNvSpPr/>
            <p:nvPr/>
          </p:nvSpPr>
          <p:spPr>
            <a:xfrm>
              <a:off x="5984826" y="2795313"/>
              <a:ext cx="3402143" cy="340214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1"/>
            </a:solidFill>
          </p:spPr>
          <p:txBody>
            <a:bodyPr/>
            <a:lstStyle/>
            <a:p>
              <a:endParaRPr lang="en-US" dirty="0">
                <a:latin typeface="Arial" panose="020B0604020202020204" pitchFamily="34" charset="0"/>
                <a:cs typeface="Arial" panose="020B0604020202020204" pitchFamily="34" charset="0"/>
              </a:endParaRPr>
            </a:p>
          </p:txBody>
        </p:sp>
        <p:sp>
          <p:nvSpPr>
            <p:cNvPr id="19" name="TextBox 25">
              <a:extLst>
                <a:ext uri="{FF2B5EF4-FFF2-40B4-BE49-F238E27FC236}">
                  <a16:creationId xmlns:a16="http://schemas.microsoft.com/office/drawing/2014/main" id="{41196AAF-960E-50EC-6C54-64FD4BC455AE}"/>
                </a:ext>
              </a:extLst>
            </p:cNvPr>
            <p:cNvSpPr txBox="1"/>
            <p:nvPr/>
          </p:nvSpPr>
          <p:spPr>
            <a:xfrm>
              <a:off x="6974566" y="4125257"/>
              <a:ext cx="1422662" cy="742254"/>
            </a:xfrm>
            <a:prstGeom prst="rect">
              <a:avLst/>
            </a:prstGeom>
          </p:spPr>
          <p:txBody>
            <a:bodyPr wrap="square" lIns="0" tIns="0" rIns="0" bIns="0" rtlCol="0" anchor="t">
              <a:spAutoFit/>
            </a:bodyPr>
            <a:lstStyle/>
            <a:p>
              <a:pPr algn="ctr">
                <a:lnSpc>
                  <a:spcPts val="6187"/>
                </a:lnSpc>
              </a:pPr>
              <a:r>
                <a:rPr lang="en-US" sz="5000" b="1" dirty="0">
                  <a:solidFill>
                    <a:schemeClr val="bg1"/>
                  </a:solidFill>
                  <a:latin typeface="Arial" panose="020B0604020202020204" pitchFamily="34" charset="0"/>
                  <a:ea typeface="Droid Serif Bold"/>
                  <a:cs typeface="Arial" panose="020B0604020202020204" pitchFamily="34" charset="0"/>
                  <a:sym typeface="Droid Serif Bold"/>
                </a:rPr>
                <a:t>XX%</a:t>
              </a:r>
            </a:p>
          </p:txBody>
        </p:sp>
        <p:cxnSp>
          <p:nvCxnSpPr>
            <p:cNvPr id="29" name="Straight Connector 28">
              <a:extLst>
                <a:ext uri="{FF2B5EF4-FFF2-40B4-BE49-F238E27FC236}">
                  <a16:creationId xmlns:a16="http://schemas.microsoft.com/office/drawing/2014/main" id="{43BD7076-64B6-8817-43D1-F6E7175FC61D}"/>
                </a:ext>
              </a:extLst>
            </p:cNvPr>
            <p:cNvCxnSpPr>
              <a:cxnSpLocks/>
            </p:cNvCxnSpPr>
            <p:nvPr/>
          </p:nvCxnSpPr>
          <p:spPr>
            <a:xfrm>
              <a:off x="4572000" y="4496384"/>
              <a:ext cx="1412826" cy="0"/>
            </a:xfrm>
            <a:prstGeom prst="line">
              <a:avLst/>
            </a:prstGeom>
            <a:ln w="28575">
              <a:solidFill>
                <a:schemeClr val="accent1"/>
              </a:solidFill>
            </a:ln>
          </p:spPr>
          <p:style>
            <a:lnRef idx="2">
              <a:schemeClr val="accent1"/>
            </a:lnRef>
            <a:fillRef idx="0">
              <a:schemeClr val="accent1"/>
            </a:fillRef>
            <a:effectRef idx="1">
              <a:schemeClr val="accent1"/>
            </a:effectRef>
            <a:fontRef idx="minor">
              <a:schemeClr val="tx1"/>
            </a:fontRef>
          </p:style>
        </p:cxnSp>
        <p:grpSp>
          <p:nvGrpSpPr>
            <p:cNvPr id="21" name="Group 20">
              <a:extLst>
                <a:ext uri="{FF2B5EF4-FFF2-40B4-BE49-F238E27FC236}">
                  <a16:creationId xmlns:a16="http://schemas.microsoft.com/office/drawing/2014/main" id="{D0CCEF9E-C08D-E455-D0DE-E1BF68FAC7BA}"/>
                </a:ext>
              </a:extLst>
            </p:cNvPr>
            <p:cNvGrpSpPr/>
            <p:nvPr/>
          </p:nvGrpSpPr>
          <p:grpSpPr>
            <a:xfrm>
              <a:off x="8283211" y="6018570"/>
              <a:ext cx="2916976" cy="2916976"/>
              <a:chOff x="8283211" y="6018570"/>
              <a:chExt cx="2916976" cy="2916976"/>
            </a:xfrm>
          </p:grpSpPr>
          <p:sp>
            <p:nvSpPr>
              <p:cNvPr id="12" name="Freeform 13">
                <a:extLst>
                  <a:ext uri="{FF2B5EF4-FFF2-40B4-BE49-F238E27FC236}">
                    <a16:creationId xmlns:a16="http://schemas.microsoft.com/office/drawing/2014/main" id="{1852BC72-5E84-43FF-D376-2E1118AF9449}"/>
                  </a:ext>
                </a:extLst>
              </p:cNvPr>
              <p:cNvSpPr/>
              <p:nvPr/>
            </p:nvSpPr>
            <p:spPr>
              <a:xfrm>
                <a:off x="8283211" y="6018570"/>
                <a:ext cx="2916976" cy="2916976"/>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2"/>
              </a:solidFill>
            </p:spPr>
            <p:txBody>
              <a:bodyPr/>
              <a:lstStyle/>
              <a:p>
                <a:endParaRPr lang="en-US" dirty="0">
                  <a:latin typeface="Arial" panose="020B0604020202020204" pitchFamily="34" charset="0"/>
                  <a:cs typeface="Arial" panose="020B0604020202020204" pitchFamily="34" charset="0"/>
                </a:endParaRPr>
              </a:p>
            </p:txBody>
          </p:sp>
          <p:sp>
            <p:nvSpPr>
              <p:cNvPr id="20" name="TextBox 25">
                <a:extLst>
                  <a:ext uri="{FF2B5EF4-FFF2-40B4-BE49-F238E27FC236}">
                    <a16:creationId xmlns:a16="http://schemas.microsoft.com/office/drawing/2014/main" id="{6DD7E3D4-CFE8-2110-A7BA-4D88B8BBC5C8}"/>
                  </a:ext>
                </a:extLst>
              </p:cNvPr>
              <p:cNvSpPr txBox="1"/>
              <p:nvPr/>
            </p:nvSpPr>
            <p:spPr>
              <a:xfrm>
                <a:off x="9030368" y="7105931"/>
                <a:ext cx="1422662" cy="742254"/>
              </a:xfrm>
              <a:prstGeom prst="rect">
                <a:avLst/>
              </a:prstGeom>
            </p:spPr>
            <p:txBody>
              <a:bodyPr wrap="square" lIns="0" tIns="0" rIns="0" bIns="0" rtlCol="0" anchor="t">
                <a:spAutoFit/>
              </a:bodyPr>
              <a:lstStyle/>
              <a:p>
                <a:pPr algn="ctr">
                  <a:lnSpc>
                    <a:spcPts val="6187"/>
                  </a:lnSpc>
                </a:pPr>
                <a:r>
                  <a:rPr lang="en-US" sz="5000" b="1" dirty="0">
                    <a:solidFill>
                      <a:schemeClr val="bg1"/>
                    </a:solidFill>
                    <a:latin typeface="Arial" panose="020B0604020202020204" pitchFamily="34" charset="0"/>
                    <a:ea typeface="Droid Serif Bold"/>
                    <a:cs typeface="Arial" panose="020B0604020202020204" pitchFamily="34" charset="0"/>
                    <a:sym typeface="Droid Serif Bold"/>
                  </a:rPr>
                  <a:t>XX%</a:t>
                </a:r>
              </a:p>
            </p:txBody>
          </p:sp>
        </p:grpSp>
        <p:cxnSp>
          <p:nvCxnSpPr>
            <p:cNvPr id="30" name="Straight Connector 29">
              <a:extLst>
                <a:ext uri="{FF2B5EF4-FFF2-40B4-BE49-F238E27FC236}">
                  <a16:creationId xmlns:a16="http://schemas.microsoft.com/office/drawing/2014/main" id="{41DD0822-A11E-7157-71D1-40E355B5ED01}"/>
                </a:ext>
              </a:extLst>
            </p:cNvPr>
            <p:cNvCxnSpPr>
              <a:cxnSpLocks/>
            </p:cNvCxnSpPr>
            <p:nvPr/>
          </p:nvCxnSpPr>
          <p:spPr>
            <a:xfrm>
              <a:off x="11200187" y="7477058"/>
              <a:ext cx="1946226" cy="0"/>
            </a:xfrm>
            <a:prstGeom prst="line">
              <a:avLst/>
            </a:prstGeom>
            <a:ln w="28575">
              <a:solidFill>
                <a:schemeClr val="accent2"/>
              </a:solidFill>
            </a:ln>
          </p:spPr>
          <p:style>
            <a:lnRef idx="2">
              <a:schemeClr val="accent1"/>
            </a:lnRef>
            <a:fillRef idx="0">
              <a:schemeClr val="accent1"/>
            </a:fillRef>
            <a:effectRef idx="1">
              <a:schemeClr val="accent1"/>
            </a:effectRef>
            <a:fontRef idx="minor">
              <a:schemeClr val="tx1"/>
            </a:fontRef>
          </p:style>
        </p:cxnSp>
        <p:sp>
          <p:nvSpPr>
            <p:cNvPr id="34" name="TextBox 12">
              <a:extLst>
                <a:ext uri="{FF2B5EF4-FFF2-40B4-BE49-F238E27FC236}">
                  <a16:creationId xmlns:a16="http://schemas.microsoft.com/office/drawing/2014/main" id="{9F4781E1-9AE6-5639-8803-02856004B9F7}"/>
                </a:ext>
              </a:extLst>
            </p:cNvPr>
            <p:cNvSpPr txBox="1"/>
            <p:nvPr/>
          </p:nvSpPr>
          <p:spPr>
            <a:xfrm>
              <a:off x="1051224" y="3272972"/>
              <a:ext cx="3292175" cy="2108269"/>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36" name="TextBox 12">
              <a:extLst>
                <a:ext uri="{FF2B5EF4-FFF2-40B4-BE49-F238E27FC236}">
                  <a16:creationId xmlns:a16="http://schemas.microsoft.com/office/drawing/2014/main" id="{69447554-CE9D-468E-BE17-B6083CB30885}"/>
                </a:ext>
              </a:extLst>
            </p:cNvPr>
            <p:cNvSpPr txBox="1"/>
            <p:nvPr/>
          </p:nvSpPr>
          <p:spPr>
            <a:xfrm>
              <a:off x="14051263" y="3035040"/>
              <a:ext cx="3292175" cy="2108269"/>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sp>
          <p:nvSpPr>
            <p:cNvPr id="37" name="TextBox 12">
              <a:extLst>
                <a:ext uri="{FF2B5EF4-FFF2-40B4-BE49-F238E27FC236}">
                  <a16:creationId xmlns:a16="http://schemas.microsoft.com/office/drawing/2014/main" id="{852CEFE7-9534-C604-150F-429DE4DA4380}"/>
                </a:ext>
              </a:extLst>
            </p:cNvPr>
            <p:cNvSpPr txBox="1"/>
            <p:nvPr/>
          </p:nvSpPr>
          <p:spPr>
            <a:xfrm>
              <a:off x="13498572" y="6404678"/>
              <a:ext cx="3844866" cy="1769715"/>
            </a:xfrm>
            <a:prstGeom prst="rect">
              <a:avLst/>
            </a:prstGeom>
          </p:spPr>
          <p:txBody>
            <a:bodyPr wrap="square" lIns="0" tIns="0" rIns="0" bIns="0" rtlCol="0" anchor="t">
              <a:spAutoFit/>
            </a:bodyPr>
            <a:lstStyle/>
            <a:p>
              <a:pPr>
                <a:spcBef>
                  <a:spcPts val="300"/>
                </a:spcBef>
                <a:spcAft>
                  <a:spcPts val="300"/>
                </a:spcAft>
              </a:pPr>
              <a:r>
                <a:rPr lang="en-US" sz="2200" b="1" dirty="0">
                  <a:solidFill>
                    <a:schemeClr val="accent1"/>
                  </a:solidFill>
                  <a:latin typeface="Arial" panose="020B0604020202020204" pitchFamily="34" charset="0"/>
                  <a:ea typeface="Poppins"/>
                  <a:cs typeface="Arial" panose="020B0604020202020204" pitchFamily="34" charset="0"/>
                  <a:sym typeface="Poppins"/>
                </a:rPr>
                <a:t>Heading</a:t>
              </a:r>
            </a:p>
            <a:p>
              <a:pPr>
                <a:spcBef>
                  <a:spcPts val="300"/>
                </a:spcBef>
                <a:spcAft>
                  <a:spcPts val="300"/>
                </a:spcAft>
              </a:pPr>
              <a:r>
                <a:rPr lang="en-US" sz="2200" dirty="0">
                  <a:latin typeface="Arial" panose="020B0604020202020204" pitchFamily="34" charset="0"/>
                  <a:ea typeface="Poppins"/>
                  <a:cs typeface="Arial" panose="020B0604020202020204" pitchFamily="34" charset="0"/>
                  <a:sym typeface="Poppins"/>
                </a:rPr>
                <a:t>Lorem ipsum dolor sit amet, consectetur adipiscing elit, sed do eiusmod tempor incididunt ut labore et dolore </a:t>
              </a:r>
            </a:p>
          </p:txBody>
        </p:sp>
      </p:grpSp>
      <p:sp>
        <p:nvSpPr>
          <p:cNvPr id="5" name="Slide Number Placeholder 4">
            <a:extLst>
              <a:ext uri="{FF2B5EF4-FFF2-40B4-BE49-F238E27FC236}">
                <a16:creationId xmlns:a16="http://schemas.microsoft.com/office/drawing/2014/main" id="{EDCF72E3-9889-6D4C-70E8-177E205F7AF9}"/>
              </a:ext>
            </a:extLst>
          </p:cNvPr>
          <p:cNvSpPr>
            <a:spLocks noGrp="1"/>
          </p:cNvSpPr>
          <p:nvPr>
            <p:ph type="sldNum" sz="quarter" idx="12"/>
          </p:nvPr>
        </p:nvSpPr>
        <p:spPr/>
        <p:txBody>
          <a:bodyPr/>
          <a:lstStyle/>
          <a:p>
            <a:fld id="{E2D680B1-7F17-42D2-83E2-2C9AC13983BB}" type="slidenum">
              <a:rPr lang="en-US" smtClean="0"/>
              <a:t>86</a:t>
            </a:fld>
            <a:endParaRPr lang="en-US" dirty="0"/>
          </a:p>
        </p:txBody>
      </p:sp>
    </p:spTree>
    <p:extLst>
      <p:ext uri="{BB962C8B-B14F-4D97-AF65-F5344CB8AC3E}">
        <p14:creationId xmlns:p14="http://schemas.microsoft.com/office/powerpoint/2010/main" val="7766538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EDFA2-D956-C82D-E015-15D2D9427E7B}"/>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8F05A815-9AD8-B596-8441-70C593BF4C7C}"/>
              </a:ext>
            </a:extLst>
          </p:cNvPr>
          <p:cNvSpPr>
            <a:spLocks noGrp="1"/>
          </p:cNvSpPr>
          <p:nvPr>
            <p:ph type="title"/>
          </p:nvPr>
        </p:nvSpPr>
        <p:spPr>
          <a:xfrm>
            <a:off x="714375" y="317500"/>
            <a:ext cx="16859250" cy="1266827"/>
          </a:xfrm>
        </p:spPr>
        <p:txBody>
          <a:bodyPr/>
          <a:lstStyle/>
          <a:p>
            <a:r>
              <a:rPr lang="en-US" dirty="0"/>
              <a:t>Process Slide – </a:t>
            </a:r>
            <a:r>
              <a:rPr lang="en-IN" dirty="0"/>
              <a:t>Strategic Pyramid Layout</a:t>
            </a:r>
            <a:endParaRPr lang="en-US" dirty="0"/>
          </a:p>
        </p:txBody>
      </p:sp>
      <p:grpSp>
        <p:nvGrpSpPr>
          <p:cNvPr id="23" name="Group 22">
            <a:extLst>
              <a:ext uri="{FF2B5EF4-FFF2-40B4-BE49-F238E27FC236}">
                <a16:creationId xmlns:a16="http://schemas.microsoft.com/office/drawing/2014/main" id="{854F51B1-8942-A0E8-B228-2C0ED840A180}"/>
              </a:ext>
            </a:extLst>
          </p:cNvPr>
          <p:cNvGrpSpPr/>
          <p:nvPr/>
        </p:nvGrpSpPr>
        <p:grpSpPr>
          <a:xfrm>
            <a:off x="714375" y="3090071"/>
            <a:ext cx="8206799" cy="5485607"/>
            <a:chOff x="881698" y="2060047"/>
            <a:chExt cx="5471199" cy="3657071"/>
          </a:xfrm>
        </p:grpSpPr>
        <p:cxnSp>
          <p:nvCxnSpPr>
            <p:cNvPr id="9" name="直接连接符 13">
              <a:extLst>
                <a:ext uri="{FF2B5EF4-FFF2-40B4-BE49-F238E27FC236}">
                  <a16:creationId xmlns:a16="http://schemas.microsoft.com/office/drawing/2014/main" id="{93F44DA0-5A5E-C0DC-0F1B-97780EE715EC}"/>
                </a:ext>
              </a:extLst>
            </p:cNvPr>
            <p:cNvCxnSpPr>
              <a:cxnSpLocks/>
            </p:cNvCxnSpPr>
            <p:nvPr/>
          </p:nvCxnSpPr>
          <p:spPr>
            <a:xfrm>
              <a:off x="3508097" y="2492376"/>
              <a:ext cx="284480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1" name="直接连接符 14">
              <a:extLst>
                <a:ext uri="{FF2B5EF4-FFF2-40B4-BE49-F238E27FC236}">
                  <a16:creationId xmlns:a16="http://schemas.microsoft.com/office/drawing/2014/main" id="{62E45B63-E9E0-9D93-70A5-7C36251F2D0D}"/>
                </a:ext>
              </a:extLst>
            </p:cNvPr>
            <p:cNvCxnSpPr>
              <a:cxnSpLocks/>
            </p:cNvCxnSpPr>
            <p:nvPr/>
          </p:nvCxnSpPr>
          <p:spPr>
            <a:xfrm>
              <a:off x="3508097" y="4353984"/>
              <a:ext cx="284480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2" name="直接连接符 15">
              <a:extLst>
                <a:ext uri="{FF2B5EF4-FFF2-40B4-BE49-F238E27FC236}">
                  <a16:creationId xmlns:a16="http://schemas.microsoft.com/office/drawing/2014/main" id="{E06D3388-92C1-32D1-7832-EBFAC5EF4EC9}"/>
                </a:ext>
              </a:extLst>
            </p:cNvPr>
            <p:cNvCxnSpPr>
              <a:cxnSpLocks/>
            </p:cNvCxnSpPr>
            <p:nvPr/>
          </p:nvCxnSpPr>
          <p:spPr>
            <a:xfrm>
              <a:off x="3508097" y="5284789"/>
              <a:ext cx="2844800"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3" name="直接连接符 16">
              <a:extLst>
                <a:ext uri="{FF2B5EF4-FFF2-40B4-BE49-F238E27FC236}">
                  <a16:creationId xmlns:a16="http://schemas.microsoft.com/office/drawing/2014/main" id="{4FDE3293-D211-63D4-A1B9-365624C2F924}"/>
                </a:ext>
              </a:extLst>
            </p:cNvPr>
            <p:cNvCxnSpPr>
              <a:cxnSpLocks/>
            </p:cNvCxnSpPr>
            <p:nvPr/>
          </p:nvCxnSpPr>
          <p:spPr>
            <a:xfrm>
              <a:off x="3508097" y="3423180"/>
              <a:ext cx="2844800"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4" name="任意多边形: 形状 8">
              <a:extLst>
                <a:ext uri="{FF2B5EF4-FFF2-40B4-BE49-F238E27FC236}">
                  <a16:creationId xmlns:a16="http://schemas.microsoft.com/office/drawing/2014/main" id="{E0F2C001-F300-5080-A881-F319616865D1}"/>
                </a:ext>
              </a:extLst>
            </p:cNvPr>
            <p:cNvSpPr/>
            <p:nvPr/>
          </p:nvSpPr>
          <p:spPr>
            <a:xfrm>
              <a:off x="2689385" y="2060047"/>
              <a:ext cx="1205125" cy="864658"/>
            </a:xfrm>
            <a:custGeom>
              <a:avLst/>
              <a:gdLst>
                <a:gd name="connsiteX0" fmla="*/ 0 w 1296987"/>
                <a:gd name="connsiteY0" fmla="*/ 864658 h 864658"/>
                <a:gd name="connsiteX1" fmla="*/ 648494 w 1296987"/>
                <a:gd name="connsiteY1" fmla="*/ 0 h 864658"/>
                <a:gd name="connsiteX2" fmla="*/ 648494 w 1296987"/>
                <a:gd name="connsiteY2" fmla="*/ 0 h 864658"/>
                <a:gd name="connsiteX3" fmla="*/ 1296987 w 1296987"/>
                <a:gd name="connsiteY3" fmla="*/ 864658 h 864658"/>
                <a:gd name="connsiteX4" fmla="*/ 0 w 1296987"/>
                <a:gd name="connsiteY4" fmla="*/ 864658 h 86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987" h="864658">
                  <a:moveTo>
                    <a:pt x="0" y="864658"/>
                  </a:moveTo>
                  <a:lnTo>
                    <a:pt x="648494" y="0"/>
                  </a:lnTo>
                  <a:lnTo>
                    <a:pt x="648494" y="0"/>
                  </a:lnTo>
                  <a:lnTo>
                    <a:pt x="1296987" y="864658"/>
                  </a:lnTo>
                  <a:lnTo>
                    <a:pt x="0" y="86465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zh-CN" altLang="en-US" sz="2700" dirty="0">
                <a:solidFill>
                  <a:srgbClr val="FFFFFF"/>
                </a:solidFill>
                <a:latin typeface="Calibri" panose="020F0502020204030204" pitchFamily="34" charset="0"/>
                <a:ea typeface="微软雅黑"/>
              </a:endParaRPr>
            </a:p>
          </p:txBody>
        </p:sp>
        <p:sp>
          <p:nvSpPr>
            <p:cNvPr id="6" name="任意多边形: 形状 9">
              <a:extLst>
                <a:ext uri="{FF2B5EF4-FFF2-40B4-BE49-F238E27FC236}">
                  <a16:creationId xmlns:a16="http://schemas.microsoft.com/office/drawing/2014/main" id="{39405775-A162-FA76-70A4-32D556965273}"/>
                </a:ext>
              </a:extLst>
            </p:cNvPr>
            <p:cNvSpPr/>
            <p:nvPr/>
          </p:nvSpPr>
          <p:spPr>
            <a:xfrm>
              <a:off x="2086823" y="2990851"/>
              <a:ext cx="2410251" cy="864658"/>
            </a:xfrm>
            <a:custGeom>
              <a:avLst/>
              <a:gdLst>
                <a:gd name="connsiteX0" fmla="*/ 0 w 2593974"/>
                <a:gd name="connsiteY0" fmla="*/ 864658 h 864658"/>
                <a:gd name="connsiteX1" fmla="*/ 648494 w 2593974"/>
                <a:gd name="connsiteY1" fmla="*/ 0 h 864658"/>
                <a:gd name="connsiteX2" fmla="*/ 1945481 w 2593974"/>
                <a:gd name="connsiteY2" fmla="*/ 0 h 864658"/>
                <a:gd name="connsiteX3" fmla="*/ 2593974 w 2593974"/>
                <a:gd name="connsiteY3" fmla="*/ 864658 h 864658"/>
                <a:gd name="connsiteX4" fmla="*/ 0 w 2593974"/>
                <a:gd name="connsiteY4" fmla="*/ 864658 h 86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974" h="864658">
                  <a:moveTo>
                    <a:pt x="0" y="864658"/>
                  </a:moveTo>
                  <a:lnTo>
                    <a:pt x="648494" y="0"/>
                  </a:lnTo>
                  <a:lnTo>
                    <a:pt x="1945481" y="0"/>
                  </a:lnTo>
                  <a:lnTo>
                    <a:pt x="2593974" y="864658"/>
                  </a:lnTo>
                  <a:lnTo>
                    <a:pt x="0" y="864658"/>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zh-CN" altLang="en-US" sz="2700" dirty="0">
                <a:solidFill>
                  <a:srgbClr val="FFFFFF"/>
                </a:solidFill>
                <a:latin typeface="Calibri" panose="020F0502020204030204" pitchFamily="34" charset="0"/>
                <a:ea typeface="微软雅黑"/>
              </a:endParaRPr>
            </a:p>
          </p:txBody>
        </p:sp>
        <p:sp>
          <p:nvSpPr>
            <p:cNvPr id="7" name="任意多边形: 形状 10">
              <a:extLst>
                <a:ext uri="{FF2B5EF4-FFF2-40B4-BE49-F238E27FC236}">
                  <a16:creationId xmlns:a16="http://schemas.microsoft.com/office/drawing/2014/main" id="{E47AA1D1-627B-7DBC-57A3-5F9A0D3A6888}"/>
                </a:ext>
              </a:extLst>
            </p:cNvPr>
            <p:cNvSpPr/>
            <p:nvPr/>
          </p:nvSpPr>
          <p:spPr>
            <a:xfrm>
              <a:off x="1484259" y="3921655"/>
              <a:ext cx="3615376" cy="864658"/>
            </a:xfrm>
            <a:custGeom>
              <a:avLst/>
              <a:gdLst>
                <a:gd name="connsiteX0" fmla="*/ 0 w 3890961"/>
                <a:gd name="connsiteY0" fmla="*/ 864658 h 864658"/>
                <a:gd name="connsiteX1" fmla="*/ 648494 w 3890961"/>
                <a:gd name="connsiteY1" fmla="*/ 0 h 864658"/>
                <a:gd name="connsiteX2" fmla="*/ 3242468 w 3890961"/>
                <a:gd name="connsiteY2" fmla="*/ 0 h 864658"/>
                <a:gd name="connsiteX3" fmla="*/ 3890961 w 3890961"/>
                <a:gd name="connsiteY3" fmla="*/ 864658 h 864658"/>
                <a:gd name="connsiteX4" fmla="*/ 0 w 3890961"/>
                <a:gd name="connsiteY4" fmla="*/ 864658 h 86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961" h="864658">
                  <a:moveTo>
                    <a:pt x="0" y="864658"/>
                  </a:moveTo>
                  <a:lnTo>
                    <a:pt x="648494" y="0"/>
                  </a:lnTo>
                  <a:lnTo>
                    <a:pt x="3242468" y="0"/>
                  </a:lnTo>
                  <a:lnTo>
                    <a:pt x="3890961" y="864658"/>
                  </a:lnTo>
                  <a:lnTo>
                    <a:pt x="0" y="86465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zh-CN" altLang="en-US" sz="2700" dirty="0">
                <a:solidFill>
                  <a:srgbClr val="FFFFFF"/>
                </a:solidFill>
                <a:latin typeface="Calibri" panose="020F0502020204030204" pitchFamily="34" charset="0"/>
                <a:ea typeface="微软雅黑"/>
              </a:endParaRPr>
            </a:p>
          </p:txBody>
        </p:sp>
        <p:sp>
          <p:nvSpPr>
            <p:cNvPr id="8" name="任意多边形: 形状 11">
              <a:extLst>
                <a:ext uri="{FF2B5EF4-FFF2-40B4-BE49-F238E27FC236}">
                  <a16:creationId xmlns:a16="http://schemas.microsoft.com/office/drawing/2014/main" id="{3ABEA7C5-55B7-FA97-EC18-D4DE40DE9E7D}"/>
                </a:ext>
              </a:extLst>
            </p:cNvPr>
            <p:cNvSpPr/>
            <p:nvPr/>
          </p:nvSpPr>
          <p:spPr>
            <a:xfrm>
              <a:off x="881698" y="4852460"/>
              <a:ext cx="4820502" cy="864658"/>
            </a:xfrm>
            <a:custGeom>
              <a:avLst/>
              <a:gdLst>
                <a:gd name="connsiteX0" fmla="*/ 0 w 5187949"/>
                <a:gd name="connsiteY0" fmla="*/ 864658 h 864658"/>
                <a:gd name="connsiteX1" fmla="*/ 648494 w 5187949"/>
                <a:gd name="connsiteY1" fmla="*/ 0 h 864658"/>
                <a:gd name="connsiteX2" fmla="*/ 4539456 w 5187949"/>
                <a:gd name="connsiteY2" fmla="*/ 0 h 864658"/>
                <a:gd name="connsiteX3" fmla="*/ 5187949 w 5187949"/>
                <a:gd name="connsiteY3" fmla="*/ 864658 h 864658"/>
                <a:gd name="connsiteX4" fmla="*/ 0 w 5187949"/>
                <a:gd name="connsiteY4" fmla="*/ 864658 h 86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7949" h="864658">
                  <a:moveTo>
                    <a:pt x="0" y="864658"/>
                  </a:moveTo>
                  <a:lnTo>
                    <a:pt x="648494" y="0"/>
                  </a:lnTo>
                  <a:lnTo>
                    <a:pt x="4539456" y="0"/>
                  </a:lnTo>
                  <a:lnTo>
                    <a:pt x="5187949" y="864658"/>
                  </a:lnTo>
                  <a:lnTo>
                    <a:pt x="0" y="864658"/>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zh-CN" altLang="en-US" sz="2700" dirty="0">
                <a:solidFill>
                  <a:srgbClr val="FFFFFF"/>
                </a:solidFill>
                <a:latin typeface="Calibri" panose="020F0502020204030204" pitchFamily="34" charset="0"/>
                <a:ea typeface="微软雅黑"/>
              </a:endParaRPr>
            </a:p>
          </p:txBody>
        </p:sp>
        <p:sp>
          <p:nvSpPr>
            <p:cNvPr id="15" name="矩形 29">
              <a:extLst>
                <a:ext uri="{FF2B5EF4-FFF2-40B4-BE49-F238E27FC236}">
                  <a16:creationId xmlns:a16="http://schemas.microsoft.com/office/drawing/2014/main" id="{6E06114E-D761-2952-6691-D498845E7D6B}"/>
                </a:ext>
              </a:extLst>
            </p:cNvPr>
            <p:cNvSpPr/>
            <p:nvPr/>
          </p:nvSpPr>
          <p:spPr>
            <a:xfrm>
              <a:off x="2737823" y="2338301"/>
              <a:ext cx="1108253" cy="374761"/>
            </a:xfrm>
            <a:prstGeom prst="rect">
              <a:avLst/>
            </a:prstGeom>
          </p:spPr>
          <p:txBody>
            <a:bodyPr wrap="square">
              <a:spAutoFit/>
              <a:scene3d>
                <a:camera prst="orthographicFront"/>
                <a:lightRig rig="threePt" dir="t"/>
              </a:scene3d>
              <a:sp3d contourW="12700"/>
            </a:bodyPr>
            <a:lstStyle/>
            <a:p>
              <a:pPr algn="ctr">
                <a:lnSpc>
                  <a:spcPct val="120000"/>
                </a:lnSpc>
              </a:pPr>
              <a:r>
                <a:rPr lang="en-US" altLang="zh-CN" sz="2700" b="1" dirty="0">
                  <a:solidFill>
                    <a:schemeClr val="bg1"/>
                  </a:solidFill>
                </a:rPr>
                <a:t>25%</a:t>
              </a:r>
              <a:endParaRPr lang="zh-CN" altLang="en-US" sz="2700" b="1" dirty="0">
                <a:solidFill>
                  <a:schemeClr val="bg1"/>
                </a:solidFill>
              </a:endParaRPr>
            </a:p>
          </p:txBody>
        </p:sp>
        <p:sp>
          <p:nvSpPr>
            <p:cNvPr id="16" name="矩形 30">
              <a:extLst>
                <a:ext uri="{FF2B5EF4-FFF2-40B4-BE49-F238E27FC236}">
                  <a16:creationId xmlns:a16="http://schemas.microsoft.com/office/drawing/2014/main" id="{E023DEBE-23CD-A090-558A-D5E015684428}"/>
                </a:ext>
              </a:extLst>
            </p:cNvPr>
            <p:cNvSpPr/>
            <p:nvPr/>
          </p:nvSpPr>
          <p:spPr>
            <a:xfrm>
              <a:off x="2737823" y="3222805"/>
              <a:ext cx="1108253" cy="374761"/>
            </a:xfrm>
            <a:prstGeom prst="rect">
              <a:avLst/>
            </a:prstGeom>
          </p:spPr>
          <p:txBody>
            <a:bodyPr wrap="square">
              <a:spAutoFit/>
              <a:scene3d>
                <a:camera prst="orthographicFront"/>
                <a:lightRig rig="threePt" dir="t"/>
              </a:scene3d>
              <a:sp3d contourW="12700"/>
            </a:bodyPr>
            <a:lstStyle/>
            <a:p>
              <a:pPr algn="ctr">
                <a:lnSpc>
                  <a:spcPct val="120000"/>
                </a:lnSpc>
              </a:pPr>
              <a:r>
                <a:rPr lang="en-US" altLang="zh-CN" sz="2700" b="1" dirty="0">
                  <a:solidFill>
                    <a:schemeClr val="bg1"/>
                  </a:solidFill>
                </a:rPr>
                <a:t>25%</a:t>
              </a:r>
              <a:endParaRPr lang="zh-CN" altLang="en-US" sz="2700" b="1" dirty="0">
                <a:solidFill>
                  <a:schemeClr val="bg1"/>
                </a:solidFill>
              </a:endParaRPr>
            </a:p>
          </p:txBody>
        </p:sp>
        <p:sp>
          <p:nvSpPr>
            <p:cNvPr id="17" name="矩形 31">
              <a:extLst>
                <a:ext uri="{FF2B5EF4-FFF2-40B4-BE49-F238E27FC236}">
                  <a16:creationId xmlns:a16="http://schemas.microsoft.com/office/drawing/2014/main" id="{F7113F6F-F98D-C6DB-18F5-BCF8441BC52E}"/>
                </a:ext>
              </a:extLst>
            </p:cNvPr>
            <p:cNvSpPr/>
            <p:nvPr/>
          </p:nvSpPr>
          <p:spPr>
            <a:xfrm>
              <a:off x="2737823" y="4153609"/>
              <a:ext cx="1108253" cy="374761"/>
            </a:xfrm>
            <a:prstGeom prst="rect">
              <a:avLst/>
            </a:prstGeom>
          </p:spPr>
          <p:txBody>
            <a:bodyPr wrap="square">
              <a:spAutoFit/>
              <a:scene3d>
                <a:camera prst="orthographicFront"/>
                <a:lightRig rig="threePt" dir="t"/>
              </a:scene3d>
              <a:sp3d contourW="12700"/>
            </a:bodyPr>
            <a:lstStyle/>
            <a:p>
              <a:pPr algn="ctr">
                <a:lnSpc>
                  <a:spcPct val="120000"/>
                </a:lnSpc>
              </a:pPr>
              <a:r>
                <a:rPr lang="en-US" altLang="zh-CN" sz="2700" b="1" dirty="0">
                  <a:solidFill>
                    <a:schemeClr val="bg1"/>
                  </a:solidFill>
                </a:rPr>
                <a:t>25%</a:t>
              </a:r>
              <a:endParaRPr lang="zh-CN" altLang="en-US" sz="2700" b="1" dirty="0">
                <a:solidFill>
                  <a:schemeClr val="bg1"/>
                </a:solidFill>
              </a:endParaRPr>
            </a:p>
          </p:txBody>
        </p:sp>
        <p:sp>
          <p:nvSpPr>
            <p:cNvPr id="18" name="矩形 32">
              <a:extLst>
                <a:ext uri="{FF2B5EF4-FFF2-40B4-BE49-F238E27FC236}">
                  <a16:creationId xmlns:a16="http://schemas.microsoft.com/office/drawing/2014/main" id="{583B7BC0-F61F-81E7-E376-39E624DAB9C3}"/>
                </a:ext>
              </a:extLst>
            </p:cNvPr>
            <p:cNvSpPr/>
            <p:nvPr/>
          </p:nvSpPr>
          <p:spPr>
            <a:xfrm>
              <a:off x="2737823" y="5084414"/>
              <a:ext cx="1108253" cy="374761"/>
            </a:xfrm>
            <a:prstGeom prst="rect">
              <a:avLst/>
            </a:prstGeom>
          </p:spPr>
          <p:txBody>
            <a:bodyPr wrap="square">
              <a:spAutoFit/>
              <a:scene3d>
                <a:camera prst="orthographicFront"/>
                <a:lightRig rig="threePt" dir="t"/>
              </a:scene3d>
              <a:sp3d contourW="12700"/>
            </a:bodyPr>
            <a:lstStyle/>
            <a:p>
              <a:pPr algn="ctr">
                <a:lnSpc>
                  <a:spcPct val="120000"/>
                </a:lnSpc>
              </a:pPr>
              <a:r>
                <a:rPr lang="en-US" altLang="zh-CN" sz="2700" b="1" dirty="0">
                  <a:solidFill>
                    <a:schemeClr val="bg1"/>
                  </a:solidFill>
                </a:rPr>
                <a:t>25%</a:t>
              </a:r>
              <a:endParaRPr lang="zh-CN" altLang="en-US" sz="2700" b="1" dirty="0">
                <a:solidFill>
                  <a:schemeClr val="bg1"/>
                </a:solidFill>
              </a:endParaRPr>
            </a:p>
          </p:txBody>
        </p:sp>
      </p:grpSp>
      <p:sp>
        <p:nvSpPr>
          <p:cNvPr id="19" name="文本框 31">
            <a:extLst>
              <a:ext uri="{FF2B5EF4-FFF2-40B4-BE49-F238E27FC236}">
                <a16:creationId xmlns:a16="http://schemas.microsoft.com/office/drawing/2014/main" id="{82CE095E-3D8B-EF24-33ED-3CACF81326A0}"/>
              </a:ext>
            </a:extLst>
          </p:cNvPr>
          <p:cNvSpPr txBox="1"/>
          <p:nvPr/>
        </p:nvSpPr>
        <p:spPr>
          <a:xfrm>
            <a:off x="9366828" y="3346149"/>
            <a:ext cx="8206797" cy="769441"/>
          </a:xfrm>
          <a:prstGeom prst="rect">
            <a:avLst/>
          </a:prstGeom>
          <a:noFill/>
        </p:spPr>
        <p:txBody>
          <a:bodyPr wrap="square" rtlCol="0">
            <a:spAutoFit/>
          </a:bodyPr>
          <a:lstStyle/>
          <a:p>
            <a:r>
              <a:rPr lang="en-US" altLang="zh-CN" sz="2200" dirty="0">
                <a:latin typeface="Arial" panose="020B0604020202020204" pitchFamily="34" charset="0"/>
                <a:ea typeface="微软雅黑" panose="020B0503020204020204" pitchFamily="34" charset="-122"/>
                <a:cs typeface="Arial" panose="020B0604020202020204" pitchFamily="34" charset="0"/>
              </a:rPr>
              <a:t>Lorem Ipsum is simply dummy text of the printing and typesetting industry.</a:t>
            </a:r>
          </a:p>
        </p:txBody>
      </p:sp>
      <p:sp>
        <p:nvSpPr>
          <p:cNvPr id="20" name="文本框 31">
            <a:extLst>
              <a:ext uri="{FF2B5EF4-FFF2-40B4-BE49-F238E27FC236}">
                <a16:creationId xmlns:a16="http://schemas.microsoft.com/office/drawing/2014/main" id="{43ABFBC8-BB5C-EC39-5617-994A974C3AA8}"/>
              </a:ext>
            </a:extLst>
          </p:cNvPr>
          <p:cNvSpPr txBox="1"/>
          <p:nvPr/>
        </p:nvSpPr>
        <p:spPr>
          <a:xfrm>
            <a:off x="9366828" y="4742355"/>
            <a:ext cx="8206797" cy="769441"/>
          </a:xfrm>
          <a:prstGeom prst="rect">
            <a:avLst/>
          </a:prstGeom>
          <a:noFill/>
        </p:spPr>
        <p:txBody>
          <a:bodyPr wrap="square" rtlCol="0">
            <a:spAutoFit/>
          </a:bodyPr>
          <a:lstStyle/>
          <a:p>
            <a:r>
              <a:rPr lang="en-US" altLang="zh-CN" sz="2200" dirty="0">
                <a:latin typeface="Arial" panose="020B0604020202020204" pitchFamily="34" charset="0"/>
                <a:ea typeface="微软雅黑" panose="020B0503020204020204" pitchFamily="34" charset="-122"/>
                <a:cs typeface="Arial" panose="020B0604020202020204" pitchFamily="34" charset="0"/>
              </a:rPr>
              <a:t>Lorem Ipsum is simply dummy text of the printing and typesetting industry.</a:t>
            </a:r>
          </a:p>
        </p:txBody>
      </p:sp>
      <p:sp>
        <p:nvSpPr>
          <p:cNvPr id="21" name="文本框 31">
            <a:extLst>
              <a:ext uri="{FF2B5EF4-FFF2-40B4-BE49-F238E27FC236}">
                <a16:creationId xmlns:a16="http://schemas.microsoft.com/office/drawing/2014/main" id="{059EB9EF-887F-A681-506B-E8BA0B7C126D}"/>
              </a:ext>
            </a:extLst>
          </p:cNvPr>
          <p:cNvSpPr txBox="1"/>
          <p:nvPr/>
        </p:nvSpPr>
        <p:spPr>
          <a:xfrm>
            <a:off x="9366828" y="6138561"/>
            <a:ext cx="8206797" cy="769441"/>
          </a:xfrm>
          <a:prstGeom prst="rect">
            <a:avLst/>
          </a:prstGeom>
          <a:noFill/>
        </p:spPr>
        <p:txBody>
          <a:bodyPr wrap="square" rtlCol="0">
            <a:spAutoFit/>
          </a:bodyPr>
          <a:lstStyle/>
          <a:p>
            <a:r>
              <a:rPr lang="en-US" altLang="zh-CN" sz="2200" dirty="0">
                <a:latin typeface="Arial" panose="020B0604020202020204" pitchFamily="34" charset="0"/>
                <a:ea typeface="微软雅黑" panose="020B0503020204020204" pitchFamily="34" charset="-122"/>
                <a:cs typeface="Arial" panose="020B0604020202020204" pitchFamily="34" charset="0"/>
              </a:rPr>
              <a:t>Lorem Ipsum is simply dummy text of the printing and typesetting industry.</a:t>
            </a:r>
          </a:p>
        </p:txBody>
      </p:sp>
      <p:sp>
        <p:nvSpPr>
          <p:cNvPr id="22" name="文本框 31">
            <a:extLst>
              <a:ext uri="{FF2B5EF4-FFF2-40B4-BE49-F238E27FC236}">
                <a16:creationId xmlns:a16="http://schemas.microsoft.com/office/drawing/2014/main" id="{DAB9D8C9-69D3-7D9E-1DB7-A7D649E944B0}"/>
              </a:ext>
            </a:extLst>
          </p:cNvPr>
          <p:cNvSpPr txBox="1"/>
          <p:nvPr/>
        </p:nvSpPr>
        <p:spPr>
          <a:xfrm>
            <a:off x="9366828" y="7534769"/>
            <a:ext cx="8206797" cy="769441"/>
          </a:xfrm>
          <a:prstGeom prst="rect">
            <a:avLst/>
          </a:prstGeom>
          <a:noFill/>
        </p:spPr>
        <p:txBody>
          <a:bodyPr wrap="square" rtlCol="0">
            <a:spAutoFit/>
          </a:bodyPr>
          <a:lstStyle/>
          <a:p>
            <a:r>
              <a:rPr lang="en-US" altLang="zh-CN" sz="2200" dirty="0">
                <a:latin typeface="Arial" panose="020B0604020202020204" pitchFamily="34" charset="0"/>
                <a:ea typeface="微软雅黑" panose="020B0503020204020204" pitchFamily="34" charset="-122"/>
                <a:cs typeface="Arial" panose="020B0604020202020204" pitchFamily="34" charset="0"/>
              </a:rPr>
              <a:t>Lorem Ipsum is simply dummy text of the printing and typesetting industry.</a:t>
            </a:r>
          </a:p>
        </p:txBody>
      </p:sp>
      <p:sp>
        <p:nvSpPr>
          <p:cNvPr id="5" name="Slide Number Placeholder 4">
            <a:extLst>
              <a:ext uri="{FF2B5EF4-FFF2-40B4-BE49-F238E27FC236}">
                <a16:creationId xmlns:a16="http://schemas.microsoft.com/office/drawing/2014/main" id="{8E28967A-23F0-1A3B-D9A4-623772E34555}"/>
              </a:ext>
            </a:extLst>
          </p:cNvPr>
          <p:cNvSpPr>
            <a:spLocks noGrp="1"/>
          </p:cNvSpPr>
          <p:nvPr>
            <p:ph type="sldNum" sz="quarter" idx="12"/>
          </p:nvPr>
        </p:nvSpPr>
        <p:spPr/>
        <p:txBody>
          <a:bodyPr/>
          <a:lstStyle/>
          <a:p>
            <a:fld id="{E2D680B1-7F17-42D2-83E2-2C9AC13983BB}" type="slidenum">
              <a:rPr lang="en-US" smtClean="0"/>
              <a:t>87</a:t>
            </a:fld>
            <a:endParaRPr lang="en-US" dirty="0"/>
          </a:p>
        </p:txBody>
      </p:sp>
    </p:spTree>
    <p:extLst>
      <p:ext uri="{BB962C8B-B14F-4D97-AF65-F5344CB8AC3E}">
        <p14:creationId xmlns:p14="http://schemas.microsoft.com/office/powerpoint/2010/main" val="202422189"/>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C0076-864F-6B03-7CD2-D5ED2E193535}"/>
              </a:ext>
            </a:extLst>
          </p:cNvPr>
          <p:cNvSpPr>
            <a:spLocks noGrp="1"/>
          </p:cNvSpPr>
          <p:nvPr>
            <p:ph type="title"/>
          </p:nvPr>
        </p:nvSpPr>
        <p:spPr>
          <a:xfrm>
            <a:off x="714375" y="317500"/>
            <a:ext cx="16859250" cy="1266825"/>
          </a:xfrm>
        </p:spPr>
        <p:txBody>
          <a:bodyPr/>
          <a:lstStyle/>
          <a:p>
            <a:r>
              <a:rPr lang="en-US" dirty="0"/>
              <a:t>Three Column Boxed Layout</a:t>
            </a:r>
          </a:p>
        </p:txBody>
      </p:sp>
      <p:grpSp>
        <p:nvGrpSpPr>
          <p:cNvPr id="14" name="Group 13">
            <a:extLst>
              <a:ext uri="{FF2B5EF4-FFF2-40B4-BE49-F238E27FC236}">
                <a16:creationId xmlns:a16="http://schemas.microsoft.com/office/drawing/2014/main" id="{1B1C3ED2-49C3-66D2-E334-46F2FC2980AE}"/>
              </a:ext>
            </a:extLst>
          </p:cNvPr>
          <p:cNvGrpSpPr/>
          <p:nvPr/>
        </p:nvGrpSpPr>
        <p:grpSpPr>
          <a:xfrm>
            <a:off x="714375" y="1889125"/>
            <a:ext cx="5436871" cy="7346950"/>
            <a:chOff x="974725" y="2819400"/>
            <a:chExt cx="5156304" cy="6767513"/>
          </a:xfrm>
        </p:grpSpPr>
        <p:sp>
          <p:nvSpPr>
            <p:cNvPr id="18" name="Rectangle 17">
              <a:extLst>
                <a:ext uri="{FF2B5EF4-FFF2-40B4-BE49-F238E27FC236}">
                  <a16:creationId xmlns:a16="http://schemas.microsoft.com/office/drawing/2014/main" id="{988D4667-B511-31BD-1ED2-FDE83D190BF6}"/>
                </a:ext>
              </a:extLst>
            </p:cNvPr>
            <p:cNvSpPr/>
            <p:nvPr/>
          </p:nvSpPr>
          <p:spPr>
            <a:xfrm>
              <a:off x="974725" y="2819401"/>
              <a:ext cx="2280025" cy="1905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000" dirty="0">
                <a:solidFill>
                  <a:prstClr val="white"/>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5351CAD5-2EF3-BC77-3149-EE4BCF3304F0}"/>
                </a:ext>
              </a:extLst>
            </p:cNvPr>
            <p:cNvSpPr/>
            <p:nvPr/>
          </p:nvSpPr>
          <p:spPr>
            <a:xfrm>
              <a:off x="979644" y="2819400"/>
              <a:ext cx="5151385" cy="676751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tIns="396000" rIns="252000" bIns="252000" rtlCol="0" anchor="t"/>
            <a:lstStyle/>
            <a:p>
              <a:pPr>
                <a:spcBef>
                  <a:spcPts val="300"/>
                </a:spcBef>
                <a:spcAft>
                  <a:spcPts val="300"/>
                </a:spcAft>
              </a:pPr>
              <a:r>
                <a:rPr lang="en-US" altLang="ko-KR" sz="2000" b="1" dirty="0">
                  <a:solidFill>
                    <a:schemeClr val="accent1"/>
                  </a:solidFill>
                  <a:latin typeface="Arial" panose="020B0604020202020204" pitchFamily="34" charset="0"/>
                  <a:cs typeface="Arial" panose="020B0604020202020204" pitchFamily="34" charset="0"/>
                </a:rPr>
                <a:t>Heading</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a:t>
              </a:r>
            </a:p>
          </p:txBody>
        </p:sp>
        <p:sp>
          <p:nvSpPr>
            <p:cNvPr id="13" name="Rectangle 12">
              <a:extLst>
                <a:ext uri="{FF2B5EF4-FFF2-40B4-BE49-F238E27FC236}">
                  <a16:creationId xmlns:a16="http://schemas.microsoft.com/office/drawing/2014/main" id="{C8CC339D-1922-139D-69E8-93BE8C3812EE}"/>
                </a:ext>
              </a:extLst>
            </p:cNvPr>
            <p:cNvSpPr/>
            <p:nvPr/>
          </p:nvSpPr>
          <p:spPr>
            <a:xfrm>
              <a:off x="3851004" y="9396413"/>
              <a:ext cx="2280025" cy="190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000" dirty="0">
                <a:solidFill>
                  <a:prstClr val="white"/>
                </a:solidFill>
                <a:latin typeface="Arial" panose="020B0604020202020204" pitchFamily="34" charset="0"/>
                <a:cs typeface="Arial" panose="020B0604020202020204" pitchFamily="34" charset="0"/>
              </a:endParaRPr>
            </a:p>
          </p:txBody>
        </p:sp>
      </p:grpSp>
      <p:grpSp>
        <p:nvGrpSpPr>
          <p:cNvPr id="9" name="Group 8">
            <a:extLst>
              <a:ext uri="{FF2B5EF4-FFF2-40B4-BE49-F238E27FC236}">
                <a16:creationId xmlns:a16="http://schemas.microsoft.com/office/drawing/2014/main" id="{CF14D667-CE08-C4E1-6A50-2D96DC143E5C}"/>
              </a:ext>
            </a:extLst>
          </p:cNvPr>
          <p:cNvGrpSpPr/>
          <p:nvPr/>
        </p:nvGrpSpPr>
        <p:grpSpPr>
          <a:xfrm>
            <a:off x="6425566" y="1889125"/>
            <a:ext cx="5436871" cy="7346950"/>
            <a:chOff x="974725" y="2819400"/>
            <a:chExt cx="5156304" cy="6767513"/>
          </a:xfrm>
        </p:grpSpPr>
        <p:sp>
          <p:nvSpPr>
            <p:cNvPr id="10" name="Rectangle 9">
              <a:extLst>
                <a:ext uri="{FF2B5EF4-FFF2-40B4-BE49-F238E27FC236}">
                  <a16:creationId xmlns:a16="http://schemas.microsoft.com/office/drawing/2014/main" id="{7BD2242F-2A53-37B2-336B-AAF3C4B962CF}"/>
                </a:ext>
              </a:extLst>
            </p:cNvPr>
            <p:cNvSpPr/>
            <p:nvPr/>
          </p:nvSpPr>
          <p:spPr>
            <a:xfrm>
              <a:off x="974725" y="2819401"/>
              <a:ext cx="2280025" cy="1905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000" dirty="0">
                <a:solidFill>
                  <a:prstClr val="white"/>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F3EA8AA-B04F-FD04-9616-609BFF82A6AA}"/>
                </a:ext>
              </a:extLst>
            </p:cNvPr>
            <p:cNvSpPr/>
            <p:nvPr/>
          </p:nvSpPr>
          <p:spPr>
            <a:xfrm>
              <a:off x="979644" y="2819400"/>
              <a:ext cx="5151385" cy="676751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tIns="396000" rIns="252000" bIns="252000" rtlCol="0" anchor="t"/>
            <a:lstStyle/>
            <a:p>
              <a:pPr>
                <a:spcBef>
                  <a:spcPts val="300"/>
                </a:spcBef>
                <a:spcAft>
                  <a:spcPts val="300"/>
                </a:spcAft>
              </a:pPr>
              <a:r>
                <a:rPr lang="en-US" altLang="ko-KR" sz="2000" b="1" dirty="0">
                  <a:solidFill>
                    <a:schemeClr val="accent1"/>
                  </a:solidFill>
                  <a:latin typeface="Arial" panose="020B0604020202020204" pitchFamily="34" charset="0"/>
                  <a:cs typeface="Arial" panose="020B0604020202020204" pitchFamily="34" charset="0"/>
                </a:rPr>
                <a:t>Heading</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a:t>
              </a:r>
            </a:p>
          </p:txBody>
        </p:sp>
        <p:sp>
          <p:nvSpPr>
            <p:cNvPr id="19" name="Rectangle 18">
              <a:extLst>
                <a:ext uri="{FF2B5EF4-FFF2-40B4-BE49-F238E27FC236}">
                  <a16:creationId xmlns:a16="http://schemas.microsoft.com/office/drawing/2014/main" id="{A16C475F-7225-CA96-EB00-547917C3556C}"/>
                </a:ext>
              </a:extLst>
            </p:cNvPr>
            <p:cNvSpPr/>
            <p:nvPr/>
          </p:nvSpPr>
          <p:spPr>
            <a:xfrm>
              <a:off x="3851004" y="9396413"/>
              <a:ext cx="2280025" cy="190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000" dirty="0">
                <a:solidFill>
                  <a:prstClr val="white"/>
                </a:solidFill>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22B20313-8030-BA2D-A9C6-82714D3165CB}"/>
              </a:ext>
            </a:extLst>
          </p:cNvPr>
          <p:cNvGrpSpPr/>
          <p:nvPr/>
        </p:nvGrpSpPr>
        <p:grpSpPr>
          <a:xfrm>
            <a:off x="12136757" y="1889125"/>
            <a:ext cx="5436871" cy="7346950"/>
            <a:chOff x="974725" y="2819400"/>
            <a:chExt cx="5156304" cy="6767513"/>
          </a:xfrm>
        </p:grpSpPr>
        <p:sp>
          <p:nvSpPr>
            <p:cNvPr id="21" name="Rectangle 20">
              <a:extLst>
                <a:ext uri="{FF2B5EF4-FFF2-40B4-BE49-F238E27FC236}">
                  <a16:creationId xmlns:a16="http://schemas.microsoft.com/office/drawing/2014/main" id="{D95E0C48-35CF-66CC-C92A-FBAFB956C42C}"/>
                </a:ext>
              </a:extLst>
            </p:cNvPr>
            <p:cNvSpPr/>
            <p:nvPr/>
          </p:nvSpPr>
          <p:spPr>
            <a:xfrm>
              <a:off x="974725" y="2819401"/>
              <a:ext cx="2280025" cy="1905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000" dirty="0">
                <a:solidFill>
                  <a:prstClr val="white"/>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5DBA8E37-30A1-1EB1-2E1B-7D7363918B38}"/>
                </a:ext>
              </a:extLst>
            </p:cNvPr>
            <p:cNvSpPr/>
            <p:nvPr/>
          </p:nvSpPr>
          <p:spPr>
            <a:xfrm>
              <a:off x="979644" y="2819400"/>
              <a:ext cx="5151385" cy="676751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52000" tIns="396000" rIns="252000" bIns="252000" rtlCol="0" anchor="t"/>
            <a:lstStyle/>
            <a:p>
              <a:pPr>
                <a:spcBef>
                  <a:spcPts val="300"/>
                </a:spcBef>
                <a:spcAft>
                  <a:spcPts val="300"/>
                </a:spcAft>
              </a:pPr>
              <a:r>
                <a:rPr lang="en-US" altLang="ko-KR" sz="2000" b="1" dirty="0">
                  <a:solidFill>
                    <a:schemeClr val="accent1"/>
                  </a:solidFill>
                  <a:latin typeface="Arial" panose="020B0604020202020204" pitchFamily="34" charset="0"/>
                  <a:cs typeface="Arial" panose="020B0604020202020204" pitchFamily="34" charset="0"/>
                </a:rPr>
                <a:t>Heading</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a:t>
              </a:r>
            </a:p>
            <a:p>
              <a:pPr marL="360000" indent="-360000">
                <a:spcBef>
                  <a:spcPts val="300"/>
                </a:spcBef>
                <a:spcAft>
                  <a:spcPts val="300"/>
                </a:spcAft>
                <a:buClr>
                  <a:schemeClr val="accent1"/>
                </a:buClr>
                <a:buSzPct val="100000"/>
                <a:buFont typeface="Symbol" panose="05050102010706020507" pitchFamily="18" charset="2"/>
                <a:buChar char=""/>
              </a:pPr>
              <a:r>
                <a:rPr lang="en-US" altLang="ko-KR"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a:t>
              </a:r>
            </a:p>
          </p:txBody>
        </p:sp>
        <p:sp>
          <p:nvSpPr>
            <p:cNvPr id="23" name="Rectangle 22">
              <a:extLst>
                <a:ext uri="{FF2B5EF4-FFF2-40B4-BE49-F238E27FC236}">
                  <a16:creationId xmlns:a16="http://schemas.microsoft.com/office/drawing/2014/main" id="{912DB5C7-D851-A1EF-EDB7-BD720C6D6FD3}"/>
                </a:ext>
              </a:extLst>
            </p:cNvPr>
            <p:cNvSpPr/>
            <p:nvPr/>
          </p:nvSpPr>
          <p:spPr>
            <a:xfrm>
              <a:off x="3851004" y="9396413"/>
              <a:ext cx="2280025" cy="190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000" dirty="0">
                <a:solidFill>
                  <a:prstClr val="white"/>
                </a:solidFill>
                <a:latin typeface="Arial" panose="020B0604020202020204" pitchFamily="34" charset="0"/>
                <a:cs typeface="Arial" panose="020B0604020202020204" pitchFamily="34" charset="0"/>
              </a:endParaRPr>
            </a:p>
          </p:txBody>
        </p:sp>
      </p:grpSp>
      <p:sp>
        <p:nvSpPr>
          <p:cNvPr id="5" name="Slide Number Placeholder 4">
            <a:extLst>
              <a:ext uri="{FF2B5EF4-FFF2-40B4-BE49-F238E27FC236}">
                <a16:creationId xmlns:a16="http://schemas.microsoft.com/office/drawing/2014/main" id="{C88797FC-E5CA-F419-2C31-3F9A13D9A467}"/>
              </a:ext>
            </a:extLst>
          </p:cNvPr>
          <p:cNvSpPr>
            <a:spLocks noGrp="1"/>
          </p:cNvSpPr>
          <p:nvPr>
            <p:ph type="sldNum" sz="quarter" idx="12"/>
          </p:nvPr>
        </p:nvSpPr>
        <p:spPr/>
        <p:txBody>
          <a:bodyPr/>
          <a:lstStyle/>
          <a:p>
            <a:fld id="{E2D680B1-7F17-42D2-83E2-2C9AC13983BB}" type="slidenum">
              <a:rPr lang="en-US" smtClean="0"/>
              <a:t>88</a:t>
            </a:fld>
            <a:endParaRPr lang="en-US" dirty="0"/>
          </a:p>
        </p:txBody>
      </p:sp>
    </p:spTree>
    <p:extLst>
      <p:ext uri="{BB962C8B-B14F-4D97-AF65-F5344CB8AC3E}">
        <p14:creationId xmlns:p14="http://schemas.microsoft.com/office/powerpoint/2010/main" val="22077836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itle 178">
            <a:extLst>
              <a:ext uri="{FF2B5EF4-FFF2-40B4-BE49-F238E27FC236}">
                <a16:creationId xmlns:a16="http://schemas.microsoft.com/office/drawing/2014/main" id="{61E67B7F-673A-FBCD-DEB8-0CBCB10D6029}"/>
              </a:ext>
            </a:extLst>
          </p:cNvPr>
          <p:cNvSpPr>
            <a:spLocks noGrp="1"/>
          </p:cNvSpPr>
          <p:nvPr>
            <p:ph type="title"/>
          </p:nvPr>
        </p:nvSpPr>
        <p:spPr>
          <a:xfrm>
            <a:off x="714375" y="317500"/>
            <a:ext cx="16859250" cy="1266827"/>
          </a:xfrm>
        </p:spPr>
        <p:txBody>
          <a:bodyPr/>
          <a:lstStyle/>
          <a:p>
            <a:r>
              <a:rPr lang="en-US" dirty="0"/>
              <a:t>2*3 Grid Content Layout</a:t>
            </a:r>
          </a:p>
        </p:txBody>
      </p:sp>
      <p:sp>
        <p:nvSpPr>
          <p:cNvPr id="112" name="Content Placeholder 111">
            <a:extLst>
              <a:ext uri="{FF2B5EF4-FFF2-40B4-BE49-F238E27FC236}">
                <a16:creationId xmlns:a16="http://schemas.microsoft.com/office/drawing/2014/main" id="{CED63EE0-0C8D-2F0D-7017-65006F576065}"/>
              </a:ext>
            </a:extLst>
          </p:cNvPr>
          <p:cNvSpPr>
            <a:spLocks noGrp="1"/>
          </p:cNvSpPr>
          <p:nvPr>
            <p:ph idx="1"/>
          </p:nvPr>
        </p:nvSpPr>
        <p:spPr>
          <a:xfrm>
            <a:off x="701675" y="2562752"/>
            <a:ext cx="5436871" cy="2852532"/>
          </a:xfrm>
        </p:spPr>
        <p:txBody>
          <a:bodyPr/>
          <a:lstStyle/>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a:t>
            </a:r>
          </a:p>
          <a:p>
            <a:r>
              <a:rPr lang="en-US" altLang="ko-KR" dirty="0"/>
              <a:t>Lorem Ipsum is simply dummy text of the printing and typesetting industry.</a:t>
            </a:r>
            <a:endParaRPr lang="en-US" dirty="0"/>
          </a:p>
        </p:txBody>
      </p:sp>
      <p:sp>
        <p:nvSpPr>
          <p:cNvPr id="113" name="Content Placeholder 112">
            <a:extLst>
              <a:ext uri="{FF2B5EF4-FFF2-40B4-BE49-F238E27FC236}">
                <a16:creationId xmlns:a16="http://schemas.microsoft.com/office/drawing/2014/main" id="{9AD3A7B4-99D1-569E-F4E0-64D7E00A91D5}"/>
              </a:ext>
            </a:extLst>
          </p:cNvPr>
          <p:cNvSpPr>
            <a:spLocks noGrp="1"/>
          </p:cNvSpPr>
          <p:nvPr>
            <p:ph idx="13"/>
          </p:nvPr>
        </p:nvSpPr>
        <p:spPr>
          <a:xfrm>
            <a:off x="714375" y="1889656"/>
            <a:ext cx="5436871" cy="521565"/>
          </a:xfrm>
        </p:spPr>
        <p:txBody>
          <a:bodyPr/>
          <a:lstStyle/>
          <a:p>
            <a:r>
              <a:rPr lang="en-US" dirty="0"/>
              <a:t>Heading</a:t>
            </a:r>
          </a:p>
        </p:txBody>
      </p:sp>
      <p:sp>
        <p:nvSpPr>
          <p:cNvPr id="114" name="Content Placeholder 113">
            <a:extLst>
              <a:ext uri="{FF2B5EF4-FFF2-40B4-BE49-F238E27FC236}">
                <a16:creationId xmlns:a16="http://schemas.microsoft.com/office/drawing/2014/main" id="{7EE54FED-A097-F972-E9B9-735C683EC20E}"/>
              </a:ext>
            </a:extLst>
          </p:cNvPr>
          <p:cNvSpPr>
            <a:spLocks noGrp="1"/>
          </p:cNvSpPr>
          <p:nvPr>
            <p:ph idx="14"/>
          </p:nvPr>
        </p:nvSpPr>
        <p:spPr>
          <a:xfrm>
            <a:off x="6412866" y="2562752"/>
            <a:ext cx="5436871" cy="2852532"/>
          </a:xfrm>
        </p:spPr>
        <p:txBody>
          <a:bodyPr/>
          <a:lstStyle/>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a:t>
            </a:r>
          </a:p>
          <a:p>
            <a:r>
              <a:rPr lang="en-US" altLang="ko-KR" dirty="0"/>
              <a:t>Lorem Ipsum is simply dummy text of the printing and typesetting industry.</a:t>
            </a:r>
            <a:endParaRPr lang="en-US" dirty="0"/>
          </a:p>
        </p:txBody>
      </p:sp>
      <p:sp>
        <p:nvSpPr>
          <p:cNvPr id="115" name="Content Placeholder 114">
            <a:extLst>
              <a:ext uri="{FF2B5EF4-FFF2-40B4-BE49-F238E27FC236}">
                <a16:creationId xmlns:a16="http://schemas.microsoft.com/office/drawing/2014/main" id="{9C59F938-E4AE-781B-5864-99C24D544B53}"/>
              </a:ext>
            </a:extLst>
          </p:cNvPr>
          <p:cNvSpPr>
            <a:spLocks noGrp="1"/>
          </p:cNvSpPr>
          <p:nvPr>
            <p:ph idx="15"/>
          </p:nvPr>
        </p:nvSpPr>
        <p:spPr>
          <a:xfrm>
            <a:off x="6425566" y="1894624"/>
            <a:ext cx="5436871" cy="521565"/>
          </a:xfrm>
        </p:spPr>
        <p:txBody>
          <a:bodyPr/>
          <a:lstStyle/>
          <a:p>
            <a:r>
              <a:rPr lang="en-US" dirty="0"/>
              <a:t>Heading</a:t>
            </a:r>
          </a:p>
        </p:txBody>
      </p:sp>
      <p:sp>
        <p:nvSpPr>
          <p:cNvPr id="116" name="Content Placeholder 115">
            <a:extLst>
              <a:ext uri="{FF2B5EF4-FFF2-40B4-BE49-F238E27FC236}">
                <a16:creationId xmlns:a16="http://schemas.microsoft.com/office/drawing/2014/main" id="{CBE6A38D-7771-3649-2108-3F2FB7892819}"/>
              </a:ext>
            </a:extLst>
          </p:cNvPr>
          <p:cNvSpPr>
            <a:spLocks noGrp="1"/>
          </p:cNvSpPr>
          <p:nvPr>
            <p:ph idx="16"/>
          </p:nvPr>
        </p:nvSpPr>
        <p:spPr>
          <a:xfrm>
            <a:off x="12124057" y="2562752"/>
            <a:ext cx="5436871" cy="2852532"/>
          </a:xfrm>
        </p:spPr>
        <p:txBody>
          <a:bodyPr/>
          <a:lstStyle/>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a:t>
            </a:r>
          </a:p>
          <a:p>
            <a:r>
              <a:rPr lang="en-US" altLang="ko-KR" dirty="0"/>
              <a:t>Lorem Ipsum is simply dummy text of the printing and typesetting industry.</a:t>
            </a:r>
            <a:endParaRPr lang="en-US" dirty="0"/>
          </a:p>
        </p:txBody>
      </p:sp>
      <p:sp>
        <p:nvSpPr>
          <p:cNvPr id="117" name="Content Placeholder 116">
            <a:extLst>
              <a:ext uri="{FF2B5EF4-FFF2-40B4-BE49-F238E27FC236}">
                <a16:creationId xmlns:a16="http://schemas.microsoft.com/office/drawing/2014/main" id="{FB856744-4424-5AF7-60B9-D81C9895CB31}"/>
              </a:ext>
            </a:extLst>
          </p:cNvPr>
          <p:cNvSpPr>
            <a:spLocks noGrp="1"/>
          </p:cNvSpPr>
          <p:nvPr>
            <p:ph idx="17"/>
          </p:nvPr>
        </p:nvSpPr>
        <p:spPr>
          <a:xfrm>
            <a:off x="12136757" y="1894624"/>
            <a:ext cx="5436871" cy="521565"/>
          </a:xfrm>
          <a:solidFill>
            <a:schemeClr val="accent1"/>
          </a:solidFill>
        </p:spPr>
        <p:txBody>
          <a:bodyPr/>
          <a:lstStyle/>
          <a:p>
            <a:r>
              <a:rPr lang="en-US" dirty="0">
                <a:solidFill>
                  <a:schemeClr val="bg1"/>
                </a:solidFill>
              </a:rPr>
              <a:t>Heading</a:t>
            </a:r>
          </a:p>
        </p:txBody>
      </p:sp>
      <p:sp>
        <p:nvSpPr>
          <p:cNvPr id="118" name="Content Placeholder 117">
            <a:extLst>
              <a:ext uri="{FF2B5EF4-FFF2-40B4-BE49-F238E27FC236}">
                <a16:creationId xmlns:a16="http://schemas.microsoft.com/office/drawing/2014/main" id="{3CEE5D37-EC0E-265D-1095-BAEE6BD61682}"/>
              </a:ext>
            </a:extLst>
          </p:cNvPr>
          <p:cNvSpPr>
            <a:spLocks noGrp="1"/>
          </p:cNvSpPr>
          <p:nvPr>
            <p:ph idx="18"/>
          </p:nvPr>
        </p:nvSpPr>
        <p:spPr>
          <a:xfrm>
            <a:off x="701675" y="6362700"/>
            <a:ext cx="5436871" cy="2852532"/>
          </a:xfrm>
        </p:spPr>
        <p:txBody>
          <a:bodyPr/>
          <a:lstStyle/>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a:t>
            </a:r>
          </a:p>
          <a:p>
            <a:r>
              <a:rPr lang="en-US" altLang="ko-KR" dirty="0"/>
              <a:t>Lorem Ipsum is simply dummy text of the printing and typesetting industry.</a:t>
            </a:r>
            <a:endParaRPr lang="en-US" dirty="0"/>
          </a:p>
        </p:txBody>
      </p:sp>
      <p:sp>
        <p:nvSpPr>
          <p:cNvPr id="119" name="Content Placeholder 118">
            <a:extLst>
              <a:ext uri="{FF2B5EF4-FFF2-40B4-BE49-F238E27FC236}">
                <a16:creationId xmlns:a16="http://schemas.microsoft.com/office/drawing/2014/main" id="{6CB34D10-BD79-C889-50B2-CC85F49D8061}"/>
              </a:ext>
            </a:extLst>
          </p:cNvPr>
          <p:cNvSpPr>
            <a:spLocks noGrp="1"/>
          </p:cNvSpPr>
          <p:nvPr>
            <p:ph idx="19"/>
          </p:nvPr>
        </p:nvSpPr>
        <p:spPr>
          <a:xfrm>
            <a:off x="714375" y="5689604"/>
            <a:ext cx="5436871" cy="521565"/>
          </a:xfrm>
        </p:spPr>
        <p:txBody>
          <a:bodyPr/>
          <a:lstStyle/>
          <a:p>
            <a:r>
              <a:rPr lang="en-US" dirty="0"/>
              <a:t>Heading</a:t>
            </a:r>
          </a:p>
        </p:txBody>
      </p:sp>
      <p:sp>
        <p:nvSpPr>
          <p:cNvPr id="120" name="Content Placeholder 119">
            <a:extLst>
              <a:ext uri="{FF2B5EF4-FFF2-40B4-BE49-F238E27FC236}">
                <a16:creationId xmlns:a16="http://schemas.microsoft.com/office/drawing/2014/main" id="{A2A721A7-55D6-2981-E060-22BAA00B7C13}"/>
              </a:ext>
            </a:extLst>
          </p:cNvPr>
          <p:cNvSpPr>
            <a:spLocks noGrp="1"/>
          </p:cNvSpPr>
          <p:nvPr>
            <p:ph idx="20"/>
          </p:nvPr>
        </p:nvSpPr>
        <p:spPr>
          <a:xfrm>
            <a:off x="6412866" y="6362700"/>
            <a:ext cx="5436871" cy="2852532"/>
          </a:xfrm>
        </p:spPr>
        <p:txBody>
          <a:bodyPr/>
          <a:lstStyle/>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a:t>
            </a:r>
          </a:p>
          <a:p>
            <a:r>
              <a:rPr lang="en-US" altLang="ko-KR" dirty="0"/>
              <a:t>Lorem Ipsum is simply dummy text of the printing and typesetting industry.</a:t>
            </a:r>
            <a:endParaRPr lang="en-US" dirty="0"/>
          </a:p>
        </p:txBody>
      </p:sp>
      <p:sp>
        <p:nvSpPr>
          <p:cNvPr id="121" name="Content Placeholder 120">
            <a:extLst>
              <a:ext uri="{FF2B5EF4-FFF2-40B4-BE49-F238E27FC236}">
                <a16:creationId xmlns:a16="http://schemas.microsoft.com/office/drawing/2014/main" id="{9F6CFA7E-CDB5-EC2C-BD07-7B522D3D0C8A}"/>
              </a:ext>
            </a:extLst>
          </p:cNvPr>
          <p:cNvSpPr>
            <a:spLocks noGrp="1"/>
          </p:cNvSpPr>
          <p:nvPr>
            <p:ph idx="21"/>
          </p:nvPr>
        </p:nvSpPr>
        <p:spPr>
          <a:xfrm>
            <a:off x="6425566" y="5689604"/>
            <a:ext cx="5436871" cy="521565"/>
          </a:xfrm>
        </p:spPr>
        <p:txBody>
          <a:bodyPr/>
          <a:lstStyle/>
          <a:p>
            <a:r>
              <a:rPr lang="en-US" dirty="0"/>
              <a:t>Heading</a:t>
            </a:r>
          </a:p>
        </p:txBody>
      </p:sp>
      <p:sp>
        <p:nvSpPr>
          <p:cNvPr id="122" name="Content Placeholder 121">
            <a:extLst>
              <a:ext uri="{FF2B5EF4-FFF2-40B4-BE49-F238E27FC236}">
                <a16:creationId xmlns:a16="http://schemas.microsoft.com/office/drawing/2014/main" id="{942F63D0-0AD4-5E14-5C5C-402CA03841CB}"/>
              </a:ext>
            </a:extLst>
          </p:cNvPr>
          <p:cNvSpPr>
            <a:spLocks noGrp="1"/>
          </p:cNvSpPr>
          <p:nvPr>
            <p:ph idx="22"/>
          </p:nvPr>
        </p:nvSpPr>
        <p:spPr>
          <a:xfrm>
            <a:off x="12124057" y="6362700"/>
            <a:ext cx="5436871" cy="2852532"/>
          </a:xfrm>
        </p:spPr>
        <p:txBody>
          <a:bodyPr/>
          <a:lstStyle/>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a:t>
            </a:r>
          </a:p>
          <a:p>
            <a:r>
              <a:rPr lang="en-US" altLang="ko-KR" dirty="0"/>
              <a:t>Lorem Ipsum is simply dummy text of the printing and typesetting industry.</a:t>
            </a:r>
            <a:endParaRPr lang="en-US" dirty="0"/>
          </a:p>
        </p:txBody>
      </p:sp>
      <p:sp>
        <p:nvSpPr>
          <p:cNvPr id="123" name="Content Placeholder 122">
            <a:extLst>
              <a:ext uri="{FF2B5EF4-FFF2-40B4-BE49-F238E27FC236}">
                <a16:creationId xmlns:a16="http://schemas.microsoft.com/office/drawing/2014/main" id="{F7615A2C-03E2-6A2A-B5DC-F051CC8AD1D4}"/>
              </a:ext>
            </a:extLst>
          </p:cNvPr>
          <p:cNvSpPr>
            <a:spLocks noGrp="1"/>
          </p:cNvSpPr>
          <p:nvPr>
            <p:ph idx="23"/>
          </p:nvPr>
        </p:nvSpPr>
        <p:spPr>
          <a:xfrm>
            <a:off x="12136757" y="5689604"/>
            <a:ext cx="5436871" cy="521565"/>
          </a:xfrm>
          <a:solidFill>
            <a:schemeClr val="accent1"/>
          </a:solidFill>
        </p:spPr>
        <p:txBody>
          <a:bodyPr/>
          <a:lstStyle/>
          <a:p>
            <a:r>
              <a:rPr lang="en-US" dirty="0">
                <a:solidFill>
                  <a:schemeClr val="bg1"/>
                </a:solidFill>
              </a:rPr>
              <a:t>Heading</a:t>
            </a:r>
          </a:p>
        </p:txBody>
      </p:sp>
      <p:sp>
        <p:nvSpPr>
          <p:cNvPr id="4" name="Slide Number Placeholder 3">
            <a:extLst>
              <a:ext uri="{FF2B5EF4-FFF2-40B4-BE49-F238E27FC236}">
                <a16:creationId xmlns:a16="http://schemas.microsoft.com/office/drawing/2014/main" id="{B71C51B2-BDF1-6F79-8D81-939D9201C8EA}"/>
              </a:ext>
            </a:extLst>
          </p:cNvPr>
          <p:cNvSpPr>
            <a:spLocks noGrp="1"/>
          </p:cNvSpPr>
          <p:nvPr>
            <p:ph type="sldNum" sz="quarter" idx="12"/>
          </p:nvPr>
        </p:nvSpPr>
        <p:spPr/>
        <p:txBody>
          <a:bodyPr/>
          <a:lstStyle/>
          <a:p>
            <a:fld id="{E2D680B1-7F17-42D2-83E2-2C9AC13983BB}" type="slidenum">
              <a:rPr lang="en-US" smtClean="0"/>
              <a:pPr/>
              <a:t>89</a:t>
            </a:fld>
            <a:endParaRPr lang="en-US" dirty="0"/>
          </a:p>
        </p:txBody>
      </p:sp>
    </p:spTree>
    <p:extLst>
      <p:ext uri="{BB962C8B-B14F-4D97-AF65-F5344CB8AC3E}">
        <p14:creationId xmlns:p14="http://schemas.microsoft.com/office/powerpoint/2010/main" val="427651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212EC5B-3C2E-93D2-2B79-430FF8769B96}"/>
              </a:ext>
            </a:extLst>
          </p:cNvPr>
          <p:cNvSpPr/>
          <p:nvPr/>
        </p:nvSpPr>
        <p:spPr>
          <a:xfrm>
            <a:off x="714375" y="317500"/>
            <a:ext cx="16859250" cy="12668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horz" lIns="0" tIns="0" rIns="0" bIns="0" rtlCol="0" anchor="ctr">
            <a:normAutofit/>
          </a:bodyPr>
          <a:lstStyle/>
          <a:p>
            <a:pPr>
              <a:spcBef>
                <a:spcPct val="0"/>
              </a:spcBef>
              <a:spcAft>
                <a:spcPts val="600"/>
              </a:spcAft>
            </a:pPr>
            <a:r>
              <a:rPr lang="en-US" sz="4000" b="1" kern="1200">
                <a:solidFill>
                  <a:schemeClr val="accent1"/>
                </a:solidFill>
                <a:latin typeface="Arial" panose="020B0604020202020204" pitchFamily="34" charset="0"/>
                <a:ea typeface="Calibri" panose="020F0502020204030204" pitchFamily="34" charset="0"/>
                <a:cs typeface="Arial" panose="020B0604020202020204" pitchFamily="34" charset="0"/>
              </a:rPr>
              <a:t>Logo Placeholder</a:t>
            </a:r>
          </a:p>
        </p:txBody>
      </p:sp>
      <p:sp>
        <p:nvSpPr>
          <p:cNvPr id="8" name="Title 7">
            <a:extLst>
              <a:ext uri="{FF2B5EF4-FFF2-40B4-BE49-F238E27FC236}">
                <a16:creationId xmlns:a16="http://schemas.microsoft.com/office/drawing/2014/main" id="{3301F794-770F-A047-A982-3D773A62714B}"/>
              </a:ext>
            </a:extLst>
          </p:cNvPr>
          <p:cNvSpPr>
            <a:spLocks noGrp="1"/>
          </p:cNvSpPr>
          <p:nvPr>
            <p:ph type="title"/>
          </p:nvPr>
        </p:nvSpPr>
        <p:spPr/>
        <p:txBody>
          <a:bodyPr/>
          <a:lstStyle/>
          <a:p>
            <a:endParaRPr lang="de-DE"/>
          </a:p>
        </p:txBody>
      </p:sp>
      <p:sp>
        <p:nvSpPr>
          <p:cNvPr id="3" name="Slide Number Placeholder 2">
            <a:extLst>
              <a:ext uri="{FF2B5EF4-FFF2-40B4-BE49-F238E27FC236}">
                <a16:creationId xmlns:a16="http://schemas.microsoft.com/office/drawing/2014/main" id="{5AFEC093-7B01-8607-0474-F4FC3EBED7E0}"/>
              </a:ext>
            </a:extLst>
          </p:cNvPr>
          <p:cNvSpPr>
            <a:spLocks noGrp="1"/>
          </p:cNvSpPr>
          <p:nvPr>
            <p:ph type="sldNum" sz="quarter" idx="12"/>
          </p:nvPr>
        </p:nvSpPr>
        <p:spPr>
          <a:xfrm>
            <a:off x="16773525" y="9501500"/>
            <a:ext cx="800100" cy="468000"/>
          </a:xfrm>
        </p:spPr>
        <p:txBody>
          <a:bodyPr vert="horz" lIns="0" tIns="0" rIns="0" bIns="0" rtlCol="0" anchor="ctr">
            <a:normAutofit/>
          </a:bodyPr>
          <a:lstStyle/>
          <a:p>
            <a:fld id="{E2D680B1-7F17-42D2-83E2-2C9AC13983BB}" type="slidenum">
              <a:rPr lang="en-US" smtClean="0"/>
              <a:pPr/>
              <a:t>9</a:t>
            </a:fld>
            <a:endParaRPr lang="en-US"/>
          </a:p>
        </p:txBody>
      </p:sp>
      <p:pic>
        <p:nvPicPr>
          <p:cNvPr id="12" name="Picture Placeholder 11" descr="A group of people sitting around a table shaking hands&#10;&#10;AI-generated content may be incorrect.">
            <a:extLst>
              <a:ext uri="{FF2B5EF4-FFF2-40B4-BE49-F238E27FC236}">
                <a16:creationId xmlns:a16="http://schemas.microsoft.com/office/drawing/2014/main" id="{2738E51F-9203-8914-3C6F-CFCF47F96742}"/>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226" t="19129" b="22354"/>
          <a:stretch>
            <a:fillRect/>
          </a:stretch>
        </p:blipFill>
        <p:spPr>
          <a:xfrm flipH="1">
            <a:off x="3" y="0"/>
            <a:ext cx="18287994" cy="7372350"/>
          </a:xfrm>
        </p:spPr>
      </p:pic>
    </p:spTree>
    <p:extLst>
      <p:ext uri="{BB962C8B-B14F-4D97-AF65-F5344CB8AC3E}">
        <p14:creationId xmlns:p14="http://schemas.microsoft.com/office/powerpoint/2010/main" val="259963020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B2BEC-F2D5-3B4A-9F3D-E6BC4F812E8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D80F1ED-5F60-94AE-72FC-ACA4FFED5841}"/>
              </a:ext>
            </a:extLst>
          </p:cNvPr>
          <p:cNvSpPr>
            <a:spLocks noGrp="1"/>
          </p:cNvSpPr>
          <p:nvPr>
            <p:ph type="title"/>
          </p:nvPr>
        </p:nvSpPr>
        <p:spPr>
          <a:xfrm>
            <a:off x="714375" y="317500"/>
            <a:ext cx="16859250" cy="1266827"/>
          </a:xfrm>
        </p:spPr>
        <p:txBody>
          <a:bodyPr/>
          <a:lstStyle/>
          <a:p>
            <a:r>
              <a:rPr lang="en-US" dirty="0"/>
              <a:t>Discussion Points Layout</a:t>
            </a:r>
          </a:p>
        </p:txBody>
      </p:sp>
      <p:grpSp>
        <p:nvGrpSpPr>
          <p:cNvPr id="40" name="Group 39">
            <a:extLst>
              <a:ext uri="{FF2B5EF4-FFF2-40B4-BE49-F238E27FC236}">
                <a16:creationId xmlns:a16="http://schemas.microsoft.com/office/drawing/2014/main" id="{17661C63-29C8-79FE-FB86-B9C39DF49A4E}"/>
              </a:ext>
            </a:extLst>
          </p:cNvPr>
          <p:cNvGrpSpPr/>
          <p:nvPr/>
        </p:nvGrpSpPr>
        <p:grpSpPr>
          <a:xfrm>
            <a:off x="977900" y="2457896"/>
            <a:ext cx="16370300" cy="5657404"/>
            <a:chOff x="977900" y="2819400"/>
            <a:chExt cx="16370300" cy="5657404"/>
          </a:xfrm>
        </p:grpSpPr>
        <p:grpSp>
          <p:nvGrpSpPr>
            <p:cNvPr id="11" name="Group 10">
              <a:extLst>
                <a:ext uri="{FF2B5EF4-FFF2-40B4-BE49-F238E27FC236}">
                  <a16:creationId xmlns:a16="http://schemas.microsoft.com/office/drawing/2014/main" id="{93CB4BEC-26A6-FAF4-AD96-C384B73C013F}"/>
                </a:ext>
              </a:extLst>
            </p:cNvPr>
            <p:cNvGrpSpPr/>
            <p:nvPr/>
          </p:nvGrpSpPr>
          <p:grpSpPr>
            <a:xfrm>
              <a:off x="977900" y="2819400"/>
              <a:ext cx="16370300" cy="2647504"/>
              <a:chOff x="977900" y="2819400"/>
              <a:chExt cx="16370300" cy="2647504"/>
            </a:xfrm>
          </p:grpSpPr>
          <p:grpSp>
            <p:nvGrpSpPr>
              <p:cNvPr id="5" name="Group 4">
                <a:extLst>
                  <a:ext uri="{FF2B5EF4-FFF2-40B4-BE49-F238E27FC236}">
                    <a16:creationId xmlns:a16="http://schemas.microsoft.com/office/drawing/2014/main" id="{4AC8FB9D-32AF-74E5-0D34-329C32333BBB}"/>
                  </a:ext>
                </a:extLst>
              </p:cNvPr>
              <p:cNvGrpSpPr/>
              <p:nvPr/>
            </p:nvGrpSpPr>
            <p:grpSpPr>
              <a:xfrm>
                <a:off x="977900" y="2819400"/>
                <a:ext cx="7843428" cy="2647504"/>
                <a:chOff x="822042" y="2746661"/>
                <a:chExt cx="7843428" cy="2647504"/>
              </a:xfrm>
            </p:grpSpPr>
            <p:sp>
              <p:nvSpPr>
                <p:cNvPr id="17" name="Oval 16">
                  <a:extLst>
                    <a:ext uri="{FF2B5EF4-FFF2-40B4-BE49-F238E27FC236}">
                      <a16:creationId xmlns:a16="http://schemas.microsoft.com/office/drawing/2014/main" id="{608068E4-A01D-2907-2761-0DE0CDC369C7}"/>
                    </a:ext>
                  </a:extLst>
                </p:cNvPr>
                <p:cNvSpPr/>
                <p:nvPr/>
              </p:nvSpPr>
              <p:spPr>
                <a:xfrm>
                  <a:off x="822042" y="2746661"/>
                  <a:ext cx="1350170" cy="135017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panose="020B0604020202020204" pitchFamily="34" charset="0"/>
                    </a:rPr>
                    <a:t>01</a:t>
                  </a:r>
                </a:p>
              </p:txBody>
            </p:sp>
            <p:grpSp>
              <p:nvGrpSpPr>
                <p:cNvPr id="3" name="Group 2">
                  <a:extLst>
                    <a:ext uri="{FF2B5EF4-FFF2-40B4-BE49-F238E27FC236}">
                      <a16:creationId xmlns:a16="http://schemas.microsoft.com/office/drawing/2014/main" id="{77063B03-2A66-F256-52C0-4855CCD68DB5}"/>
                    </a:ext>
                  </a:extLst>
                </p:cNvPr>
                <p:cNvGrpSpPr/>
                <p:nvPr/>
              </p:nvGrpSpPr>
              <p:grpSpPr>
                <a:xfrm>
                  <a:off x="2423460" y="3013361"/>
                  <a:ext cx="6242010" cy="2380804"/>
                  <a:chOff x="2423460" y="3013361"/>
                  <a:chExt cx="6242010" cy="2380804"/>
                </a:xfrm>
              </p:grpSpPr>
              <p:sp>
                <p:nvSpPr>
                  <p:cNvPr id="18" name="Google Shape;598;p33">
                    <a:extLst>
                      <a:ext uri="{FF2B5EF4-FFF2-40B4-BE49-F238E27FC236}">
                        <a16:creationId xmlns:a16="http://schemas.microsoft.com/office/drawing/2014/main" id="{1B7DD0B0-627F-F952-41F9-DB9C2A7A365D}"/>
                      </a:ext>
                    </a:extLst>
                  </p:cNvPr>
                  <p:cNvSpPr txBox="1">
                    <a:spLocks/>
                  </p:cNvSpPr>
                  <p:nvPr/>
                </p:nvSpPr>
                <p:spPr>
                  <a:xfrm>
                    <a:off x="2423460" y="3013361"/>
                    <a:ext cx="6242010" cy="3539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defTabSz="1371600">
                      <a:lnSpc>
                        <a:spcPct val="90000"/>
                      </a:lnSpc>
                      <a:spcBef>
                        <a:spcPts val="300"/>
                      </a:spcBef>
                      <a:spcAft>
                        <a:spcPts val="300"/>
                      </a:spcAft>
                      <a:buClr>
                        <a:srgbClr val="151F29"/>
                      </a:buClr>
                      <a:defRPr/>
                    </a:pPr>
                    <a:r>
                      <a:rPr lang="en-IN" b="1" kern="0" dirty="0">
                        <a:solidFill>
                          <a:schemeClr val="accent1"/>
                        </a:solidFill>
                        <a:latin typeface="Arial" panose="020B0604020202020204" pitchFamily="34" charset="0"/>
                        <a:cs typeface="Arial" panose="020B0604020202020204" pitchFamily="34" charset="0"/>
                      </a:rPr>
                      <a:t>Heading</a:t>
                    </a:r>
                  </a:p>
                </p:txBody>
              </p:sp>
              <p:sp>
                <p:nvSpPr>
                  <p:cNvPr id="19" name="TextBox 18">
                    <a:extLst>
                      <a:ext uri="{FF2B5EF4-FFF2-40B4-BE49-F238E27FC236}">
                        <a16:creationId xmlns:a16="http://schemas.microsoft.com/office/drawing/2014/main" id="{C9DA36CE-3DFA-86D2-617B-427C33781B7D}"/>
                      </a:ext>
                    </a:extLst>
                  </p:cNvPr>
                  <p:cNvSpPr txBox="1"/>
                  <p:nvPr/>
                </p:nvSpPr>
                <p:spPr>
                  <a:xfrm>
                    <a:off x="2423460" y="3470561"/>
                    <a:ext cx="6242010" cy="1923604"/>
                  </a:xfrm>
                  <a:prstGeom prst="rect">
                    <a:avLst/>
                  </a:prstGeom>
                  <a:noFill/>
                </p:spPr>
                <p:txBody>
                  <a:bodyPr wrap="square" lIns="0" tIns="0" rIns="0" bIns="0" rtlCol="0">
                    <a:spAutoFit/>
                  </a:bodyPr>
                  <a:lstStyle/>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grpSp>
          </p:grpSp>
          <p:grpSp>
            <p:nvGrpSpPr>
              <p:cNvPr id="6" name="Group 5">
                <a:extLst>
                  <a:ext uri="{FF2B5EF4-FFF2-40B4-BE49-F238E27FC236}">
                    <a16:creationId xmlns:a16="http://schemas.microsoft.com/office/drawing/2014/main" id="{F6576DA0-4A68-3336-5125-EA627D9D3374}"/>
                  </a:ext>
                </a:extLst>
              </p:cNvPr>
              <p:cNvGrpSpPr/>
              <p:nvPr/>
            </p:nvGrpSpPr>
            <p:grpSpPr>
              <a:xfrm>
                <a:off x="9504772" y="2819400"/>
                <a:ext cx="7843428" cy="2647504"/>
                <a:chOff x="822042" y="2746661"/>
                <a:chExt cx="7843428" cy="2647504"/>
              </a:xfrm>
            </p:grpSpPr>
            <p:sp>
              <p:nvSpPr>
                <p:cNvPr id="7" name="Oval 6">
                  <a:extLst>
                    <a:ext uri="{FF2B5EF4-FFF2-40B4-BE49-F238E27FC236}">
                      <a16:creationId xmlns:a16="http://schemas.microsoft.com/office/drawing/2014/main" id="{8D65EB00-97DD-B583-3A9B-2038CFBDBFE9}"/>
                    </a:ext>
                  </a:extLst>
                </p:cNvPr>
                <p:cNvSpPr/>
                <p:nvPr/>
              </p:nvSpPr>
              <p:spPr>
                <a:xfrm>
                  <a:off x="822042" y="2746661"/>
                  <a:ext cx="1350170" cy="135017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panose="020B0604020202020204" pitchFamily="34" charset="0"/>
                    </a:rPr>
                    <a:t>02</a:t>
                  </a:r>
                </a:p>
              </p:txBody>
            </p:sp>
            <p:grpSp>
              <p:nvGrpSpPr>
                <p:cNvPr id="8" name="Group 7">
                  <a:extLst>
                    <a:ext uri="{FF2B5EF4-FFF2-40B4-BE49-F238E27FC236}">
                      <a16:creationId xmlns:a16="http://schemas.microsoft.com/office/drawing/2014/main" id="{4A5D467D-6951-7F87-93E3-7D040B0BEF67}"/>
                    </a:ext>
                  </a:extLst>
                </p:cNvPr>
                <p:cNvGrpSpPr/>
                <p:nvPr/>
              </p:nvGrpSpPr>
              <p:grpSpPr>
                <a:xfrm>
                  <a:off x="2423460" y="3013361"/>
                  <a:ext cx="6242010" cy="2380804"/>
                  <a:chOff x="2423460" y="3013361"/>
                  <a:chExt cx="6242010" cy="2380804"/>
                </a:xfrm>
              </p:grpSpPr>
              <p:sp>
                <p:nvSpPr>
                  <p:cNvPr id="9" name="Google Shape;598;p33">
                    <a:extLst>
                      <a:ext uri="{FF2B5EF4-FFF2-40B4-BE49-F238E27FC236}">
                        <a16:creationId xmlns:a16="http://schemas.microsoft.com/office/drawing/2014/main" id="{0AADB633-9A77-2977-E04B-B2937BCC8881}"/>
                      </a:ext>
                    </a:extLst>
                  </p:cNvPr>
                  <p:cNvSpPr txBox="1">
                    <a:spLocks/>
                  </p:cNvSpPr>
                  <p:nvPr/>
                </p:nvSpPr>
                <p:spPr>
                  <a:xfrm>
                    <a:off x="2423460" y="3013361"/>
                    <a:ext cx="6242010" cy="3539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defTabSz="1371600">
                      <a:lnSpc>
                        <a:spcPct val="90000"/>
                      </a:lnSpc>
                      <a:spcBef>
                        <a:spcPts val="300"/>
                      </a:spcBef>
                      <a:spcAft>
                        <a:spcPts val="300"/>
                      </a:spcAft>
                      <a:buClr>
                        <a:srgbClr val="151F29"/>
                      </a:buClr>
                      <a:defRPr/>
                    </a:pPr>
                    <a:r>
                      <a:rPr lang="en-IN" b="1" kern="0" dirty="0">
                        <a:solidFill>
                          <a:schemeClr val="accent1"/>
                        </a:solidFill>
                        <a:latin typeface="Arial" panose="020B0604020202020204" pitchFamily="34" charset="0"/>
                        <a:cs typeface="Arial" panose="020B0604020202020204" pitchFamily="34" charset="0"/>
                      </a:rPr>
                      <a:t>Heading</a:t>
                    </a:r>
                  </a:p>
                </p:txBody>
              </p:sp>
              <p:sp>
                <p:nvSpPr>
                  <p:cNvPr id="10" name="TextBox 9">
                    <a:extLst>
                      <a:ext uri="{FF2B5EF4-FFF2-40B4-BE49-F238E27FC236}">
                        <a16:creationId xmlns:a16="http://schemas.microsoft.com/office/drawing/2014/main" id="{E18D0749-9D29-DEC1-4162-CBDA954D3810}"/>
                      </a:ext>
                    </a:extLst>
                  </p:cNvPr>
                  <p:cNvSpPr txBox="1"/>
                  <p:nvPr/>
                </p:nvSpPr>
                <p:spPr>
                  <a:xfrm>
                    <a:off x="2423460" y="3470561"/>
                    <a:ext cx="6242010" cy="1923604"/>
                  </a:xfrm>
                  <a:prstGeom prst="rect">
                    <a:avLst/>
                  </a:prstGeom>
                  <a:noFill/>
                </p:spPr>
                <p:txBody>
                  <a:bodyPr wrap="square" lIns="0" tIns="0" rIns="0" bIns="0" rtlCol="0">
                    <a:spAutoFit/>
                  </a:bodyPr>
                  <a:lstStyle/>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grpSp>
          </p:grpSp>
        </p:grpSp>
        <p:grpSp>
          <p:nvGrpSpPr>
            <p:cNvPr id="12" name="Group 11">
              <a:extLst>
                <a:ext uri="{FF2B5EF4-FFF2-40B4-BE49-F238E27FC236}">
                  <a16:creationId xmlns:a16="http://schemas.microsoft.com/office/drawing/2014/main" id="{B44FFF0B-EF72-71BF-91BB-CFD7336E2EDD}"/>
                </a:ext>
              </a:extLst>
            </p:cNvPr>
            <p:cNvGrpSpPr/>
            <p:nvPr/>
          </p:nvGrpSpPr>
          <p:grpSpPr>
            <a:xfrm>
              <a:off x="977900" y="5829300"/>
              <a:ext cx="16370300" cy="2647504"/>
              <a:chOff x="977900" y="2819400"/>
              <a:chExt cx="16370300" cy="2647504"/>
            </a:xfrm>
          </p:grpSpPr>
          <p:grpSp>
            <p:nvGrpSpPr>
              <p:cNvPr id="13" name="Group 12">
                <a:extLst>
                  <a:ext uri="{FF2B5EF4-FFF2-40B4-BE49-F238E27FC236}">
                    <a16:creationId xmlns:a16="http://schemas.microsoft.com/office/drawing/2014/main" id="{B6EF6B26-80CF-E868-96D9-7DDFA6EAC2B1}"/>
                  </a:ext>
                </a:extLst>
              </p:cNvPr>
              <p:cNvGrpSpPr/>
              <p:nvPr/>
            </p:nvGrpSpPr>
            <p:grpSpPr>
              <a:xfrm>
                <a:off x="977900" y="2819400"/>
                <a:ext cx="7843428" cy="2647504"/>
                <a:chOff x="822042" y="2746661"/>
                <a:chExt cx="7843428" cy="2647504"/>
              </a:xfrm>
            </p:grpSpPr>
            <p:sp>
              <p:nvSpPr>
                <p:cNvPr id="22" name="Oval 21">
                  <a:extLst>
                    <a:ext uri="{FF2B5EF4-FFF2-40B4-BE49-F238E27FC236}">
                      <a16:creationId xmlns:a16="http://schemas.microsoft.com/office/drawing/2014/main" id="{FF2A7F13-E80B-E0D9-4CA2-94FD1B05388C}"/>
                    </a:ext>
                  </a:extLst>
                </p:cNvPr>
                <p:cNvSpPr/>
                <p:nvPr/>
              </p:nvSpPr>
              <p:spPr>
                <a:xfrm>
                  <a:off x="822042" y="2746661"/>
                  <a:ext cx="1350170" cy="135017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panose="020B0604020202020204" pitchFamily="34" charset="0"/>
                    </a:rPr>
                    <a:t>03</a:t>
                  </a:r>
                </a:p>
              </p:txBody>
            </p:sp>
            <p:grpSp>
              <p:nvGrpSpPr>
                <p:cNvPr id="36" name="Group 35">
                  <a:extLst>
                    <a:ext uri="{FF2B5EF4-FFF2-40B4-BE49-F238E27FC236}">
                      <a16:creationId xmlns:a16="http://schemas.microsoft.com/office/drawing/2014/main" id="{E38EAD49-4A19-F831-822F-4C46795D2B15}"/>
                    </a:ext>
                  </a:extLst>
                </p:cNvPr>
                <p:cNvGrpSpPr/>
                <p:nvPr/>
              </p:nvGrpSpPr>
              <p:grpSpPr>
                <a:xfrm>
                  <a:off x="2423460" y="3013361"/>
                  <a:ext cx="6242010" cy="2380804"/>
                  <a:chOff x="2423460" y="3013361"/>
                  <a:chExt cx="6242010" cy="2380804"/>
                </a:xfrm>
              </p:grpSpPr>
              <p:sp>
                <p:nvSpPr>
                  <p:cNvPr id="38" name="Google Shape;598;p33">
                    <a:extLst>
                      <a:ext uri="{FF2B5EF4-FFF2-40B4-BE49-F238E27FC236}">
                        <a16:creationId xmlns:a16="http://schemas.microsoft.com/office/drawing/2014/main" id="{CABFB65E-BAE6-8F50-52EA-F75784CCAAD5}"/>
                      </a:ext>
                    </a:extLst>
                  </p:cNvPr>
                  <p:cNvSpPr txBox="1">
                    <a:spLocks/>
                  </p:cNvSpPr>
                  <p:nvPr/>
                </p:nvSpPr>
                <p:spPr>
                  <a:xfrm>
                    <a:off x="2423460" y="3013361"/>
                    <a:ext cx="6242010" cy="3539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defTabSz="1371600">
                      <a:lnSpc>
                        <a:spcPct val="90000"/>
                      </a:lnSpc>
                      <a:spcBef>
                        <a:spcPts val="300"/>
                      </a:spcBef>
                      <a:spcAft>
                        <a:spcPts val="300"/>
                      </a:spcAft>
                      <a:buClr>
                        <a:srgbClr val="151F29"/>
                      </a:buClr>
                      <a:defRPr/>
                    </a:pPr>
                    <a:r>
                      <a:rPr lang="en-IN" b="1" kern="0" dirty="0">
                        <a:solidFill>
                          <a:schemeClr val="accent1"/>
                        </a:solidFill>
                        <a:latin typeface="Arial" panose="020B0604020202020204" pitchFamily="34" charset="0"/>
                        <a:cs typeface="Arial" panose="020B0604020202020204" pitchFamily="34" charset="0"/>
                      </a:rPr>
                      <a:t>Heading</a:t>
                    </a:r>
                  </a:p>
                </p:txBody>
              </p:sp>
              <p:sp>
                <p:nvSpPr>
                  <p:cNvPr id="39" name="TextBox 38">
                    <a:extLst>
                      <a:ext uri="{FF2B5EF4-FFF2-40B4-BE49-F238E27FC236}">
                        <a16:creationId xmlns:a16="http://schemas.microsoft.com/office/drawing/2014/main" id="{9EC3FFFE-B16C-5BD4-10C0-140572D19574}"/>
                      </a:ext>
                    </a:extLst>
                  </p:cNvPr>
                  <p:cNvSpPr txBox="1"/>
                  <p:nvPr/>
                </p:nvSpPr>
                <p:spPr>
                  <a:xfrm>
                    <a:off x="2423460" y="3470561"/>
                    <a:ext cx="6242010" cy="1923604"/>
                  </a:xfrm>
                  <a:prstGeom prst="rect">
                    <a:avLst/>
                  </a:prstGeom>
                  <a:noFill/>
                </p:spPr>
                <p:txBody>
                  <a:bodyPr wrap="square" lIns="0" tIns="0" rIns="0" bIns="0" rtlCol="0">
                    <a:spAutoFit/>
                  </a:bodyPr>
                  <a:lstStyle/>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grpSp>
          </p:grpSp>
          <p:grpSp>
            <p:nvGrpSpPr>
              <p:cNvPr id="14" name="Group 13">
                <a:extLst>
                  <a:ext uri="{FF2B5EF4-FFF2-40B4-BE49-F238E27FC236}">
                    <a16:creationId xmlns:a16="http://schemas.microsoft.com/office/drawing/2014/main" id="{E48E9AFD-EB4D-F892-977D-C721A15F280B}"/>
                  </a:ext>
                </a:extLst>
              </p:cNvPr>
              <p:cNvGrpSpPr/>
              <p:nvPr/>
            </p:nvGrpSpPr>
            <p:grpSpPr>
              <a:xfrm>
                <a:off x="9504772" y="2819400"/>
                <a:ext cx="7843428" cy="2647504"/>
                <a:chOff x="822042" y="2746661"/>
                <a:chExt cx="7843428" cy="2647504"/>
              </a:xfrm>
            </p:grpSpPr>
            <p:sp>
              <p:nvSpPr>
                <p:cNvPr id="15" name="Oval 14">
                  <a:extLst>
                    <a:ext uri="{FF2B5EF4-FFF2-40B4-BE49-F238E27FC236}">
                      <a16:creationId xmlns:a16="http://schemas.microsoft.com/office/drawing/2014/main" id="{BBDBC0A7-0564-86B2-6E9B-D8FC3687D29C}"/>
                    </a:ext>
                  </a:extLst>
                </p:cNvPr>
                <p:cNvSpPr/>
                <p:nvPr/>
              </p:nvSpPr>
              <p:spPr>
                <a:xfrm>
                  <a:off x="822042" y="2746661"/>
                  <a:ext cx="1350170" cy="135017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panose="020B0604020202020204" pitchFamily="34" charset="0"/>
                    </a:rPr>
                    <a:t>04</a:t>
                  </a:r>
                </a:p>
              </p:txBody>
            </p:sp>
            <p:grpSp>
              <p:nvGrpSpPr>
                <p:cNvPr id="16" name="Group 15">
                  <a:extLst>
                    <a:ext uri="{FF2B5EF4-FFF2-40B4-BE49-F238E27FC236}">
                      <a16:creationId xmlns:a16="http://schemas.microsoft.com/office/drawing/2014/main" id="{7BE18D17-07A6-3825-1BCB-1BBCD67197C9}"/>
                    </a:ext>
                  </a:extLst>
                </p:cNvPr>
                <p:cNvGrpSpPr/>
                <p:nvPr/>
              </p:nvGrpSpPr>
              <p:grpSpPr>
                <a:xfrm>
                  <a:off x="2423460" y="3013361"/>
                  <a:ext cx="6242010" cy="2380804"/>
                  <a:chOff x="2423460" y="3013361"/>
                  <a:chExt cx="6242010" cy="2380804"/>
                </a:xfrm>
              </p:grpSpPr>
              <p:sp>
                <p:nvSpPr>
                  <p:cNvPr id="20" name="Google Shape;598;p33">
                    <a:extLst>
                      <a:ext uri="{FF2B5EF4-FFF2-40B4-BE49-F238E27FC236}">
                        <a16:creationId xmlns:a16="http://schemas.microsoft.com/office/drawing/2014/main" id="{5C4B7ED8-2CCF-5176-8688-4F621ADDD9CC}"/>
                      </a:ext>
                    </a:extLst>
                  </p:cNvPr>
                  <p:cNvSpPr txBox="1">
                    <a:spLocks/>
                  </p:cNvSpPr>
                  <p:nvPr/>
                </p:nvSpPr>
                <p:spPr>
                  <a:xfrm>
                    <a:off x="2423460" y="3013361"/>
                    <a:ext cx="6242010" cy="3539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chivo Black"/>
                      <a:buNone/>
                      <a:defRPr sz="2000" b="0" i="0" u="none" strike="noStrike" cap="none">
                        <a:solidFill>
                          <a:schemeClr val="dk1"/>
                        </a:solidFill>
                        <a:latin typeface="Archivo Black"/>
                        <a:ea typeface="Archivo Black"/>
                        <a:cs typeface="Archivo Black"/>
                        <a:sym typeface="Archivo Black"/>
                      </a:defRPr>
                    </a:lvl1pPr>
                    <a:lvl2pPr marR="0" lvl="1"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9pPr>
                  </a:lstStyle>
                  <a:p>
                    <a:pPr defTabSz="1371600">
                      <a:lnSpc>
                        <a:spcPct val="90000"/>
                      </a:lnSpc>
                      <a:spcBef>
                        <a:spcPts val="300"/>
                      </a:spcBef>
                      <a:spcAft>
                        <a:spcPts val="300"/>
                      </a:spcAft>
                      <a:buClr>
                        <a:srgbClr val="151F29"/>
                      </a:buClr>
                      <a:defRPr/>
                    </a:pPr>
                    <a:r>
                      <a:rPr lang="en-IN" b="1" kern="0" dirty="0">
                        <a:solidFill>
                          <a:schemeClr val="accent1"/>
                        </a:solidFill>
                        <a:latin typeface="Arial" panose="020B0604020202020204" pitchFamily="34" charset="0"/>
                        <a:cs typeface="Arial" panose="020B0604020202020204" pitchFamily="34" charset="0"/>
                      </a:rPr>
                      <a:t>Heading</a:t>
                    </a:r>
                  </a:p>
                </p:txBody>
              </p:sp>
              <p:sp>
                <p:nvSpPr>
                  <p:cNvPr id="21" name="TextBox 20">
                    <a:extLst>
                      <a:ext uri="{FF2B5EF4-FFF2-40B4-BE49-F238E27FC236}">
                        <a16:creationId xmlns:a16="http://schemas.microsoft.com/office/drawing/2014/main" id="{CED5664C-C2F9-D1E9-F1F0-7781CD4E2ABD}"/>
                      </a:ext>
                    </a:extLst>
                  </p:cNvPr>
                  <p:cNvSpPr txBox="1"/>
                  <p:nvPr/>
                </p:nvSpPr>
                <p:spPr>
                  <a:xfrm>
                    <a:off x="2423460" y="3470561"/>
                    <a:ext cx="6242010" cy="1923604"/>
                  </a:xfrm>
                  <a:prstGeom prst="rect">
                    <a:avLst/>
                  </a:prstGeom>
                  <a:noFill/>
                </p:spPr>
                <p:txBody>
                  <a:bodyPr wrap="square" lIns="0" tIns="0" rIns="0" bIns="0" rtlCol="0">
                    <a:spAutoFit/>
                  </a:bodyPr>
                  <a:lstStyle/>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28600" indent="-228600">
                      <a:spcBef>
                        <a:spcPts val="300"/>
                      </a:spcBef>
                      <a:spcAft>
                        <a:spcPts val="300"/>
                      </a:spcAft>
                      <a:buClr>
                        <a:schemeClr val="accent1"/>
                      </a:buClr>
                      <a:buSzPct val="100000"/>
                      <a:buFont typeface="Symbol" panose="05050102010706020507" pitchFamily="18" charset="2"/>
                      <a:buChar char=""/>
                    </a:pPr>
                    <a:r>
                      <a:rPr lang="en-US" altLang="ko-KR" sz="20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grpSp>
          </p:grpSp>
        </p:grpSp>
      </p:grpSp>
      <p:sp>
        <p:nvSpPr>
          <p:cNvPr id="24" name="Slide Number Placeholder 23">
            <a:extLst>
              <a:ext uri="{FF2B5EF4-FFF2-40B4-BE49-F238E27FC236}">
                <a16:creationId xmlns:a16="http://schemas.microsoft.com/office/drawing/2014/main" id="{A8C63A8B-E4BA-1772-6767-3B057D99C381}"/>
              </a:ext>
            </a:extLst>
          </p:cNvPr>
          <p:cNvSpPr>
            <a:spLocks noGrp="1"/>
          </p:cNvSpPr>
          <p:nvPr>
            <p:ph type="sldNum" sz="quarter" idx="12"/>
          </p:nvPr>
        </p:nvSpPr>
        <p:spPr/>
        <p:txBody>
          <a:bodyPr/>
          <a:lstStyle/>
          <a:p>
            <a:fld id="{E2D680B1-7F17-42D2-83E2-2C9AC13983BB}" type="slidenum">
              <a:rPr lang="en-US" smtClean="0"/>
              <a:t>90</a:t>
            </a:fld>
            <a:endParaRPr lang="en-US" dirty="0"/>
          </a:p>
        </p:txBody>
      </p:sp>
    </p:spTree>
    <p:extLst>
      <p:ext uri="{BB962C8B-B14F-4D97-AF65-F5344CB8AC3E}">
        <p14:creationId xmlns:p14="http://schemas.microsoft.com/office/powerpoint/2010/main" val="215969650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4375" y="317500"/>
            <a:ext cx="16859250" cy="1266827"/>
          </a:xfrm>
        </p:spPr>
        <p:txBody>
          <a:bodyPr/>
          <a:lstStyle/>
          <a:p>
            <a:r>
              <a:rPr lang="pt-BR" dirty="0">
                <a:solidFill>
                  <a:schemeClr val="accent1"/>
                </a:solidFill>
              </a:rPr>
              <a:t>Question &amp; Answer Slide</a:t>
            </a:r>
            <a:endParaRPr lang="en-US" dirty="0"/>
          </a:p>
        </p:txBody>
      </p:sp>
      <p:grpSp>
        <p:nvGrpSpPr>
          <p:cNvPr id="26" name="Group 25">
            <a:extLst>
              <a:ext uri="{FF2B5EF4-FFF2-40B4-BE49-F238E27FC236}">
                <a16:creationId xmlns:a16="http://schemas.microsoft.com/office/drawing/2014/main" id="{28CE1AEA-C899-72FE-D271-C80CEC93F832}"/>
              </a:ext>
            </a:extLst>
          </p:cNvPr>
          <p:cNvGrpSpPr/>
          <p:nvPr/>
        </p:nvGrpSpPr>
        <p:grpSpPr>
          <a:xfrm>
            <a:off x="714375" y="2113909"/>
            <a:ext cx="16871950" cy="1428853"/>
            <a:chOff x="2993398" y="2217078"/>
            <a:chExt cx="16871950" cy="1428853"/>
          </a:xfrm>
        </p:grpSpPr>
        <p:sp>
          <p:nvSpPr>
            <p:cNvPr id="8" name="TextBox 7"/>
            <p:cNvSpPr txBox="1"/>
            <p:nvPr/>
          </p:nvSpPr>
          <p:spPr>
            <a:xfrm>
              <a:off x="2993398" y="2217078"/>
              <a:ext cx="1046761" cy="1428853"/>
            </a:xfrm>
            <a:prstGeom prst="rect">
              <a:avLst/>
            </a:prstGeom>
            <a:noFill/>
          </p:spPr>
          <p:txBody>
            <a:bodyPr wrap="none" lIns="0" tIns="54864" rIns="0" bIns="0" rtlCol="0">
              <a:spAutoFit/>
            </a:bodyPr>
            <a:lstStyle/>
            <a:p>
              <a:pPr>
                <a:lnSpc>
                  <a:spcPct val="85000"/>
                </a:lnSpc>
                <a:spcAft>
                  <a:spcPts val="900"/>
                </a:spcAft>
                <a:buClr>
                  <a:schemeClr val="accent2"/>
                </a:buClr>
                <a:buSzPct val="70000"/>
              </a:pPr>
              <a:r>
                <a:rPr lang="en-US" sz="10500" b="1" dirty="0">
                  <a:solidFill>
                    <a:schemeClr val="accent2"/>
                  </a:solidFill>
                </a:rPr>
                <a:t>Q</a:t>
              </a:r>
            </a:p>
          </p:txBody>
        </p:sp>
        <p:sp>
          <p:nvSpPr>
            <p:cNvPr id="10" name="Rectangle 9"/>
            <p:cNvSpPr/>
            <p:nvPr/>
          </p:nvSpPr>
          <p:spPr>
            <a:xfrm>
              <a:off x="4407610" y="2285173"/>
              <a:ext cx="15457738" cy="1292662"/>
            </a:xfrm>
            <a:prstGeom prst="rect">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Aft>
                  <a:spcPts val="900"/>
                </a:spcAft>
              </a:pPr>
              <a:r>
                <a:rPr lang="pt-BR" sz="2800" b="1" dirty="0">
                  <a:solidFill>
                    <a:schemeClr val="accent2"/>
                  </a:solidFill>
                </a:rPr>
                <a:t>Lorem ipsum dolor sit amet, diam eloquentiam neglegentur no eos, ne usu omittam copiosae insolens. His an nihil verear verterem, volutpat scriptorem est ea, in quem malis maiestatis vel. </a:t>
              </a:r>
            </a:p>
          </p:txBody>
        </p:sp>
      </p:grpSp>
      <p:grpSp>
        <p:nvGrpSpPr>
          <p:cNvPr id="30" name="Group 29">
            <a:extLst>
              <a:ext uri="{FF2B5EF4-FFF2-40B4-BE49-F238E27FC236}">
                <a16:creationId xmlns:a16="http://schemas.microsoft.com/office/drawing/2014/main" id="{AA79B74E-FE28-CB47-7150-80DD64D1CA77}"/>
              </a:ext>
            </a:extLst>
          </p:cNvPr>
          <p:cNvGrpSpPr/>
          <p:nvPr/>
        </p:nvGrpSpPr>
        <p:grpSpPr>
          <a:xfrm>
            <a:off x="714375" y="3591880"/>
            <a:ext cx="16859250" cy="2828073"/>
            <a:chOff x="714375" y="3591880"/>
            <a:chExt cx="16859250" cy="2828073"/>
          </a:xfrm>
        </p:grpSpPr>
        <p:grpSp>
          <p:nvGrpSpPr>
            <p:cNvPr id="27" name="Group 26">
              <a:extLst>
                <a:ext uri="{FF2B5EF4-FFF2-40B4-BE49-F238E27FC236}">
                  <a16:creationId xmlns:a16="http://schemas.microsoft.com/office/drawing/2014/main" id="{3CFBD5F7-DDAF-2BA2-0296-883C9D62FBA3}"/>
                </a:ext>
              </a:extLst>
            </p:cNvPr>
            <p:cNvGrpSpPr/>
            <p:nvPr/>
          </p:nvGrpSpPr>
          <p:grpSpPr>
            <a:xfrm>
              <a:off x="714375" y="3591880"/>
              <a:ext cx="16859250" cy="2546992"/>
              <a:chOff x="714375" y="3591880"/>
              <a:chExt cx="16859250" cy="2546992"/>
            </a:xfrm>
          </p:grpSpPr>
          <p:grpSp>
            <p:nvGrpSpPr>
              <p:cNvPr id="20" name="Group 19"/>
              <p:cNvGrpSpPr/>
              <p:nvPr/>
            </p:nvGrpSpPr>
            <p:grpSpPr>
              <a:xfrm>
                <a:off x="714375" y="5138750"/>
                <a:ext cx="15756411" cy="1000122"/>
                <a:chOff x="651506" y="3409952"/>
                <a:chExt cx="7143790" cy="666748"/>
              </a:xfrm>
            </p:grpSpPr>
            <p:sp>
              <p:nvSpPr>
                <p:cNvPr id="12" name="Right Bracket 11"/>
                <p:cNvSpPr/>
                <p:nvPr/>
              </p:nvSpPr>
              <p:spPr>
                <a:xfrm rot="5400000">
                  <a:off x="4228165" y="509568"/>
                  <a:ext cx="158116" cy="6976147"/>
                </a:xfrm>
                <a:prstGeom prst="rightBracket">
                  <a:avLst>
                    <a:gd name="adj" fmla="val 0"/>
                  </a:avLst>
                </a:prstGeom>
                <a:ln w="762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700" dirty="0"/>
                </a:p>
              </p:txBody>
            </p:sp>
            <p:sp>
              <p:nvSpPr>
                <p:cNvPr id="15" name="Rectangle 14"/>
                <p:cNvSpPr/>
                <p:nvPr/>
              </p:nvSpPr>
              <p:spPr>
                <a:xfrm>
                  <a:off x="651506" y="3409952"/>
                  <a:ext cx="339094" cy="530226"/>
                </a:xfrm>
                <a:custGeom>
                  <a:avLst/>
                  <a:gdLst/>
                  <a:ahLst/>
                  <a:cxnLst/>
                  <a:rect l="l" t="t" r="r" b="b"/>
                  <a:pathLst>
                    <a:path w="339094" h="530226">
                      <a:moveTo>
                        <a:pt x="56310" y="0"/>
                      </a:moveTo>
                      <a:lnTo>
                        <a:pt x="112040" y="0"/>
                      </a:lnTo>
                      <a:lnTo>
                        <a:pt x="112040" y="201558"/>
                      </a:lnTo>
                      <a:lnTo>
                        <a:pt x="227054" y="201558"/>
                      </a:lnTo>
                      <a:lnTo>
                        <a:pt x="227054" y="0"/>
                      </a:lnTo>
                      <a:lnTo>
                        <a:pt x="282784" y="0"/>
                      </a:lnTo>
                      <a:lnTo>
                        <a:pt x="282784" y="201558"/>
                      </a:lnTo>
                      <a:lnTo>
                        <a:pt x="339094" y="201558"/>
                      </a:lnTo>
                      <a:cubicBezTo>
                        <a:pt x="339094" y="241900"/>
                        <a:pt x="339094" y="282241"/>
                        <a:pt x="339094" y="322583"/>
                      </a:cubicBezTo>
                      <a:cubicBezTo>
                        <a:pt x="339094" y="437261"/>
                        <a:pt x="263185" y="530226"/>
                        <a:pt x="169547" y="530226"/>
                      </a:cubicBezTo>
                      <a:lnTo>
                        <a:pt x="169547" y="530226"/>
                      </a:lnTo>
                      <a:cubicBezTo>
                        <a:pt x="75909" y="530226"/>
                        <a:pt x="0" y="437261"/>
                        <a:pt x="0" y="322583"/>
                      </a:cubicBezTo>
                      <a:lnTo>
                        <a:pt x="0" y="201558"/>
                      </a:lnTo>
                      <a:lnTo>
                        <a:pt x="56310" y="201558"/>
                      </a:lnTo>
                      <a:close/>
                    </a:path>
                  </a:pathLst>
                </a:cu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a:solidFill>
                      <a:schemeClr val="tx1"/>
                    </a:solidFill>
                  </a:endParaRPr>
                </a:p>
              </p:txBody>
            </p:sp>
          </p:grpSp>
          <p:grpSp>
            <p:nvGrpSpPr>
              <p:cNvPr id="2" name="Google Shape;14504;p84">
                <a:extLst>
                  <a:ext uri="{FF2B5EF4-FFF2-40B4-BE49-F238E27FC236}">
                    <a16:creationId xmlns:a16="http://schemas.microsoft.com/office/drawing/2014/main" id="{F5ED3027-7CEE-498C-6E1E-5CAF8DD27446}"/>
                  </a:ext>
                </a:extLst>
              </p:cNvPr>
              <p:cNvGrpSpPr/>
              <p:nvPr/>
            </p:nvGrpSpPr>
            <p:grpSpPr>
              <a:xfrm>
                <a:off x="15401989" y="3591880"/>
                <a:ext cx="2171636" cy="2324963"/>
                <a:chOff x="7055134" y="2919170"/>
                <a:chExt cx="290321" cy="310820"/>
              </a:xfrm>
              <a:solidFill>
                <a:schemeClr val="accent1"/>
              </a:solidFill>
            </p:grpSpPr>
            <p:sp>
              <p:nvSpPr>
                <p:cNvPr id="4" name="Google Shape;14505;p84">
                  <a:extLst>
                    <a:ext uri="{FF2B5EF4-FFF2-40B4-BE49-F238E27FC236}">
                      <a16:creationId xmlns:a16="http://schemas.microsoft.com/office/drawing/2014/main" id="{0E1C501C-FA35-CA7A-7C01-97085DEB3D5C}"/>
                    </a:ext>
                  </a:extLst>
                </p:cNvPr>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5" name="Google Shape;14506;p84">
                  <a:extLst>
                    <a:ext uri="{FF2B5EF4-FFF2-40B4-BE49-F238E27FC236}">
                      <a16:creationId xmlns:a16="http://schemas.microsoft.com/office/drawing/2014/main" id="{7D1CC743-9F97-B4E2-8071-96704F9FA008}"/>
                    </a:ext>
                  </a:extLst>
                </p:cNvPr>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6" name="Google Shape;14507;p84">
                  <a:extLst>
                    <a:ext uri="{FF2B5EF4-FFF2-40B4-BE49-F238E27FC236}">
                      <a16:creationId xmlns:a16="http://schemas.microsoft.com/office/drawing/2014/main" id="{7A35C40F-C3C0-0D65-CB66-1C080FF810B1}"/>
                    </a:ext>
                  </a:extLst>
                </p:cNvPr>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7" name="Google Shape;14508;p84">
                  <a:extLst>
                    <a:ext uri="{FF2B5EF4-FFF2-40B4-BE49-F238E27FC236}">
                      <a16:creationId xmlns:a16="http://schemas.microsoft.com/office/drawing/2014/main" id="{F6CB78FD-24D6-0D81-0750-E1C43932450E}"/>
                    </a:ext>
                  </a:extLst>
                </p:cNvPr>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6" name="Google Shape;14511;p84">
                  <a:extLst>
                    <a:ext uri="{FF2B5EF4-FFF2-40B4-BE49-F238E27FC236}">
                      <a16:creationId xmlns:a16="http://schemas.microsoft.com/office/drawing/2014/main" id="{D38150AF-2991-13E1-D5C2-2250A106DEFA}"/>
                    </a:ext>
                  </a:extLst>
                </p:cNvPr>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7" name="Google Shape;14512;p84">
                  <a:extLst>
                    <a:ext uri="{FF2B5EF4-FFF2-40B4-BE49-F238E27FC236}">
                      <a16:creationId xmlns:a16="http://schemas.microsoft.com/office/drawing/2014/main" id="{E8FD2B7F-9A2C-EE86-C3B2-BEBCB2B9BEBA}"/>
                    </a:ext>
                  </a:extLst>
                </p:cNvPr>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8" name="Google Shape;14513;p84">
                  <a:extLst>
                    <a:ext uri="{FF2B5EF4-FFF2-40B4-BE49-F238E27FC236}">
                      <a16:creationId xmlns:a16="http://schemas.microsoft.com/office/drawing/2014/main" id="{E5141C68-F586-53EE-1556-A1CF5D69372F}"/>
                    </a:ext>
                  </a:extLst>
                </p:cNvPr>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19" name="Google Shape;14514;p84">
                  <a:extLst>
                    <a:ext uri="{FF2B5EF4-FFF2-40B4-BE49-F238E27FC236}">
                      <a16:creationId xmlns:a16="http://schemas.microsoft.com/office/drawing/2014/main" id="{66F8F35C-6DB3-A75B-8C7B-620AF43AB376}"/>
                    </a:ext>
                  </a:extLst>
                </p:cNvPr>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2" name="Google Shape;14515;p84">
                  <a:extLst>
                    <a:ext uri="{FF2B5EF4-FFF2-40B4-BE49-F238E27FC236}">
                      <a16:creationId xmlns:a16="http://schemas.microsoft.com/office/drawing/2014/main" id="{33D9729F-AECD-8DB2-5DA2-50C80CDCC5B5}"/>
                    </a:ext>
                  </a:extLst>
                </p:cNvPr>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3" name="Google Shape;14516;p84">
                  <a:extLst>
                    <a:ext uri="{FF2B5EF4-FFF2-40B4-BE49-F238E27FC236}">
                      <a16:creationId xmlns:a16="http://schemas.microsoft.com/office/drawing/2014/main" id="{2E37E9AB-962F-49D6-029B-79A583F0D352}"/>
                    </a:ext>
                  </a:extLst>
                </p:cNvPr>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4" name="Google Shape;14517;p84">
                  <a:extLst>
                    <a:ext uri="{FF2B5EF4-FFF2-40B4-BE49-F238E27FC236}">
                      <a16:creationId xmlns:a16="http://schemas.microsoft.com/office/drawing/2014/main" id="{42227A9E-B08C-69B7-5826-335B087EBB50}"/>
                    </a:ext>
                  </a:extLst>
                </p:cNvPr>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sp>
              <p:nvSpPr>
                <p:cNvPr id="25" name="Google Shape;14518;p84">
                  <a:extLst>
                    <a:ext uri="{FF2B5EF4-FFF2-40B4-BE49-F238E27FC236}">
                      <a16:creationId xmlns:a16="http://schemas.microsoft.com/office/drawing/2014/main" id="{D2614063-C8E5-A2E0-728C-2976E0AD1DC4}"/>
                    </a:ext>
                  </a:extLst>
                </p:cNvPr>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grpFill/>
                <a:ln w="38100">
                  <a:solidFill>
                    <a:schemeClr val="tx1"/>
                  </a:solidFill>
                </a:ln>
              </p:spPr>
              <p:txBody>
                <a:bodyPr spcFirstLastPara="1" wrap="square" lIns="137138" tIns="137138" rIns="137138" bIns="137138" anchor="ctr" anchorCtr="0">
                  <a:noAutofit/>
                </a:bodyPr>
                <a:lstStyle/>
                <a:p>
                  <a:endParaRPr sz="2700" dirty="0">
                    <a:latin typeface="Arial" panose="020B0604020202020204" pitchFamily="34" charset="0"/>
                    <a:cs typeface="Arial" panose="020B0604020202020204" pitchFamily="34" charset="0"/>
                  </a:endParaRPr>
                </a:p>
              </p:txBody>
            </p:sp>
          </p:grpSp>
        </p:grpSp>
        <p:sp>
          <p:nvSpPr>
            <p:cNvPr id="21" name="TextBox 20"/>
            <p:cNvSpPr txBox="1"/>
            <p:nvPr/>
          </p:nvSpPr>
          <p:spPr>
            <a:xfrm>
              <a:off x="6709740" y="4991100"/>
              <a:ext cx="4863511" cy="1428853"/>
            </a:xfrm>
            <a:prstGeom prst="rect">
              <a:avLst/>
            </a:prstGeom>
            <a:noFill/>
          </p:spPr>
          <p:txBody>
            <a:bodyPr wrap="none" lIns="0" tIns="54864" rIns="0" bIns="0" rtlCol="0">
              <a:spAutoFit/>
            </a:bodyPr>
            <a:lstStyle/>
            <a:p>
              <a:pPr>
                <a:lnSpc>
                  <a:spcPct val="85000"/>
                </a:lnSpc>
                <a:spcAft>
                  <a:spcPts val="900"/>
                </a:spcAft>
                <a:buClr>
                  <a:schemeClr val="accent2"/>
                </a:buClr>
                <a:buSzPct val="70000"/>
              </a:pPr>
              <a:r>
                <a:rPr lang="en-US" sz="10500" b="1" dirty="0">
                  <a:solidFill>
                    <a:schemeClr val="accent2"/>
                  </a:solidFill>
                </a:rPr>
                <a:t>Answer</a:t>
              </a:r>
            </a:p>
          </p:txBody>
        </p:sp>
      </p:grpSp>
      <p:sp>
        <p:nvSpPr>
          <p:cNvPr id="29" name="Rectangle 28">
            <a:extLst>
              <a:ext uri="{FF2B5EF4-FFF2-40B4-BE49-F238E27FC236}">
                <a16:creationId xmlns:a16="http://schemas.microsoft.com/office/drawing/2014/main" id="{A5590A19-E6E7-18C2-907A-7D22AC7B24ED}"/>
              </a:ext>
            </a:extLst>
          </p:cNvPr>
          <p:cNvSpPr/>
          <p:nvPr/>
        </p:nvSpPr>
        <p:spPr>
          <a:xfrm>
            <a:off x="714375" y="6574486"/>
            <a:ext cx="16859250" cy="237779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tIns="108000" bIns="108000" rtlCol="0" anchor="t"/>
          <a:lstStyle/>
          <a:p>
            <a:pPr>
              <a:spcBef>
                <a:spcPts val="600"/>
              </a:spcBef>
              <a:spcAft>
                <a:spcPts val="300"/>
              </a:spcAft>
              <a:buClr>
                <a:schemeClr val="accent1"/>
              </a:buClr>
              <a:buSzPct val="100000"/>
            </a:pPr>
            <a:r>
              <a:rPr lang="en-US" sz="2000" b="1" dirty="0">
                <a:solidFill>
                  <a:schemeClr val="accent1"/>
                </a:solidFill>
                <a:latin typeface="Arial" panose="020B0604020202020204" pitchFamily="34" charset="0"/>
                <a:ea typeface="Calibri" panose="020F0502020204030204" pitchFamily="34" charset="0"/>
                <a:cs typeface="Arial" panose="020B0604020202020204" pitchFamily="34" charset="0"/>
              </a:rPr>
              <a:t>Subtitle</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Nunc viverra imperdiet enim. Fusce est. Vivamus a tellus.</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Pellentesque habitant morbi tristique senectus et netus et malesuada fames ac turpis egestas. Proin pharetra nonummy pede. Mauris et orci.</a:t>
            </a:r>
          </a:p>
          <a:p>
            <a:pPr marL="360000" indent="-360000">
              <a:spcBef>
                <a:spcPts val="300"/>
              </a:spcBef>
              <a:spcAft>
                <a:spcPts val="300"/>
              </a:spcAft>
              <a:buClr>
                <a:schemeClr val="accent1"/>
              </a:buClr>
              <a:buSzPct val="100000"/>
              <a:buFont typeface="Symbol" panose="05050102010706020507" pitchFamily="18" charset="2"/>
              <a:buChar char=""/>
            </a:pPr>
            <a:r>
              <a:rPr lang="en-US" sz="2000" dirty="0">
                <a:solidFill>
                  <a:schemeClr val="tx1"/>
                </a:solidFill>
                <a:latin typeface="Arial" panose="020B0604020202020204" pitchFamily="34" charset="0"/>
                <a:ea typeface="Calibri" panose="020F0502020204030204" pitchFamily="34" charset="0"/>
                <a:cs typeface="Arial" panose="020B0604020202020204" pitchFamily="34" charset="0"/>
              </a:rPr>
              <a:t>Aenean nec lorem. In porttitor. Donec laoreet nonummy augue.</a:t>
            </a:r>
          </a:p>
        </p:txBody>
      </p:sp>
      <p:sp>
        <p:nvSpPr>
          <p:cNvPr id="11" name="Slide Number Placeholder 10">
            <a:extLst>
              <a:ext uri="{FF2B5EF4-FFF2-40B4-BE49-F238E27FC236}">
                <a16:creationId xmlns:a16="http://schemas.microsoft.com/office/drawing/2014/main" id="{D4F708A5-A2D8-4AD7-B0EC-D0ED4AB4BCDA}"/>
              </a:ext>
            </a:extLst>
          </p:cNvPr>
          <p:cNvSpPr>
            <a:spLocks noGrp="1"/>
          </p:cNvSpPr>
          <p:nvPr>
            <p:ph type="sldNum" sz="quarter" idx="12"/>
          </p:nvPr>
        </p:nvSpPr>
        <p:spPr/>
        <p:txBody>
          <a:bodyPr/>
          <a:lstStyle/>
          <a:p>
            <a:fld id="{E2D680B1-7F17-42D2-83E2-2C9AC13983BB}" type="slidenum">
              <a:rPr lang="en-US" smtClean="0"/>
              <a:t>91</a:t>
            </a:fld>
            <a:endParaRPr lang="en-US" dirty="0"/>
          </a:p>
        </p:txBody>
      </p:sp>
    </p:spTree>
    <p:extLst>
      <p:ext uri="{BB962C8B-B14F-4D97-AF65-F5344CB8AC3E}">
        <p14:creationId xmlns:p14="http://schemas.microsoft.com/office/powerpoint/2010/main" val="135339207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7A9E300D-C925-EC51-7A4B-F807A857EF61}"/>
              </a:ext>
            </a:extLst>
          </p:cNvPr>
          <p:cNvSpPr>
            <a:spLocks noGrp="1"/>
          </p:cNvSpPr>
          <p:nvPr>
            <p:ph type="title"/>
          </p:nvPr>
        </p:nvSpPr>
        <p:spPr>
          <a:xfrm>
            <a:off x="714375" y="317500"/>
            <a:ext cx="16859250" cy="1266827"/>
          </a:xfrm>
        </p:spPr>
        <p:txBody>
          <a:bodyPr/>
          <a:lstStyle/>
          <a:p>
            <a:r>
              <a:rPr lang="en-US" dirty="0"/>
              <a:t>One Column Chart with Descriptions</a:t>
            </a:r>
          </a:p>
        </p:txBody>
      </p:sp>
      <p:graphicFrame>
        <p:nvGraphicFramePr>
          <p:cNvPr id="7" name="Content Placeholder 6">
            <a:extLst>
              <a:ext uri="{FF2B5EF4-FFF2-40B4-BE49-F238E27FC236}">
                <a16:creationId xmlns:a16="http://schemas.microsoft.com/office/drawing/2014/main" id="{F58CCD9C-BE95-FDF2-D429-2EC0669F454D}"/>
              </a:ext>
            </a:extLst>
          </p:cNvPr>
          <p:cNvGraphicFramePr>
            <a:graphicFrameLocks noGrp="1"/>
          </p:cNvGraphicFramePr>
          <p:nvPr>
            <p:ph type="chart" sz="quarter" idx="13"/>
            <p:extLst>
              <p:ext uri="{D42A27DB-BD31-4B8C-83A1-F6EECF244321}">
                <p14:modId xmlns:p14="http://schemas.microsoft.com/office/powerpoint/2010/main" val="474677768"/>
              </p:ext>
            </p:extLst>
          </p:nvPr>
        </p:nvGraphicFramePr>
        <p:xfrm>
          <a:off x="714375" y="2560499"/>
          <a:ext cx="16859250" cy="3525838"/>
        </p:xfrm>
        <a:graphic>
          <a:graphicData uri="http://schemas.openxmlformats.org/drawingml/2006/chart">
            <c:chart xmlns:c="http://schemas.openxmlformats.org/drawingml/2006/chart" xmlns:r="http://schemas.openxmlformats.org/officeDocument/2006/relationships" r:id="rId2"/>
          </a:graphicData>
        </a:graphic>
      </p:graphicFrame>
      <p:sp>
        <p:nvSpPr>
          <p:cNvPr id="36" name="Content Placeholder 35">
            <a:extLst>
              <a:ext uri="{FF2B5EF4-FFF2-40B4-BE49-F238E27FC236}">
                <a16:creationId xmlns:a16="http://schemas.microsoft.com/office/drawing/2014/main" id="{4C43C744-E90C-7D86-1E34-63A0CB72F7DF}"/>
              </a:ext>
            </a:extLst>
          </p:cNvPr>
          <p:cNvSpPr>
            <a:spLocks noGrp="1"/>
          </p:cNvSpPr>
          <p:nvPr>
            <p:ph idx="14"/>
          </p:nvPr>
        </p:nvSpPr>
        <p:spPr>
          <a:xfrm>
            <a:off x="714375" y="6487248"/>
            <a:ext cx="16859250" cy="2052031"/>
          </a:xfrm>
        </p:spPr>
        <p:txBody>
          <a:bodyPr/>
          <a:lstStyle/>
          <a:p>
            <a:pPr marL="0" indent="0">
              <a:buNone/>
            </a:pPr>
            <a:r>
              <a:rPr lang="en-US" altLang="ko-KR" b="1" dirty="0">
                <a:solidFill>
                  <a:schemeClr val="accent1"/>
                </a:solidFill>
              </a:rPr>
              <a:t>Heading</a:t>
            </a:r>
          </a:p>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 Lorem Ipsum has been the industry's standard dummy text</a:t>
            </a:r>
          </a:p>
          <a:p>
            <a:r>
              <a:rPr lang="en-US" altLang="ko-KR" dirty="0"/>
              <a:t>Lorem Ipsum is simply dummy text of the printing and typesetting industry. Lorem Ipsum has been the industry's standard dummy text</a:t>
            </a:r>
          </a:p>
          <a:p>
            <a:endParaRPr lang="en-US" altLang="ko-KR" dirty="0"/>
          </a:p>
        </p:txBody>
      </p:sp>
      <p:sp>
        <p:nvSpPr>
          <p:cNvPr id="4" name="Slide Number Placeholder 3">
            <a:extLst>
              <a:ext uri="{FF2B5EF4-FFF2-40B4-BE49-F238E27FC236}">
                <a16:creationId xmlns:a16="http://schemas.microsoft.com/office/drawing/2014/main" id="{E7BB1D7B-2BA5-BA25-DAE4-AE34403CB529}"/>
              </a:ext>
            </a:extLst>
          </p:cNvPr>
          <p:cNvSpPr>
            <a:spLocks noGrp="1"/>
          </p:cNvSpPr>
          <p:nvPr>
            <p:ph type="sldNum" sz="quarter" idx="12"/>
          </p:nvPr>
        </p:nvSpPr>
        <p:spPr/>
        <p:txBody>
          <a:bodyPr/>
          <a:lstStyle/>
          <a:p>
            <a:fld id="{E2D680B1-7F17-42D2-83E2-2C9AC13983BB}" type="slidenum">
              <a:rPr lang="en-US" smtClean="0"/>
              <a:t>92</a:t>
            </a:fld>
            <a:endParaRPr lang="en-US" dirty="0"/>
          </a:p>
        </p:txBody>
      </p:sp>
      <p:sp>
        <p:nvSpPr>
          <p:cNvPr id="3" name="Content Placeholder 6">
            <a:extLst>
              <a:ext uri="{FF2B5EF4-FFF2-40B4-BE49-F238E27FC236}">
                <a16:creationId xmlns:a16="http://schemas.microsoft.com/office/drawing/2014/main" id="{C6E5887D-6DCC-3715-AB35-E56C14E77933}"/>
              </a:ext>
            </a:extLst>
          </p:cNvPr>
          <p:cNvSpPr txBox="1">
            <a:spLocks/>
          </p:cNvSpPr>
          <p:nvPr/>
        </p:nvSpPr>
        <p:spPr>
          <a:xfrm>
            <a:off x="714375" y="1889656"/>
            <a:ext cx="7972426" cy="307777"/>
          </a:xfrm>
          <a:prstGeom prst="rect">
            <a:avLst/>
          </a:prstGeom>
        </p:spPr>
        <p:txBody>
          <a:bodyPr vert="horz" wrap="square" lIns="0" tIns="0" rIns="0" bIns="0" rtlCol="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21521223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836C8-505C-6DA7-DBD5-B57EF0F08225}"/>
            </a:ext>
          </a:extLst>
        </p:cNvPr>
        <p:cNvGrpSpPr/>
        <p:nvPr/>
      </p:nvGrpSpPr>
      <p:grpSpPr>
        <a:xfrm>
          <a:off x="0" y="0"/>
          <a:ext cx="0" cy="0"/>
          <a:chOff x="0" y="0"/>
          <a:chExt cx="0" cy="0"/>
        </a:xfrm>
      </p:grpSpPr>
      <p:sp>
        <p:nvSpPr>
          <p:cNvPr id="22" name="Title 21">
            <a:extLst>
              <a:ext uri="{FF2B5EF4-FFF2-40B4-BE49-F238E27FC236}">
                <a16:creationId xmlns:a16="http://schemas.microsoft.com/office/drawing/2014/main" id="{C4986B37-5214-821B-46DA-E6CC544DCFE3}"/>
              </a:ext>
            </a:extLst>
          </p:cNvPr>
          <p:cNvSpPr>
            <a:spLocks noGrp="1"/>
          </p:cNvSpPr>
          <p:nvPr>
            <p:ph type="title"/>
          </p:nvPr>
        </p:nvSpPr>
        <p:spPr>
          <a:xfrm>
            <a:off x="714375" y="317500"/>
            <a:ext cx="16859250" cy="1266827"/>
          </a:xfrm>
        </p:spPr>
        <p:txBody>
          <a:bodyPr/>
          <a:lstStyle/>
          <a:p>
            <a:r>
              <a:rPr lang="en-US" dirty="0"/>
              <a:t>Two Column Charts with Descriptions</a:t>
            </a:r>
          </a:p>
        </p:txBody>
      </p:sp>
      <p:graphicFrame>
        <p:nvGraphicFramePr>
          <p:cNvPr id="7" name="Content Placeholder 6">
            <a:extLst>
              <a:ext uri="{FF2B5EF4-FFF2-40B4-BE49-F238E27FC236}">
                <a16:creationId xmlns:a16="http://schemas.microsoft.com/office/drawing/2014/main" id="{B06DBC49-34BE-8CF4-FBF1-3ED41A578915}"/>
              </a:ext>
            </a:extLst>
          </p:cNvPr>
          <p:cNvGraphicFramePr>
            <a:graphicFrameLocks noGrp="1"/>
          </p:cNvGraphicFramePr>
          <p:nvPr>
            <p:ph type="chart" sz="quarter" idx="13"/>
            <p:extLst>
              <p:ext uri="{D42A27DB-BD31-4B8C-83A1-F6EECF244321}">
                <p14:modId xmlns:p14="http://schemas.microsoft.com/office/powerpoint/2010/main" val="2083356978"/>
              </p:ext>
            </p:extLst>
          </p:nvPr>
        </p:nvGraphicFramePr>
        <p:xfrm>
          <a:off x="714375" y="2806591"/>
          <a:ext cx="8293100" cy="2938463"/>
        </p:xfrm>
        <a:graphic>
          <a:graphicData uri="http://schemas.openxmlformats.org/drawingml/2006/chart">
            <c:chart xmlns:c="http://schemas.openxmlformats.org/drawingml/2006/chart" xmlns:r="http://schemas.openxmlformats.org/officeDocument/2006/relationships" r:id="rId2"/>
          </a:graphicData>
        </a:graphic>
      </p:graphicFrame>
      <p:sp>
        <p:nvSpPr>
          <p:cNvPr id="36" name="Content Placeholder 35">
            <a:extLst>
              <a:ext uri="{FF2B5EF4-FFF2-40B4-BE49-F238E27FC236}">
                <a16:creationId xmlns:a16="http://schemas.microsoft.com/office/drawing/2014/main" id="{DA001319-2C58-6BF4-5624-42CCF5031FB4}"/>
              </a:ext>
            </a:extLst>
          </p:cNvPr>
          <p:cNvSpPr>
            <a:spLocks noGrp="1"/>
          </p:cNvSpPr>
          <p:nvPr>
            <p:ph idx="14"/>
          </p:nvPr>
        </p:nvSpPr>
        <p:spPr>
          <a:xfrm>
            <a:off x="714375" y="6019696"/>
            <a:ext cx="8292465" cy="2385268"/>
          </a:xfrm>
        </p:spPr>
        <p:txBody>
          <a:bodyPr>
            <a:spAutoFit/>
          </a:bodyPr>
          <a:lstStyle/>
          <a:p>
            <a:pPr marL="0" indent="0">
              <a:buNone/>
            </a:pPr>
            <a:r>
              <a:rPr lang="en-US" altLang="ko-KR" b="1" dirty="0">
                <a:solidFill>
                  <a:schemeClr val="accent1"/>
                </a:solidFill>
              </a:rPr>
              <a:t>Heading</a:t>
            </a:r>
          </a:p>
          <a:p>
            <a:pPr marL="360000" indent="-360000"/>
            <a:r>
              <a:rPr lang="en-US" altLang="ko-KR" dirty="0"/>
              <a:t>Lorem Ipsum is simply dummy text of the printing and typesetting industry. Lorem Ipsum has been the industry's standard dummy text</a:t>
            </a:r>
          </a:p>
          <a:p>
            <a:pPr marL="360000" indent="-360000"/>
            <a:r>
              <a:rPr lang="en-US" altLang="ko-KR" dirty="0"/>
              <a:t>Lorem Ipsum is simply dummy text of the printing and typesetting industry. Lorem Ipsum has been the industry's standard dummy text</a:t>
            </a:r>
          </a:p>
          <a:p>
            <a:pPr marL="360000" indent="-360000"/>
            <a:r>
              <a:rPr lang="en-US" altLang="ko-KR" dirty="0"/>
              <a:t>Lorem Ipsum is simply dummy text of the printing and typesetting industry. Lorem Ipsum has been the industry's standard dummy text</a:t>
            </a:r>
          </a:p>
        </p:txBody>
      </p:sp>
      <p:sp>
        <p:nvSpPr>
          <p:cNvPr id="3" name="Content Placeholder 2">
            <a:extLst>
              <a:ext uri="{FF2B5EF4-FFF2-40B4-BE49-F238E27FC236}">
                <a16:creationId xmlns:a16="http://schemas.microsoft.com/office/drawing/2014/main" id="{84B04A34-9AC7-0936-E42F-CE9972E0FC5F}"/>
              </a:ext>
            </a:extLst>
          </p:cNvPr>
          <p:cNvSpPr>
            <a:spLocks noGrp="1"/>
          </p:cNvSpPr>
          <p:nvPr>
            <p:ph idx="16"/>
          </p:nvPr>
        </p:nvSpPr>
        <p:spPr>
          <a:xfrm>
            <a:off x="9281160" y="6019696"/>
            <a:ext cx="8292465" cy="2385268"/>
          </a:xfrm>
        </p:spPr>
        <p:txBody>
          <a:bodyPr>
            <a:spAutoFit/>
          </a:bodyPr>
          <a:lstStyle/>
          <a:p>
            <a:pPr marL="0" indent="0">
              <a:buNone/>
            </a:pPr>
            <a:r>
              <a:rPr lang="en-US" altLang="ko-KR" b="1" dirty="0">
                <a:solidFill>
                  <a:schemeClr val="accent1"/>
                </a:solidFill>
              </a:rPr>
              <a:t>Heading</a:t>
            </a:r>
          </a:p>
          <a:p>
            <a:pPr marL="360000" indent="-360000"/>
            <a:r>
              <a:rPr lang="en-US" altLang="ko-KR" dirty="0"/>
              <a:t>Lorem Ipsum is simply dummy text of the printing and typesetting industry. Lorem Ipsum has been the industry's standard dummy text</a:t>
            </a:r>
          </a:p>
          <a:p>
            <a:pPr marL="360000" indent="-360000"/>
            <a:r>
              <a:rPr lang="en-US" altLang="ko-KR" dirty="0"/>
              <a:t>Lorem Ipsum is simply dummy text of the printing and typesetting industry. Lorem Ipsum has been the industry's standard dummy text</a:t>
            </a:r>
          </a:p>
          <a:p>
            <a:pPr marL="360000" indent="-360000"/>
            <a:r>
              <a:rPr lang="en-US" altLang="ko-KR" dirty="0"/>
              <a:t>Lorem Ipsum is simply dummy text of the printing and typesetting industry. Lorem Ipsum has been the industry's standard dummy text</a:t>
            </a:r>
          </a:p>
        </p:txBody>
      </p:sp>
      <p:graphicFrame>
        <p:nvGraphicFramePr>
          <p:cNvPr id="9" name="Content Placeholder 6">
            <a:extLst>
              <a:ext uri="{FF2B5EF4-FFF2-40B4-BE49-F238E27FC236}">
                <a16:creationId xmlns:a16="http://schemas.microsoft.com/office/drawing/2014/main" id="{4BC805E0-F74D-F895-8A6A-3B8A7BD6C5DB}"/>
              </a:ext>
            </a:extLst>
          </p:cNvPr>
          <p:cNvGraphicFramePr>
            <a:graphicFrameLocks noGrp="1"/>
          </p:cNvGraphicFramePr>
          <p:nvPr>
            <p:ph type="chart" sz="quarter" idx="15"/>
            <p:extLst>
              <p:ext uri="{D42A27DB-BD31-4B8C-83A1-F6EECF244321}">
                <p14:modId xmlns:p14="http://schemas.microsoft.com/office/powerpoint/2010/main" val="2465761163"/>
              </p:ext>
            </p:extLst>
          </p:nvPr>
        </p:nvGraphicFramePr>
        <p:xfrm>
          <a:off x="9280525" y="2806591"/>
          <a:ext cx="8293100" cy="2938463"/>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F12EB5AD-9B2B-93BD-EE9A-50052B6511A7}"/>
              </a:ext>
            </a:extLst>
          </p:cNvPr>
          <p:cNvSpPr>
            <a:spLocks noGrp="1"/>
          </p:cNvSpPr>
          <p:nvPr>
            <p:ph type="sldNum" sz="quarter" idx="12"/>
          </p:nvPr>
        </p:nvSpPr>
        <p:spPr/>
        <p:txBody>
          <a:bodyPr/>
          <a:lstStyle/>
          <a:p>
            <a:fld id="{E2D680B1-7F17-42D2-83E2-2C9AC13983BB}" type="slidenum">
              <a:rPr lang="en-US" smtClean="0"/>
              <a:t>93</a:t>
            </a:fld>
            <a:endParaRPr lang="en-US" dirty="0"/>
          </a:p>
        </p:txBody>
      </p:sp>
      <p:sp>
        <p:nvSpPr>
          <p:cNvPr id="2" name="Content Placeholder 6">
            <a:extLst>
              <a:ext uri="{FF2B5EF4-FFF2-40B4-BE49-F238E27FC236}">
                <a16:creationId xmlns:a16="http://schemas.microsoft.com/office/drawing/2014/main" id="{C4782E4D-4DD9-C752-309E-2D9591CC8E66}"/>
              </a:ext>
            </a:extLst>
          </p:cNvPr>
          <p:cNvSpPr txBox="1">
            <a:spLocks/>
          </p:cNvSpPr>
          <p:nvPr/>
        </p:nvSpPr>
        <p:spPr>
          <a:xfrm>
            <a:off x="714375" y="2190841"/>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5" name="Content Placeholder 6">
            <a:extLst>
              <a:ext uri="{FF2B5EF4-FFF2-40B4-BE49-F238E27FC236}">
                <a16:creationId xmlns:a16="http://schemas.microsoft.com/office/drawing/2014/main" id="{960F907A-94BF-4CDB-4870-2F0B6AE55254}"/>
              </a:ext>
            </a:extLst>
          </p:cNvPr>
          <p:cNvSpPr txBox="1">
            <a:spLocks/>
          </p:cNvSpPr>
          <p:nvPr/>
        </p:nvSpPr>
        <p:spPr>
          <a:xfrm>
            <a:off x="9281160" y="2190841"/>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16628961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E31D5-428C-AF10-8E0A-73DA3D6A10BC}"/>
            </a:ext>
          </a:extLst>
        </p:cNvPr>
        <p:cNvGrpSpPr/>
        <p:nvPr/>
      </p:nvGrpSpPr>
      <p:grpSpPr>
        <a:xfrm>
          <a:off x="0" y="0"/>
          <a:ext cx="0" cy="0"/>
          <a:chOff x="0" y="0"/>
          <a:chExt cx="0" cy="0"/>
        </a:xfrm>
      </p:grpSpPr>
      <p:sp>
        <p:nvSpPr>
          <p:cNvPr id="36" name="Title 35">
            <a:extLst>
              <a:ext uri="{FF2B5EF4-FFF2-40B4-BE49-F238E27FC236}">
                <a16:creationId xmlns:a16="http://schemas.microsoft.com/office/drawing/2014/main" id="{1751D126-54DD-3800-8795-50AF4637EB74}"/>
              </a:ext>
            </a:extLst>
          </p:cNvPr>
          <p:cNvSpPr>
            <a:spLocks noGrp="1"/>
          </p:cNvSpPr>
          <p:nvPr>
            <p:ph type="title"/>
          </p:nvPr>
        </p:nvSpPr>
        <p:spPr/>
        <p:txBody>
          <a:bodyPr/>
          <a:lstStyle/>
          <a:p>
            <a:r>
              <a:rPr lang="en-US" dirty="0"/>
              <a:t>Three Line Charts with Descriptions</a:t>
            </a:r>
          </a:p>
        </p:txBody>
      </p:sp>
      <p:graphicFrame>
        <p:nvGraphicFramePr>
          <p:cNvPr id="9" name="图表 1">
            <a:extLst>
              <a:ext uri="{FF2B5EF4-FFF2-40B4-BE49-F238E27FC236}">
                <a16:creationId xmlns:a16="http://schemas.microsoft.com/office/drawing/2014/main" id="{2DAE474B-860B-D823-87E8-F8458336331F}"/>
              </a:ext>
            </a:extLst>
          </p:cNvPr>
          <p:cNvGraphicFramePr>
            <a:graphicFrameLocks noGrp="1"/>
          </p:cNvGraphicFramePr>
          <p:nvPr>
            <p:ph type="chart" sz="quarter" idx="13"/>
            <p:extLst>
              <p:ext uri="{D42A27DB-BD31-4B8C-83A1-F6EECF244321}">
                <p14:modId xmlns:p14="http://schemas.microsoft.com/office/powerpoint/2010/main" val="3120773792"/>
              </p:ext>
            </p:extLst>
          </p:nvPr>
        </p:nvGraphicFramePr>
        <p:xfrm>
          <a:off x="6426200" y="2857500"/>
          <a:ext cx="5435600" cy="30146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图表 1">
            <a:extLst>
              <a:ext uri="{FF2B5EF4-FFF2-40B4-BE49-F238E27FC236}">
                <a16:creationId xmlns:a16="http://schemas.microsoft.com/office/drawing/2014/main" id="{57F76CBC-2254-12C7-F490-D98296DEB0D8}"/>
              </a:ext>
            </a:extLst>
          </p:cNvPr>
          <p:cNvGraphicFramePr>
            <a:graphicFrameLocks noGrp="1"/>
          </p:cNvGraphicFramePr>
          <p:nvPr>
            <p:ph type="chart" sz="quarter" idx="15"/>
            <p:extLst>
              <p:ext uri="{D42A27DB-BD31-4B8C-83A1-F6EECF244321}">
                <p14:modId xmlns:p14="http://schemas.microsoft.com/office/powerpoint/2010/main" val="2916752866"/>
              </p:ext>
            </p:extLst>
          </p:nvPr>
        </p:nvGraphicFramePr>
        <p:xfrm>
          <a:off x="714375" y="2857500"/>
          <a:ext cx="5437188" cy="30146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图表 1">
            <a:extLst>
              <a:ext uri="{FF2B5EF4-FFF2-40B4-BE49-F238E27FC236}">
                <a16:creationId xmlns:a16="http://schemas.microsoft.com/office/drawing/2014/main" id="{DD682C09-7F9B-8348-C678-033198242B57}"/>
              </a:ext>
            </a:extLst>
          </p:cNvPr>
          <p:cNvGraphicFramePr>
            <a:graphicFrameLocks noGrp="1"/>
          </p:cNvGraphicFramePr>
          <p:nvPr>
            <p:ph type="chart" sz="quarter" idx="18"/>
            <p:extLst>
              <p:ext uri="{D42A27DB-BD31-4B8C-83A1-F6EECF244321}">
                <p14:modId xmlns:p14="http://schemas.microsoft.com/office/powerpoint/2010/main" val="3751547868"/>
              </p:ext>
            </p:extLst>
          </p:nvPr>
        </p:nvGraphicFramePr>
        <p:xfrm>
          <a:off x="12136438" y="2857500"/>
          <a:ext cx="5437187" cy="3014663"/>
        </p:xfrm>
        <a:graphic>
          <a:graphicData uri="http://schemas.openxmlformats.org/drawingml/2006/chart">
            <c:chart xmlns:c="http://schemas.openxmlformats.org/drawingml/2006/chart" xmlns:r="http://schemas.openxmlformats.org/officeDocument/2006/relationships" r:id="rId4"/>
          </a:graphicData>
        </a:graphic>
      </p:graphicFrame>
      <p:sp>
        <p:nvSpPr>
          <p:cNvPr id="32" name="Content Placeholder 31">
            <a:extLst>
              <a:ext uri="{FF2B5EF4-FFF2-40B4-BE49-F238E27FC236}">
                <a16:creationId xmlns:a16="http://schemas.microsoft.com/office/drawing/2014/main" id="{E351439F-5E11-9C28-CFE5-01CBE80E599B}"/>
              </a:ext>
            </a:extLst>
          </p:cNvPr>
          <p:cNvSpPr>
            <a:spLocks noGrp="1"/>
          </p:cNvSpPr>
          <p:nvPr>
            <p:ph idx="14"/>
          </p:nvPr>
        </p:nvSpPr>
        <p:spPr>
          <a:xfrm>
            <a:off x="714375" y="6451605"/>
            <a:ext cx="5436871" cy="2092881"/>
          </a:xfrm>
        </p:spPr>
        <p:txBody>
          <a:bodyPr>
            <a:spAutoFit/>
          </a:bodyPr>
          <a:lstStyle/>
          <a:p>
            <a:r>
              <a:rPr lang="en-US" altLang="ko-KR" sz="1800" dirty="0"/>
              <a:t>Lorem Ipsum is simply dummy text of the printing and typesetting industry. Lorem Ipsum has been the industry's standard dummy text</a:t>
            </a:r>
          </a:p>
          <a:p>
            <a:r>
              <a:rPr lang="en-US" altLang="ko-KR" sz="1800" dirty="0"/>
              <a:t>Lorem Ipsum is simply dummy text of the printing and typesetting industry. </a:t>
            </a:r>
          </a:p>
          <a:p>
            <a:r>
              <a:rPr lang="en-US" altLang="ko-KR" sz="1800" dirty="0"/>
              <a:t>Lorem Ipsum is simply dummy text of the printing and typesetting industry. </a:t>
            </a:r>
            <a:endParaRPr lang="en-US" sz="1800" dirty="0"/>
          </a:p>
        </p:txBody>
      </p:sp>
      <p:sp>
        <p:nvSpPr>
          <p:cNvPr id="50" name="Content Placeholder 49">
            <a:extLst>
              <a:ext uri="{FF2B5EF4-FFF2-40B4-BE49-F238E27FC236}">
                <a16:creationId xmlns:a16="http://schemas.microsoft.com/office/drawing/2014/main" id="{9E024974-9748-CD21-4730-ABEEB982A16C}"/>
              </a:ext>
            </a:extLst>
          </p:cNvPr>
          <p:cNvSpPr>
            <a:spLocks noGrp="1"/>
          </p:cNvSpPr>
          <p:nvPr>
            <p:ph idx="19"/>
          </p:nvPr>
        </p:nvSpPr>
        <p:spPr>
          <a:xfrm>
            <a:off x="6425564" y="6451605"/>
            <a:ext cx="5436871" cy="2092881"/>
          </a:xfrm>
        </p:spPr>
        <p:txBody>
          <a:bodyPr>
            <a:spAutoFit/>
          </a:bodyPr>
          <a:lstStyle/>
          <a:p>
            <a:r>
              <a:rPr lang="en-US" altLang="ko-KR" sz="1800" dirty="0"/>
              <a:t>Lorem Ipsum is simply dummy text of the printing and typesetting industry. Lorem Ipsum has been the industry's standard dummy text</a:t>
            </a:r>
          </a:p>
          <a:p>
            <a:r>
              <a:rPr lang="en-US" altLang="ko-KR" sz="1800" dirty="0"/>
              <a:t>Lorem Ipsum is simply dummy text of the printing and typesetting industry. </a:t>
            </a:r>
          </a:p>
          <a:p>
            <a:r>
              <a:rPr lang="en-US" altLang="ko-KR" sz="1800" dirty="0"/>
              <a:t>Lorem Ipsum is simply dummy text of the printing and typesetting industry. </a:t>
            </a:r>
            <a:endParaRPr lang="en-US" sz="1800" dirty="0"/>
          </a:p>
        </p:txBody>
      </p:sp>
      <p:sp>
        <p:nvSpPr>
          <p:cNvPr id="13" name="Content Placeholder 12">
            <a:extLst>
              <a:ext uri="{FF2B5EF4-FFF2-40B4-BE49-F238E27FC236}">
                <a16:creationId xmlns:a16="http://schemas.microsoft.com/office/drawing/2014/main" id="{95AB97F3-8978-D5BD-30C4-E3F71534ABD2}"/>
              </a:ext>
            </a:extLst>
          </p:cNvPr>
          <p:cNvSpPr>
            <a:spLocks noGrp="1"/>
          </p:cNvSpPr>
          <p:nvPr>
            <p:ph idx="20"/>
          </p:nvPr>
        </p:nvSpPr>
        <p:spPr>
          <a:xfrm>
            <a:off x="12136754" y="6451605"/>
            <a:ext cx="5436871" cy="2092881"/>
          </a:xfrm>
        </p:spPr>
        <p:txBody>
          <a:bodyPr>
            <a:spAutoFit/>
          </a:bodyPr>
          <a:lstStyle/>
          <a:p>
            <a:r>
              <a:rPr lang="en-US" altLang="ko-KR" sz="1800" dirty="0"/>
              <a:t>Lorem Ipsum is simply dummy text of the printing and typesetting industry. Lorem Ipsum has been the industry's standard dummy text</a:t>
            </a:r>
          </a:p>
          <a:p>
            <a:r>
              <a:rPr lang="en-US" altLang="ko-KR" sz="1800" dirty="0"/>
              <a:t>Lorem Ipsum is simply dummy text of the printing and typesetting industry. </a:t>
            </a:r>
          </a:p>
          <a:p>
            <a:r>
              <a:rPr lang="en-US" altLang="ko-KR" sz="1800" dirty="0"/>
              <a:t>Lorem Ipsum is simply dummy text of the printing and typesetting industry. </a:t>
            </a:r>
            <a:endParaRPr lang="en-US" sz="1800" dirty="0"/>
          </a:p>
        </p:txBody>
      </p:sp>
      <p:sp>
        <p:nvSpPr>
          <p:cNvPr id="3" name="Slide Number Placeholder 2">
            <a:extLst>
              <a:ext uri="{FF2B5EF4-FFF2-40B4-BE49-F238E27FC236}">
                <a16:creationId xmlns:a16="http://schemas.microsoft.com/office/drawing/2014/main" id="{80509985-43E3-C8AA-4E83-84697589CB2A}"/>
              </a:ext>
            </a:extLst>
          </p:cNvPr>
          <p:cNvSpPr>
            <a:spLocks noGrp="1"/>
          </p:cNvSpPr>
          <p:nvPr>
            <p:ph type="sldNum" sz="quarter" idx="12"/>
          </p:nvPr>
        </p:nvSpPr>
        <p:spPr/>
        <p:txBody>
          <a:bodyPr/>
          <a:lstStyle/>
          <a:p>
            <a:fld id="{E2D680B1-7F17-42D2-83E2-2C9AC13983BB}" type="slidenum">
              <a:rPr lang="en-US" smtClean="0"/>
              <a:t>94</a:t>
            </a:fld>
            <a:endParaRPr lang="en-US" dirty="0"/>
          </a:p>
        </p:txBody>
      </p:sp>
      <p:sp>
        <p:nvSpPr>
          <p:cNvPr id="2" name="Content Placeholder 6">
            <a:extLst>
              <a:ext uri="{FF2B5EF4-FFF2-40B4-BE49-F238E27FC236}">
                <a16:creationId xmlns:a16="http://schemas.microsoft.com/office/drawing/2014/main" id="{08DA3401-DC69-1FE0-FA6D-5D27A5FA545F}"/>
              </a:ext>
            </a:extLst>
          </p:cNvPr>
          <p:cNvSpPr txBox="1">
            <a:spLocks/>
          </p:cNvSpPr>
          <p:nvPr/>
        </p:nvSpPr>
        <p:spPr>
          <a:xfrm>
            <a:off x="714375" y="2190841"/>
            <a:ext cx="5436000"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4" name="Content Placeholder 6">
            <a:extLst>
              <a:ext uri="{FF2B5EF4-FFF2-40B4-BE49-F238E27FC236}">
                <a16:creationId xmlns:a16="http://schemas.microsoft.com/office/drawing/2014/main" id="{841263E1-3390-BFF5-636F-12BE78094AA9}"/>
              </a:ext>
            </a:extLst>
          </p:cNvPr>
          <p:cNvSpPr txBox="1">
            <a:spLocks/>
          </p:cNvSpPr>
          <p:nvPr/>
        </p:nvSpPr>
        <p:spPr>
          <a:xfrm>
            <a:off x="6425564" y="2190841"/>
            <a:ext cx="5436000"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5" name="Content Placeholder 6">
            <a:extLst>
              <a:ext uri="{FF2B5EF4-FFF2-40B4-BE49-F238E27FC236}">
                <a16:creationId xmlns:a16="http://schemas.microsoft.com/office/drawing/2014/main" id="{DEAE79F2-ABC3-6837-AEBD-79D213225684}"/>
              </a:ext>
            </a:extLst>
          </p:cNvPr>
          <p:cNvSpPr txBox="1">
            <a:spLocks/>
          </p:cNvSpPr>
          <p:nvPr/>
        </p:nvSpPr>
        <p:spPr>
          <a:xfrm>
            <a:off x="12136754" y="2190841"/>
            <a:ext cx="5436000"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5565448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90DC9-9FB6-D7D7-CD79-692828DD3DA7}"/>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8A7B6DD6-5593-96B8-ABC4-40C186009449}"/>
              </a:ext>
            </a:extLst>
          </p:cNvPr>
          <p:cNvSpPr>
            <a:spLocks noGrp="1"/>
          </p:cNvSpPr>
          <p:nvPr>
            <p:ph type="title"/>
          </p:nvPr>
        </p:nvSpPr>
        <p:spPr>
          <a:xfrm>
            <a:off x="714375" y="317500"/>
            <a:ext cx="16859250" cy="1266827"/>
          </a:xfrm>
        </p:spPr>
        <p:txBody>
          <a:bodyPr/>
          <a:lstStyle/>
          <a:p>
            <a:r>
              <a:rPr lang="en-US" dirty="0"/>
              <a:t>2*2 Grid Charts Layout </a:t>
            </a:r>
          </a:p>
        </p:txBody>
      </p:sp>
      <p:graphicFrame>
        <p:nvGraphicFramePr>
          <p:cNvPr id="36" name="Content Placeholder 6">
            <a:extLst>
              <a:ext uri="{FF2B5EF4-FFF2-40B4-BE49-F238E27FC236}">
                <a16:creationId xmlns:a16="http://schemas.microsoft.com/office/drawing/2014/main" id="{A040B5CB-E2CA-D923-7D17-9E7B4C63C309}"/>
              </a:ext>
            </a:extLst>
          </p:cNvPr>
          <p:cNvGraphicFramePr>
            <a:graphicFrameLocks noGrp="1"/>
          </p:cNvGraphicFramePr>
          <p:nvPr>
            <p:ph type="chart" sz="quarter" idx="15"/>
            <p:extLst>
              <p:ext uri="{D42A27DB-BD31-4B8C-83A1-F6EECF244321}">
                <p14:modId xmlns:p14="http://schemas.microsoft.com/office/powerpoint/2010/main" val="2080838288"/>
              </p:ext>
            </p:extLst>
          </p:nvPr>
        </p:nvGraphicFramePr>
        <p:xfrm>
          <a:off x="714375" y="6467302"/>
          <a:ext cx="8293100" cy="27481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Content Placeholder 6">
            <a:extLst>
              <a:ext uri="{FF2B5EF4-FFF2-40B4-BE49-F238E27FC236}">
                <a16:creationId xmlns:a16="http://schemas.microsoft.com/office/drawing/2014/main" id="{7F123DF9-273F-F2A2-07E0-04BBD47BFDC9}"/>
              </a:ext>
            </a:extLst>
          </p:cNvPr>
          <p:cNvGraphicFramePr>
            <a:graphicFrameLocks noGrp="1"/>
          </p:cNvGraphicFramePr>
          <p:nvPr>
            <p:ph type="chart" sz="quarter" idx="18"/>
            <p:extLst>
              <p:ext uri="{D42A27DB-BD31-4B8C-83A1-F6EECF244321}">
                <p14:modId xmlns:p14="http://schemas.microsoft.com/office/powerpoint/2010/main" val="152286135"/>
              </p:ext>
            </p:extLst>
          </p:nvPr>
        </p:nvGraphicFramePr>
        <p:xfrm>
          <a:off x="9280525" y="6467302"/>
          <a:ext cx="8293100" cy="27481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图表 1">
            <a:extLst>
              <a:ext uri="{FF2B5EF4-FFF2-40B4-BE49-F238E27FC236}">
                <a16:creationId xmlns:a16="http://schemas.microsoft.com/office/drawing/2014/main" id="{4C7E44B4-C59A-7403-3683-9C1483421C48}"/>
              </a:ext>
            </a:extLst>
          </p:cNvPr>
          <p:cNvGraphicFramePr>
            <a:graphicFrameLocks noGrp="1"/>
          </p:cNvGraphicFramePr>
          <p:nvPr>
            <p:ph type="chart" sz="quarter" idx="13"/>
            <p:extLst>
              <p:ext uri="{D42A27DB-BD31-4B8C-83A1-F6EECF244321}">
                <p14:modId xmlns:p14="http://schemas.microsoft.com/office/powerpoint/2010/main" val="3012171955"/>
              </p:ext>
            </p:extLst>
          </p:nvPr>
        </p:nvGraphicFramePr>
        <p:xfrm>
          <a:off x="714375" y="2806395"/>
          <a:ext cx="8293100" cy="25590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图表 1">
            <a:extLst>
              <a:ext uri="{FF2B5EF4-FFF2-40B4-BE49-F238E27FC236}">
                <a16:creationId xmlns:a16="http://schemas.microsoft.com/office/drawing/2014/main" id="{7387F23C-3D08-C785-8E82-422978FB9427}"/>
              </a:ext>
            </a:extLst>
          </p:cNvPr>
          <p:cNvGraphicFramePr>
            <a:graphicFrameLocks noGrp="1"/>
          </p:cNvGraphicFramePr>
          <p:nvPr>
            <p:ph type="chart" sz="quarter" idx="17"/>
            <p:extLst>
              <p:ext uri="{D42A27DB-BD31-4B8C-83A1-F6EECF244321}">
                <p14:modId xmlns:p14="http://schemas.microsoft.com/office/powerpoint/2010/main" val="2686139329"/>
              </p:ext>
            </p:extLst>
          </p:nvPr>
        </p:nvGraphicFramePr>
        <p:xfrm>
          <a:off x="9280525" y="2806395"/>
          <a:ext cx="8293100" cy="2559055"/>
        </p:xfrm>
        <a:graphic>
          <a:graphicData uri="http://schemas.openxmlformats.org/drawingml/2006/chart">
            <c:chart xmlns:c="http://schemas.openxmlformats.org/drawingml/2006/chart" xmlns:r="http://schemas.openxmlformats.org/officeDocument/2006/relationships" r:id="rId5"/>
          </a:graphicData>
        </a:graphic>
      </p:graphicFrame>
      <p:sp>
        <p:nvSpPr>
          <p:cNvPr id="4" name="Slide Number Placeholder 3">
            <a:extLst>
              <a:ext uri="{FF2B5EF4-FFF2-40B4-BE49-F238E27FC236}">
                <a16:creationId xmlns:a16="http://schemas.microsoft.com/office/drawing/2014/main" id="{B0858278-D841-D544-E532-B38EACE783C8}"/>
              </a:ext>
            </a:extLst>
          </p:cNvPr>
          <p:cNvSpPr>
            <a:spLocks noGrp="1"/>
          </p:cNvSpPr>
          <p:nvPr>
            <p:ph type="sldNum" sz="quarter" idx="12"/>
          </p:nvPr>
        </p:nvSpPr>
        <p:spPr/>
        <p:txBody>
          <a:bodyPr/>
          <a:lstStyle/>
          <a:p>
            <a:fld id="{E2D680B1-7F17-42D2-83E2-2C9AC13983BB}" type="slidenum">
              <a:rPr lang="en-US" smtClean="0"/>
              <a:t>95</a:t>
            </a:fld>
            <a:endParaRPr lang="en-US" dirty="0"/>
          </a:p>
        </p:txBody>
      </p:sp>
      <p:sp>
        <p:nvSpPr>
          <p:cNvPr id="7" name="Content Placeholder 6">
            <a:extLst>
              <a:ext uri="{FF2B5EF4-FFF2-40B4-BE49-F238E27FC236}">
                <a16:creationId xmlns:a16="http://schemas.microsoft.com/office/drawing/2014/main" id="{80A3EAFD-2147-69AD-7011-316DE56677BB}"/>
              </a:ext>
            </a:extLst>
          </p:cNvPr>
          <p:cNvSpPr txBox="1">
            <a:spLocks/>
          </p:cNvSpPr>
          <p:nvPr/>
        </p:nvSpPr>
        <p:spPr>
          <a:xfrm>
            <a:off x="714375" y="2190841"/>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9" name="Content Placeholder 6">
            <a:extLst>
              <a:ext uri="{FF2B5EF4-FFF2-40B4-BE49-F238E27FC236}">
                <a16:creationId xmlns:a16="http://schemas.microsoft.com/office/drawing/2014/main" id="{2ED00704-89B4-773F-428A-87CD34BFE601}"/>
              </a:ext>
            </a:extLst>
          </p:cNvPr>
          <p:cNvSpPr txBox="1">
            <a:spLocks/>
          </p:cNvSpPr>
          <p:nvPr/>
        </p:nvSpPr>
        <p:spPr>
          <a:xfrm>
            <a:off x="9281160" y="2190841"/>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11" name="Content Placeholder 6">
            <a:extLst>
              <a:ext uri="{FF2B5EF4-FFF2-40B4-BE49-F238E27FC236}">
                <a16:creationId xmlns:a16="http://schemas.microsoft.com/office/drawing/2014/main" id="{541C8AE0-2293-C5F3-6671-04B27B07A037}"/>
              </a:ext>
            </a:extLst>
          </p:cNvPr>
          <p:cNvSpPr txBox="1">
            <a:spLocks/>
          </p:cNvSpPr>
          <p:nvPr/>
        </p:nvSpPr>
        <p:spPr>
          <a:xfrm>
            <a:off x="714375" y="5651513"/>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12" name="Content Placeholder 6">
            <a:extLst>
              <a:ext uri="{FF2B5EF4-FFF2-40B4-BE49-F238E27FC236}">
                <a16:creationId xmlns:a16="http://schemas.microsoft.com/office/drawing/2014/main" id="{55DDE706-139B-7319-5802-1F86B994C6B9}"/>
              </a:ext>
            </a:extLst>
          </p:cNvPr>
          <p:cNvSpPr txBox="1">
            <a:spLocks/>
          </p:cNvSpPr>
          <p:nvPr/>
        </p:nvSpPr>
        <p:spPr>
          <a:xfrm>
            <a:off x="9281160" y="5651513"/>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49666481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45EA9-330A-D3D1-44EC-713571E1964E}"/>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F8797919-EFE0-9788-B9EB-F369109D9228}"/>
              </a:ext>
            </a:extLst>
          </p:cNvPr>
          <p:cNvSpPr>
            <a:spLocks noGrp="1"/>
          </p:cNvSpPr>
          <p:nvPr>
            <p:ph type="title"/>
          </p:nvPr>
        </p:nvSpPr>
        <p:spPr>
          <a:xfrm>
            <a:off x="714375" y="317500"/>
            <a:ext cx="16859250" cy="1266827"/>
          </a:xfrm>
        </p:spPr>
        <p:txBody>
          <a:bodyPr/>
          <a:lstStyle/>
          <a:p>
            <a:r>
              <a:rPr lang="en-US" dirty="0"/>
              <a:t>Doughnut Chart with Descriptions</a:t>
            </a:r>
          </a:p>
        </p:txBody>
      </p:sp>
      <p:graphicFrame>
        <p:nvGraphicFramePr>
          <p:cNvPr id="33" name="Chart Placeholder 32">
            <a:extLst>
              <a:ext uri="{FF2B5EF4-FFF2-40B4-BE49-F238E27FC236}">
                <a16:creationId xmlns:a16="http://schemas.microsoft.com/office/drawing/2014/main" id="{ACC8377B-A613-DF35-9F09-9F2B478EF637}"/>
              </a:ext>
            </a:extLst>
          </p:cNvPr>
          <p:cNvGraphicFramePr>
            <a:graphicFrameLocks noGrp="1"/>
          </p:cNvGraphicFramePr>
          <p:nvPr>
            <p:ph type="chart" sz="quarter" idx="13"/>
            <p:extLst>
              <p:ext uri="{D42A27DB-BD31-4B8C-83A1-F6EECF244321}">
                <p14:modId xmlns:p14="http://schemas.microsoft.com/office/powerpoint/2010/main" val="940647308"/>
              </p:ext>
            </p:extLst>
          </p:nvPr>
        </p:nvGraphicFramePr>
        <p:xfrm>
          <a:off x="11218863" y="2103338"/>
          <a:ext cx="6354762" cy="7326313"/>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a:extLst>
              <a:ext uri="{FF2B5EF4-FFF2-40B4-BE49-F238E27FC236}">
                <a16:creationId xmlns:a16="http://schemas.microsoft.com/office/drawing/2014/main" id="{5035C3C8-5B5C-4F78-A5C3-8CDB0F3B7369}"/>
              </a:ext>
            </a:extLst>
          </p:cNvPr>
          <p:cNvSpPr/>
          <p:nvPr/>
        </p:nvSpPr>
        <p:spPr>
          <a:xfrm>
            <a:off x="714374" y="1889125"/>
            <a:ext cx="10230223" cy="162583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spcBef>
                <a:spcPts val="300"/>
              </a:spcBef>
              <a:spcAft>
                <a:spcPts val="300"/>
              </a:spcAft>
            </a:pPr>
            <a:r>
              <a:rPr lang="en-US" altLang="ko-KR" b="1" dirty="0">
                <a:solidFill>
                  <a:schemeClr val="bg1"/>
                </a:solidFill>
                <a:latin typeface="Arial" panose="020B0604020202020204" pitchFamily="34" charset="0"/>
                <a:cs typeface="Arial" panose="020B0604020202020204" pitchFamily="34" charset="0"/>
              </a:rPr>
              <a:t>Heading</a:t>
            </a:r>
          </a:p>
          <a:p>
            <a:pPr marL="288000" indent="-288000">
              <a:spcBef>
                <a:spcPts val="300"/>
              </a:spcBef>
              <a:spcAft>
                <a:spcPts val="300"/>
              </a:spcAft>
              <a:buClr>
                <a:schemeClr val="bg1"/>
              </a:buClr>
              <a:buSzPct val="100000"/>
              <a:buFont typeface="Symbol" panose="05050102010706020507" pitchFamily="18" charset="2"/>
              <a:buChar char=""/>
            </a:pPr>
            <a:r>
              <a:rPr lang="en-US" altLang="ko-KR"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sp>
        <p:nvSpPr>
          <p:cNvPr id="15" name="Rectangle 14">
            <a:extLst>
              <a:ext uri="{FF2B5EF4-FFF2-40B4-BE49-F238E27FC236}">
                <a16:creationId xmlns:a16="http://schemas.microsoft.com/office/drawing/2014/main" id="{8319C2BF-CF62-9AF0-E33F-C211B4308E8A}"/>
              </a:ext>
            </a:extLst>
          </p:cNvPr>
          <p:cNvSpPr/>
          <p:nvPr/>
        </p:nvSpPr>
        <p:spPr>
          <a:xfrm>
            <a:off x="714374" y="3789283"/>
            <a:ext cx="10230223" cy="162583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spcBef>
                <a:spcPts val="300"/>
              </a:spcBef>
              <a:spcAft>
                <a:spcPts val="300"/>
              </a:spcAft>
            </a:pPr>
            <a:r>
              <a:rPr lang="en-US" altLang="ko-KR" b="1" dirty="0">
                <a:solidFill>
                  <a:schemeClr val="bg1"/>
                </a:solidFill>
                <a:latin typeface="Arial" panose="020B0604020202020204" pitchFamily="34" charset="0"/>
                <a:cs typeface="Arial" panose="020B0604020202020204" pitchFamily="34" charset="0"/>
              </a:rPr>
              <a:t>Heading</a:t>
            </a:r>
          </a:p>
          <a:p>
            <a:pPr marL="288000" indent="-288000">
              <a:spcBef>
                <a:spcPts val="300"/>
              </a:spcBef>
              <a:spcAft>
                <a:spcPts val="300"/>
              </a:spcAft>
              <a:buClr>
                <a:schemeClr val="bg1"/>
              </a:buClr>
              <a:buSzPct val="100000"/>
              <a:buFont typeface="Symbol" panose="05050102010706020507" pitchFamily="18" charset="2"/>
              <a:buChar char=""/>
            </a:pPr>
            <a:r>
              <a:rPr lang="en-US" altLang="ko-KR"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sp>
        <p:nvSpPr>
          <p:cNvPr id="16" name="Rectangle 15">
            <a:extLst>
              <a:ext uri="{FF2B5EF4-FFF2-40B4-BE49-F238E27FC236}">
                <a16:creationId xmlns:a16="http://schemas.microsoft.com/office/drawing/2014/main" id="{2E23C341-4BAA-E52F-1C4D-C46961E2BF24}"/>
              </a:ext>
            </a:extLst>
          </p:cNvPr>
          <p:cNvSpPr/>
          <p:nvPr/>
        </p:nvSpPr>
        <p:spPr>
          <a:xfrm>
            <a:off x="714374" y="5689442"/>
            <a:ext cx="10230223" cy="162583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spcBef>
                <a:spcPts val="300"/>
              </a:spcBef>
              <a:spcAft>
                <a:spcPts val="300"/>
              </a:spcAft>
            </a:pPr>
            <a:r>
              <a:rPr lang="en-US" altLang="ko-KR" b="1" dirty="0">
                <a:solidFill>
                  <a:schemeClr val="tx1"/>
                </a:solidFill>
                <a:latin typeface="Arial" panose="020B0604020202020204" pitchFamily="34" charset="0"/>
                <a:cs typeface="Arial" panose="020B0604020202020204" pitchFamily="34" charset="0"/>
              </a:rPr>
              <a:t>Heading</a:t>
            </a:r>
          </a:p>
          <a:p>
            <a:pPr marL="288000" indent="-288000">
              <a:spcBef>
                <a:spcPts val="300"/>
              </a:spcBef>
              <a:spcAft>
                <a:spcPts val="300"/>
              </a:spcAft>
              <a:buSzPct val="100000"/>
              <a:buFont typeface="Symbol" panose="05050102010706020507" pitchFamily="18" charset="2"/>
              <a:buChar char=""/>
            </a:pPr>
            <a:r>
              <a:rPr lang="en-US" altLang="ko-KR" dirty="0">
                <a:solidFill>
                  <a:schemeClr val="tx1"/>
                </a:solidFill>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sp>
        <p:nvSpPr>
          <p:cNvPr id="17" name="Rectangle 16">
            <a:extLst>
              <a:ext uri="{FF2B5EF4-FFF2-40B4-BE49-F238E27FC236}">
                <a16:creationId xmlns:a16="http://schemas.microsoft.com/office/drawing/2014/main" id="{C7A12E3A-AD08-DB11-2BA1-2A5239B31F8E}"/>
              </a:ext>
            </a:extLst>
          </p:cNvPr>
          <p:cNvSpPr/>
          <p:nvPr/>
        </p:nvSpPr>
        <p:spPr>
          <a:xfrm>
            <a:off x="714374" y="7589600"/>
            <a:ext cx="10230223" cy="1625838"/>
          </a:xfrm>
          <a:prstGeom prst="rect">
            <a:avLst/>
          </a:prstGeom>
          <a:solidFill>
            <a:schemeClr val="accent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spcBef>
                <a:spcPts val="300"/>
              </a:spcBef>
              <a:spcAft>
                <a:spcPts val="300"/>
              </a:spcAft>
            </a:pPr>
            <a:r>
              <a:rPr lang="en-US" altLang="ko-KR" b="1" dirty="0">
                <a:solidFill>
                  <a:schemeClr val="bg1"/>
                </a:solidFill>
                <a:latin typeface="Arial" panose="020B0604020202020204" pitchFamily="34" charset="0"/>
                <a:cs typeface="Arial" panose="020B0604020202020204" pitchFamily="34" charset="0"/>
              </a:rPr>
              <a:t>Heading</a:t>
            </a:r>
          </a:p>
          <a:p>
            <a:pPr marL="288000" indent="-288000">
              <a:spcBef>
                <a:spcPts val="300"/>
              </a:spcBef>
              <a:spcAft>
                <a:spcPts val="300"/>
              </a:spcAft>
              <a:buClr>
                <a:schemeClr val="bg1"/>
              </a:buClr>
              <a:buSzPct val="100000"/>
              <a:buFont typeface="Symbol" panose="05050102010706020507" pitchFamily="18" charset="2"/>
              <a:buChar char=""/>
            </a:pPr>
            <a:r>
              <a:rPr lang="en-US" altLang="ko-KR"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p:txBody>
      </p:sp>
      <p:sp>
        <p:nvSpPr>
          <p:cNvPr id="4" name="Slide Number Placeholder 3">
            <a:extLst>
              <a:ext uri="{FF2B5EF4-FFF2-40B4-BE49-F238E27FC236}">
                <a16:creationId xmlns:a16="http://schemas.microsoft.com/office/drawing/2014/main" id="{2E9EA4CC-9F10-2008-2FEB-4363D58D41BC}"/>
              </a:ext>
            </a:extLst>
          </p:cNvPr>
          <p:cNvSpPr>
            <a:spLocks noGrp="1"/>
          </p:cNvSpPr>
          <p:nvPr>
            <p:ph type="sldNum" sz="quarter" idx="12"/>
          </p:nvPr>
        </p:nvSpPr>
        <p:spPr/>
        <p:txBody>
          <a:bodyPr/>
          <a:lstStyle/>
          <a:p>
            <a:fld id="{E2D680B1-7F17-42D2-83E2-2C9AC13983BB}" type="slidenum">
              <a:rPr lang="en-US" smtClean="0"/>
              <a:t>96</a:t>
            </a:fld>
            <a:endParaRPr lang="en-US" dirty="0"/>
          </a:p>
        </p:txBody>
      </p:sp>
      <p:sp>
        <p:nvSpPr>
          <p:cNvPr id="2" name="Content Placeholder 6">
            <a:extLst>
              <a:ext uri="{FF2B5EF4-FFF2-40B4-BE49-F238E27FC236}">
                <a16:creationId xmlns:a16="http://schemas.microsoft.com/office/drawing/2014/main" id="{43873B9F-416C-3333-FFC2-DA2A147C1979}"/>
              </a:ext>
            </a:extLst>
          </p:cNvPr>
          <p:cNvSpPr txBox="1">
            <a:spLocks/>
          </p:cNvSpPr>
          <p:nvPr/>
        </p:nvSpPr>
        <p:spPr>
          <a:xfrm>
            <a:off x="11811000" y="1889125"/>
            <a:ext cx="5442585"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6203606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DC780-07CF-F61B-F8F2-344E57467B7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311AFE1-9E0D-18B2-F283-FE1E28454401}"/>
              </a:ext>
            </a:extLst>
          </p:cNvPr>
          <p:cNvSpPr>
            <a:spLocks noGrp="1"/>
          </p:cNvSpPr>
          <p:nvPr>
            <p:ph type="title"/>
          </p:nvPr>
        </p:nvSpPr>
        <p:spPr>
          <a:xfrm>
            <a:off x="714375" y="317500"/>
            <a:ext cx="16859250" cy="1266827"/>
          </a:xfrm>
        </p:spPr>
        <p:txBody>
          <a:bodyPr/>
          <a:lstStyle/>
          <a:p>
            <a:r>
              <a:rPr lang="en-US" dirty="0"/>
              <a:t>Line Charts with Descriptions</a:t>
            </a:r>
          </a:p>
        </p:txBody>
      </p:sp>
      <p:sp>
        <p:nvSpPr>
          <p:cNvPr id="32" name="Content Placeholder 31">
            <a:extLst>
              <a:ext uri="{FF2B5EF4-FFF2-40B4-BE49-F238E27FC236}">
                <a16:creationId xmlns:a16="http://schemas.microsoft.com/office/drawing/2014/main" id="{CD5FFBE7-2A8F-3D90-0A35-B107999B667D}"/>
              </a:ext>
            </a:extLst>
          </p:cNvPr>
          <p:cNvSpPr>
            <a:spLocks noGrp="1"/>
          </p:cNvSpPr>
          <p:nvPr>
            <p:ph idx="14"/>
          </p:nvPr>
        </p:nvSpPr>
        <p:spPr>
          <a:xfrm>
            <a:off x="714375" y="6181269"/>
            <a:ext cx="8292465" cy="2523768"/>
          </a:xfrm>
        </p:spPr>
        <p:txBody>
          <a:bodyPr>
            <a:spAutoFit/>
          </a:bodyPr>
          <a:lstStyle/>
          <a:p>
            <a:pPr marL="360000" indent="-360000"/>
            <a:r>
              <a:rPr lang="en-US" altLang="ko-KR" sz="1800" dirty="0"/>
              <a:t>Lorem Ipsum is simply dummy text of the printing and typesetting industry. </a:t>
            </a:r>
          </a:p>
          <a:p>
            <a:pPr marL="360000" indent="-360000"/>
            <a:r>
              <a:rPr lang="en-US" altLang="ko-KR" sz="1800" dirty="0"/>
              <a:t>Lorem Ipsum is simply dummy text of the printing and typesetting industry. Lorem Ipsum has been the industry's standard dummy text</a:t>
            </a:r>
          </a:p>
          <a:p>
            <a:pPr marL="360000" indent="-360000"/>
            <a:r>
              <a:rPr lang="en-US" altLang="ko-KR" sz="1800" dirty="0"/>
              <a:t>Lorem Ipsum is simply dummy text of the printing and typesetting industry. Lorem Ipsum has been the industry's standard dummy text</a:t>
            </a:r>
          </a:p>
          <a:p>
            <a:pPr marL="360000" indent="-360000"/>
            <a:r>
              <a:rPr lang="en-US" altLang="ko-KR" sz="1800" dirty="0"/>
              <a:t>Lorem Ipsum is simply dummy text of the printing and typesetting industry. </a:t>
            </a:r>
          </a:p>
          <a:p>
            <a:pPr marL="360000" indent="-360000"/>
            <a:r>
              <a:rPr lang="en-US" altLang="ko-KR" sz="1800" dirty="0"/>
              <a:t>Lorem Ipsum is simply dummy text of the printing and typesetting industry. Lorem Ipsum has been the industry's standard dummy text</a:t>
            </a:r>
          </a:p>
        </p:txBody>
      </p:sp>
      <p:sp>
        <p:nvSpPr>
          <p:cNvPr id="50" name="Content Placeholder 49">
            <a:extLst>
              <a:ext uri="{FF2B5EF4-FFF2-40B4-BE49-F238E27FC236}">
                <a16:creationId xmlns:a16="http://schemas.microsoft.com/office/drawing/2014/main" id="{8D60C605-593D-EDCF-5E23-77497CE3D627}"/>
              </a:ext>
            </a:extLst>
          </p:cNvPr>
          <p:cNvSpPr>
            <a:spLocks noGrp="1"/>
          </p:cNvSpPr>
          <p:nvPr>
            <p:ph idx="16"/>
          </p:nvPr>
        </p:nvSpPr>
        <p:spPr>
          <a:xfrm>
            <a:off x="9281160" y="6181269"/>
            <a:ext cx="8292465" cy="2523768"/>
          </a:xfrm>
        </p:spPr>
        <p:txBody>
          <a:bodyPr>
            <a:spAutoFit/>
          </a:bodyPr>
          <a:lstStyle/>
          <a:p>
            <a:pPr marL="360000" indent="-360000"/>
            <a:r>
              <a:rPr lang="en-US" altLang="ko-KR" sz="1800" dirty="0"/>
              <a:t>Lorem Ipsum is simply dummy text of the printing and typesetting industry. </a:t>
            </a:r>
          </a:p>
          <a:p>
            <a:pPr marL="360000" indent="-360000"/>
            <a:r>
              <a:rPr lang="en-US" altLang="ko-KR" sz="1800" dirty="0"/>
              <a:t>Lorem Ipsum is simply dummy text of the printing and typesetting industry. Lorem Ipsum has been the industry's standard dummy text</a:t>
            </a:r>
          </a:p>
          <a:p>
            <a:pPr marL="360000" indent="-360000"/>
            <a:r>
              <a:rPr lang="en-US" altLang="ko-KR" sz="1800" dirty="0"/>
              <a:t>Lorem Ipsum is simply dummy text of the printing and typesetting industry. Lorem Ipsum has been the industry's standard dummy text</a:t>
            </a:r>
          </a:p>
          <a:p>
            <a:pPr marL="360000" indent="-360000"/>
            <a:r>
              <a:rPr lang="en-US" altLang="ko-KR" sz="1800" dirty="0"/>
              <a:t>Lorem Ipsum is simply dummy text of the printing and typesetting industry. </a:t>
            </a:r>
          </a:p>
          <a:p>
            <a:pPr marL="360000" indent="-360000"/>
            <a:r>
              <a:rPr lang="en-US" altLang="ko-KR" sz="1800" dirty="0"/>
              <a:t>Lorem Ipsum is simply dummy text of the printing and typesetting industry. Lorem Ipsum has been the industry's standard dummy text</a:t>
            </a:r>
          </a:p>
        </p:txBody>
      </p:sp>
      <p:graphicFrame>
        <p:nvGraphicFramePr>
          <p:cNvPr id="6" name="图表 1">
            <a:extLst>
              <a:ext uri="{FF2B5EF4-FFF2-40B4-BE49-F238E27FC236}">
                <a16:creationId xmlns:a16="http://schemas.microsoft.com/office/drawing/2014/main" id="{FABDD7E9-C3AF-40A8-7E90-CF9020B280E1}"/>
              </a:ext>
            </a:extLst>
          </p:cNvPr>
          <p:cNvGraphicFramePr>
            <a:graphicFrameLocks noGrp="1"/>
          </p:cNvGraphicFramePr>
          <p:nvPr>
            <p:ph type="chart" sz="quarter" idx="13"/>
            <p:extLst>
              <p:ext uri="{D42A27DB-BD31-4B8C-83A1-F6EECF244321}">
                <p14:modId xmlns:p14="http://schemas.microsoft.com/office/powerpoint/2010/main" val="3672896176"/>
              </p:ext>
            </p:extLst>
          </p:nvPr>
        </p:nvGraphicFramePr>
        <p:xfrm>
          <a:off x="714375" y="2380790"/>
          <a:ext cx="8293100" cy="35258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图表 1">
            <a:extLst>
              <a:ext uri="{FF2B5EF4-FFF2-40B4-BE49-F238E27FC236}">
                <a16:creationId xmlns:a16="http://schemas.microsoft.com/office/drawing/2014/main" id="{63AD1048-9381-FFD0-133C-0FDAE8EF9FD9}"/>
              </a:ext>
            </a:extLst>
          </p:cNvPr>
          <p:cNvGraphicFramePr>
            <a:graphicFrameLocks noGrp="1"/>
          </p:cNvGraphicFramePr>
          <p:nvPr>
            <p:ph type="chart" sz="quarter" idx="15"/>
            <p:extLst>
              <p:ext uri="{D42A27DB-BD31-4B8C-83A1-F6EECF244321}">
                <p14:modId xmlns:p14="http://schemas.microsoft.com/office/powerpoint/2010/main" val="1692241753"/>
              </p:ext>
            </p:extLst>
          </p:nvPr>
        </p:nvGraphicFramePr>
        <p:xfrm>
          <a:off x="9280525" y="2380790"/>
          <a:ext cx="8293100" cy="3525838"/>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BD8156FC-BC83-1733-0AC1-05AA401C6CA8}"/>
              </a:ext>
            </a:extLst>
          </p:cNvPr>
          <p:cNvSpPr>
            <a:spLocks noGrp="1"/>
          </p:cNvSpPr>
          <p:nvPr>
            <p:ph type="sldNum" sz="quarter" idx="12"/>
          </p:nvPr>
        </p:nvSpPr>
        <p:spPr/>
        <p:txBody>
          <a:bodyPr/>
          <a:lstStyle/>
          <a:p>
            <a:fld id="{E2D680B1-7F17-42D2-83E2-2C9AC13983BB}" type="slidenum">
              <a:rPr lang="en-US" smtClean="0"/>
              <a:t>97</a:t>
            </a:fld>
            <a:endParaRPr lang="en-US" dirty="0"/>
          </a:p>
        </p:txBody>
      </p:sp>
      <p:sp>
        <p:nvSpPr>
          <p:cNvPr id="2" name="Content Placeholder 6">
            <a:extLst>
              <a:ext uri="{FF2B5EF4-FFF2-40B4-BE49-F238E27FC236}">
                <a16:creationId xmlns:a16="http://schemas.microsoft.com/office/drawing/2014/main" id="{6C25F6A0-841F-EA21-8843-3381297BDD9B}"/>
              </a:ext>
            </a:extLst>
          </p:cNvPr>
          <p:cNvSpPr txBox="1">
            <a:spLocks/>
          </p:cNvSpPr>
          <p:nvPr/>
        </p:nvSpPr>
        <p:spPr>
          <a:xfrm>
            <a:off x="714375" y="1952260"/>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3" name="Content Placeholder 6">
            <a:extLst>
              <a:ext uri="{FF2B5EF4-FFF2-40B4-BE49-F238E27FC236}">
                <a16:creationId xmlns:a16="http://schemas.microsoft.com/office/drawing/2014/main" id="{70C9C5DA-245F-3708-C37C-9181FFA73514}"/>
              </a:ext>
            </a:extLst>
          </p:cNvPr>
          <p:cNvSpPr txBox="1">
            <a:spLocks/>
          </p:cNvSpPr>
          <p:nvPr/>
        </p:nvSpPr>
        <p:spPr>
          <a:xfrm>
            <a:off x="9281160" y="1952260"/>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25831348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579CC-B945-ECAE-78A9-C2CC23C6BA24}"/>
              </a:ext>
            </a:extLst>
          </p:cNvPr>
          <p:cNvSpPr>
            <a:spLocks noGrp="1"/>
          </p:cNvSpPr>
          <p:nvPr>
            <p:ph type="title"/>
          </p:nvPr>
        </p:nvSpPr>
        <p:spPr>
          <a:xfrm>
            <a:off x="714375" y="317500"/>
            <a:ext cx="16859250" cy="1266827"/>
          </a:xfrm>
        </p:spPr>
        <p:txBody>
          <a:bodyPr/>
          <a:lstStyle/>
          <a:p>
            <a:r>
              <a:rPr lang="en-US" dirty="0"/>
              <a:t>Bar Charts with Descriptions</a:t>
            </a:r>
          </a:p>
        </p:txBody>
      </p:sp>
      <p:graphicFrame>
        <p:nvGraphicFramePr>
          <p:cNvPr id="16" name="Chart Placeholder 9">
            <a:extLst>
              <a:ext uri="{FF2B5EF4-FFF2-40B4-BE49-F238E27FC236}">
                <a16:creationId xmlns:a16="http://schemas.microsoft.com/office/drawing/2014/main" id="{B5249B9E-74F4-970D-C767-2004F5B7E3DC}"/>
              </a:ext>
            </a:extLst>
          </p:cNvPr>
          <p:cNvGraphicFramePr>
            <a:graphicFrameLocks noGrp="1"/>
          </p:cNvGraphicFramePr>
          <p:nvPr>
            <p:ph type="chart" sz="quarter" idx="13"/>
            <p:extLst>
              <p:ext uri="{D42A27DB-BD31-4B8C-83A1-F6EECF244321}">
                <p14:modId xmlns:p14="http://schemas.microsoft.com/office/powerpoint/2010/main" val="4135967055"/>
              </p:ext>
            </p:extLst>
          </p:nvPr>
        </p:nvGraphicFramePr>
        <p:xfrm>
          <a:off x="714375" y="1889125"/>
          <a:ext cx="8293100" cy="3525838"/>
        </p:xfrm>
        <a:graphic>
          <a:graphicData uri="http://schemas.openxmlformats.org/drawingml/2006/chart">
            <c:chart xmlns:c="http://schemas.openxmlformats.org/drawingml/2006/chart" xmlns:r="http://schemas.openxmlformats.org/officeDocument/2006/relationships" r:id="rId3"/>
          </a:graphicData>
        </a:graphic>
      </p:graphicFrame>
      <p:sp>
        <p:nvSpPr>
          <p:cNvPr id="21" name="Content Placeholder 20">
            <a:extLst>
              <a:ext uri="{FF2B5EF4-FFF2-40B4-BE49-F238E27FC236}">
                <a16:creationId xmlns:a16="http://schemas.microsoft.com/office/drawing/2014/main" id="{954ABCAD-D3C1-2510-80D2-0161AD507AAF}"/>
              </a:ext>
            </a:extLst>
          </p:cNvPr>
          <p:cNvSpPr>
            <a:spLocks noGrp="1"/>
          </p:cNvSpPr>
          <p:nvPr>
            <p:ph idx="14"/>
          </p:nvPr>
        </p:nvSpPr>
        <p:spPr>
          <a:xfrm>
            <a:off x="9906000" y="1803146"/>
            <a:ext cx="7667625" cy="3525628"/>
          </a:xfrm>
        </p:spPr>
        <p:txBody>
          <a:bodyPr/>
          <a:lstStyle/>
          <a:p>
            <a:pPr marL="0" indent="0">
              <a:buNone/>
            </a:pPr>
            <a:r>
              <a:rPr lang="en-IN" altLang="ko-KR" b="1" dirty="0">
                <a:solidFill>
                  <a:schemeClr val="accent1"/>
                </a:solidFill>
              </a:rPr>
              <a:t>Heading</a:t>
            </a:r>
            <a:endParaRPr lang="ko-KR" altLang="en-US" b="1" dirty="0">
              <a:solidFill>
                <a:schemeClr val="accent1"/>
              </a:solidFill>
            </a:endParaRPr>
          </a:p>
          <a:p>
            <a:pPr marL="360000" indent="-360000"/>
            <a:r>
              <a:rPr lang="en-US" altLang="ko-KR" dirty="0"/>
              <a:t>Lorem Ipsum is simply dummy text of the printing and typesetting industry. Lorem Ipsum has been the industry's standard dummy text</a:t>
            </a:r>
          </a:p>
          <a:p>
            <a:pPr marL="360000" indent="-360000"/>
            <a:r>
              <a:rPr lang="en-US" altLang="ko-KR" dirty="0"/>
              <a:t>Lorem Ipsum is simply dummy text of the printing and typesetting industry. </a:t>
            </a:r>
          </a:p>
          <a:p>
            <a:pPr marL="360000" indent="-360000"/>
            <a:r>
              <a:rPr lang="en-US" altLang="ko-KR" dirty="0"/>
              <a:t>Lorem Ipsum is simply dummy text of the printing and typesetting industry.</a:t>
            </a:r>
          </a:p>
          <a:p>
            <a:pPr marL="360000" indent="-360000"/>
            <a:r>
              <a:rPr lang="en-US" altLang="ko-KR" dirty="0"/>
              <a:t>Lorem Ipsum is simply dummy text of the printing and typesetting industry.</a:t>
            </a:r>
            <a:endParaRPr lang="en-US" dirty="0"/>
          </a:p>
        </p:txBody>
      </p:sp>
      <p:sp>
        <p:nvSpPr>
          <p:cNvPr id="22" name="Content Placeholder 21">
            <a:extLst>
              <a:ext uri="{FF2B5EF4-FFF2-40B4-BE49-F238E27FC236}">
                <a16:creationId xmlns:a16="http://schemas.microsoft.com/office/drawing/2014/main" id="{F482EDE4-1F78-FCA3-5A22-2C43F66C9478}"/>
              </a:ext>
            </a:extLst>
          </p:cNvPr>
          <p:cNvSpPr>
            <a:spLocks noGrp="1"/>
          </p:cNvSpPr>
          <p:nvPr>
            <p:ph idx="16"/>
          </p:nvPr>
        </p:nvSpPr>
        <p:spPr>
          <a:xfrm>
            <a:off x="9906000" y="5535711"/>
            <a:ext cx="7667625" cy="3525628"/>
          </a:xfrm>
        </p:spPr>
        <p:txBody>
          <a:bodyPr/>
          <a:lstStyle/>
          <a:p>
            <a:pPr marL="0" indent="0">
              <a:buNone/>
            </a:pPr>
            <a:r>
              <a:rPr lang="en-IN" altLang="ko-KR" b="1" dirty="0">
                <a:solidFill>
                  <a:schemeClr val="accent1"/>
                </a:solidFill>
              </a:rPr>
              <a:t>Heading</a:t>
            </a:r>
            <a:endParaRPr lang="ko-KR" altLang="en-US" b="1" dirty="0">
              <a:solidFill>
                <a:schemeClr val="accent1"/>
              </a:solidFill>
            </a:endParaRPr>
          </a:p>
          <a:p>
            <a:pPr marL="360000" indent="-360000"/>
            <a:r>
              <a:rPr lang="en-US" altLang="ko-KR" dirty="0"/>
              <a:t>Lorem Ipsum is simply dummy text of the printing and typesetting industry. Lorem Ipsum has been the industry's standard dummy text</a:t>
            </a:r>
          </a:p>
          <a:p>
            <a:pPr marL="360000" indent="-360000"/>
            <a:r>
              <a:rPr lang="en-US" altLang="ko-KR" dirty="0"/>
              <a:t>Lorem Ipsum is simply dummy text of the printing and typesetting industry. </a:t>
            </a:r>
          </a:p>
          <a:p>
            <a:pPr marL="360000" indent="-360000"/>
            <a:r>
              <a:rPr lang="en-US" altLang="ko-KR" dirty="0"/>
              <a:t>Lorem Ipsum is simply dummy text of the printing and typesetting industry.</a:t>
            </a:r>
          </a:p>
          <a:p>
            <a:pPr marL="360000" indent="-360000"/>
            <a:r>
              <a:rPr lang="en-US" altLang="ko-KR" dirty="0"/>
              <a:t>Lorem Ipsum is simply dummy text of the printing and typesetting industry.</a:t>
            </a:r>
            <a:endParaRPr lang="en-US" dirty="0"/>
          </a:p>
        </p:txBody>
      </p:sp>
      <p:graphicFrame>
        <p:nvGraphicFramePr>
          <p:cNvPr id="7" name="Chart Placeholder 9">
            <a:extLst>
              <a:ext uri="{FF2B5EF4-FFF2-40B4-BE49-F238E27FC236}">
                <a16:creationId xmlns:a16="http://schemas.microsoft.com/office/drawing/2014/main" id="{5BEE1288-2C06-3762-5A11-B7BCDBD8C760}"/>
              </a:ext>
            </a:extLst>
          </p:cNvPr>
          <p:cNvGraphicFramePr>
            <a:graphicFrameLocks noGrp="1"/>
          </p:cNvGraphicFramePr>
          <p:nvPr>
            <p:ph type="chart" sz="quarter" idx="15"/>
            <p:extLst>
              <p:ext uri="{D42A27DB-BD31-4B8C-83A1-F6EECF244321}">
                <p14:modId xmlns:p14="http://schemas.microsoft.com/office/powerpoint/2010/main" val="1672001337"/>
              </p:ext>
            </p:extLst>
          </p:nvPr>
        </p:nvGraphicFramePr>
        <p:xfrm>
          <a:off x="714375" y="5689600"/>
          <a:ext cx="8293100" cy="3525838"/>
        </p:xfrm>
        <a:graphic>
          <a:graphicData uri="http://schemas.openxmlformats.org/drawingml/2006/chart">
            <c:chart xmlns:c="http://schemas.openxmlformats.org/drawingml/2006/chart" xmlns:r="http://schemas.openxmlformats.org/officeDocument/2006/relationships" r:id="rId4"/>
          </a:graphicData>
        </a:graphic>
      </p:graphicFrame>
      <p:sp>
        <p:nvSpPr>
          <p:cNvPr id="5" name="Slide Number Placeholder 4">
            <a:extLst>
              <a:ext uri="{FF2B5EF4-FFF2-40B4-BE49-F238E27FC236}">
                <a16:creationId xmlns:a16="http://schemas.microsoft.com/office/drawing/2014/main" id="{8F151509-3374-9ADD-9F38-2B9CB1E7BEA3}"/>
              </a:ext>
            </a:extLst>
          </p:cNvPr>
          <p:cNvSpPr>
            <a:spLocks noGrp="1"/>
          </p:cNvSpPr>
          <p:nvPr>
            <p:ph type="sldNum" sz="quarter" idx="12"/>
          </p:nvPr>
        </p:nvSpPr>
        <p:spPr/>
        <p:txBody>
          <a:bodyPr/>
          <a:lstStyle/>
          <a:p>
            <a:fld id="{E2D680B1-7F17-42D2-83E2-2C9AC13983BB}" type="slidenum">
              <a:rPr lang="en-US" smtClean="0"/>
              <a:t>98</a:t>
            </a:fld>
            <a:endParaRPr lang="en-US" dirty="0"/>
          </a:p>
        </p:txBody>
      </p:sp>
      <p:sp>
        <p:nvSpPr>
          <p:cNvPr id="3" name="Content Placeholder 6">
            <a:extLst>
              <a:ext uri="{FF2B5EF4-FFF2-40B4-BE49-F238E27FC236}">
                <a16:creationId xmlns:a16="http://schemas.microsoft.com/office/drawing/2014/main" id="{FC390A5D-AB4C-2C12-161B-05EC4BCCBE9C}"/>
              </a:ext>
            </a:extLst>
          </p:cNvPr>
          <p:cNvSpPr txBox="1">
            <a:spLocks/>
          </p:cNvSpPr>
          <p:nvPr/>
        </p:nvSpPr>
        <p:spPr>
          <a:xfrm>
            <a:off x="714375" y="1803146"/>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
        <p:nvSpPr>
          <p:cNvPr id="4" name="Content Placeholder 6">
            <a:extLst>
              <a:ext uri="{FF2B5EF4-FFF2-40B4-BE49-F238E27FC236}">
                <a16:creationId xmlns:a16="http://schemas.microsoft.com/office/drawing/2014/main" id="{955035C9-C394-0FF1-004B-92AA8E003BB1}"/>
              </a:ext>
            </a:extLst>
          </p:cNvPr>
          <p:cNvSpPr txBox="1">
            <a:spLocks/>
          </p:cNvSpPr>
          <p:nvPr/>
        </p:nvSpPr>
        <p:spPr>
          <a:xfrm>
            <a:off x="714375" y="5535711"/>
            <a:ext cx="7972426" cy="307777"/>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b="1" dirty="0">
                <a:solidFill>
                  <a:schemeClr val="accent1"/>
                </a:solidFill>
              </a:rPr>
              <a:t>Chart Title</a:t>
            </a:r>
          </a:p>
        </p:txBody>
      </p:sp>
    </p:spTree>
    <p:extLst>
      <p:ext uri="{BB962C8B-B14F-4D97-AF65-F5344CB8AC3E}">
        <p14:creationId xmlns:p14="http://schemas.microsoft.com/office/powerpoint/2010/main" val="38562924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11212-34F3-7AE0-6D3B-B27C2088D4DD}"/>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063E27CE-03F8-68DD-23EE-3C2641969133}"/>
              </a:ext>
            </a:extLst>
          </p:cNvPr>
          <p:cNvSpPr>
            <a:spLocks noGrp="1"/>
          </p:cNvSpPr>
          <p:nvPr>
            <p:ph type="title"/>
          </p:nvPr>
        </p:nvSpPr>
        <p:spPr>
          <a:xfrm>
            <a:off x="714375" y="317500"/>
            <a:ext cx="16859250" cy="1266827"/>
          </a:xfrm>
        </p:spPr>
        <p:txBody>
          <a:bodyPr/>
          <a:lstStyle/>
          <a:p>
            <a:r>
              <a:rPr lang="en-US" dirty="0"/>
              <a:t>Column Charts with Description</a:t>
            </a:r>
          </a:p>
        </p:txBody>
      </p:sp>
      <p:graphicFrame>
        <p:nvGraphicFramePr>
          <p:cNvPr id="19" name="Chart Placeholder 23">
            <a:extLst>
              <a:ext uri="{FF2B5EF4-FFF2-40B4-BE49-F238E27FC236}">
                <a16:creationId xmlns:a16="http://schemas.microsoft.com/office/drawing/2014/main" id="{FDD8F26B-EB3B-357B-DBF8-0C692BC11611}"/>
              </a:ext>
            </a:extLst>
          </p:cNvPr>
          <p:cNvGraphicFramePr>
            <a:graphicFrameLocks noGrp="1"/>
          </p:cNvGraphicFramePr>
          <p:nvPr>
            <p:ph type="chart" sz="quarter" idx="13"/>
            <p:extLst>
              <p:ext uri="{D42A27DB-BD31-4B8C-83A1-F6EECF244321}">
                <p14:modId xmlns:p14="http://schemas.microsoft.com/office/powerpoint/2010/main" val="1016428382"/>
              </p:ext>
            </p:extLst>
          </p:nvPr>
        </p:nvGraphicFramePr>
        <p:xfrm>
          <a:off x="5040313" y="2110923"/>
          <a:ext cx="3881437" cy="330403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Placeholder 23">
            <a:extLst>
              <a:ext uri="{FF2B5EF4-FFF2-40B4-BE49-F238E27FC236}">
                <a16:creationId xmlns:a16="http://schemas.microsoft.com/office/drawing/2014/main" id="{C9634FD6-1A0C-F0DD-5671-5F9072A3CB0F}"/>
              </a:ext>
            </a:extLst>
          </p:cNvPr>
          <p:cNvGraphicFramePr>
            <a:graphicFrameLocks noGrp="1"/>
          </p:cNvGraphicFramePr>
          <p:nvPr>
            <p:ph type="chart" sz="quarter" idx="15"/>
            <p:extLst>
              <p:ext uri="{D42A27DB-BD31-4B8C-83A1-F6EECF244321}">
                <p14:modId xmlns:p14="http://schemas.microsoft.com/office/powerpoint/2010/main" val="3987672378"/>
              </p:ext>
            </p:extLst>
          </p:nvPr>
        </p:nvGraphicFramePr>
        <p:xfrm>
          <a:off x="714375" y="2110923"/>
          <a:ext cx="3879850" cy="33040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Placeholder 23">
            <a:extLst>
              <a:ext uri="{FF2B5EF4-FFF2-40B4-BE49-F238E27FC236}">
                <a16:creationId xmlns:a16="http://schemas.microsoft.com/office/drawing/2014/main" id="{742E607B-9329-B0E1-8D8D-147530C47F9B}"/>
              </a:ext>
            </a:extLst>
          </p:cNvPr>
          <p:cNvGraphicFramePr>
            <a:graphicFrameLocks noGrp="1"/>
          </p:cNvGraphicFramePr>
          <p:nvPr>
            <p:ph type="chart" sz="quarter" idx="17"/>
            <p:extLst>
              <p:ext uri="{D42A27DB-BD31-4B8C-83A1-F6EECF244321}">
                <p14:modId xmlns:p14="http://schemas.microsoft.com/office/powerpoint/2010/main" val="1914764035"/>
              </p:ext>
            </p:extLst>
          </p:nvPr>
        </p:nvGraphicFramePr>
        <p:xfrm>
          <a:off x="13693775" y="2110923"/>
          <a:ext cx="3879850" cy="33040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Placeholder 23">
            <a:extLst>
              <a:ext uri="{FF2B5EF4-FFF2-40B4-BE49-F238E27FC236}">
                <a16:creationId xmlns:a16="http://schemas.microsoft.com/office/drawing/2014/main" id="{D061D769-6951-02F6-A3C5-875490B3D5DB}"/>
              </a:ext>
            </a:extLst>
          </p:cNvPr>
          <p:cNvGraphicFramePr>
            <a:graphicFrameLocks noGrp="1"/>
          </p:cNvGraphicFramePr>
          <p:nvPr>
            <p:ph type="chart" sz="quarter" idx="18"/>
            <p:extLst>
              <p:ext uri="{D42A27DB-BD31-4B8C-83A1-F6EECF244321}">
                <p14:modId xmlns:p14="http://schemas.microsoft.com/office/powerpoint/2010/main" val="3443366668"/>
              </p:ext>
            </p:extLst>
          </p:nvPr>
        </p:nvGraphicFramePr>
        <p:xfrm>
          <a:off x="9366250" y="2110923"/>
          <a:ext cx="3881438" cy="3304039"/>
        </p:xfrm>
        <a:graphic>
          <a:graphicData uri="http://schemas.openxmlformats.org/drawingml/2006/chart">
            <c:chart xmlns:c="http://schemas.openxmlformats.org/drawingml/2006/chart" xmlns:r="http://schemas.openxmlformats.org/officeDocument/2006/relationships" r:id="rId5"/>
          </a:graphicData>
        </a:graphic>
      </p:graphicFrame>
      <p:grpSp>
        <p:nvGrpSpPr>
          <p:cNvPr id="23" name="Group 22">
            <a:extLst>
              <a:ext uri="{FF2B5EF4-FFF2-40B4-BE49-F238E27FC236}">
                <a16:creationId xmlns:a16="http://schemas.microsoft.com/office/drawing/2014/main" id="{513AF790-F164-08C1-B4C5-FB407AAE580E}"/>
              </a:ext>
            </a:extLst>
          </p:cNvPr>
          <p:cNvGrpSpPr/>
          <p:nvPr/>
        </p:nvGrpSpPr>
        <p:grpSpPr>
          <a:xfrm>
            <a:off x="714375" y="5707061"/>
            <a:ext cx="4009072" cy="2941637"/>
            <a:chOff x="971550" y="5869888"/>
            <a:chExt cx="3875841" cy="2551493"/>
          </a:xfrm>
        </p:grpSpPr>
        <p:sp>
          <p:nvSpPr>
            <p:cNvPr id="28" name="Google Shape;629;p29">
              <a:extLst>
                <a:ext uri="{FF2B5EF4-FFF2-40B4-BE49-F238E27FC236}">
                  <a16:creationId xmlns:a16="http://schemas.microsoft.com/office/drawing/2014/main" id="{A3276A15-21E4-7864-E818-F5EA9FB49E4E}"/>
                </a:ext>
              </a:extLst>
            </p:cNvPr>
            <p:cNvSpPr/>
            <p:nvPr/>
          </p:nvSpPr>
          <p:spPr>
            <a:xfrm>
              <a:off x="971550" y="5869888"/>
              <a:ext cx="3875841" cy="2551493"/>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chemeClr val="accent1"/>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a:t>
              </a:r>
              <a:endParaRPr lang="en-IN" sz="1600" dirty="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33" name="Google Shape;629;p29">
              <a:extLst>
                <a:ext uri="{FF2B5EF4-FFF2-40B4-BE49-F238E27FC236}">
                  <a16:creationId xmlns:a16="http://schemas.microsoft.com/office/drawing/2014/main" id="{63B0DDDC-C1DC-8752-57C9-5E190E2C9AC5}"/>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chemeClr val="accent1"/>
            </a:solidFill>
            <a:ln>
              <a:solidFill>
                <a:schemeClr val="accent1"/>
              </a:solid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dirty="0">
                <a:latin typeface="+mj-lt"/>
                <a:ea typeface="Calibri"/>
                <a:cs typeface="Calibri"/>
                <a:sym typeface="Calibri"/>
              </a:endParaRPr>
            </a:p>
          </p:txBody>
        </p:sp>
      </p:grpSp>
      <p:grpSp>
        <p:nvGrpSpPr>
          <p:cNvPr id="25" name="Group 24">
            <a:extLst>
              <a:ext uri="{FF2B5EF4-FFF2-40B4-BE49-F238E27FC236}">
                <a16:creationId xmlns:a16="http://schemas.microsoft.com/office/drawing/2014/main" id="{E3E708B8-7198-2EB2-3B58-90531766FA7F}"/>
              </a:ext>
            </a:extLst>
          </p:cNvPr>
          <p:cNvGrpSpPr/>
          <p:nvPr/>
        </p:nvGrpSpPr>
        <p:grpSpPr>
          <a:xfrm>
            <a:off x="4997767" y="5707061"/>
            <a:ext cx="4009072" cy="2941637"/>
            <a:chOff x="971550" y="5869888"/>
            <a:chExt cx="3875841" cy="2551493"/>
          </a:xfrm>
        </p:grpSpPr>
        <p:sp>
          <p:nvSpPr>
            <p:cNvPr id="26" name="Google Shape;629;p29">
              <a:extLst>
                <a:ext uri="{FF2B5EF4-FFF2-40B4-BE49-F238E27FC236}">
                  <a16:creationId xmlns:a16="http://schemas.microsoft.com/office/drawing/2014/main" id="{07BFB81E-BFF7-1AE2-A7C7-6ACAAB2DE8E1}"/>
                </a:ext>
              </a:extLst>
            </p:cNvPr>
            <p:cNvSpPr/>
            <p:nvPr/>
          </p:nvSpPr>
          <p:spPr>
            <a:xfrm>
              <a:off x="971550" y="5869888"/>
              <a:ext cx="3875841" cy="2551493"/>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chemeClr val="accent2"/>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a:t>
              </a:r>
              <a:endParaRPr lang="en-IN" sz="1600" dirty="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27" name="Google Shape;629;p29">
              <a:extLst>
                <a:ext uri="{FF2B5EF4-FFF2-40B4-BE49-F238E27FC236}">
                  <a16:creationId xmlns:a16="http://schemas.microsoft.com/office/drawing/2014/main" id="{4FB937FF-B4F9-CF5F-1610-9A0B2DF3FD99}"/>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chemeClr val="accent2"/>
            </a:solidFill>
            <a:ln>
              <a:solidFill>
                <a:schemeClr val="accent2"/>
              </a:solid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dirty="0">
                <a:latin typeface="+mj-lt"/>
                <a:ea typeface="Calibri"/>
                <a:cs typeface="Calibri"/>
                <a:sym typeface="Calibri"/>
              </a:endParaRPr>
            </a:p>
          </p:txBody>
        </p:sp>
      </p:grpSp>
      <p:grpSp>
        <p:nvGrpSpPr>
          <p:cNvPr id="17" name="Group 16">
            <a:extLst>
              <a:ext uri="{FF2B5EF4-FFF2-40B4-BE49-F238E27FC236}">
                <a16:creationId xmlns:a16="http://schemas.microsoft.com/office/drawing/2014/main" id="{364A1598-6201-D79A-C8F0-E01AB9912757}"/>
              </a:ext>
            </a:extLst>
          </p:cNvPr>
          <p:cNvGrpSpPr/>
          <p:nvPr/>
        </p:nvGrpSpPr>
        <p:grpSpPr>
          <a:xfrm>
            <a:off x="13564552" y="5707061"/>
            <a:ext cx="4009072" cy="2941637"/>
            <a:chOff x="971550" y="5869888"/>
            <a:chExt cx="3875841" cy="2551493"/>
          </a:xfrm>
        </p:grpSpPr>
        <p:sp>
          <p:nvSpPr>
            <p:cNvPr id="18" name="Google Shape;629;p29">
              <a:extLst>
                <a:ext uri="{FF2B5EF4-FFF2-40B4-BE49-F238E27FC236}">
                  <a16:creationId xmlns:a16="http://schemas.microsoft.com/office/drawing/2014/main" id="{3E6757AC-B700-5C7F-820B-C77E18289768}"/>
                </a:ext>
              </a:extLst>
            </p:cNvPr>
            <p:cNvSpPr/>
            <p:nvPr/>
          </p:nvSpPr>
          <p:spPr>
            <a:xfrm>
              <a:off x="971550" y="5869888"/>
              <a:ext cx="3875841" cy="2551493"/>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chemeClr val="accent2"/>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a:t>
              </a:r>
              <a:endParaRPr lang="en-IN" sz="1600" dirty="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22" name="Google Shape;629;p29">
              <a:extLst>
                <a:ext uri="{FF2B5EF4-FFF2-40B4-BE49-F238E27FC236}">
                  <a16:creationId xmlns:a16="http://schemas.microsoft.com/office/drawing/2014/main" id="{C3098395-E4A0-D259-81EF-878D9CEA8A20}"/>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chemeClr val="accent2"/>
            </a:solidFill>
            <a:ln>
              <a:solidFill>
                <a:schemeClr val="accent2"/>
              </a:solid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dirty="0">
                <a:latin typeface="+mj-lt"/>
                <a:ea typeface="Calibri"/>
                <a:cs typeface="Calibri"/>
                <a:sym typeface="Calibri"/>
              </a:endParaRPr>
            </a:p>
          </p:txBody>
        </p:sp>
      </p:grpSp>
      <p:grpSp>
        <p:nvGrpSpPr>
          <p:cNvPr id="29" name="Group 28">
            <a:extLst>
              <a:ext uri="{FF2B5EF4-FFF2-40B4-BE49-F238E27FC236}">
                <a16:creationId xmlns:a16="http://schemas.microsoft.com/office/drawing/2014/main" id="{1A898BFD-3049-9696-0538-7E48655CA09E}"/>
              </a:ext>
            </a:extLst>
          </p:cNvPr>
          <p:cNvGrpSpPr/>
          <p:nvPr/>
        </p:nvGrpSpPr>
        <p:grpSpPr>
          <a:xfrm>
            <a:off x="9281160" y="5707061"/>
            <a:ext cx="4009072" cy="2941637"/>
            <a:chOff x="971550" y="5869888"/>
            <a:chExt cx="3875841" cy="2551493"/>
          </a:xfrm>
        </p:grpSpPr>
        <p:sp>
          <p:nvSpPr>
            <p:cNvPr id="30" name="Google Shape;629;p29">
              <a:extLst>
                <a:ext uri="{FF2B5EF4-FFF2-40B4-BE49-F238E27FC236}">
                  <a16:creationId xmlns:a16="http://schemas.microsoft.com/office/drawing/2014/main" id="{755B7AB4-DF13-DBAD-41DE-E87F73F90379}"/>
                </a:ext>
              </a:extLst>
            </p:cNvPr>
            <p:cNvSpPr/>
            <p:nvPr/>
          </p:nvSpPr>
          <p:spPr>
            <a:xfrm>
              <a:off x="971550" y="5869888"/>
              <a:ext cx="3875841" cy="2551493"/>
            </a:xfrm>
            <a:custGeom>
              <a:avLst/>
              <a:gdLst/>
              <a:ahLst/>
              <a:cxnLst/>
              <a:rect l="l" t="t" r="r" b="b"/>
              <a:pathLst>
                <a:path w="2859" h="2246" extrusionOk="0">
                  <a:moveTo>
                    <a:pt x="0" y="2245"/>
                  </a:moveTo>
                  <a:lnTo>
                    <a:pt x="0" y="0"/>
                  </a:lnTo>
                  <a:lnTo>
                    <a:pt x="2858" y="0"/>
                  </a:lnTo>
                  <a:lnTo>
                    <a:pt x="2858" y="2245"/>
                  </a:lnTo>
                  <a:lnTo>
                    <a:pt x="0" y="2245"/>
                  </a:lnTo>
                </a:path>
              </a:pathLst>
            </a:custGeom>
            <a:noFill/>
            <a:ln>
              <a:solidFill>
                <a:schemeClr val="accent1"/>
              </a:solidFill>
            </a:ln>
          </p:spPr>
          <p:txBody>
            <a:bodyPr spcFirstLastPara="1" wrap="square" lIns="144000" tIns="252000" rIns="144000" bIns="144000" anchor="t" anchorCtr="0">
              <a:noAutofit/>
            </a:bodyPr>
            <a:lstStyle/>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Lorem Ipsum has been the industry's standard dummy text</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 dummy text of the printing and typesetting industry. </a:t>
              </a:r>
            </a:p>
            <a:p>
              <a:pPr marL="230400" indent="-230400">
                <a:spcBef>
                  <a:spcPts val="300"/>
                </a:spcBef>
                <a:spcAft>
                  <a:spcPts val="300"/>
                </a:spcAft>
                <a:buClr>
                  <a:schemeClr val="accent1"/>
                </a:buClr>
                <a:buSzPct val="100000"/>
                <a:buFont typeface="Symbol" panose="05050102010706020507" pitchFamily="18" charset="2"/>
                <a:buChar char=""/>
                <a:defRPr/>
              </a:pPr>
              <a:r>
                <a:rPr lang="en-US" altLang="ko-KR" sz="1600" dirty="0">
                  <a:latin typeface="Arial" panose="020B0604020202020204" pitchFamily="34" charset="0"/>
                  <a:ea typeface="Calibri" panose="020F0502020204030204" pitchFamily="34" charset="0"/>
                  <a:cs typeface="Arial" panose="020B0604020202020204" pitchFamily="34" charset="0"/>
                </a:rPr>
                <a:t>Lorem Ipsum is simply</a:t>
              </a:r>
              <a:endParaRPr lang="en-IN" sz="1600" dirty="0">
                <a:latin typeface="Arial" panose="020B0604020202020204" pitchFamily="34" charset="0"/>
                <a:ea typeface="Calibri" panose="020F0502020204030204" pitchFamily="34" charset="0"/>
                <a:cs typeface="Arial" panose="020B0604020202020204" pitchFamily="34" charset="0"/>
                <a:sym typeface="Calibri"/>
              </a:endParaRPr>
            </a:p>
          </p:txBody>
        </p:sp>
        <p:sp>
          <p:nvSpPr>
            <p:cNvPr id="31" name="Google Shape;629;p29">
              <a:extLst>
                <a:ext uri="{FF2B5EF4-FFF2-40B4-BE49-F238E27FC236}">
                  <a16:creationId xmlns:a16="http://schemas.microsoft.com/office/drawing/2014/main" id="{EED9C348-FF7B-4969-DC4D-0640C4D0388B}"/>
                </a:ext>
              </a:extLst>
            </p:cNvPr>
            <p:cNvSpPr/>
            <p:nvPr/>
          </p:nvSpPr>
          <p:spPr>
            <a:xfrm>
              <a:off x="971550" y="5869888"/>
              <a:ext cx="3875841" cy="54000"/>
            </a:xfrm>
            <a:custGeom>
              <a:avLst/>
              <a:gdLst/>
              <a:ahLst/>
              <a:cxnLst/>
              <a:rect l="l" t="t" r="r" b="b"/>
              <a:pathLst>
                <a:path w="2859" h="2246" extrusionOk="0">
                  <a:moveTo>
                    <a:pt x="0" y="2245"/>
                  </a:moveTo>
                  <a:lnTo>
                    <a:pt x="0" y="0"/>
                  </a:lnTo>
                  <a:lnTo>
                    <a:pt x="2858" y="0"/>
                  </a:lnTo>
                  <a:lnTo>
                    <a:pt x="2858" y="2245"/>
                  </a:lnTo>
                  <a:lnTo>
                    <a:pt x="0" y="2245"/>
                  </a:lnTo>
                </a:path>
              </a:pathLst>
            </a:custGeom>
            <a:solidFill>
              <a:schemeClr val="accent1"/>
            </a:solidFill>
            <a:ln>
              <a:solidFill>
                <a:schemeClr val="accent1"/>
              </a:solidFill>
            </a:ln>
          </p:spPr>
          <p:txBody>
            <a:bodyPr spcFirstLastPara="1" wrap="square" lIns="144000" tIns="252000" rIns="144000" bIns="144000" anchor="t" anchorCtr="0">
              <a:noAutofit/>
            </a:bodyPr>
            <a:lstStyle/>
            <a:p>
              <a:pPr marL="230400" indent="-230400" defTabSz="1371600">
                <a:lnSpc>
                  <a:spcPct val="90000"/>
                </a:lnSpc>
                <a:spcBef>
                  <a:spcPts val="1500"/>
                </a:spcBef>
                <a:buFont typeface="Arial" panose="020B0604020202020204" pitchFamily="34" charset="0"/>
                <a:buChar char="•"/>
                <a:defRPr/>
              </a:pPr>
              <a:endParaRPr lang="en-IN" b="1" dirty="0">
                <a:latin typeface="+mj-lt"/>
                <a:ea typeface="Calibri"/>
                <a:cs typeface="Calibri"/>
                <a:sym typeface="Calibri"/>
              </a:endParaRPr>
            </a:p>
          </p:txBody>
        </p:sp>
      </p:grpSp>
      <p:sp>
        <p:nvSpPr>
          <p:cNvPr id="4" name="Slide Number Placeholder 3">
            <a:extLst>
              <a:ext uri="{FF2B5EF4-FFF2-40B4-BE49-F238E27FC236}">
                <a16:creationId xmlns:a16="http://schemas.microsoft.com/office/drawing/2014/main" id="{150CD8FA-3705-3F2C-0250-F56F52828060}"/>
              </a:ext>
            </a:extLst>
          </p:cNvPr>
          <p:cNvSpPr>
            <a:spLocks noGrp="1"/>
          </p:cNvSpPr>
          <p:nvPr>
            <p:ph type="sldNum" sz="quarter" idx="12"/>
          </p:nvPr>
        </p:nvSpPr>
        <p:spPr/>
        <p:txBody>
          <a:bodyPr/>
          <a:lstStyle/>
          <a:p>
            <a:fld id="{E2D680B1-7F17-42D2-83E2-2C9AC13983BB}" type="slidenum">
              <a:rPr lang="en-US" smtClean="0"/>
              <a:t>99</a:t>
            </a:fld>
            <a:endParaRPr lang="en-US" dirty="0"/>
          </a:p>
        </p:txBody>
      </p:sp>
      <p:sp>
        <p:nvSpPr>
          <p:cNvPr id="2" name="Content Placeholder 6">
            <a:extLst>
              <a:ext uri="{FF2B5EF4-FFF2-40B4-BE49-F238E27FC236}">
                <a16:creationId xmlns:a16="http://schemas.microsoft.com/office/drawing/2014/main" id="{E8026D10-BDEB-05C2-7C00-802F937A78BC}"/>
              </a:ext>
            </a:extLst>
          </p:cNvPr>
          <p:cNvSpPr txBox="1">
            <a:spLocks/>
          </p:cNvSpPr>
          <p:nvPr/>
        </p:nvSpPr>
        <p:spPr>
          <a:xfrm>
            <a:off x="714375" y="1864702"/>
            <a:ext cx="4010400" cy="246221"/>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sz="1600" b="1" dirty="0">
                <a:solidFill>
                  <a:schemeClr val="accent1"/>
                </a:solidFill>
              </a:rPr>
              <a:t>Chart Title</a:t>
            </a:r>
          </a:p>
        </p:txBody>
      </p:sp>
      <p:sp>
        <p:nvSpPr>
          <p:cNvPr id="3" name="Content Placeholder 6">
            <a:extLst>
              <a:ext uri="{FF2B5EF4-FFF2-40B4-BE49-F238E27FC236}">
                <a16:creationId xmlns:a16="http://schemas.microsoft.com/office/drawing/2014/main" id="{A8CE9AAA-481B-673F-A7D0-CA8098A55E86}"/>
              </a:ext>
            </a:extLst>
          </p:cNvPr>
          <p:cNvSpPr txBox="1">
            <a:spLocks/>
          </p:cNvSpPr>
          <p:nvPr/>
        </p:nvSpPr>
        <p:spPr>
          <a:xfrm>
            <a:off x="4997767" y="1864702"/>
            <a:ext cx="4010400" cy="246221"/>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sz="1600" b="1" dirty="0">
                <a:solidFill>
                  <a:schemeClr val="accent1"/>
                </a:solidFill>
              </a:rPr>
              <a:t>Chart Title</a:t>
            </a:r>
          </a:p>
        </p:txBody>
      </p:sp>
      <p:sp>
        <p:nvSpPr>
          <p:cNvPr id="5" name="Content Placeholder 6">
            <a:extLst>
              <a:ext uri="{FF2B5EF4-FFF2-40B4-BE49-F238E27FC236}">
                <a16:creationId xmlns:a16="http://schemas.microsoft.com/office/drawing/2014/main" id="{11171505-0907-49FE-1D08-C0699E05C9A4}"/>
              </a:ext>
            </a:extLst>
          </p:cNvPr>
          <p:cNvSpPr txBox="1">
            <a:spLocks/>
          </p:cNvSpPr>
          <p:nvPr/>
        </p:nvSpPr>
        <p:spPr>
          <a:xfrm>
            <a:off x="9281160" y="1864702"/>
            <a:ext cx="4010400" cy="246221"/>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sz="1600" b="1" dirty="0">
                <a:solidFill>
                  <a:schemeClr val="accent1"/>
                </a:solidFill>
              </a:rPr>
              <a:t>Chart Title</a:t>
            </a:r>
          </a:p>
        </p:txBody>
      </p:sp>
      <p:sp>
        <p:nvSpPr>
          <p:cNvPr id="6" name="Content Placeholder 6">
            <a:extLst>
              <a:ext uri="{FF2B5EF4-FFF2-40B4-BE49-F238E27FC236}">
                <a16:creationId xmlns:a16="http://schemas.microsoft.com/office/drawing/2014/main" id="{E978F2FB-88FF-492D-251C-2337066AB539}"/>
              </a:ext>
            </a:extLst>
          </p:cNvPr>
          <p:cNvSpPr txBox="1">
            <a:spLocks/>
          </p:cNvSpPr>
          <p:nvPr/>
        </p:nvSpPr>
        <p:spPr>
          <a:xfrm>
            <a:off x="13564552" y="1864702"/>
            <a:ext cx="4010400" cy="246221"/>
          </a:xfrm>
          <a:prstGeom prst="rect">
            <a:avLst/>
          </a:prstGeom>
        </p:spPr>
        <p:txBody>
          <a:bodyPr vert="horz" wrap="square" lIns="0" tIns="0" rIns="0" bIns="0" rtlCol="0" anchor="b" anchorCtr="0">
            <a:spAutoFit/>
          </a:bodyPr>
          <a:lstStyle>
            <a:lvl1pPr marL="36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1pPr>
            <a:lvl2pPr marL="72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2pPr>
            <a:lvl3pPr marL="108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3pPr>
            <a:lvl4pPr marL="144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4pPr>
            <a:lvl5pPr marL="1800000" indent="-360000" algn="l" defTabSz="914400" rtl="0" eaLnBrk="1" latinLnBrk="0" hangingPunct="1">
              <a:lnSpc>
                <a:spcPct val="100000"/>
              </a:lnSpc>
              <a:spcBef>
                <a:spcPts val="300"/>
              </a:spcBef>
              <a:spcAft>
                <a:spcPts val="300"/>
              </a:spcAft>
              <a:buClr>
                <a:schemeClr val="accent1"/>
              </a:buClr>
              <a:buSzPct val="100000"/>
              <a:buFont typeface="Symbol" panose="05050102010706020507" pitchFamily="18" charset="2"/>
              <a:buChar char=""/>
              <a:defRPr sz="2000" kern="1200">
                <a:solidFill>
                  <a:schemeClr val="tx1"/>
                </a:solidFill>
                <a:latin typeface="Arial" panose="020B0604020202020204" pitchFamily="34" charset="0"/>
                <a:ea typeface="Calibri" panose="020F050202020403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ymbol" panose="05050102010706020507" pitchFamily="18" charset="2"/>
              <a:buNone/>
            </a:pPr>
            <a:r>
              <a:rPr lang="en-US" altLang="ko-KR" sz="1600" b="1" dirty="0">
                <a:solidFill>
                  <a:schemeClr val="accent1"/>
                </a:solidFill>
              </a:rPr>
              <a:t>Chart Title</a:t>
            </a:r>
          </a:p>
        </p:txBody>
      </p:sp>
    </p:spTree>
    <p:extLst>
      <p:ext uri="{BB962C8B-B14F-4D97-AF65-F5344CB8AC3E}">
        <p14:creationId xmlns:p14="http://schemas.microsoft.com/office/powerpoint/2010/main" val="2792113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MPLER.CHARTS" val="65cba600b534418db8d8f492b85abc75"/>
</p:tagLst>
</file>

<file path=ppt/tags/tag11.xml><?xml version="1.0" encoding="utf-8"?>
<p:tagLst xmlns:a="http://schemas.openxmlformats.org/drawingml/2006/main" xmlns:r="http://schemas.openxmlformats.org/officeDocument/2006/relationships" xmlns:p="http://schemas.openxmlformats.org/presentationml/2006/main">
  <p:tag name="AMPLER.CHARTS" val="affaff35237d4f24b90a8827c97a35ec"/>
</p:tagLst>
</file>

<file path=ppt/tags/tag12.xml><?xml version="1.0" encoding="utf-8"?>
<p:tagLst xmlns:a="http://schemas.openxmlformats.org/drawingml/2006/main" xmlns:r="http://schemas.openxmlformats.org/officeDocument/2006/relationships" xmlns:p="http://schemas.openxmlformats.org/presentationml/2006/main">
  <p:tag name="AMPLER.CHARTS" val="358cca9cb60545a591ca33acefd61821"/>
</p:tagLst>
</file>

<file path=ppt/tags/tag13.xml><?xml version="1.0" encoding="utf-8"?>
<p:tagLst xmlns:a="http://schemas.openxmlformats.org/drawingml/2006/main" xmlns:r="http://schemas.openxmlformats.org/officeDocument/2006/relationships" xmlns:p="http://schemas.openxmlformats.org/presentationml/2006/main">
  <p:tag name="AMPLER.CHARTS" val="5da6685865b34f9fbfc3debc790fafbe"/>
</p:tagLst>
</file>

<file path=ppt/tags/tag14.xml><?xml version="1.0" encoding="utf-8"?>
<p:tagLst xmlns:a="http://schemas.openxmlformats.org/drawingml/2006/main" xmlns:r="http://schemas.openxmlformats.org/officeDocument/2006/relationships" xmlns:p="http://schemas.openxmlformats.org/presentationml/2006/main">
  <p:tag name="AMPLER.CHARTS" val="096f027df5b64e36b33cb38545efaabb"/>
</p:tagLst>
</file>

<file path=ppt/tags/tag15.xml><?xml version="1.0" encoding="utf-8"?>
<p:tagLst xmlns:a="http://schemas.openxmlformats.org/drawingml/2006/main" xmlns:r="http://schemas.openxmlformats.org/officeDocument/2006/relationships" xmlns:p="http://schemas.openxmlformats.org/presentationml/2006/main">
  <p:tag name="AMPLER.CHARTS" val="b3b9454b65cf48eaa59a52ac8dc45cfc"/>
</p:tagLst>
</file>

<file path=ppt/tags/tag16.xml><?xml version="1.0" encoding="utf-8"?>
<p:tagLst xmlns:a="http://schemas.openxmlformats.org/drawingml/2006/main" xmlns:r="http://schemas.openxmlformats.org/officeDocument/2006/relationships" xmlns:p="http://schemas.openxmlformats.org/presentationml/2006/main">
  <p:tag name="AMPLER.CHARTS" val="be90eab2beb6453586717438d37a1213"/>
</p:tagLst>
</file>

<file path=ppt/tags/tag17.xml><?xml version="1.0" encoding="utf-8"?>
<p:tagLst xmlns:a="http://schemas.openxmlformats.org/drawingml/2006/main" xmlns:r="http://schemas.openxmlformats.org/officeDocument/2006/relationships" xmlns:p="http://schemas.openxmlformats.org/presentationml/2006/main">
  <p:tag name="AMPLER.CHARTS" val="65122755ee52475ea2fc9aa9f2a94796"/>
</p:tagLst>
</file>

<file path=ppt/tags/tag18.xml><?xml version="1.0" encoding="utf-8"?>
<p:tagLst xmlns:a="http://schemas.openxmlformats.org/drawingml/2006/main" xmlns:r="http://schemas.openxmlformats.org/officeDocument/2006/relationships" xmlns:p="http://schemas.openxmlformats.org/presentationml/2006/main">
  <p:tag name="AMPLER.CHARTS" val="eda17327be4c483fa033b5cc22aa50be"/>
</p:tagLst>
</file>

<file path=ppt/tags/tag19.xml><?xml version="1.0" encoding="utf-8"?>
<p:tagLst xmlns:a="http://schemas.openxmlformats.org/drawingml/2006/main" xmlns:r="http://schemas.openxmlformats.org/officeDocument/2006/relationships" xmlns:p="http://schemas.openxmlformats.org/presentationml/2006/main">
  <p:tag name="AMPLER.CHARTS" val="0f08f061182f4e3fabc90b2d175fc8d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MPLER.CHARTS" val="22994090b9cb426b9b8c354562804a69"/>
</p:tagLst>
</file>

<file path=ppt/tags/tag21.xml><?xml version="1.0" encoding="utf-8"?>
<p:tagLst xmlns:a="http://schemas.openxmlformats.org/drawingml/2006/main" xmlns:r="http://schemas.openxmlformats.org/officeDocument/2006/relationships" xmlns:p="http://schemas.openxmlformats.org/presentationml/2006/main">
  <p:tag name="AMPLER.CHARTS" val="393bf1f1439b4adaa238eed94c20a705"/>
</p:tagLst>
</file>

<file path=ppt/tags/tag22.xml><?xml version="1.0" encoding="utf-8"?>
<p:tagLst xmlns:a="http://schemas.openxmlformats.org/drawingml/2006/main" xmlns:r="http://schemas.openxmlformats.org/officeDocument/2006/relationships" xmlns:p="http://schemas.openxmlformats.org/presentationml/2006/main">
  <p:tag name="AMPLER.CHARTS" val="16ec0da8a58046898532c411a3a919c7"/>
</p:tagLst>
</file>

<file path=ppt/tags/tag23.xml><?xml version="1.0" encoding="utf-8"?>
<p:tagLst xmlns:a="http://schemas.openxmlformats.org/drawingml/2006/main" xmlns:r="http://schemas.openxmlformats.org/officeDocument/2006/relationships" xmlns:p="http://schemas.openxmlformats.org/presentationml/2006/main">
  <p:tag name="AMPLER.CHARTS" val="16a29370a35a4c12b75197ce06c86fbb"/>
</p:tagLst>
</file>

<file path=ppt/tags/tag24.xml><?xml version="1.0" encoding="utf-8"?>
<p:tagLst xmlns:a="http://schemas.openxmlformats.org/drawingml/2006/main" xmlns:r="http://schemas.openxmlformats.org/officeDocument/2006/relationships" xmlns:p="http://schemas.openxmlformats.org/presentationml/2006/main">
  <p:tag name="AMPLER.CHARTS" val="7618b551ae7d4a40af1d6b24ba9712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MPLER.CHARTS" val="ed7d37ac7f524cacbc4486efbe167b02"/>
</p:tagLst>
</file>

<file path=ppt/tags/tag7.xml><?xml version="1.0" encoding="utf-8"?>
<p:tagLst xmlns:a="http://schemas.openxmlformats.org/drawingml/2006/main" xmlns:r="http://schemas.openxmlformats.org/officeDocument/2006/relationships" xmlns:p="http://schemas.openxmlformats.org/presentationml/2006/main">
  <p:tag name="AMPLER.CHARTS" val="f9be5358b9704a23a07c01e5d5c30ed3"/>
</p:tagLst>
</file>

<file path=ppt/tags/tag8.xml><?xml version="1.0" encoding="utf-8"?>
<p:tagLst xmlns:a="http://schemas.openxmlformats.org/drawingml/2006/main" xmlns:r="http://schemas.openxmlformats.org/officeDocument/2006/relationships" xmlns:p="http://schemas.openxmlformats.org/presentationml/2006/main">
  <p:tag name="AMPLER.CHARTS" val="298d367d99df456bb42cf5ac35d972da"/>
</p:tagLst>
</file>

<file path=ppt/tags/tag9.xml><?xml version="1.0" encoding="utf-8"?>
<p:tagLst xmlns:a="http://schemas.openxmlformats.org/drawingml/2006/main" xmlns:r="http://schemas.openxmlformats.org/officeDocument/2006/relationships" xmlns:p="http://schemas.openxmlformats.org/presentationml/2006/main">
  <p:tag name="AMPLER.CHARTS" val="679fbeeffc2d44708bc2a893c6081462"/>
</p:tagLst>
</file>

<file path=ppt/theme/theme1.xml><?xml version="1.0" encoding="utf-8"?>
<a:theme xmlns:a="http://schemas.openxmlformats.org/drawingml/2006/main" name="Custom Design">
  <a:themeElements>
    <a:clrScheme name="AnalystAcademy">
      <a:dk1>
        <a:sysClr val="windowText" lastClr="000000"/>
      </a:dk1>
      <a:lt1>
        <a:sysClr val="window" lastClr="FFFFFF"/>
      </a:lt1>
      <a:dk2>
        <a:srgbClr val="121418"/>
      </a:dk2>
      <a:lt2>
        <a:srgbClr val="FFFFFF"/>
      </a:lt2>
      <a:accent1>
        <a:srgbClr val="04162B"/>
      </a:accent1>
      <a:accent2>
        <a:srgbClr val="359CD5"/>
      </a:accent2>
      <a:accent3>
        <a:srgbClr val="DCDCDC"/>
      </a:accent3>
      <a:accent4>
        <a:srgbClr val="5C946E"/>
      </a:accent4>
      <a:accent5>
        <a:srgbClr val="F4B400"/>
      </a:accent5>
      <a:accent6>
        <a:srgbClr val="E67E22"/>
      </a:accent6>
      <a:hlink>
        <a:srgbClr val="002060"/>
      </a:hlink>
      <a:folHlink>
        <a:srgbClr val="0070C0"/>
      </a:folHlink>
    </a:clrScheme>
    <a:fontScheme name="Analyst Academ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273</TotalTime>
  <Words>14244</Words>
  <Application>Microsoft Office PowerPoint</Application>
  <PresentationFormat>Custom</PresentationFormat>
  <Paragraphs>1433</Paragraphs>
  <Slides>103</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03</vt:i4>
      </vt:variant>
    </vt:vector>
  </HeadingPairs>
  <TitlesOfParts>
    <vt:vector size="113" baseType="lpstr">
      <vt:lpstr>Open Sans</vt:lpstr>
      <vt:lpstr>Calibri</vt:lpstr>
      <vt:lpstr>Trebuchet MS</vt:lpstr>
      <vt:lpstr>Aptos</vt:lpstr>
      <vt:lpstr>Symbol</vt:lpstr>
      <vt:lpstr>Arial</vt:lpstr>
      <vt:lpstr>Lato</vt:lpstr>
      <vt:lpstr>Custom Design</vt:lpstr>
      <vt:lpstr>think-cell Slide</vt:lpstr>
      <vt:lpstr>Ampler</vt:lpstr>
      <vt:lpstr>PowerPoint Presentation</vt:lpstr>
      <vt:lpstr>PowerPoint Presentation</vt:lpstr>
      <vt:lpstr>Supporting Slides</vt:lpstr>
      <vt:lpstr>Table of Contents</vt:lpstr>
      <vt:lpstr>Table of Contents</vt:lpstr>
      <vt:lpstr>Divider Slide – Dark Background</vt:lpstr>
      <vt:lpstr>PowerPoint Presentation</vt:lpstr>
      <vt:lpstr>Divider Slide with Image</vt:lpstr>
      <vt:lpstr>PowerPoint Presentation</vt:lpstr>
      <vt:lpstr>Team Slide</vt:lpstr>
      <vt:lpstr>Team Slide</vt:lpstr>
      <vt:lpstr>Team Slide</vt:lpstr>
      <vt:lpstr>Team Slide</vt:lpstr>
      <vt:lpstr>Team Slide</vt:lpstr>
      <vt:lpstr>Pillar slide</vt:lpstr>
      <vt:lpstr>Quote</vt:lpstr>
      <vt:lpstr>PowerPoint Presentation</vt:lpstr>
      <vt:lpstr>Line Chart</vt:lpstr>
      <vt:lpstr>Bar Chart</vt:lpstr>
      <vt:lpstr>Clustered Column Chart</vt:lpstr>
      <vt:lpstr>Stacked Column Chart</vt:lpstr>
      <vt:lpstr>Area Chart</vt:lpstr>
      <vt:lpstr>Waterfall Chart</vt:lpstr>
      <vt:lpstr>Heatmap</vt:lpstr>
      <vt:lpstr>Mekko</vt:lpstr>
      <vt:lpstr>Matrix</vt:lpstr>
      <vt:lpstr>Matrix 2</vt:lpstr>
      <vt:lpstr>Scatter Chart</vt:lpstr>
      <vt:lpstr>Doughnut Chart</vt:lpstr>
      <vt:lpstr>Chart-Dominant Split Slide</vt:lpstr>
      <vt:lpstr>Chart-Dominant Split Slide</vt:lpstr>
      <vt:lpstr>Chart-Dominant Split Slide</vt:lpstr>
      <vt:lpstr>Chart-Dominant Split Slide</vt:lpstr>
      <vt:lpstr>Chart-Dominant Split Slide</vt:lpstr>
      <vt:lpstr>Chart-Dominant Split Slide</vt:lpstr>
      <vt:lpstr>Chart-Dominant Split Slide</vt:lpstr>
      <vt:lpstr>Chart-Dominant Split Slide</vt:lpstr>
      <vt:lpstr>Balanced Data &amp; Insights Slide</vt:lpstr>
      <vt:lpstr>Balanced Data &amp; Insights Slide</vt:lpstr>
      <vt:lpstr>Balanced Data &amp; Insights Slide</vt:lpstr>
      <vt:lpstr>Balanced Data &amp; Insights Slide</vt:lpstr>
      <vt:lpstr>Balanced Data &amp; Insights Slide</vt:lpstr>
      <vt:lpstr>Balanced Data &amp; Insights Slide</vt:lpstr>
      <vt:lpstr>Balanced Data &amp; Insights Slide</vt:lpstr>
      <vt:lpstr>Balanced Data &amp; Insights Slide</vt:lpstr>
      <vt:lpstr>Side-by-Side Charts Layout</vt:lpstr>
      <vt:lpstr>Side-by-Side Charts Layout</vt:lpstr>
      <vt:lpstr>Side-by-Side Charts Layout</vt:lpstr>
      <vt:lpstr>Side-by-Side Charts Layout</vt:lpstr>
      <vt:lpstr>Side-by-Side Charts Layout</vt:lpstr>
      <vt:lpstr>Qualitative Slides</vt:lpstr>
      <vt:lpstr>Table Format</vt:lpstr>
      <vt:lpstr>Table Format</vt:lpstr>
      <vt:lpstr>Table Format</vt:lpstr>
      <vt:lpstr>One-Column Layout</vt:lpstr>
      <vt:lpstr>Two-Column Layout</vt:lpstr>
      <vt:lpstr>Three-Column Layout</vt:lpstr>
      <vt:lpstr>Four-Column Layout</vt:lpstr>
      <vt:lpstr>Focused Content with Sidebar</vt:lpstr>
      <vt:lpstr>Focused Content with Sidebar</vt:lpstr>
      <vt:lpstr>3-Phase chevron breakdown</vt:lpstr>
      <vt:lpstr>4-Phase chevron breakdown</vt:lpstr>
      <vt:lpstr>5-Phase chevron breakdown</vt:lpstr>
      <vt:lpstr>3-Step Vertical Chevron</vt:lpstr>
      <vt:lpstr>4-Step Vertical Chevron</vt:lpstr>
      <vt:lpstr>5-Step Vertical Chevron</vt:lpstr>
      <vt:lpstr>Title &amp; Text Slide</vt:lpstr>
      <vt:lpstr>Horizontal Header Layout</vt:lpstr>
      <vt:lpstr>Horizontal Header Layout</vt:lpstr>
      <vt:lpstr>Graphic Slides</vt:lpstr>
      <vt:lpstr>Map Insight</vt:lpstr>
      <vt:lpstr>Map Comparison</vt:lpstr>
      <vt:lpstr>SWOT Analysis</vt:lpstr>
      <vt:lpstr>Porter’s Five Forces Layout</vt:lpstr>
      <vt:lpstr>Process Slide – Business Workflow</vt:lpstr>
      <vt:lpstr>Process Slide – Business Workflow</vt:lpstr>
      <vt:lpstr>Process Slide – Puzzle Diagram</vt:lpstr>
      <vt:lpstr>Process Slide – Circular Process Diagram</vt:lpstr>
      <vt:lpstr>Timeline</vt:lpstr>
      <vt:lpstr>Framework slide – Approach and Risks</vt:lpstr>
      <vt:lpstr>Framework slide</vt:lpstr>
      <vt:lpstr>Framework slide – Objectives</vt:lpstr>
      <vt:lpstr>Framework slide – Weighing Scale Layout</vt:lpstr>
      <vt:lpstr>Step-by-Step Approach</vt:lpstr>
      <vt:lpstr>Metric-Based Overview</vt:lpstr>
      <vt:lpstr>Year-on-Year Growth</vt:lpstr>
      <vt:lpstr>Process Slide – Strategic Pyramid Layout</vt:lpstr>
      <vt:lpstr>Three Column Boxed Layout</vt:lpstr>
      <vt:lpstr>2*3 Grid Content Layout</vt:lpstr>
      <vt:lpstr>Discussion Points Layout</vt:lpstr>
      <vt:lpstr>Question &amp; Answer Slide</vt:lpstr>
      <vt:lpstr>One Column Chart with Descriptions</vt:lpstr>
      <vt:lpstr>Two Column Charts with Descriptions</vt:lpstr>
      <vt:lpstr>Three Line Charts with Descriptions</vt:lpstr>
      <vt:lpstr>2*2 Grid Charts Layout </vt:lpstr>
      <vt:lpstr>Doughnut Chart with Descriptions</vt:lpstr>
      <vt:lpstr>Line Charts with Descriptions</vt:lpstr>
      <vt:lpstr>Bar Charts with Descriptions</vt:lpstr>
      <vt:lpstr>Column Charts with Description</vt:lpstr>
      <vt:lpstr>Pie Charts with Descriptions</vt:lpstr>
      <vt:lpstr>Icons (1/3) </vt:lpstr>
      <vt:lpstr>Icons (2/3) </vt:lpstr>
      <vt:lpstr>Icons (3/3)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te Blue Simple Business Pitch Deck Presentation</dc:title>
  <dc:creator>Daniel J</dc:creator>
  <cp:lastModifiedBy>Daniel J</cp:lastModifiedBy>
  <cp:revision>158</cp:revision>
  <dcterms:created xsi:type="dcterms:W3CDTF">2006-08-16T00:00:00Z</dcterms:created>
  <dcterms:modified xsi:type="dcterms:W3CDTF">2025-06-01T15:00:39Z</dcterms:modified>
  <dc:identifier>DAGkDf5R9EM</dc:identifier>
</cp:coreProperties>
</file>